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notesSlides/notesSlide7.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charts/chart16.xml" ContentType="application/vnd.openxmlformats-officedocument.drawingml.chart+xml"/>
  <Override PartName="/ppt/charts/chart17.xml" ContentType="application/vnd.openxmlformats-officedocument.drawingml.chart+xml"/>
  <Override PartName="/ppt/theme/themeOverride16.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81" r:id="rId1"/>
    <p:sldMasterId id="2147484163" r:id="rId2"/>
    <p:sldMasterId id="2147484232" r:id="rId3"/>
  </p:sldMasterIdLst>
  <p:notesMasterIdLst>
    <p:notesMasterId r:id="rId26"/>
  </p:notesMasterIdLst>
  <p:handoutMasterIdLst>
    <p:handoutMasterId r:id="rId27"/>
  </p:handoutMasterIdLst>
  <p:sldIdLst>
    <p:sldId id="390" r:id="rId4"/>
    <p:sldId id="495" r:id="rId5"/>
    <p:sldId id="496" r:id="rId6"/>
    <p:sldId id="476" r:id="rId7"/>
    <p:sldId id="491" r:id="rId8"/>
    <p:sldId id="492" r:id="rId9"/>
    <p:sldId id="493" r:id="rId10"/>
    <p:sldId id="494" r:id="rId11"/>
    <p:sldId id="462" r:id="rId12"/>
    <p:sldId id="470" r:id="rId13"/>
    <p:sldId id="478" r:id="rId14"/>
    <p:sldId id="481" r:id="rId15"/>
    <p:sldId id="477" r:id="rId16"/>
    <p:sldId id="459" r:id="rId17"/>
    <p:sldId id="485" r:id="rId18"/>
    <p:sldId id="486" r:id="rId19"/>
    <p:sldId id="487" r:id="rId20"/>
    <p:sldId id="369" r:id="rId21"/>
    <p:sldId id="472" r:id="rId22"/>
    <p:sldId id="490" r:id="rId23"/>
    <p:sldId id="418" r:id="rId24"/>
    <p:sldId id="443" r:id="rId25"/>
  </p:sldIdLst>
  <p:sldSz cx="9906000" cy="6858000" type="A4"/>
  <p:notesSz cx="7010400" cy="9296400"/>
  <p:defaultTextStyle>
    <a:defPPr>
      <a:defRPr lang="en-AU"/>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409">
          <p15:clr>
            <a:srgbClr val="A4A3A4"/>
          </p15:clr>
        </p15:guide>
        <p15:guide id="2" pos="312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ynihanh1" initials="m" lastIdx="1" clrIdx="0"/>
  <p:cmAuthor id="1" name="Al Griffin" initials="ACG" lastIdx="0" clrIdx="1"/>
  <p:cmAuthor id="2" name="Cordingleyb" initials="C" lastIdx="2" clrIdx="2"/>
  <p:cmAuthor id="3" name="Janice" initials="JB"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FD6400"/>
    <a:srgbClr val="90D1E3"/>
    <a:srgbClr val="AB9D70"/>
    <a:srgbClr val="CE9D6C"/>
    <a:srgbClr val="6799C8"/>
    <a:srgbClr val="3B6E8F"/>
    <a:srgbClr val="FF6600"/>
    <a:srgbClr val="283A97"/>
    <a:srgbClr val="88AA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72" autoAdjust="0"/>
    <p:restoredTop sz="90810" autoAdjust="0"/>
  </p:normalViewPr>
  <p:slideViewPr>
    <p:cSldViewPr snapToObjects="1">
      <p:cViewPr varScale="1">
        <p:scale>
          <a:sx n="69" d="100"/>
          <a:sy n="69" d="100"/>
        </p:scale>
        <p:origin x="77" y="235"/>
      </p:cViewPr>
      <p:guideLst>
        <p:guide orient="horz" pos="2409"/>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1910"/>
    </p:cViewPr>
  </p:sorterViewPr>
  <p:notesViewPr>
    <p:cSldViewPr snapToObjects="1">
      <p:cViewPr varScale="1">
        <p:scale>
          <a:sx n="87" d="100"/>
          <a:sy n="87" d="100"/>
        </p:scale>
        <p:origin x="-3780" y="-84"/>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6.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0137938994791963E-2"/>
          <c:y val="0.10274155183727035"/>
          <c:w val="0.87879429919822649"/>
          <c:h val="0.71860350138524354"/>
        </c:manualLayout>
      </c:layout>
      <c:areaChart>
        <c:grouping val="stacked"/>
        <c:varyColors val="0"/>
        <c:ser>
          <c:idx val="0"/>
          <c:order val="0"/>
          <c:tx>
            <c:strRef>
              <c:f>'Berry Consumption'!$J$2</c:f>
              <c:strCache>
                <c:ptCount val="1"/>
                <c:pt idx="0">
                  <c:v>Strawberries</c:v>
                </c:pt>
              </c:strCache>
            </c:strRef>
          </c:tx>
          <c:spPr>
            <a:solidFill>
              <a:schemeClr val="accent1"/>
            </a:solidFill>
            <a:ln>
              <a:noFill/>
            </a:ln>
            <a:effectLst/>
          </c:spPr>
          <c:cat>
            <c:numRef>
              <c:f>'Berry Consumption'!$B$3:$B$15</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Berry Consumption'!$J$3:$J$15</c:f>
              <c:numCache>
                <c:formatCode>_(* #,##0.0_);_(* \(#,##0.0\);_(* "-"??_);_(@_)</c:formatCode>
                <c:ptCount val="13"/>
                <c:pt idx="0">
                  <c:v>1722.7650000000001</c:v>
                </c:pt>
                <c:pt idx="1">
                  <c:v>1832.1759999999997</c:v>
                </c:pt>
                <c:pt idx="2">
                  <c:v>1885.5119999999999</c:v>
                </c:pt>
                <c:pt idx="3">
                  <c:v>1961.4450000000002</c:v>
                </c:pt>
                <c:pt idx="4">
                  <c:v>2199.7559999999999</c:v>
                </c:pt>
                <c:pt idx="5">
                  <c:v>2236.239</c:v>
                </c:pt>
                <c:pt idx="6">
                  <c:v>2294.1120000000001</c:v>
                </c:pt>
                <c:pt idx="7">
                  <c:v>2502.58</c:v>
                </c:pt>
                <c:pt idx="8">
                  <c:v>2529.6</c:v>
                </c:pt>
                <c:pt idx="9">
                  <c:v>2532.8700000000003</c:v>
                </c:pt>
                <c:pt idx="10">
                  <c:v>2474.1389999999997</c:v>
                </c:pt>
                <c:pt idx="11">
                  <c:v>2603.37</c:v>
                </c:pt>
                <c:pt idx="12">
                  <c:v>2713.0810000000001</c:v>
                </c:pt>
              </c:numCache>
            </c:numRef>
          </c:val>
        </c:ser>
        <c:ser>
          <c:idx val="1"/>
          <c:order val="1"/>
          <c:tx>
            <c:strRef>
              <c:f>'Berry Consumption'!$K$2</c:f>
              <c:strCache>
                <c:ptCount val="1"/>
                <c:pt idx="0">
                  <c:v>Blueberries</c:v>
                </c:pt>
              </c:strCache>
            </c:strRef>
          </c:tx>
          <c:spPr>
            <a:solidFill>
              <a:schemeClr val="accent2"/>
            </a:solidFill>
            <a:ln>
              <a:noFill/>
            </a:ln>
            <a:effectLst/>
          </c:spPr>
          <c:cat>
            <c:numRef>
              <c:f>'Berry Consumption'!$B$3:$B$15</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Berry Consumption'!$K$3:$K$15</c:f>
              <c:numCache>
                <c:formatCode>_(* #,##0.0_);_(* \(#,##0.0\);_(* "-"??_);_(@_)</c:formatCode>
                <c:ptCount val="13"/>
                <c:pt idx="0">
                  <c:v>130.02000000000001</c:v>
                </c:pt>
                <c:pt idx="1">
                  <c:v>167.10400000000001</c:v>
                </c:pt>
                <c:pt idx="2">
                  <c:v>177.70799999999997</c:v>
                </c:pt>
                <c:pt idx="3">
                  <c:v>243.28000000000003</c:v>
                </c:pt>
                <c:pt idx="4">
                  <c:v>294.52800000000002</c:v>
                </c:pt>
                <c:pt idx="5">
                  <c:v>346.41600000000005</c:v>
                </c:pt>
                <c:pt idx="6">
                  <c:v>402.09300000000002</c:v>
                </c:pt>
                <c:pt idx="7">
                  <c:v>417.62</c:v>
                </c:pt>
                <c:pt idx="8">
                  <c:v>436.35599999999994</c:v>
                </c:pt>
                <c:pt idx="9">
                  <c:v>481.08600000000001</c:v>
                </c:pt>
                <c:pt idx="10">
                  <c:v>516.649</c:v>
                </c:pt>
                <c:pt idx="11">
                  <c:v>572.41800000000001</c:v>
                </c:pt>
                <c:pt idx="12">
                  <c:v>566.71799999999996</c:v>
                </c:pt>
              </c:numCache>
            </c:numRef>
          </c:val>
        </c:ser>
        <c:ser>
          <c:idx val="2"/>
          <c:order val="2"/>
          <c:tx>
            <c:strRef>
              <c:f>'Berry Consumption'!$L$2</c:f>
              <c:strCache>
                <c:ptCount val="1"/>
                <c:pt idx="0">
                  <c:v>Raspberries</c:v>
                </c:pt>
              </c:strCache>
            </c:strRef>
          </c:tx>
          <c:spPr>
            <a:solidFill>
              <a:schemeClr val="accent3"/>
            </a:solidFill>
            <a:ln>
              <a:noFill/>
            </a:ln>
            <a:effectLst/>
          </c:spPr>
          <c:cat>
            <c:numRef>
              <c:f>'Berry Consumption'!$B$3:$B$15</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Berry Consumption'!$L$3:$L$15</c:f>
              <c:numCache>
                <c:formatCode>_(* #,##0.0_);_(* \(#,##0.0\);_(* "-"??_);_(@_)</c:formatCode>
                <c:ptCount val="13"/>
                <c:pt idx="0">
                  <c:v>29.55</c:v>
                </c:pt>
                <c:pt idx="1">
                  <c:v>74.599999999999994</c:v>
                </c:pt>
                <c:pt idx="2">
                  <c:v>54.215999999999994</c:v>
                </c:pt>
                <c:pt idx="3">
                  <c:v>45.615000000000002</c:v>
                </c:pt>
                <c:pt idx="4">
                  <c:v>84.23854</c:v>
                </c:pt>
                <c:pt idx="5">
                  <c:v>61.860000000000007</c:v>
                </c:pt>
                <c:pt idx="6">
                  <c:v>96.626999999999995</c:v>
                </c:pt>
                <c:pt idx="7">
                  <c:v>100.48</c:v>
                </c:pt>
                <c:pt idx="8">
                  <c:v>120.15599999999999</c:v>
                </c:pt>
                <c:pt idx="9">
                  <c:v>156.114</c:v>
                </c:pt>
                <c:pt idx="10">
                  <c:v>269.55599999999998</c:v>
                </c:pt>
                <c:pt idx="11">
                  <c:v>261.95400000000001</c:v>
                </c:pt>
                <c:pt idx="12">
                  <c:v>289.87299999999999</c:v>
                </c:pt>
              </c:numCache>
            </c:numRef>
          </c:val>
        </c:ser>
        <c:ser>
          <c:idx val="3"/>
          <c:order val="3"/>
          <c:tx>
            <c:strRef>
              <c:f>'Berry Consumption'!$M$2</c:f>
              <c:strCache>
                <c:ptCount val="1"/>
                <c:pt idx="0">
                  <c:v>Blackberries</c:v>
                </c:pt>
              </c:strCache>
            </c:strRef>
          </c:tx>
          <c:spPr>
            <a:solidFill>
              <a:schemeClr val="accent4"/>
            </a:solidFill>
            <a:ln>
              <a:noFill/>
            </a:ln>
            <a:effectLst/>
          </c:spPr>
          <c:cat>
            <c:numRef>
              <c:f>'Berry Consumption'!$B$3:$B$15</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Berry Consumption'!$M$3:$M$15</c:f>
              <c:numCache>
                <c:formatCode>_(* #,##0.0_);_(* \(#,##0.0\);_(* "-"??_);_(@_)</c:formatCode>
                <c:ptCount val="13"/>
                <c:pt idx="0">
                  <c:v>29.55</c:v>
                </c:pt>
                <c:pt idx="1">
                  <c:v>35.807999999999993</c:v>
                </c:pt>
                <c:pt idx="2">
                  <c:v>60.24</c:v>
                </c:pt>
                <c:pt idx="3">
                  <c:v>76.025000000000006</c:v>
                </c:pt>
                <c:pt idx="4">
                  <c:v>107.38</c:v>
                </c:pt>
                <c:pt idx="5">
                  <c:v>120.62700000000001</c:v>
                </c:pt>
                <c:pt idx="6">
                  <c:v>118.446</c:v>
                </c:pt>
                <c:pt idx="7">
                  <c:v>72.22</c:v>
                </c:pt>
                <c:pt idx="8">
                  <c:v>126.48</c:v>
                </c:pt>
                <c:pt idx="9">
                  <c:v>143.37</c:v>
                </c:pt>
                <c:pt idx="10">
                  <c:v>218.21199999999999</c:v>
                </c:pt>
                <c:pt idx="11">
                  <c:v>210.20999999999998</c:v>
                </c:pt>
                <c:pt idx="12">
                  <c:v>221.86684</c:v>
                </c:pt>
              </c:numCache>
            </c:numRef>
          </c:val>
        </c:ser>
        <c:dLbls>
          <c:showLegendKey val="0"/>
          <c:showVal val="0"/>
          <c:showCatName val="0"/>
          <c:showSerName val="0"/>
          <c:showPercent val="0"/>
          <c:showBubbleSize val="0"/>
        </c:dLbls>
        <c:axId val="200991800"/>
        <c:axId val="200992192"/>
      </c:areaChart>
      <c:catAx>
        <c:axId val="2009918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00992192"/>
        <c:crosses val="autoZero"/>
        <c:auto val="1"/>
        <c:lblAlgn val="ctr"/>
        <c:lblOffset val="100"/>
        <c:noMultiLvlLbl val="0"/>
      </c:catAx>
      <c:valAx>
        <c:axId val="2009921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dirty="0">
                    <a:solidFill>
                      <a:schemeClr val="tx1"/>
                    </a:solidFill>
                  </a:rPr>
                  <a:t>Mill lb</a:t>
                </a:r>
              </a:p>
            </c:rich>
          </c:tx>
          <c:layout>
            <c:manualLayout>
              <c:xMode val="edge"/>
              <c:yMode val="edge"/>
              <c:x val="0"/>
              <c:y val="1.9520997375328444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00991800"/>
        <c:crosses val="autoZero"/>
        <c:crossBetween val="midCat"/>
      </c:valAx>
      <c:spPr>
        <a:noFill/>
        <a:ln>
          <a:noFill/>
        </a:ln>
        <a:effectLst/>
      </c:spPr>
    </c:plotArea>
    <c:legend>
      <c:legendPos val="b"/>
      <c:layout>
        <c:manualLayout>
          <c:xMode val="edge"/>
          <c:yMode val="edge"/>
          <c:x val="8.5896567705924617E-2"/>
          <c:y val="0.93389813903470398"/>
          <c:w val="0.86601935770614502"/>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718123968154398"/>
          <c:y val="2.1443888491779844E-2"/>
          <c:w val="7.5388317245124381E-3"/>
          <c:h val="7.7226140156354652E-3"/>
        </c:manualLayout>
      </c:layout>
      <c:barChart>
        <c:barDir val="col"/>
        <c:grouping val="stacked"/>
        <c:varyColors val="0"/>
        <c:ser>
          <c:idx val="0"/>
          <c:order val="0"/>
          <c:tx>
            <c:strRef>
              <c:f>Shares!$AS$4</c:f>
              <c:strCache>
                <c:ptCount val="1"/>
                <c:pt idx="0">
                  <c:v>Sal-Wat</c:v>
                </c:pt>
              </c:strCache>
            </c:strRef>
          </c:tx>
          <c:spPr>
            <a:solidFill>
              <a:schemeClr val="accent1"/>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S$5:$AS$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7.326007326007326E-4</c:v>
                </c:pt>
                <c:pt idx="17">
                  <c:v>1.2437810945273632E-3</c:v>
                </c:pt>
                <c:pt idx="18">
                  <c:v>4.5696869739342248E-3</c:v>
                </c:pt>
                <c:pt idx="19">
                  <c:v>9.3631517157759005E-3</c:v>
                </c:pt>
                <c:pt idx="20">
                  <c:v>3.8277047150865981E-2</c:v>
                </c:pt>
                <c:pt idx="21">
                  <c:v>0.11420211406588977</c:v>
                </c:pt>
                <c:pt idx="22">
                  <c:v>0.20938715256944021</c:v>
                </c:pt>
                <c:pt idx="23">
                  <c:v>0.29689067074751635</c:v>
                </c:pt>
                <c:pt idx="24">
                  <c:v>0.35778561410538973</c:v>
                </c:pt>
                <c:pt idx="25">
                  <c:v>0.47784575454208378</c:v>
                </c:pt>
                <c:pt idx="26">
                  <c:v>0.48491574790835879</c:v>
                </c:pt>
                <c:pt idx="27">
                  <c:v>0.48575515988334844</c:v>
                </c:pt>
                <c:pt idx="28">
                  <c:v>0.52326173781666963</c:v>
                </c:pt>
                <c:pt idx="29">
                  <c:v>0.50832344494316317</c:v>
                </c:pt>
                <c:pt idx="30">
                  <c:v>0.46741835923275693</c:v>
                </c:pt>
                <c:pt idx="31">
                  <c:v>0.45269904571998287</c:v>
                </c:pt>
                <c:pt idx="32">
                  <c:v>0.48838145584078002</c:v>
                </c:pt>
                <c:pt idx="33">
                  <c:v>0.4265468038417855</c:v>
                </c:pt>
                <c:pt idx="34">
                  <c:v>0.46106929703348715</c:v>
                </c:pt>
                <c:pt idx="35">
                  <c:v>0.37574700781149312</c:v>
                </c:pt>
                <c:pt idx="36">
                  <c:v>0.30770273087346256</c:v>
                </c:pt>
                <c:pt idx="37">
                  <c:v>0.19430145587578454</c:v>
                </c:pt>
                <c:pt idx="38">
                  <c:v>0.13971064171453276</c:v>
                </c:pt>
                <c:pt idx="39">
                  <c:v>9.0143771295603761E-2</c:v>
                </c:pt>
                <c:pt idx="40">
                  <c:v>6.3257083123385738E-2</c:v>
                </c:pt>
                <c:pt idx="41">
                  <c:v>3.7190098937210155E-2</c:v>
                </c:pt>
                <c:pt idx="42">
                  <c:v>3.5668926918523296E-2</c:v>
                </c:pt>
                <c:pt idx="43">
                  <c:v>2.0010232700449004E-2</c:v>
                </c:pt>
                <c:pt idx="44">
                  <c:v>1.2136606600619359E-2</c:v>
                </c:pt>
                <c:pt idx="45">
                  <c:v>1.2672068180356934E-2</c:v>
                </c:pt>
                <c:pt idx="46">
                  <c:v>1.0416666666666667E-3</c:v>
                </c:pt>
                <c:pt idx="47">
                  <c:v>1.2894906511927789E-3</c:v>
                </c:pt>
                <c:pt idx="48">
                  <c:v>7.6103500761035003E-4</c:v>
                </c:pt>
                <c:pt idx="49">
                  <c:v>2.440429303877209E-3</c:v>
                </c:pt>
                <c:pt idx="50">
                  <c:v>6.277463904582548E-4</c:v>
                </c:pt>
                <c:pt idx="51">
                  <c:v>0</c:v>
                </c:pt>
              </c:numCache>
            </c:numRef>
          </c:val>
        </c:ser>
        <c:ser>
          <c:idx val="1"/>
          <c:order val="1"/>
          <c:tx>
            <c:strRef>
              <c:f>Shares!$AT$4</c:f>
              <c:strCache>
                <c:ptCount val="1"/>
                <c:pt idx="0">
                  <c:v>Santa Maria</c:v>
                </c:pt>
              </c:strCache>
            </c:strRef>
          </c:tx>
          <c:spPr>
            <a:solidFill>
              <a:schemeClr val="accent2"/>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T$5:$AT$56</c:f>
              <c:numCache>
                <c:formatCode>0%</c:formatCode>
                <c:ptCount val="52"/>
                <c:pt idx="0">
                  <c:v>0</c:v>
                </c:pt>
                <c:pt idx="1">
                  <c:v>0</c:v>
                </c:pt>
                <c:pt idx="2">
                  <c:v>0</c:v>
                </c:pt>
                <c:pt idx="3">
                  <c:v>0</c:v>
                </c:pt>
                <c:pt idx="4">
                  <c:v>0</c:v>
                </c:pt>
                <c:pt idx="5">
                  <c:v>0</c:v>
                </c:pt>
                <c:pt idx="6">
                  <c:v>0</c:v>
                </c:pt>
                <c:pt idx="7">
                  <c:v>0</c:v>
                </c:pt>
                <c:pt idx="8">
                  <c:v>0</c:v>
                </c:pt>
                <c:pt idx="9">
                  <c:v>2.2075055187637969E-3</c:v>
                </c:pt>
                <c:pt idx="10">
                  <c:v>0</c:v>
                </c:pt>
                <c:pt idx="11">
                  <c:v>0</c:v>
                </c:pt>
                <c:pt idx="12">
                  <c:v>0</c:v>
                </c:pt>
                <c:pt idx="13">
                  <c:v>0</c:v>
                </c:pt>
                <c:pt idx="14">
                  <c:v>0</c:v>
                </c:pt>
                <c:pt idx="15">
                  <c:v>0</c:v>
                </c:pt>
                <c:pt idx="16">
                  <c:v>1.4652014652014652E-3</c:v>
                </c:pt>
                <c:pt idx="17">
                  <c:v>1.2437810945273632E-3</c:v>
                </c:pt>
                <c:pt idx="18">
                  <c:v>1.7064846416382253E-3</c:v>
                </c:pt>
                <c:pt idx="19">
                  <c:v>3.6086144844973919E-3</c:v>
                </c:pt>
                <c:pt idx="20">
                  <c:v>1.1485441727599131E-2</c:v>
                </c:pt>
                <c:pt idx="21">
                  <c:v>2.500380798387758E-2</c:v>
                </c:pt>
                <c:pt idx="22">
                  <c:v>3.6110242240989819E-2</c:v>
                </c:pt>
                <c:pt idx="23">
                  <c:v>4.3576139676356575E-2</c:v>
                </c:pt>
                <c:pt idx="24">
                  <c:v>6.9056100981767177E-2</c:v>
                </c:pt>
                <c:pt idx="25">
                  <c:v>7.8902484241750101E-2</c:v>
                </c:pt>
                <c:pt idx="26">
                  <c:v>6.2909531628743451E-2</c:v>
                </c:pt>
                <c:pt idx="27">
                  <c:v>6.0510171133354856E-2</c:v>
                </c:pt>
                <c:pt idx="28">
                  <c:v>7.7811950145550798E-2</c:v>
                </c:pt>
                <c:pt idx="29">
                  <c:v>9.2933670398459123E-2</c:v>
                </c:pt>
                <c:pt idx="30">
                  <c:v>0.12744990991000635</c:v>
                </c:pt>
                <c:pt idx="31">
                  <c:v>0.12186931269683014</c:v>
                </c:pt>
                <c:pt idx="32">
                  <c:v>0.14441104021829929</c:v>
                </c:pt>
                <c:pt idx="33">
                  <c:v>0.1490831100378224</c:v>
                </c:pt>
                <c:pt idx="34">
                  <c:v>0.14700398867099831</c:v>
                </c:pt>
                <c:pt idx="35">
                  <c:v>0.13009706164802134</c:v>
                </c:pt>
                <c:pt idx="36">
                  <c:v>0.11163865170833813</c:v>
                </c:pt>
                <c:pt idx="37">
                  <c:v>7.0899524174663789E-2</c:v>
                </c:pt>
                <c:pt idx="38">
                  <c:v>5.7305910691124701E-2</c:v>
                </c:pt>
                <c:pt idx="39">
                  <c:v>3.4120335743372393E-2</c:v>
                </c:pt>
                <c:pt idx="40">
                  <c:v>2.1524040825424876E-2</c:v>
                </c:pt>
                <c:pt idx="41">
                  <c:v>1.702604351013565E-2</c:v>
                </c:pt>
                <c:pt idx="42">
                  <c:v>1.8574585145650125E-2</c:v>
                </c:pt>
                <c:pt idx="43">
                  <c:v>1.1665203492067724E-2</c:v>
                </c:pt>
                <c:pt idx="44">
                  <c:v>5.3518129014905776E-3</c:v>
                </c:pt>
                <c:pt idx="45">
                  <c:v>7.2232502657681554E-3</c:v>
                </c:pt>
                <c:pt idx="46">
                  <c:v>3.1249999999999997E-3</c:v>
                </c:pt>
                <c:pt idx="47">
                  <c:v>2.9069767441860465E-3</c:v>
                </c:pt>
                <c:pt idx="48">
                  <c:v>2.2425164890918317E-3</c:v>
                </c:pt>
                <c:pt idx="49">
                  <c:v>1.6486636665058712E-3</c:v>
                </c:pt>
                <c:pt idx="50">
                  <c:v>1.4102190039167837E-3</c:v>
                </c:pt>
                <c:pt idx="51">
                  <c:v>8.4175084175084182E-4</c:v>
                </c:pt>
              </c:numCache>
            </c:numRef>
          </c:val>
        </c:ser>
        <c:ser>
          <c:idx val="2"/>
          <c:order val="2"/>
          <c:tx>
            <c:strRef>
              <c:f>Shares!$AU$4</c:f>
              <c:strCache>
                <c:ptCount val="1"/>
                <c:pt idx="0">
                  <c:v>Oxnard</c:v>
                </c:pt>
              </c:strCache>
            </c:strRef>
          </c:tx>
          <c:spPr>
            <a:solidFill>
              <a:schemeClr val="accent3"/>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U$5:$AU$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2.1645021645021645E-3</c:v>
                </c:pt>
                <c:pt idx="16">
                  <c:v>6.7476383265856947E-4</c:v>
                </c:pt>
                <c:pt idx="17">
                  <c:v>1.6963528413910095E-3</c:v>
                </c:pt>
                <c:pt idx="18">
                  <c:v>8.8183421516754845E-4</c:v>
                </c:pt>
                <c:pt idx="19">
                  <c:v>4.1253672583047027E-3</c:v>
                </c:pt>
                <c:pt idx="20">
                  <c:v>1.7814511232139469E-2</c:v>
                </c:pt>
                <c:pt idx="21">
                  <c:v>1.4850386575515228E-2</c:v>
                </c:pt>
                <c:pt idx="22">
                  <c:v>2.7295964704856294E-2</c:v>
                </c:pt>
                <c:pt idx="23">
                  <c:v>2.4761976105431464E-2</c:v>
                </c:pt>
                <c:pt idx="24">
                  <c:v>1.7869030922326858E-2</c:v>
                </c:pt>
                <c:pt idx="25">
                  <c:v>1.7777468792485474E-2</c:v>
                </c:pt>
                <c:pt idx="26">
                  <c:v>1.9374071467667526E-2</c:v>
                </c:pt>
                <c:pt idx="27">
                  <c:v>2.0288194924940162E-2</c:v>
                </c:pt>
                <c:pt idx="28">
                  <c:v>4.8344598464887161E-3</c:v>
                </c:pt>
                <c:pt idx="29">
                  <c:v>1.7515348501263992E-2</c:v>
                </c:pt>
                <c:pt idx="30">
                  <c:v>1.5649646178887203E-2</c:v>
                </c:pt>
                <c:pt idx="31">
                  <c:v>1.1158587728876861E-2</c:v>
                </c:pt>
                <c:pt idx="32">
                  <c:v>1.1384665952876216E-2</c:v>
                </c:pt>
                <c:pt idx="33">
                  <c:v>7.8707532501902152E-3</c:v>
                </c:pt>
                <c:pt idx="34">
                  <c:v>1.1647213320397103E-2</c:v>
                </c:pt>
                <c:pt idx="35">
                  <c:v>8.2887986763281411E-3</c:v>
                </c:pt>
                <c:pt idx="36">
                  <c:v>6.8641965854509407E-3</c:v>
                </c:pt>
                <c:pt idx="37">
                  <c:v>5.3244416216788396E-3</c:v>
                </c:pt>
                <c:pt idx="38">
                  <c:v>1.0396825396825397E-2</c:v>
                </c:pt>
                <c:pt idx="39">
                  <c:v>3.8095238095238095E-3</c:v>
                </c:pt>
                <c:pt idx="40">
                  <c:v>6.0383861814988825E-3</c:v>
                </c:pt>
                <c:pt idx="41">
                  <c:v>4.830917874396135E-3</c:v>
                </c:pt>
                <c:pt idx="42">
                  <c:v>7.1574642126789366E-3</c:v>
                </c:pt>
                <c:pt idx="43">
                  <c:v>4.0526849037487338E-3</c:v>
                </c:pt>
                <c:pt idx="44">
                  <c:v>1.8165304268846503E-3</c:v>
                </c:pt>
                <c:pt idx="45">
                  <c:v>1.9665683382497543E-3</c:v>
                </c:pt>
                <c:pt idx="46">
                  <c:v>3.1249999999999997E-3</c:v>
                </c:pt>
                <c:pt idx="47">
                  <c:v>2.9069767441860465E-3</c:v>
                </c:pt>
                <c:pt idx="48">
                  <c:v>1.4814814814814814E-3</c:v>
                </c:pt>
                <c:pt idx="49">
                  <c:v>1.7137960582690659E-3</c:v>
                </c:pt>
                <c:pt idx="50">
                  <c:v>7.8247261345852897E-4</c:v>
                </c:pt>
                <c:pt idx="51">
                  <c:v>8.4175084175084182E-4</c:v>
                </c:pt>
              </c:numCache>
            </c:numRef>
          </c:val>
        </c:ser>
        <c:ser>
          <c:idx val="3"/>
          <c:order val="3"/>
          <c:tx>
            <c:strRef>
              <c:f>Shares!$AV$4</c:f>
              <c:strCache>
                <c:ptCount val="1"/>
                <c:pt idx="0">
                  <c:v>GA NC</c:v>
                </c:pt>
              </c:strCache>
            </c:strRef>
          </c:tx>
          <c:spPr>
            <a:solidFill>
              <a:schemeClr val="accent4"/>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V$5:$AV$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2.7277976851216402E-2</c:v>
                </c:pt>
                <c:pt idx="21">
                  <c:v>0.10559719632313669</c:v>
                </c:pt>
                <c:pt idx="22">
                  <c:v>0.31149480197083784</c:v>
                </c:pt>
                <c:pt idx="23">
                  <c:v>0.41003903950210002</c:v>
                </c:pt>
                <c:pt idx="24">
                  <c:v>0.44401576170440132</c:v>
                </c:pt>
                <c:pt idx="25">
                  <c:v>0.31325392411321223</c:v>
                </c:pt>
                <c:pt idx="26">
                  <c:v>0.26324966768316521</c:v>
                </c:pt>
                <c:pt idx="27">
                  <c:v>0.20540384704091519</c:v>
                </c:pt>
                <c:pt idx="28">
                  <c:v>0.11281047652338751</c:v>
                </c:pt>
                <c:pt idx="29">
                  <c:v>9.9227845706718942E-2</c:v>
                </c:pt>
                <c:pt idx="30">
                  <c:v>7.5300747499844334E-2</c:v>
                </c:pt>
                <c:pt idx="31">
                  <c:v>7.6972257829685545E-2</c:v>
                </c:pt>
                <c:pt idx="32">
                  <c:v>6.3670788952390964E-2</c:v>
                </c:pt>
                <c:pt idx="33">
                  <c:v>8.0509334303703939E-2</c:v>
                </c:pt>
                <c:pt idx="34">
                  <c:v>4.6436656572486988E-2</c:v>
                </c:pt>
                <c:pt idx="35">
                  <c:v>2.0668342042794843E-2</c:v>
                </c:pt>
                <c:pt idx="36">
                  <c:v>8.3651346717548807E-3</c:v>
                </c:pt>
                <c:pt idx="37">
                  <c:v>4.6704722366372603E-3</c:v>
                </c:pt>
                <c:pt idx="38">
                  <c:v>2.7784983427006776E-3</c:v>
                </c:pt>
                <c:pt idx="39">
                  <c:v>1.1111111111111111E-3</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4"/>
          <c:order val="4"/>
          <c:tx>
            <c:strRef>
              <c:f>Shares!$AW$4</c:f>
              <c:strCache>
                <c:ptCount val="1"/>
                <c:pt idx="0">
                  <c:v>OR WA</c:v>
                </c:pt>
              </c:strCache>
            </c:strRef>
          </c:tx>
          <c:spPr>
            <a:solidFill>
              <a:srgbClr val="C00000"/>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W$5:$AW$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5"/>
          <c:order val="5"/>
          <c:tx>
            <c:strRef>
              <c:f>Shares!$AX$4</c:f>
              <c:strCache>
                <c:ptCount val="1"/>
                <c:pt idx="0">
                  <c:v>Mexico</c:v>
                </c:pt>
              </c:strCache>
            </c:strRef>
          </c:tx>
          <c:spPr>
            <a:solidFill>
              <a:schemeClr val="accent6"/>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X$5:$AX$56</c:f>
              <c:numCache>
                <c:formatCode>0%</c:formatCode>
                <c:ptCount val="52"/>
                <c:pt idx="0">
                  <c:v>0.98514580002864705</c:v>
                </c:pt>
                <c:pt idx="1">
                  <c:v>0.98064238269533277</c:v>
                </c:pt>
                <c:pt idx="2">
                  <c:v>0.9704712884138722</c:v>
                </c:pt>
                <c:pt idx="3">
                  <c:v>0.97228397534563538</c:v>
                </c:pt>
                <c:pt idx="4">
                  <c:v>0.95712392503303256</c:v>
                </c:pt>
                <c:pt idx="5">
                  <c:v>0.95396955231352354</c:v>
                </c:pt>
                <c:pt idx="6">
                  <c:v>0.9672840754598262</c:v>
                </c:pt>
                <c:pt idx="7">
                  <c:v>0.96469905412083812</c:v>
                </c:pt>
                <c:pt idx="8">
                  <c:v>0.9740701677419098</c:v>
                </c:pt>
                <c:pt idx="9">
                  <c:v>0.96477481658663711</c:v>
                </c:pt>
                <c:pt idx="10">
                  <c:v>0.95586116310555358</c:v>
                </c:pt>
                <c:pt idx="11">
                  <c:v>0.9580893731583745</c:v>
                </c:pt>
                <c:pt idx="12">
                  <c:v>0.96259016113473816</c:v>
                </c:pt>
                <c:pt idx="13">
                  <c:v>0.96714227362463012</c:v>
                </c:pt>
                <c:pt idx="14">
                  <c:v>0.97903362330302934</c:v>
                </c:pt>
                <c:pt idx="15">
                  <c:v>0.98279449297242893</c:v>
                </c:pt>
                <c:pt idx="16">
                  <c:v>0.98226661109788038</c:v>
                </c:pt>
                <c:pt idx="17">
                  <c:v>0.97905917522529118</c:v>
                </c:pt>
                <c:pt idx="18">
                  <c:v>0.96945181814351322</c:v>
                </c:pt>
                <c:pt idx="19">
                  <c:v>0.96414168086198604</c:v>
                </c:pt>
                <c:pt idx="20">
                  <c:v>0.88802951942976005</c:v>
                </c:pt>
                <c:pt idx="21">
                  <c:v>0.70434450410042615</c:v>
                </c:pt>
                <c:pt idx="22">
                  <c:v>0.36709893774889851</c:v>
                </c:pt>
                <c:pt idx="23">
                  <c:v>0.16367865383845201</c:v>
                </c:pt>
                <c:pt idx="24">
                  <c:v>3.6260201696386829E-2</c:v>
                </c:pt>
                <c:pt idx="25">
                  <c:v>1.6152206154987022E-2</c:v>
                </c:pt>
                <c:pt idx="26">
                  <c:v>2.1218429900695907E-2</c:v>
                </c:pt>
                <c:pt idx="27">
                  <c:v>1.7771806817657641E-2</c:v>
                </c:pt>
                <c:pt idx="28">
                  <c:v>1.915454233016382E-2</c:v>
                </c:pt>
                <c:pt idx="29">
                  <c:v>3.469535159676005E-2</c:v>
                </c:pt>
                <c:pt idx="30">
                  <c:v>1.6645908233631303E-2</c:v>
                </c:pt>
                <c:pt idx="31">
                  <c:v>2.7015778062637483E-2</c:v>
                </c:pt>
                <c:pt idx="32">
                  <c:v>2.9170106767103011E-2</c:v>
                </c:pt>
                <c:pt idx="33">
                  <c:v>3.3539812762578981E-2</c:v>
                </c:pt>
                <c:pt idx="34">
                  <c:v>7.6457236938817508E-2</c:v>
                </c:pt>
                <c:pt idx="35">
                  <c:v>0.13811589819699596</c:v>
                </c:pt>
                <c:pt idx="36">
                  <c:v>0.35124269845524198</c:v>
                </c:pt>
                <c:pt idx="37">
                  <c:v>0.56662096884544588</c:v>
                </c:pt>
                <c:pt idx="38">
                  <c:v>0.71002748440491636</c:v>
                </c:pt>
                <c:pt idx="39">
                  <c:v>0.80019778941244901</c:v>
                </c:pt>
                <c:pt idx="40">
                  <c:v>0.87789163902524214</c:v>
                </c:pt>
                <c:pt idx="41">
                  <c:v>0.88044863529855721</c:v>
                </c:pt>
                <c:pt idx="42">
                  <c:v>0.92572761749194343</c:v>
                </c:pt>
                <c:pt idx="43">
                  <c:v>0.95546504513104491</c:v>
                </c:pt>
                <c:pt idx="44">
                  <c:v>0.97506250851103637</c:v>
                </c:pt>
                <c:pt idx="45">
                  <c:v>0.97367018431956287</c:v>
                </c:pt>
                <c:pt idx="46">
                  <c:v>0.98786234357224112</c:v>
                </c:pt>
                <c:pt idx="47">
                  <c:v>0.98780688332019473</c:v>
                </c:pt>
                <c:pt idx="48">
                  <c:v>0.98614389088713716</c:v>
                </c:pt>
                <c:pt idx="49">
                  <c:v>0.98628508994024922</c:v>
                </c:pt>
                <c:pt idx="50">
                  <c:v>0.98626470468873439</c:v>
                </c:pt>
                <c:pt idx="51">
                  <c:v>0.99322490655406792</c:v>
                </c:pt>
              </c:numCache>
            </c:numRef>
          </c:val>
        </c:ser>
        <c:ser>
          <c:idx val="6"/>
          <c:order val="6"/>
          <c:tx>
            <c:strRef>
              <c:f>Shares!$AY$4</c:f>
              <c:strCache>
                <c:ptCount val="1"/>
                <c:pt idx="0">
                  <c:v>Chile</c:v>
                </c:pt>
              </c:strCache>
            </c:strRef>
          </c:tx>
          <c:spPr>
            <a:solidFill>
              <a:srgbClr val="FFFF00"/>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Y$5:$AY$56</c:f>
              <c:numCache>
                <c:formatCode>0%</c:formatCode>
                <c:ptCount val="52"/>
                <c:pt idx="0">
                  <c:v>9.7751710654936461E-4</c:v>
                </c:pt>
                <c:pt idx="1">
                  <c:v>1.8467220683287165E-3</c:v>
                </c:pt>
                <c:pt idx="2">
                  <c:v>9.1827364554637281E-4</c:v>
                </c:pt>
                <c:pt idx="3">
                  <c:v>7.2780203784570589E-4</c:v>
                </c:pt>
                <c:pt idx="4">
                  <c:v>1.0466130930638419E-2</c:v>
                </c:pt>
                <c:pt idx="5">
                  <c:v>1.1603375527426159E-2</c:v>
                </c:pt>
                <c:pt idx="6">
                  <c:v>1.1947431302270011E-3</c:v>
                </c:pt>
                <c:pt idx="7">
                  <c:v>1.1148272017837235E-3</c:v>
                </c:pt>
                <c:pt idx="8">
                  <c:v>4.1152263374485592E-3</c:v>
                </c:pt>
                <c:pt idx="9">
                  <c:v>5.5187637969094927E-3</c:v>
                </c:pt>
                <c:pt idx="10">
                  <c:v>0</c:v>
                </c:pt>
                <c:pt idx="11">
                  <c:v>9.5238095238095229E-3</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3.7280701754385963E-2</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1.1862396204033213E-3</c:v>
                </c:pt>
                <c:pt idx="50">
                  <c:v>1.0351966873706003E-3</c:v>
                </c:pt>
                <c:pt idx="51">
                  <c:v>0</c:v>
                </c:pt>
              </c:numCache>
            </c:numRef>
          </c:val>
        </c:ser>
        <c:ser>
          <c:idx val="7"/>
          <c:order val="7"/>
          <c:tx>
            <c:strRef>
              <c:f>Shares!$AZ$4</c:f>
              <c:strCache>
                <c:ptCount val="1"/>
                <c:pt idx="0">
                  <c:v>Guatemala</c:v>
                </c:pt>
              </c:strCache>
            </c:strRef>
          </c:tx>
          <c:spPr>
            <a:solidFill>
              <a:schemeClr val="bg1">
                <a:lumMod val="75000"/>
              </a:schemeClr>
            </a:solidFill>
            <a:ln>
              <a:noFill/>
            </a:ln>
            <a:effectLst/>
          </c:spPr>
          <c:invertIfNegative val="0"/>
          <c:cat>
            <c:numRef>
              <c:f>Shares!$AR$5:$AR$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Z$5:$AZ$56</c:f>
              <c:numCache>
                <c:formatCode>0%</c:formatCode>
                <c:ptCount val="52"/>
                <c:pt idx="0">
                  <c:v>1.3876682864803517E-2</c:v>
                </c:pt>
                <c:pt idx="1">
                  <c:v>1.7510895236338499E-2</c:v>
                </c:pt>
                <c:pt idx="2">
                  <c:v>2.861043794058148E-2</c:v>
                </c:pt>
                <c:pt idx="3">
                  <c:v>2.6988222616518925E-2</c:v>
                </c:pt>
                <c:pt idx="4">
                  <c:v>3.2409944036329033E-2</c:v>
                </c:pt>
                <c:pt idx="5">
                  <c:v>3.4427072159050276E-2</c:v>
                </c:pt>
                <c:pt idx="6">
                  <c:v>3.1521181409946704E-2</c:v>
                </c:pt>
                <c:pt idx="7">
                  <c:v>3.4186118677378204E-2</c:v>
                </c:pt>
                <c:pt idx="8">
                  <c:v>2.1814605920641803E-2</c:v>
                </c:pt>
                <c:pt idx="9">
                  <c:v>2.7498914097689554E-2</c:v>
                </c:pt>
                <c:pt idx="10">
                  <c:v>4.4138836894446414E-2</c:v>
                </c:pt>
                <c:pt idx="11">
                  <c:v>3.2386817317815987E-2</c:v>
                </c:pt>
                <c:pt idx="12">
                  <c:v>3.740983886526178E-2</c:v>
                </c:pt>
                <c:pt idx="13">
                  <c:v>3.2857726375369788E-2</c:v>
                </c:pt>
                <c:pt idx="14">
                  <c:v>2.0966376696970702E-2</c:v>
                </c:pt>
                <c:pt idx="15">
                  <c:v>1.5041004863068919E-2</c:v>
                </c:pt>
                <c:pt idx="16">
                  <c:v>1.4860822871658784E-2</c:v>
                </c:pt>
                <c:pt idx="17">
                  <c:v>1.6756909744263051E-2</c:v>
                </c:pt>
                <c:pt idx="18">
                  <c:v>2.3390176025746751E-2</c:v>
                </c:pt>
                <c:pt idx="19">
                  <c:v>1.8761185679436045E-2</c:v>
                </c:pt>
                <c:pt idx="20">
                  <c:v>1.7115503608418917E-2</c:v>
                </c:pt>
                <c:pt idx="21">
                  <c:v>3.6001990951154521E-2</c:v>
                </c:pt>
                <c:pt idx="22">
                  <c:v>4.8612900764977297E-2</c:v>
                </c:pt>
                <c:pt idx="23">
                  <c:v>6.1053520130143563E-2</c:v>
                </c:pt>
                <c:pt idx="24">
                  <c:v>7.5013290589728179E-2</c:v>
                </c:pt>
                <c:pt idx="25">
                  <c:v>9.6068162155481404E-2</c:v>
                </c:pt>
                <c:pt idx="26">
                  <c:v>0.14833255141136914</c:v>
                </c:pt>
                <c:pt idx="27">
                  <c:v>0.17299011844539772</c:v>
                </c:pt>
                <c:pt idx="28">
                  <c:v>0.26212683333773951</c:v>
                </c:pt>
                <c:pt idx="29">
                  <c:v>0.24730433885363465</c:v>
                </c:pt>
                <c:pt idx="30">
                  <c:v>0.29753542894487389</c:v>
                </c:pt>
                <c:pt idx="31">
                  <c:v>0.3102850179619871</c:v>
                </c:pt>
                <c:pt idx="32">
                  <c:v>0.26298194226855048</c:v>
                </c:pt>
                <c:pt idx="33">
                  <c:v>0.30245018580391897</c:v>
                </c:pt>
                <c:pt idx="34">
                  <c:v>0.25738560746381284</c:v>
                </c:pt>
                <c:pt idx="35">
                  <c:v>0.3270828916243666</c:v>
                </c:pt>
                <c:pt idx="36">
                  <c:v>0.21418658770575147</c:v>
                </c:pt>
                <c:pt idx="37">
                  <c:v>0.15818313724578972</c:v>
                </c:pt>
                <c:pt idx="38">
                  <c:v>7.9780639449900145E-2</c:v>
                </c:pt>
                <c:pt idx="39">
                  <c:v>7.0617468627939842E-2</c:v>
                </c:pt>
                <c:pt idx="40">
                  <c:v>3.128885084444824E-2</c:v>
                </c:pt>
                <c:pt idx="41">
                  <c:v>6.0504304379700863E-2</c:v>
                </c:pt>
                <c:pt idx="42">
                  <c:v>1.2871406231204139E-2</c:v>
                </c:pt>
                <c:pt idx="43">
                  <c:v>8.8068337726896657E-3</c:v>
                </c:pt>
                <c:pt idx="44">
                  <c:v>5.6325415599689545E-3</c:v>
                </c:pt>
                <c:pt idx="45">
                  <c:v>4.4679288960623653E-3</c:v>
                </c:pt>
                <c:pt idx="46">
                  <c:v>4.8459897610921504E-3</c:v>
                </c:pt>
                <c:pt idx="47">
                  <c:v>5.08967254024046E-3</c:v>
                </c:pt>
                <c:pt idx="48">
                  <c:v>9.3710761346791054E-3</c:v>
                </c:pt>
                <c:pt idx="49">
                  <c:v>6.7257814106953173E-3</c:v>
                </c:pt>
                <c:pt idx="50">
                  <c:v>9.8796606160613341E-3</c:v>
                </c:pt>
                <c:pt idx="51">
                  <c:v>5.0915917624303111E-3</c:v>
                </c:pt>
              </c:numCache>
            </c:numRef>
          </c:val>
        </c:ser>
        <c:dLbls>
          <c:showLegendKey val="0"/>
          <c:showVal val="0"/>
          <c:showCatName val="0"/>
          <c:showSerName val="0"/>
          <c:showPercent val="0"/>
          <c:showBubbleSize val="0"/>
        </c:dLbls>
        <c:gapWidth val="150"/>
        <c:overlap val="100"/>
        <c:axId val="331627896"/>
        <c:axId val="331628288"/>
      </c:barChart>
      <c:catAx>
        <c:axId val="331627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1628288"/>
        <c:crosses val="autoZero"/>
        <c:auto val="1"/>
        <c:lblAlgn val="ctr"/>
        <c:lblOffset val="100"/>
        <c:noMultiLvlLbl val="0"/>
      </c:catAx>
      <c:valAx>
        <c:axId val="3316282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31627896"/>
        <c:crosses val="autoZero"/>
        <c:crossBetween val="between"/>
      </c:valAx>
      <c:spPr>
        <a:noFill/>
        <a:ln>
          <a:noFill/>
        </a:ln>
        <a:effectLst/>
      </c:spPr>
    </c:plotArea>
    <c:legend>
      <c:legendPos val="b"/>
      <c:layout>
        <c:manualLayout>
          <c:xMode val="edge"/>
          <c:yMode val="edge"/>
          <c:x val="4.0200804226394774E-4"/>
          <c:y val="0.2545864459250286"/>
          <c:w val="0.99959802884330307"/>
          <c:h val="0.7454135540749714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chemeClr val="tx1">
        <a:lumMod val="65000"/>
        <a:lumOff val="35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ares!$AF$4</c:f>
              <c:strCache>
                <c:ptCount val="1"/>
                <c:pt idx="0">
                  <c:v>Sal-Wat</c:v>
                </c:pt>
              </c:strCache>
            </c:strRef>
          </c:tx>
          <c:spPr>
            <a:solidFill>
              <a:schemeClr val="accent1"/>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F$5:$AF$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9.6093970201692469E-3</c:v>
                </c:pt>
                <c:pt idx="20">
                  <c:v>4.6642743141245092E-2</c:v>
                </c:pt>
                <c:pt idx="21">
                  <c:v>9.5954257159331147E-2</c:v>
                </c:pt>
                <c:pt idx="22">
                  <c:v>0.24599700144709744</c:v>
                </c:pt>
                <c:pt idx="23">
                  <c:v>0.52557830432226571</c:v>
                </c:pt>
                <c:pt idx="24">
                  <c:v>0.88873894137052034</c:v>
                </c:pt>
                <c:pt idx="25">
                  <c:v>0.90527339070190926</c:v>
                </c:pt>
                <c:pt idx="26">
                  <c:v>0.89919439213224528</c:v>
                </c:pt>
                <c:pt idx="27">
                  <c:v>0.90177133655394526</c:v>
                </c:pt>
                <c:pt idx="28">
                  <c:v>0.86545266118883701</c:v>
                </c:pt>
                <c:pt idx="29">
                  <c:v>0.81452288056613009</c:v>
                </c:pt>
                <c:pt idx="30">
                  <c:v>0.76509747752049018</c:v>
                </c:pt>
                <c:pt idx="31">
                  <c:v>0.66136363636363626</c:v>
                </c:pt>
                <c:pt idx="32">
                  <c:v>0.57794361525704796</c:v>
                </c:pt>
                <c:pt idx="33">
                  <c:v>0.40604504793591278</c:v>
                </c:pt>
                <c:pt idx="34">
                  <c:v>0.26883223583367055</c:v>
                </c:pt>
                <c:pt idx="35">
                  <c:v>0.18258281573498966</c:v>
                </c:pt>
                <c:pt idx="36">
                  <c:v>9.0075750534436283E-2</c:v>
                </c:pt>
                <c:pt idx="37">
                  <c:v>5.0242361527149941E-2</c:v>
                </c:pt>
                <c:pt idx="38">
                  <c:v>1.8398680370511358E-2</c:v>
                </c:pt>
                <c:pt idx="39">
                  <c:v>9.1470258136924793E-3</c:v>
                </c:pt>
                <c:pt idx="40">
                  <c:v>6.9444444444444441E-3</c:v>
                </c:pt>
                <c:pt idx="41">
                  <c:v>0</c:v>
                </c:pt>
                <c:pt idx="42">
                  <c:v>0</c:v>
                </c:pt>
                <c:pt idx="43">
                  <c:v>0</c:v>
                </c:pt>
                <c:pt idx="44">
                  <c:v>0</c:v>
                </c:pt>
                <c:pt idx="45">
                  <c:v>0</c:v>
                </c:pt>
                <c:pt idx="46">
                  <c:v>0</c:v>
                </c:pt>
                <c:pt idx="47">
                  <c:v>0</c:v>
                </c:pt>
                <c:pt idx="48">
                  <c:v>0</c:v>
                </c:pt>
                <c:pt idx="49">
                  <c:v>0</c:v>
                </c:pt>
                <c:pt idx="50">
                  <c:v>0</c:v>
                </c:pt>
                <c:pt idx="51">
                  <c:v>0</c:v>
                </c:pt>
              </c:numCache>
            </c:numRef>
          </c:val>
        </c:ser>
        <c:ser>
          <c:idx val="1"/>
          <c:order val="1"/>
          <c:tx>
            <c:strRef>
              <c:f>Shares!$AG$4</c:f>
              <c:strCache>
                <c:ptCount val="1"/>
                <c:pt idx="0">
                  <c:v>Santa Maria</c:v>
                </c:pt>
              </c:strCache>
            </c:strRef>
          </c:tx>
          <c:spPr>
            <a:solidFill>
              <a:schemeClr val="accent2"/>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G$5:$AG$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2"/>
          <c:order val="2"/>
          <c:tx>
            <c:strRef>
              <c:f>Shares!$AH$4</c:f>
              <c:strCache>
                <c:ptCount val="1"/>
                <c:pt idx="0">
                  <c:v>Oxnard</c:v>
                </c:pt>
              </c:strCache>
            </c:strRef>
          </c:tx>
          <c:spPr>
            <a:solidFill>
              <a:schemeClr val="accent3"/>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H$5:$AH$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3"/>
          <c:order val="3"/>
          <c:tx>
            <c:strRef>
              <c:f>Shares!$AI$4</c:f>
              <c:strCache>
                <c:ptCount val="1"/>
                <c:pt idx="0">
                  <c:v>GA NC</c:v>
                </c:pt>
              </c:strCache>
            </c:strRef>
          </c:tx>
          <c:spPr>
            <a:solidFill>
              <a:schemeClr val="accent4"/>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I$5:$AI$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4"/>
          <c:order val="4"/>
          <c:tx>
            <c:strRef>
              <c:f>Shares!$AJ$4</c:f>
              <c:strCache>
                <c:ptCount val="1"/>
                <c:pt idx="0">
                  <c:v>OR WA</c:v>
                </c:pt>
              </c:strCache>
            </c:strRef>
          </c:tx>
          <c:spPr>
            <a:solidFill>
              <a:srgbClr val="C00000"/>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J$5:$AJ$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6460905349794237E-2</c:v>
                </c:pt>
                <c:pt idx="28">
                  <c:v>3.2163742690058478E-2</c:v>
                </c:pt>
                <c:pt idx="29">
                  <c:v>5.5296675986331166E-2</c:v>
                </c:pt>
                <c:pt idx="30">
                  <c:v>6.3474178403755868E-2</c:v>
                </c:pt>
                <c:pt idx="31">
                  <c:v>0.12087542087542087</c:v>
                </c:pt>
                <c:pt idx="32">
                  <c:v>0.12474747474747476</c:v>
                </c:pt>
                <c:pt idx="33">
                  <c:v>0.15928346647300895</c:v>
                </c:pt>
                <c:pt idx="34">
                  <c:v>0.24031563845050216</c:v>
                </c:pt>
                <c:pt idx="35">
                  <c:v>0.22817460317460317</c:v>
                </c:pt>
                <c:pt idx="36">
                  <c:v>0.32356244384546273</c:v>
                </c:pt>
                <c:pt idx="37">
                  <c:v>0.25670049440541248</c:v>
                </c:pt>
                <c:pt idx="38">
                  <c:v>0.17048404336539932</c:v>
                </c:pt>
                <c:pt idx="39">
                  <c:v>0.13556618819776714</c:v>
                </c:pt>
                <c:pt idx="40">
                  <c:v>9.3137254901960786E-2</c:v>
                </c:pt>
                <c:pt idx="41">
                  <c:v>0</c:v>
                </c:pt>
                <c:pt idx="42">
                  <c:v>0</c:v>
                </c:pt>
                <c:pt idx="43">
                  <c:v>0</c:v>
                </c:pt>
                <c:pt idx="44">
                  <c:v>0</c:v>
                </c:pt>
                <c:pt idx="45">
                  <c:v>0</c:v>
                </c:pt>
                <c:pt idx="46">
                  <c:v>0</c:v>
                </c:pt>
                <c:pt idx="47">
                  <c:v>0</c:v>
                </c:pt>
                <c:pt idx="48">
                  <c:v>0</c:v>
                </c:pt>
                <c:pt idx="49">
                  <c:v>0</c:v>
                </c:pt>
                <c:pt idx="50">
                  <c:v>0</c:v>
                </c:pt>
                <c:pt idx="51">
                  <c:v>0</c:v>
                </c:pt>
              </c:numCache>
            </c:numRef>
          </c:val>
        </c:ser>
        <c:ser>
          <c:idx val="5"/>
          <c:order val="5"/>
          <c:tx>
            <c:strRef>
              <c:f>Shares!$AK$4</c:f>
              <c:strCache>
                <c:ptCount val="1"/>
                <c:pt idx="0">
                  <c:v>Mexico</c:v>
                </c:pt>
              </c:strCache>
            </c:strRef>
          </c:tx>
          <c:spPr>
            <a:solidFill>
              <a:schemeClr val="accent6"/>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K$5:$AK$56</c:f>
              <c:numCache>
                <c:formatCode>0%</c:formatCode>
                <c:ptCount val="52"/>
                <c:pt idx="0">
                  <c:v>0.99643493761140822</c:v>
                </c:pt>
                <c:pt idx="1">
                  <c:v>0.99038969404186794</c:v>
                </c:pt>
                <c:pt idx="2">
                  <c:v>0.98870370370370375</c:v>
                </c:pt>
                <c:pt idx="3">
                  <c:v>0.98908458360513152</c:v>
                </c:pt>
                <c:pt idx="4">
                  <c:v>0.97713920817369093</c:v>
                </c:pt>
                <c:pt idx="5">
                  <c:v>0.97229402269795662</c:v>
                </c:pt>
                <c:pt idx="6">
                  <c:v>0.95697805533871116</c:v>
                </c:pt>
                <c:pt idx="7">
                  <c:v>0.9477735982391956</c:v>
                </c:pt>
                <c:pt idx="8">
                  <c:v>0.94301889590040133</c:v>
                </c:pt>
                <c:pt idx="9">
                  <c:v>0.95269493536246108</c:v>
                </c:pt>
                <c:pt idx="10">
                  <c:v>0.93318451713255846</c:v>
                </c:pt>
                <c:pt idx="11">
                  <c:v>0.95071479446479445</c:v>
                </c:pt>
                <c:pt idx="12">
                  <c:v>0.94635536098950734</c:v>
                </c:pt>
                <c:pt idx="13">
                  <c:v>0.95912087912087918</c:v>
                </c:pt>
                <c:pt idx="14">
                  <c:v>0.95737397562671989</c:v>
                </c:pt>
                <c:pt idx="15">
                  <c:v>0.95335661742568834</c:v>
                </c:pt>
                <c:pt idx="16">
                  <c:v>0.94890299823633162</c:v>
                </c:pt>
                <c:pt idx="17">
                  <c:v>0.97695861791884286</c:v>
                </c:pt>
                <c:pt idx="18">
                  <c:v>0.98334874289138574</c:v>
                </c:pt>
                <c:pt idx="19">
                  <c:v>0.98062812520956599</c:v>
                </c:pt>
                <c:pt idx="20">
                  <c:v>0.93857064730774742</c:v>
                </c:pt>
                <c:pt idx="21">
                  <c:v>0.89285943091439923</c:v>
                </c:pt>
                <c:pt idx="22">
                  <c:v>0.73218522151722609</c:v>
                </c:pt>
                <c:pt idx="23">
                  <c:v>0.44942105666743348</c:v>
                </c:pt>
                <c:pt idx="24">
                  <c:v>7.3489278752436646E-2</c:v>
                </c:pt>
                <c:pt idx="25">
                  <c:v>4.2047469415976944E-2</c:v>
                </c:pt>
                <c:pt idx="26">
                  <c:v>5.0925925925925923E-2</c:v>
                </c:pt>
                <c:pt idx="27">
                  <c:v>4.1867954911433171E-2</c:v>
                </c:pt>
                <c:pt idx="28">
                  <c:v>3.9307128580946031E-2</c:v>
                </c:pt>
                <c:pt idx="29">
                  <c:v>2.0308444037257598E-2</c:v>
                </c:pt>
                <c:pt idx="30">
                  <c:v>1.0344553194875468E-2</c:v>
                </c:pt>
                <c:pt idx="31">
                  <c:v>1.4309764309764309E-2</c:v>
                </c:pt>
                <c:pt idx="32">
                  <c:v>2.2651892054877127E-2</c:v>
                </c:pt>
                <c:pt idx="33">
                  <c:v>3.0748791046708662E-2</c:v>
                </c:pt>
                <c:pt idx="34">
                  <c:v>4.2735042735042731E-3</c:v>
                </c:pt>
                <c:pt idx="35">
                  <c:v>4.0027605244996552E-2</c:v>
                </c:pt>
                <c:pt idx="36">
                  <c:v>3.4688013136288998E-2</c:v>
                </c:pt>
                <c:pt idx="37">
                  <c:v>7.9997458380988692E-2</c:v>
                </c:pt>
                <c:pt idx="38">
                  <c:v>0.18356527929218311</c:v>
                </c:pt>
                <c:pt idx="39">
                  <c:v>0.37860771457262682</c:v>
                </c:pt>
                <c:pt idx="40">
                  <c:v>0.5199915824915825</c:v>
                </c:pt>
                <c:pt idx="41">
                  <c:v>0.75966775599128533</c:v>
                </c:pt>
                <c:pt idx="42">
                  <c:v>0.73153812056737599</c:v>
                </c:pt>
                <c:pt idx="43">
                  <c:v>0.85946798144918801</c:v>
                </c:pt>
                <c:pt idx="44">
                  <c:v>0.93381493780589941</c:v>
                </c:pt>
                <c:pt idx="45">
                  <c:v>0.95903334657179895</c:v>
                </c:pt>
                <c:pt idx="46">
                  <c:v>0.98346829153117188</c:v>
                </c:pt>
                <c:pt idx="47">
                  <c:v>0.98849842967490031</c:v>
                </c:pt>
                <c:pt idx="48">
                  <c:v>0.99534919534919541</c:v>
                </c:pt>
                <c:pt idx="49">
                  <c:v>0.99475065616797897</c:v>
                </c:pt>
                <c:pt idx="50">
                  <c:v>0.99581213307240712</c:v>
                </c:pt>
                <c:pt idx="51">
                  <c:v>0.99181113124767373</c:v>
                </c:pt>
              </c:numCache>
            </c:numRef>
          </c:val>
        </c:ser>
        <c:ser>
          <c:idx val="6"/>
          <c:order val="6"/>
          <c:tx>
            <c:strRef>
              <c:f>Shares!$AL$4</c:f>
              <c:strCache>
                <c:ptCount val="1"/>
                <c:pt idx="0">
                  <c:v>Chile</c:v>
                </c:pt>
              </c:strCache>
            </c:strRef>
          </c:tx>
          <c:spPr>
            <a:solidFill>
              <a:srgbClr val="FFFF00"/>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L$5:$AL$56</c:f>
              <c:numCache>
                <c:formatCode>0%</c:formatCode>
                <c:ptCount val="52"/>
                <c:pt idx="0">
                  <c:v>1.7825311942959001E-3</c:v>
                </c:pt>
                <c:pt idx="1">
                  <c:v>5.3333333333333332E-3</c:v>
                </c:pt>
                <c:pt idx="2">
                  <c:v>0</c:v>
                </c:pt>
                <c:pt idx="3">
                  <c:v>3.0441400304414001E-3</c:v>
                </c:pt>
                <c:pt idx="4">
                  <c:v>5.683269476372925E-3</c:v>
                </c:pt>
                <c:pt idx="5">
                  <c:v>4.1152263374485592E-3</c:v>
                </c:pt>
                <c:pt idx="6">
                  <c:v>9.0814467863648204E-3</c:v>
                </c:pt>
                <c:pt idx="7">
                  <c:v>0</c:v>
                </c:pt>
                <c:pt idx="8">
                  <c:v>0</c:v>
                </c:pt>
                <c:pt idx="9">
                  <c:v>0</c:v>
                </c:pt>
                <c:pt idx="10">
                  <c:v>0</c:v>
                </c:pt>
                <c:pt idx="11">
                  <c:v>0</c:v>
                </c:pt>
                <c:pt idx="12">
                  <c:v>1.6025641025641027E-3</c:v>
                </c:pt>
                <c:pt idx="13">
                  <c:v>0</c:v>
                </c:pt>
                <c:pt idx="14">
                  <c:v>0</c:v>
                </c:pt>
                <c:pt idx="15">
                  <c:v>0</c:v>
                </c:pt>
                <c:pt idx="16">
                  <c:v>0</c:v>
                </c:pt>
                <c:pt idx="17">
                  <c:v>0</c:v>
                </c:pt>
                <c:pt idx="18">
                  <c:v>0</c:v>
                </c:pt>
                <c:pt idx="19">
                  <c:v>0</c:v>
                </c:pt>
                <c:pt idx="20">
                  <c:v>6.9808027923211171E-3</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1.9047619047619048E-3</c:v>
                </c:pt>
                <c:pt idx="51">
                  <c:v>4.9426107968586963E-3</c:v>
                </c:pt>
              </c:numCache>
            </c:numRef>
          </c:val>
        </c:ser>
        <c:ser>
          <c:idx val="7"/>
          <c:order val="7"/>
          <c:tx>
            <c:strRef>
              <c:f>Shares!$AM$4</c:f>
              <c:strCache>
                <c:ptCount val="1"/>
                <c:pt idx="0">
                  <c:v>Guatemala</c:v>
                </c:pt>
              </c:strCache>
            </c:strRef>
          </c:tx>
          <c:spPr>
            <a:solidFill>
              <a:schemeClr val="bg1">
                <a:lumMod val="75000"/>
              </a:schemeClr>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M$5:$AM$56</c:f>
              <c:numCache>
                <c:formatCode>0%</c:formatCode>
                <c:ptCount val="52"/>
                <c:pt idx="0">
                  <c:v>1.7825311942959001E-3</c:v>
                </c:pt>
                <c:pt idx="1">
                  <c:v>4.2769726247987123E-3</c:v>
                </c:pt>
                <c:pt idx="2">
                  <c:v>1.1296296296296296E-2</c:v>
                </c:pt>
                <c:pt idx="3">
                  <c:v>7.8712763644270493E-3</c:v>
                </c:pt>
                <c:pt idx="4">
                  <c:v>1.7177522349936143E-2</c:v>
                </c:pt>
                <c:pt idx="5">
                  <c:v>2.3590750964594776E-2</c:v>
                </c:pt>
                <c:pt idx="6">
                  <c:v>3.3940497874924105E-2</c:v>
                </c:pt>
                <c:pt idx="7">
                  <c:v>5.2226401760804432E-2</c:v>
                </c:pt>
                <c:pt idx="8">
                  <c:v>5.698110409959866E-2</c:v>
                </c:pt>
                <c:pt idx="9">
                  <c:v>4.7305064637538863E-2</c:v>
                </c:pt>
                <c:pt idx="10">
                  <c:v>6.681548286744142E-2</c:v>
                </c:pt>
                <c:pt idx="11">
                  <c:v>4.9285205535205538E-2</c:v>
                </c:pt>
                <c:pt idx="12">
                  <c:v>5.2042074907928559E-2</c:v>
                </c:pt>
                <c:pt idx="13">
                  <c:v>4.0879120879120878E-2</c:v>
                </c:pt>
                <c:pt idx="14">
                  <c:v>4.2626024373280114E-2</c:v>
                </c:pt>
                <c:pt idx="15">
                  <c:v>4.6643382574311699E-2</c:v>
                </c:pt>
                <c:pt idx="16">
                  <c:v>5.109700176366843E-2</c:v>
                </c:pt>
                <c:pt idx="17">
                  <c:v>2.3041382081157094E-2</c:v>
                </c:pt>
                <c:pt idx="18">
                  <c:v>1.6651257108614266E-2</c:v>
                </c:pt>
                <c:pt idx="19">
                  <c:v>9.7624777702649216E-3</c:v>
                </c:pt>
                <c:pt idx="20">
                  <c:v>7.8058067586863388E-3</c:v>
                </c:pt>
                <c:pt idx="21">
                  <c:v>1.1186311926269643E-2</c:v>
                </c:pt>
                <c:pt idx="22">
                  <c:v>2.1817777035676517E-2</c:v>
                </c:pt>
                <c:pt idx="23">
                  <c:v>2.5000639010300845E-2</c:v>
                </c:pt>
                <c:pt idx="24">
                  <c:v>3.7771779877043034E-2</c:v>
                </c:pt>
                <c:pt idx="25">
                  <c:v>5.2679139882113736E-2</c:v>
                </c:pt>
                <c:pt idx="26">
                  <c:v>4.9879681941828825E-2</c:v>
                </c:pt>
                <c:pt idx="27">
                  <c:v>3.9899803184827339E-2</c:v>
                </c:pt>
                <c:pt idx="28">
                  <c:v>6.3076467540158401E-2</c:v>
                </c:pt>
                <c:pt idx="29">
                  <c:v>0.10987199941028113</c:v>
                </c:pt>
                <c:pt idx="30">
                  <c:v>0.16108379088087849</c:v>
                </c:pt>
                <c:pt idx="31">
                  <c:v>0.20345117845117847</c:v>
                </c:pt>
                <c:pt idx="32">
                  <c:v>0.27465701794059999</c:v>
                </c:pt>
                <c:pt idx="33">
                  <c:v>0.40392269454436952</c:v>
                </c:pt>
                <c:pt idx="34">
                  <c:v>0.48657862144232306</c:v>
                </c:pt>
                <c:pt idx="35">
                  <c:v>0.54921497584541068</c:v>
                </c:pt>
                <c:pt idx="36">
                  <c:v>0.55167379248381199</c:v>
                </c:pt>
                <c:pt idx="37">
                  <c:v>0.61305968568644886</c:v>
                </c:pt>
                <c:pt idx="38">
                  <c:v>0.62755199697190622</c:v>
                </c:pt>
                <c:pt idx="39">
                  <c:v>0.47667907141591348</c:v>
                </c:pt>
                <c:pt idx="40">
                  <c:v>0.37992671816201229</c:v>
                </c:pt>
                <c:pt idx="41">
                  <c:v>0.24033224400871459</c:v>
                </c:pt>
                <c:pt idx="42">
                  <c:v>0.26846187943262412</c:v>
                </c:pt>
                <c:pt idx="43">
                  <c:v>0.1405320185508119</c:v>
                </c:pt>
                <c:pt idx="44">
                  <c:v>6.6185062194100613E-2</c:v>
                </c:pt>
                <c:pt idx="45">
                  <c:v>4.0966653428201168E-2</c:v>
                </c:pt>
                <c:pt idx="46">
                  <c:v>1.6531708468828146E-2</c:v>
                </c:pt>
                <c:pt idx="47">
                  <c:v>1.1501570325099736E-2</c:v>
                </c:pt>
                <c:pt idx="48">
                  <c:v>4.6508046508046512E-3</c:v>
                </c:pt>
                <c:pt idx="49">
                  <c:v>5.2493438320209973E-3</c:v>
                </c:pt>
                <c:pt idx="50">
                  <c:v>2.2831050228310501E-3</c:v>
                </c:pt>
                <c:pt idx="51">
                  <c:v>3.246257955467687E-3</c:v>
                </c:pt>
              </c:numCache>
            </c:numRef>
          </c:val>
        </c:ser>
        <c:dLbls>
          <c:showLegendKey val="0"/>
          <c:showVal val="0"/>
          <c:showCatName val="0"/>
          <c:showSerName val="0"/>
          <c:showPercent val="0"/>
          <c:showBubbleSize val="0"/>
        </c:dLbls>
        <c:gapWidth val="150"/>
        <c:overlap val="100"/>
        <c:axId val="336193856"/>
        <c:axId val="336194248"/>
      </c:barChart>
      <c:catAx>
        <c:axId val="336193856"/>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GB" sz="1400" dirty="0">
                    <a:solidFill>
                      <a:schemeClr val="bg1"/>
                    </a:solidFill>
                  </a:rPr>
                  <a:t>Week</a:t>
                </a:r>
              </a:p>
            </c:rich>
          </c:tx>
          <c:layout>
            <c:manualLayout>
              <c:xMode val="edge"/>
              <c:yMode val="edge"/>
              <c:x val="0.49324651726226532"/>
              <c:y val="0.9227930883639545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36194248"/>
        <c:crosses val="autoZero"/>
        <c:auto val="1"/>
        <c:lblAlgn val="ctr"/>
        <c:lblOffset val="100"/>
        <c:noMultiLvlLbl val="0"/>
      </c:catAx>
      <c:valAx>
        <c:axId val="33619424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36193856"/>
        <c:crosses val="autoZero"/>
        <c:crossBetween val="between"/>
      </c:valAx>
      <c:spPr>
        <a:noFill/>
        <a:ln>
          <a:noFill/>
        </a:ln>
        <a:effectLst/>
      </c:spPr>
    </c:plotArea>
    <c:plotVisOnly val="1"/>
    <c:dispBlanksAs val="gap"/>
    <c:showDLblsOverMax val="0"/>
  </c:chart>
  <c:spPr>
    <a:solidFill>
      <a:schemeClr val="tx1">
        <a:lumMod val="65000"/>
        <a:lumOff val="35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ares!$AT$4</c:f>
              <c:strCache>
                <c:ptCount val="1"/>
                <c:pt idx="0">
                  <c:v>Sal-Wat</c:v>
                </c:pt>
              </c:strCache>
            </c:strRef>
          </c:tx>
          <c:spPr>
            <a:solidFill>
              <a:schemeClr val="accent1"/>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T$5:$AT$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5.8788947677836567E-4</c:v>
                </c:pt>
                <c:pt idx="19">
                  <c:v>1.4947683109118087E-3</c:v>
                </c:pt>
                <c:pt idx="20">
                  <c:v>1.9594503384710176E-2</c:v>
                </c:pt>
                <c:pt idx="21">
                  <c:v>7.1493076427846053E-2</c:v>
                </c:pt>
                <c:pt idx="22">
                  <c:v>0.14633052895381038</c:v>
                </c:pt>
                <c:pt idx="23">
                  <c:v>0.22908368098930712</c:v>
                </c:pt>
                <c:pt idx="24">
                  <c:v>0.27516397849462365</c:v>
                </c:pt>
                <c:pt idx="25">
                  <c:v>0.38083848389919001</c:v>
                </c:pt>
                <c:pt idx="26">
                  <c:v>0.42109039985631219</c:v>
                </c:pt>
                <c:pt idx="27">
                  <c:v>0.46480512876393881</c:v>
                </c:pt>
                <c:pt idx="28">
                  <c:v>0.54310300765793951</c:v>
                </c:pt>
                <c:pt idx="29">
                  <c:v>0.5501322108898602</c:v>
                </c:pt>
                <c:pt idx="30">
                  <c:v>0.52142423676804628</c:v>
                </c:pt>
                <c:pt idx="31">
                  <c:v>0.52003804637119644</c:v>
                </c:pt>
                <c:pt idx="32">
                  <c:v>0.52702673213311513</c:v>
                </c:pt>
                <c:pt idx="33">
                  <c:v>0.49316605467156266</c:v>
                </c:pt>
                <c:pt idx="34">
                  <c:v>0.52672443032900629</c:v>
                </c:pt>
                <c:pt idx="35">
                  <c:v>0.44750626707075242</c:v>
                </c:pt>
                <c:pt idx="36">
                  <c:v>0.35925655339502699</c:v>
                </c:pt>
                <c:pt idx="37">
                  <c:v>0.25856528954586211</c:v>
                </c:pt>
                <c:pt idx="38">
                  <c:v>0.15262373044729363</c:v>
                </c:pt>
                <c:pt idx="39">
                  <c:v>0.11755368814192342</c:v>
                </c:pt>
                <c:pt idx="40">
                  <c:v>6.4244935668600622E-2</c:v>
                </c:pt>
                <c:pt idx="41">
                  <c:v>4.1574720082794552E-2</c:v>
                </c:pt>
                <c:pt idx="42">
                  <c:v>3.3364044477817434E-2</c:v>
                </c:pt>
                <c:pt idx="43">
                  <c:v>1.7783526994669414E-2</c:v>
                </c:pt>
                <c:pt idx="44">
                  <c:v>1.4662829505989185E-2</c:v>
                </c:pt>
                <c:pt idx="45">
                  <c:v>1.4150250341889034E-2</c:v>
                </c:pt>
                <c:pt idx="46">
                  <c:v>2.36968791500664E-3</c:v>
                </c:pt>
                <c:pt idx="47">
                  <c:v>3.1362127195214955E-3</c:v>
                </c:pt>
                <c:pt idx="48">
                  <c:v>1.708004704580047E-3</c:v>
                </c:pt>
                <c:pt idx="49">
                  <c:v>3.2821801456280508E-3</c:v>
                </c:pt>
                <c:pt idx="50">
                  <c:v>1.6168660739399562E-3</c:v>
                </c:pt>
                <c:pt idx="51">
                  <c:v>0</c:v>
                </c:pt>
              </c:numCache>
            </c:numRef>
          </c:val>
        </c:ser>
        <c:ser>
          <c:idx val="1"/>
          <c:order val="1"/>
          <c:tx>
            <c:strRef>
              <c:f>Shares!$AU$4</c:f>
              <c:strCache>
                <c:ptCount val="1"/>
                <c:pt idx="0">
                  <c:v>Santa Maria</c:v>
                </c:pt>
              </c:strCache>
            </c:strRef>
          </c:tx>
          <c:spPr>
            <a:solidFill>
              <a:schemeClr val="accent2"/>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U$5:$AU$56</c:f>
              <c:numCache>
                <c:formatCode>0%</c:formatCode>
                <c:ptCount val="52"/>
                <c:pt idx="0">
                  <c:v>8.0321285140562252E-4</c:v>
                </c:pt>
                <c:pt idx="1">
                  <c:v>7.9176563737133816E-4</c:v>
                </c:pt>
                <c:pt idx="2">
                  <c:v>1.6542597187758478E-3</c:v>
                </c:pt>
                <c:pt idx="3">
                  <c:v>8.8888888888888882E-4</c:v>
                </c:pt>
                <c:pt idx="4">
                  <c:v>1.9157088122605363E-3</c:v>
                </c:pt>
                <c:pt idx="5">
                  <c:v>3.4965034965034965E-3</c:v>
                </c:pt>
                <c:pt idx="6">
                  <c:v>1.9550342130987292E-3</c:v>
                </c:pt>
                <c:pt idx="7">
                  <c:v>8.7950747581354435E-4</c:v>
                </c:pt>
                <c:pt idx="8">
                  <c:v>8.3542188805346695E-4</c:v>
                </c:pt>
                <c:pt idx="9">
                  <c:v>2.8990684509906297E-3</c:v>
                </c:pt>
                <c:pt idx="10">
                  <c:v>1.7873100983020554E-3</c:v>
                </c:pt>
                <c:pt idx="11">
                  <c:v>8.1300813008130081E-4</c:v>
                </c:pt>
                <c:pt idx="12">
                  <c:v>7.9176563737133816E-4</c:v>
                </c:pt>
                <c:pt idx="13">
                  <c:v>0</c:v>
                </c:pt>
                <c:pt idx="14">
                  <c:v>8.2508250825082509E-4</c:v>
                </c:pt>
                <c:pt idx="15">
                  <c:v>6.8306010928961749E-4</c:v>
                </c:pt>
                <c:pt idx="16">
                  <c:v>5.2002080083203334E-4</c:v>
                </c:pt>
                <c:pt idx="17">
                  <c:v>6.1500615006150063E-4</c:v>
                </c:pt>
                <c:pt idx="18">
                  <c:v>8.4602368866328254E-4</c:v>
                </c:pt>
                <c:pt idx="19">
                  <c:v>7.4738415545590436E-4</c:v>
                </c:pt>
                <c:pt idx="20">
                  <c:v>5.2742616033755281E-3</c:v>
                </c:pt>
                <c:pt idx="21">
                  <c:v>1.3866402830245247E-2</c:v>
                </c:pt>
                <c:pt idx="22">
                  <c:v>2.0187931287622963E-2</c:v>
                </c:pt>
                <c:pt idx="23">
                  <c:v>2.4957901545923325E-2</c:v>
                </c:pt>
                <c:pt idx="24">
                  <c:v>5.5922043010752688E-2</c:v>
                </c:pt>
                <c:pt idx="25">
                  <c:v>6.7725002116670888E-2</c:v>
                </c:pt>
                <c:pt idx="26">
                  <c:v>5.9988549875395702E-2</c:v>
                </c:pt>
                <c:pt idx="27">
                  <c:v>7.4713958810068648E-2</c:v>
                </c:pt>
                <c:pt idx="28">
                  <c:v>9.6126968460569118E-2</c:v>
                </c:pt>
                <c:pt idx="29">
                  <c:v>0.11326965625168635</c:v>
                </c:pt>
                <c:pt idx="30">
                  <c:v>0.1350425292673316</c:v>
                </c:pt>
                <c:pt idx="31">
                  <c:v>0.13437437280208034</c:v>
                </c:pt>
                <c:pt idx="32">
                  <c:v>0.14381923986179304</c:v>
                </c:pt>
                <c:pt idx="33">
                  <c:v>0.15024479804161564</c:v>
                </c:pt>
                <c:pt idx="34">
                  <c:v>0.14777918246944796</c:v>
                </c:pt>
                <c:pt idx="35">
                  <c:v>0.13484852363632546</c:v>
                </c:pt>
                <c:pt idx="36">
                  <c:v>0.11051611832774022</c:v>
                </c:pt>
                <c:pt idx="37">
                  <c:v>8.6835129988389895E-2</c:v>
                </c:pt>
                <c:pt idx="38">
                  <c:v>5.5614523753836131E-2</c:v>
                </c:pt>
                <c:pt idx="39">
                  <c:v>4.8993793595869715E-2</c:v>
                </c:pt>
                <c:pt idx="40">
                  <c:v>2.6625573277946745E-2</c:v>
                </c:pt>
                <c:pt idx="41">
                  <c:v>2.1734064507296539E-2</c:v>
                </c:pt>
                <c:pt idx="42">
                  <c:v>2.3086598316406928E-2</c:v>
                </c:pt>
                <c:pt idx="43">
                  <c:v>1.7902439916544263E-2</c:v>
                </c:pt>
                <c:pt idx="44">
                  <c:v>1.0669927224344239E-2</c:v>
                </c:pt>
                <c:pt idx="45">
                  <c:v>1.0912193853908838E-2</c:v>
                </c:pt>
                <c:pt idx="46">
                  <c:v>5.1170318725099603E-3</c:v>
                </c:pt>
                <c:pt idx="47">
                  <c:v>7.5237819150078379E-3</c:v>
                </c:pt>
                <c:pt idx="48">
                  <c:v>5.0834255800009222E-3</c:v>
                </c:pt>
                <c:pt idx="49">
                  <c:v>3.3321653500075544E-3</c:v>
                </c:pt>
                <c:pt idx="50">
                  <c:v>4.3775780543618874E-3</c:v>
                </c:pt>
                <c:pt idx="51">
                  <c:v>2.8437528437528438E-3</c:v>
                </c:pt>
              </c:numCache>
            </c:numRef>
          </c:val>
        </c:ser>
        <c:ser>
          <c:idx val="2"/>
          <c:order val="2"/>
          <c:tx>
            <c:strRef>
              <c:f>Shares!$AV$4</c:f>
              <c:strCache>
                <c:ptCount val="1"/>
                <c:pt idx="0">
                  <c:v>Oxnard</c:v>
                </c:pt>
              </c:strCache>
            </c:strRef>
          </c:tx>
          <c:spPr>
            <a:solidFill>
              <a:schemeClr val="accent3"/>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V$5:$AV$56</c:f>
              <c:numCache>
                <c:formatCode>0%</c:formatCode>
                <c:ptCount val="52"/>
                <c:pt idx="0">
                  <c:v>8.0321285140562252E-4</c:v>
                </c:pt>
                <c:pt idx="1">
                  <c:v>7.9176563737133816E-4</c:v>
                </c:pt>
                <c:pt idx="2">
                  <c:v>0</c:v>
                </c:pt>
                <c:pt idx="3">
                  <c:v>0</c:v>
                </c:pt>
                <c:pt idx="4">
                  <c:v>0</c:v>
                </c:pt>
                <c:pt idx="5">
                  <c:v>0</c:v>
                </c:pt>
                <c:pt idx="6">
                  <c:v>0</c:v>
                </c:pt>
                <c:pt idx="7">
                  <c:v>0</c:v>
                </c:pt>
                <c:pt idx="8">
                  <c:v>0</c:v>
                </c:pt>
                <c:pt idx="9">
                  <c:v>0</c:v>
                </c:pt>
                <c:pt idx="10">
                  <c:v>0</c:v>
                </c:pt>
                <c:pt idx="11">
                  <c:v>0</c:v>
                </c:pt>
                <c:pt idx="12">
                  <c:v>0</c:v>
                </c:pt>
                <c:pt idx="13">
                  <c:v>0</c:v>
                </c:pt>
                <c:pt idx="14">
                  <c:v>0</c:v>
                </c:pt>
                <c:pt idx="15">
                  <c:v>2.1645021645021645E-3</c:v>
                </c:pt>
                <c:pt idx="16">
                  <c:v>1.1947846334906028E-3</c:v>
                </c:pt>
                <c:pt idx="17">
                  <c:v>2.9263651415140108E-3</c:v>
                </c:pt>
                <c:pt idx="18">
                  <c:v>4.2659289698206782E-3</c:v>
                </c:pt>
                <c:pt idx="19">
                  <c:v>9.4052635129747864E-3</c:v>
                </c:pt>
                <c:pt idx="20">
                  <c:v>2.2647470914597484E-2</c:v>
                </c:pt>
                <c:pt idx="21">
                  <c:v>1.9188903591517033E-2</c:v>
                </c:pt>
                <c:pt idx="22">
                  <c:v>3.7771169279439749E-2</c:v>
                </c:pt>
                <c:pt idx="23">
                  <c:v>4.1528948969965306E-2</c:v>
                </c:pt>
                <c:pt idx="24">
                  <c:v>3.559677419354839E-2</c:v>
                </c:pt>
                <c:pt idx="25">
                  <c:v>2.6571628143256285E-2</c:v>
                </c:pt>
                <c:pt idx="26">
                  <c:v>3.4282458858130714E-2</c:v>
                </c:pt>
                <c:pt idx="27">
                  <c:v>2.5900802731466346E-2</c:v>
                </c:pt>
                <c:pt idx="28">
                  <c:v>1.3991969003997873E-2</c:v>
                </c:pt>
                <c:pt idx="29">
                  <c:v>1.4273379742053857E-2</c:v>
                </c:pt>
                <c:pt idx="30">
                  <c:v>1.9368873427526214E-2</c:v>
                </c:pt>
                <c:pt idx="31">
                  <c:v>1.1739399809768144E-2</c:v>
                </c:pt>
                <c:pt idx="32">
                  <c:v>1.3152936897617748E-2</c:v>
                </c:pt>
                <c:pt idx="33">
                  <c:v>7.5309397524819799E-3</c:v>
                </c:pt>
                <c:pt idx="34">
                  <c:v>1.4587277604760876E-2</c:v>
                </c:pt>
                <c:pt idx="35">
                  <c:v>1.0359948773794028E-2</c:v>
                </c:pt>
                <c:pt idx="36">
                  <c:v>8.9083889522239539E-3</c:v>
                </c:pt>
                <c:pt idx="37">
                  <c:v>7.2036916596983497E-3</c:v>
                </c:pt>
                <c:pt idx="38">
                  <c:v>6.2659380692167586E-3</c:v>
                </c:pt>
                <c:pt idx="39">
                  <c:v>1.5343549184379635E-2</c:v>
                </c:pt>
                <c:pt idx="40">
                  <c:v>6.6447625276970729E-3</c:v>
                </c:pt>
                <c:pt idx="41">
                  <c:v>9.6478735584038435E-3</c:v>
                </c:pt>
                <c:pt idx="42">
                  <c:v>1.204504974542576E-2</c:v>
                </c:pt>
                <c:pt idx="43">
                  <c:v>8.0304096451966258E-3</c:v>
                </c:pt>
                <c:pt idx="44">
                  <c:v>5.7659775042938127E-3</c:v>
                </c:pt>
                <c:pt idx="45">
                  <c:v>5.6538839724680429E-3</c:v>
                </c:pt>
                <c:pt idx="46">
                  <c:v>5.7810424966799473E-3</c:v>
                </c:pt>
                <c:pt idx="47">
                  <c:v>6.6004208808434798E-3</c:v>
                </c:pt>
                <c:pt idx="48">
                  <c:v>4.3223905723905722E-3</c:v>
                </c:pt>
                <c:pt idx="49">
                  <c:v>5.0807994252724331E-3</c:v>
                </c:pt>
                <c:pt idx="50">
                  <c:v>4.738951347385334E-3</c:v>
                </c:pt>
                <c:pt idx="51">
                  <c:v>4.8457548457548462E-3</c:v>
                </c:pt>
              </c:numCache>
            </c:numRef>
          </c:val>
        </c:ser>
        <c:ser>
          <c:idx val="3"/>
          <c:order val="3"/>
          <c:tx>
            <c:strRef>
              <c:f>Shares!$AW$4</c:f>
              <c:strCache>
                <c:ptCount val="1"/>
                <c:pt idx="0">
                  <c:v>GA NC</c:v>
                </c:pt>
              </c:strCache>
            </c:strRef>
          </c:tx>
          <c:spPr>
            <a:solidFill>
              <a:schemeClr val="accent4"/>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W$5:$AW$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1.1554012966717403E-2</c:v>
                </c:pt>
                <c:pt idx="21">
                  <c:v>7.7180848941272071E-2</c:v>
                </c:pt>
                <c:pt idx="22">
                  <c:v>0.24604736695818549</c:v>
                </c:pt>
                <c:pt idx="23">
                  <c:v>0.45092173404333113</c:v>
                </c:pt>
                <c:pt idx="24">
                  <c:v>0.54235944700460836</c:v>
                </c:pt>
                <c:pt idx="25">
                  <c:v>0.44911840657014651</c:v>
                </c:pt>
                <c:pt idx="26">
                  <c:v>0.33513616667789226</c:v>
                </c:pt>
                <c:pt idx="27">
                  <c:v>0.22552032254549417</c:v>
                </c:pt>
                <c:pt idx="28">
                  <c:v>0.10945272316563415</c:v>
                </c:pt>
                <c:pt idx="29">
                  <c:v>8.9417732448329831E-2</c:v>
                </c:pt>
                <c:pt idx="30">
                  <c:v>6.4759725194116144E-2</c:v>
                </c:pt>
                <c:pt idx="31">
                  <c:v>6.4625601019223891E-2</c:v>
                </c:pt>
                <c:pt idx="32">
                  <c:v>6.2280414620840156E-2</c:v>
                </c:pt>
                <c:pt idx="33">
                  <c:v>6.7999456004351963E-2</c:v>
                </c:pt>
                <c:pt idx="34">
                  <c:v>4.975486417316765E-2</c:v>
                </c:pt>
                <c:pt idx="35">
                  <c:v>3.0658595454100889E-2</c:v>
                </c:pt>
                <c:pt idx="36">
                  <c:v>1.6045626223214173E-2</c:v>
                </c:pt>
                <c:pt idx="37">
                  <c:v>9.0372844637114959E-3</c:v>
                </c:pt>
                <c:pt idx="38">
                  <c:v>2.7784983427006776E-3</c:v>
                </c:pt>
                <c:pt idx="39">
                  <c:v>1.1111111111111111E-3</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4"/>
          <c:order val="4"/>
          <c:tx>
            <c:strRef>
              <c:f>Shares!$AX$4</c:f>
              <c:strCache>
                <c:ptCount val="1"/>
                <c:pt idx="0">
                  <c:v>OR WA</c:v>
                </c:pt>
              </c:strCache>
            </c:strRef>
          </c:tx>
          <c:spPr>
            <a:solidFill>
              <a:srgbClr val="C00000"/>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X$5:$AX$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5"/>
          <c:order val="5"/>
          <c:tx>
            <c:strRef>
              <c:f>Shares!$AY$4</c:f>
              <c:strCache>
                <c:ptCount val="1"/>
                <c:pt idx="0">
                  <c:v>Mexico</c:v>
                </c:pt>
              </c:strCache>
            </c:strRef>
          </c:tx>
          <c:spPr>
            <a:solidFill>
              <a:schemeClr val="accent6"/>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Y$5:$AY$56</c:f>
              <c:numCache>
                <c:formatCode>0%</c:formatCode>
                <c:ptCount val="52"/>
                <c:pt idx="0">
                  <c:v>0.98842695985858275</c:v>
                </c:pt>
                <c:pt idx="1">
                  <c:v>0.98459901762557622</c:v>
                </c:pt>
                <c:pt idx="2">
                  <c:v>0.97340839692282832</c:v>
                </c:pt>
                <c:pt idx="3">
                  <c:v>0.97794530479735775</c:v>
                </c:pt>
                <c:pt idx="4">
                  <c:v>0.96131641866405293</c:v>
                </c:pt>
                <c:pt idx="5">
                  <c:v>0.95672304881702008</c:v>
                </c:pt>
                <c:pt idx="6">
                  <c:v>0.96587210630592157</c:v>
                </c:pt>
                <c:pt idx="7">
                  <c:v>0.9776681125183696</c:v>
                </c:pt>
                <c:pt idx="8">
                  <c:v>0.97636555021102733</c:v>
                </c:pt>
                <c:pt idx="9">
                  <c:v>0.97322176383026493</c:v>
                </c:pt>
                <c:pt idx="10">
                  <c:v>0.971884828238192</c:v>
                </c:pt>
                <c:pt idx="11">
                  <c:v>0.96913851436651022</c:v>
                </c:pt>
                <c:pt idx="12">
                  <c:v>0.97593033155099473</c:v>
                </c:pt>
                <c:pt idx="13">
                  <c:v>0.97321176081769833</c:v>
                </c:pt>
                <c:pt idx="14">
                  <c:v>0.97647044513796588</c:v>
                </c:pt>
                <c:pt idx="15">
                  <c:v>0.97904221610539788</c:v>
                </c:pt>
                <c:pt idx="16">
                  <c:v>0.98628277174430623</c:v>
                </c:pt>
                <c:pt idx="17">
                  <c:v>0.97605298844700561</c:v>
                </c:pt>
                <c:pt idx="18">
                  <c:v>0.97834806041235822</c:v>
                </c:pt>
                <c:pt idx="19">
                  <c:v>0.9760085821907083</c:v>
                </c:pt>
                <c:pt idx="20">
                  <c:v>0.92218488468880422</c:v>
                </c:pt>
                <c:pt idx="21">
                  <c:v>0.77195775629785679</c:v>
                </c:pt>
                <c:pt idx="22">
                  <c:v>0.50014635961619625</c:v>
                </c:pt>
                <c:pt idx="23">
                  <c:v>0.19375643513574548</c:v>
                </c:pt>
                <c:pt idx="24">
                  <c:v>3.7942396313364053E-2</c:v>
                </c:pt>
                <c:pt idx="25">
                  <c:v>1.8882468320492195E-2</c:v>
                </c:pt>
                <c:pt idx="26">
                  <c:v>3.4154206236950223E-2</c:v>
                </c:pt>
                <c:pt idx="27">
                  <c:v>1.7538411245505064E-2</c:v>
                </c:pt>
                <c:pt idx="28">
                  <c:v>2.2817545993167484E-2</c:v>
                </c:pt>
                <c:pt idx="29">
                  <c:v>3.2863849765258218E-2</c:v>
                </c:pt>
                <c:pt idx="30">
                  <c:v>1.6665178841137204E-2</c:v>
                </c:pt>
                <c:pt idx="31">
                  <c:v>2.7922196916149639E-2</c:v>
                </c:pt>
                <c:pt idx="32">
                  <c:v>2.5155846517548649E-2</c:v>
                </c:pt>
                <c:pt idx="33">
                  <c:v>3.6226710186318511E-2</c:v>
                </c:pt>
                <c:pt idx="34">
                  <c:v>7.9463476303536729E-2</c:v>
                </c:pt>
                <c:pt idx="35">
                  <c:v>0.13677574225157685</c:v>
                </c:pt>
                <c:pt idx="36">
                  <c:v>0.32449095557446683</c:v>
                </c:pt>
                <c:pt idx="37">
                  <c:v>0.5134371064977955</c:v>
                </c:pt>
                <c:pt idx="38">
                  <c:v>0.63889165302318329</c:v>
                </c:pt>
                <c:pt idx="39">
                  <c:v>0.76918877354863513</c:v>
                </c:pt>
                <c:pt idx="40">
                  <c:v>0.87409680489621788</c:v>
                </c:pt>
                <c:pt idx="41">
                  <c:v>0.86664797215865097</c:v>
                </c:pt>
                <c:pt idx="42">
                  <c:v>0.9244722797340591</c:v>
                </c:pt>
                <c:pt idx="43">
                  <c:v>0.95037191716312908</c:v>
                </c:pt>
                <c:pt idx="44">
                  <c:v>0.96232228013099752</c:v>
                </c:pt>
                <c:pt idx="45">
                  <c:v>0.96333593282021723</c:v>
                </c:pt>
                <c:pt idx="46">
                  <c:v>0.98256088274886799</c:v>
                </c:pt>
                <c:pt idx="47">
                  <c:v>0.97951210933731037</c:v>
                </c:pt>
                <c:pt idx="48">
                  <c:v>0.98137730040127291</c:v>
                </c:pt>
                <c:pt idx="49">
                  <c:v>0.98513779252960665</c:v>
                </c:pt>
                <c:pt idx="50">
                  <c:v>0.98456292734510453</c:v>
                </c:pt>
                <c:pt idx="51">
                  <c:v>0.9898926973395058</c:v>
                </c:pt>
              </c:numCache>
            </c:numRef>
          </c:val>
        </c:ser>
        <c:ser>
          <c:idx val="6"/>
          <c:order val="6"/>
          <c:tx>
            <c:strRef>
              <c:f>Shares!$AZ$4</c:f>
              <c:strCache>
                <c:ptCount val="1"/>
                <c:pt idx="0">
                  <c:v>Chile</c:v>
                </c:pt>
              </c:strCache>
            </c:strRef>
          </c:tx>
          <c:spPr>
            <a:solidFill>
              <a:srgbClr val="FFFF00"/>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Z$5:$AZ$56</c:f>
              <c:numCache>
                <c:formatCode>0%</c:formatCode>
                <c:ptCount val="52"/>
                <c:pt idx="0">
                  <c:v>0</c:v>
                </c:pt>
                <c:pt idx="1">
                  <c:v>0</c:v>
                </c:pt>
                <c:pt idx="2">
                  <c:v>0</c:v>
                </c:pt>
                <c:pt idx="3">
                  <c:v>0</c:v>
                </c:pt>
                <c:pt idx="4">
                  <c:v>8.7209302325581394E-3</c:v>
                </c:pt>
                <c:pt idx="5">
                  <c:v>1.1603375527426159E-2</c:v>
                </c:pt>
                <c:pt idx="6">
                  <c:v>4.8875855327468231E-3</c:v>
                </c:pt>
                <c:pt idx="7">
                  <c:v>0</c:v>
                </c:pt>
                <c:pt idx="8">
                  <c:v>4.1152263374485592E-3</c:v>
                </c:pt>
                <c:pt idx="9">
                  <c:v>5.5187637969094927E-3</c:v>
                </c:pt>
                <c:pt idx="10">
                  <c:v>0</c:v>
                </c:pt>
                <c:pt idx="11">
                  <c:v>9.5238095238095229E-3</c:v>
                </c:pt>
                <c:pt idx="12">
                  <c:v>0</c:v>
                </c:pt>
                <c:pt idx="13">
                  <c:v>0</c:v>
                </c:pt>
                <c:pt idx="14">
                  <c:v>0</c:v>
                </c:pt>
                <c:pt idx="15">
                  <c:v>0</c:v>
                </c:pt>
                <c:pt idx="16">
                  <c:v>0</c:v>
                </c:pt>
                <c:pt idx="17">
                  <c:v>3.0750307503075031E-3</c:v>
                </c:pt>
                <c:pt idx="18">
                  <c:v>3.3840947546531302E-3</c:v>
                </c:pt>
                <c:pt idx="19">
                  <c:v>0</c:v>
                </c:pt>
                <c:pt idx="20">
                  <c:v>0</c:v>
                </c:pt>
                <c:pt idx="21">
                  <c:v>0</c:v>
                </c:pt>
                <c:pt idx="22">
                  <c:v>0</c:v>
                </c:pt>
                <c:pt idx="23">
                  <c:v>0</c:v>
                </c:pt>
                <c:pt idx="24">
                  <c:v>0</c:v>
                </c:pt>
                <c:pt idx="25">
                  <c:v>0</c:v>
                </c:pt>
                <c:pt idx="26">
                  <c:v>0</c:v>
                </c:pt>
                <c:pt idx="27">
                  <c:v>3.7280701754385963E-2</c:v>
                </c:pt>
                <c:pt idx="28">
                  <c:v>0</c:v>
                </c:pt>
                <c:pt idx="29">
                  <c:v>0</c:v>
                </c:pt>
                <c:pt idx="30">
                  <c:v>0</c:v>
                </c:pt>
                <c:pt idx="31">
                  <c:v>0</c:v>
                </c:pt>
                <c:pt idx="32">
                  <c:v>0</c:v>
                </c:pt>
                <c:pt idx="33">
                  <c:v>7.3099415204678359E-3</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ser>
        <c:ser>
          <c:idx val="7"/>
          <c:order val="7"/>
          <c:tx>
            <c:strRef>
              <c:f>Shares!$BA$4</c:f>
              <c:strCache>
                <c:ptCount val="1"/>
                <c:pt idx="0">
                  <c:v>Guatemala</c:v>
                </c:pt>
              </c:strCache>
            </c:strRef>
          </c:tx>
          <c:spPr>
            <a:solidFill>
              <a:schemeClr val="bg1">
                <a:lumMod val="75000"/>
              </a:schemeClr>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BA$5:$BA$56</c:f>
              <c:numCache>
                <c:formatCode>0%</c:formatCode>
                <c:ptCount val="52"/>
                <c:pt idx="0">
                  <c:v>9.9666144386060581E-3</c:v>
                </c:pt>
                <c:pt idx="1">
                  <c:v>1.3817451099681063E-2</c:v>
                </c:pt>
                <c:pt idx="2">
                  <c:v>2.4937343358395991E-2</c:v>
                </c:pt>
                <c:pt idx="3">
                  <c:v>2.1165806313753272E-2</c:v>
                </c:pt>
                <c:pt idx="4">
                  <c:v>2.8046942291128335E-2</c:v>
                </c:pt>
                <c:pt idx="5">
                  <c:v>2.8177072159050274E-2</c:v>
                </c:pt>
                <c:pt idx="6">
                  <c:v>2.7285273948232793E-2</c:v>
                </c:pt>
                <c:pt idx="7">
                  <c:v>2.1452380005816885E-2</c:v>
                </c:pt>
                <c:pt idx="8">
                  <c:v>1.8683801563470558E-2</c:v>
                </c:pt>
                <c:pt idx="9">
                  <c:v>1.8360403921834981E-2</c:v>
                </c:pt>
                <c:pt idx="10">
                  <c:v>2.6327861663505873E-2</c:v>
                </c:pt>
                <c:pt idx="11">
                  <c:v>2.0524667979599051E-2</c:v>
                </c:pt>
                <c:pt idx="12">
                  <c:v>2.3277902811633899E-2</c:v>
                </c:pt>
                <c:pt idx="13">
                  <c:v>2.6788239182301627E-2</c:v>
                </c:pt>
                <c:pt idx="14">
                  <c:v>2.2704472353783273E-2</c:v>
                </c:pt>
                <c:pt idx="15">
                  <c:v>1.8110221620810271E-2</c:v>
                </c:pt>
                <c:pt idx="16">
                  <c:v>1.200242282137106E-2</c:v>
                </c:pt>
                <c:pt idx="17">
                  <c:v>1.7330609511111466E-2</c:v>
                </c:pt>
                <c:pt idx="18">
                  <c:v>1.256800269772633E-2</c:v>
                </c:pt>
                <c:pt idx="19">
                  <c:v>1.2344001829949115E-2</c:v>
                </c:pt>
                <c:pt idx="20">
                  <c:v>1.8744866441795131E-2</c:v>
                </c:pt>
                <c:pt idx="21">
                  <c:v>4.6313011911262712E-2</c:v>
                </c:pt>
                <c:pt idx="22">
                  <c:v>4.9516643904745285E-2</c:v>
                </c:pt>
                <c:pt idx="23">
                  <c:v>5.9751299315727625E-2</c:v>
                </c:pt>
                <c:pt idx="24">
                  <c:v>5.3015360983102916E-2</c:v>
                </c:pt>
                <c:pt idx="25">
                  <c:v>5.6864010950244126E-2</c:v>
                </c:pt>
                <c:pt idx="26">
                  <c:v>0.11534821849531891</c:v>
                </c:pt>
                <c:pt idx="27">
                  <c:v>0.15424067414914097</c:v>
                </c:pt>
                <c:pt idx="28">
                  <c:v>0.21450778571869189</c:v>
                </c:pt>
                <c:pt idx="29">
                  <c:v>0.20004317090281151</c:v>
                </c:pt>
                <c:pt idx="30">
                  <c:v>0.24273945650184267</c:v>
                </c:pt>
                <c:pt idx="31">
                  <c:v>0.24130038308158153</c:v>
                </c:pt>
                <c:pt idx="32">
                  <c:v>0.22856482996908525</c:v>
                </c:pt>
                <c:pt idx="33">
                  <c:v>0.23752209982320141</c:v>
                </c:pt>
                <c:pt idx="34">
                  <c:v>0.18169076912008056</c:v>
                </c:pt>
                <c:pt idx="35">
                  <c:v>0.23985092281345036</c:v>
                </c:pt>
                <c:pt idx="36">
                  <c:v>0.18078235752732774</c:v>
                </c:pt>
                <c:pt idx="37">
                  <c:v>0.12492149784454269</c:v>
                </c:pt>
                <c:pt idx="38">
                  <c:v>0.14382565636376951</c:v>
                </c:pt>
                <c:pt idx="39">
                  <c:v>4.780908441808096E-2</c:v>
                </c:pt>
                <c:pt idx="40">
                  <c:v>2.838792362953765E-2</c:v>
                </c:pt>
                <c:pt idx="41">
                  <c:v>6.0395369692854049E-2</c:v>
                </c:pt>
                <c:pt idx="42">
                  <c:v>7.0320277262908293E-3</c:v>
                </c:pt>
                <c:pt idx="43">
                  <c:v>5.9117062804605811E-3</c:v>
                </c:pt>
                <c:pt idx="44">
                  <c:v>6.5789856343751131E-3</c:v>
                </c:pt>
                <c:pt idx="45">
                  <c:v>5.9477390115168574E-3</c:v>
                </c:pt>
                <c:pt idx="46">
                  <c:v>4.1713549669354436E-3</c:v>
                </c:pt>
                <c:pt idx="47">
                  <c:v>3.2274751473168098E-3</c:v>
                </c:pt>
                <c:pt idx="48">
                  <c:v>7.5088787417554549E-3</c:v>
                </c:pt>
                <c:pt idx="49">
                  <c:v>3.1670625494853526E-3</c:v>
                </c:pt>
                <c:pt idx="50">
                  <c:v>4.7036771792083321E-3</c:v>
                </c:pt>
                <c:pt idx="51">
                  <c:v>2.4177949709864605E-3</c:v>
                </c:pt>
              </c:numCache>
            </c:numRef>
          </c:val>
        </c:ser>
        <c:dLbls>
          <c:showLegendKey val="0"/>
          <c:showVal val="0"/>
          <c:showCatName val="0"/>
          <c:showSerName val="0"/>
          <c:showPercent val="0"/>
          <c:showBubbleSize val="0"/>
        </c:dLbls>
        <c:gapWidth val="150"/>
        <c:overlap val="100"/>
        <c:axId val="336195032"/>
        <c:axId val="336195424"/>
      </c:barChart>
      <c:catAx>
        <c:axId val="336195032"/>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GB" sz="1400" dirty="0">
                    <a:solidFill>
                      <a:schemeClr val="bg1"/>
                    </a:solidFill>
                  </a:rPr>
                  <a:t>Week</a:t>
                </a:r>
              </a:p>
            </c:rich>
          </c:tx>
          <c:layout>
            <c:manualLayout>
              <c:xMode val="edge"/>
              <c:yMode val="edge"/>
              <c:x val="0.51461403862978661"/>
              <c:y val="0.9258795081170408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36195424"/>
        <c:crosses val="autoZero"/>
        <c:auto val="1"/>
        <c:lblAlgn val="ctr"/>
        <c:lblOffset val="100"/>
        <c:noMultiLvlLbl val="0"/>
      </c:catAx>
      <c:valAx>
        <c:axId val="33619542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36195032"/>
        <c:crosses val="autoZero"/>
        <c:crossBetween val="between"/>
      </c:valAx>
      <c:spPr>
        <a:noFill/>
        <a:ln>
          <a:noFill/>
        </a:ln>
        <a:effectLst/>
      </c:spPr>
    </c:plotArea>
    <c:plotVisOnly val="1"/>
    <c:dispBlanksAs val="gap"/>
    <c:showDLblsOverMax val="0"/>
  </c:chart>
  <c:spPr>
    <a:solidFill>
      <a:schemeClr val="tx1">
        <a:lumMod val="65000"/>
        <a:lumOff val="35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065157794700714E-2"/>
          <c:y val="0.10407644356955381"/>
          <c:w val="0.84661747876997906"/>
          <c:h val="0.70165705198308548"/>
        </c:manualLayout>
      </c:layout>
      <c:barChart>
        <c:barDir val="col"/>
        <c:grouping val="clustered"/>
        <c:varyColors val="0"/>
        <c:ser>
          <c:idx val="0"/>
          <c:order val="0"/>
          <c:tx>
            <c:strRef>
              <c:f>Basic!$C$3</c:f>
              <c:strCache>
                <c:ptCount val="1"/>
                <c:pt idx="0">
                  <c:v>Total Org Q</c:v>
                </c:pt>
              </c:strCache>
            </c:strRef>
          </c:tx>
          <c:spPr>
            <a:solidFill>
              <a:schemeClr val="accent1"/>
            </a:solidFill>
            <a:ln>
              <a:noFill/>
            </a:ln>
            <a:effectLst/>
          </c:spPr>
          <c:invertIfNegative val="0"/>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C$5:$C$15</c:f>
              <c:numCache>
                <c:formatCode>General</c:formatCode>
                <c:ptCount val="11"/>
                <c:pt idx="0">
                  <c:v>14230000</c:v>
                </c:pt>
                <c:pt idx="1">
                  <c:v>17020000</c:v>
                </c:pt>
                <c:pt idx="2">
                  <c:v>18060000</c:v>
                </c:pt>
                <c:pt idx="3">
                  <c:v>17380000</c:v>
                </c:pt>
                <c:pt idx="4">
                  <c:v>19120000</c:v>
                </c:pt>
                <c:pt idx="5">
                  <c:v>18590000</c:v>
                </c:pt>
                <c:pt idx="6">
                  <c:v>20770000</c:v>
                </c:pt>
                <c:pt idx="7">
                  <c:v>21190000</c:v>
                </c:pt>
                <c:pt idx="8">
                  <c:v>23500000</c:v>
                </c:pt>
                <c:pt idx="9">
                  <c:v>22620000</c:v>
                </c:pt>
                <c:pt idx="10">
                  <c:v>24870000</c:v>
                </c:pt>
              </c:numCache>
            </c:numRef>
          </c:val>
        </c:ser>
        <c:dLbls>
          <c:showLegendKey val="0"/>
          <c:showVal val="0"/>
          <c:showCatName val="0"/>
          <c:showSerName val="0"/>
          <c:showPercent val="0"/>
          <c:showBubbleSize val="0"/>
        </c:dLbls>
        <c:gapWidth val="219"/>
        <c:overlap val="-27"/>
        <c:axId val="325949064"/>
        <c:axId val="325949456"/>
      </c:barChart>
      <c:catAx>
        <c:axId val="325949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49456"/>
        <c:crosses val="autoZero"/>
        <c:auto val="1"/>
        <c:lblAlgn val="ctr"/>
        <c:lblOffset val="100"/>
        <c:noMultiLvlLbl val="0"/>
      </c:catAx>
      <c:valAx>
        <c:axId val="325949456"/>
        <c:scaling>
          <c:orientation val="minMax"/>
          <c:max val="25000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49064"/>
        <c:crosses val="autoZero"/>
        <c:crossBetween val="between"/>
        <c:dispUnits>
          <c:builtInUnit val="millions"/>
          <c:dispUnitsLbl>
            <c:layout>
              <c:manualLayout>
                <c:xMode val="edge"/>
                <c:yMode val="edge"/>
                <c:x val="0"/>
                <c:y val="0"/>
              </c:manualLayout>
            </c:layout>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a:solidFill>
                        <a:schemeClr val="tx1"/>
                      </a:solidFill>
                    </a:rPr>
                    <a:t>Mill</a:t>
                  </a:r>
                  <a:r>
                    <a:rPr lang="en-GB" sz="1400" baseline="0">
                      <a:solidFill>
                        <a:schemeClr val="tx1"/>
                      </a:solidFill>
                    </a:rPr>
                    <a:t> lb</a:t>
                  </a:r>
                  <a:endParaRPr lang="en-GB" sz="1400">
                    <a:solidFill>
                      <a:schemeClr val="tx1"/>
                    </a:solidFill>
                  </a:endParaRPr>
                </a:p>
              </c:rich>
            </c:tx>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dispUnitsLbl>
        </c:dispUnits>
      </c:valAx>
      <c:spPr>
        <a:noFill/>
        <a:ln>
          <a:noFill/>
        </a:ln>
        <a:effectLst/>
      </c:spPr>
    </c:plotArea>
    <c:legend>
      <c:legendPos val="b"/>
      <c:layout>
        <c:manualLayout>
          <c:xMode val="edge"/>
          <c:yMode val="edge"/>
          <c:x val="9.4113620807665985E-2"/>
          <c:y val="0.93389813903470398"/>
          <c:w val="0.82332418919914285"/>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3065157794700714E-2"/>
          <c:y val="0.12433107319918343"/>
          <c:w val="0.84661747876997906"/>
          <c:h val="0.70165705198308548"/>
        </c:manualLayout>
      </c:layout>
      <c:barChart>
        <c:barDir val="col"/>
        <c:grouping val="clustered"/>
        <c:varyColors val="0"/>
        <c:ser>
          <c:idx val="0"/>
          <c:order val="0"/>
          <c:tx>
            <c:strRef>
              <c:f>Basic!$C$3</c:f>
              <c:strCache>
                <c:ptCount val="1"/>
                <c:pt idx="0">
                  <c:v>Total Org Q (lhs)</c:v>
                </c:pt>
              </c:strCache>
            </c:strRef>
          </c:tx>
          <c:spPr>
            <a:solidFill>
              <a:schemeClr val="accent1"/>
            </a:solidFill>
            <a:ln>
              <a:noFill/>
            </a:ln>
            <a:effectLst/>
          </c:spPr>
          <c:invertIfNegative val="0"/>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C$5:$C$15</c:f>
              <c:numCache>
                <c:formatCode>General</c:formatCode>
                <c:ptCount val="11"/>
                <c:pt idx="0">
                  <c:v>1750000</c:v>
                </c:pt>
                <c:pt idx="1">
                  <c:v>1830000</c:v>
                </c:pt>
                <c:pt idx="2">
                  <c:v>2890000</c:v>
                </c:pt>
                <c:pt idx="3">
                  <c:v>3060000</c:v>
                </c:pt>
                <c:pt idx="4">
                  <c:v>2950000</c:v>
                </c:pt>
                <c:pt idx="5">
                  <c:v>2690000</c:v>
                </c:pt>
                <c:pt idx="6">
                  <c:v>3390000</c:v>
                </c:pt>
                <c:pt idx="7">
                  <c:v>5370000</c:v>
                </c:pt>
                <c:pt idx="8">
                  <c:v>10040000</c:v>
                </c:pt>
                <c:pt idx="9">
                  <c:v>14690000</c:v>
                </c:pt>
                <c:pt idx="10">
                  <c:v>16500000</c:v>
                </c:pt>
              </c:numCache>
            </c:numRef>
          </c:val>
        </c:ser>
        <c:dLbls>
          <c:showLegendKey val="0"/>
          <c:showVal val="0"/>
          <c:showCatName val="0"/>
          <c:showSerName val="0"/>
          <c:showPercent val="0"/>
          <c:showBubbleSize val="0"/>
        </c:dLbls>
        <c:gapWidth val="219"/>
        <c:overlap val="-27"/>
        <c:axId val="325950240"/>
        <c:axId val="325950632"/>
      </c:barChart>
      <c:lineChart>
        <c:grouping val="standard"/>
        <c:varyColors val="0"/>
        <c:ser>
          <c:idx val="1"/>
          <c:order val="1"/>
          <c:tx>
            <c:strRef>
              <c:f>Basic!$G$3</c:f>
              <c:strCache>
                <c:ptCount val="1"/>
                <c:pt idx="0">
                  <c:v>Org Wtd Price (rhs)</c:v>
                </c:pt>
              </c:strCache>
            </c:strRef>
          </c:tx>
          <c:spPr>
            <a:ln w="28575" cap="rnd">
              <a:solidFill>
                <a:schemeClr val="accent2"/>
              </a:solidFill>
              <a:round/>
            </a:ln>
            <a:effectLst/>
          </c:spPr>
          <c:marker>
            <c:symbol val="none"/>
          </c:marker>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G$5:$G$15</c:f>
              <c:numCache>
                <c:formatCode>General</c:formatCode>
                <c:ptCount val="11"/>
                <c:pt idx="6" formatCode="0.00">
                  <c:v>24.894545454545455</c:v>
                </c:pt>
                <c:pt idx="7" formatCode="0.00">
                  <c:v>20.978957915831664</c:v>
                </c:pt>
                <c:pt idx="8" formatCode="0.00">
                  <c:v>18.616415410385258</c:v>
                </c:pt>
                <c:pt idx="9" formatCode="0.00">
                  <c:v>15.054336468129572</c:v>
                </c:pt>
                <c:pt idx="10" formatCode="0.00">
                  <c:v>14.253508771929823</c:v>
                </c:pt>
              </c:numCache>
            </c:numRef>
          </c:val>
          <c:smooth val="0"/>
        </c:ser>
        <c:dLbls>
          <c:showLegendKey val="0"/>
          <c:showVal val="0"/>
          <c:showCatName val="0"/>
          <c:showSerName val="0"/>
          <c:showPercent val="0"/>
          <c:showBubbleSize val="0"/>
        </c:dLbls>
        <c:marker val="1"/>
        <c:smooth val="0"/>
        <c:axId val="325951416"/>
        <c:axId val="325951024"/>
      </c:lineChart>
      <c:catAx>
        <c:axId val="32595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50632"/>
        <c:crosses val="autoZero"/>
        <c:auto val="1"/>
        <c:lblAlgn val="ctr"/>
        <c:lblOffset val="100"/>
        <c:noMultiLvlLbl val="0"/>
      </c:catAx>
      <c:valAx>
        <c:axId val="3259506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50240"/>
        <c:crosses val="autoZero"/>
        <c:crossBetween val="between"/>
        <c:dispUnits>
          <c:builtInUnit val="millions"/>
          <c:dispUnitsLbl>
            <c:layout>
              <c:manualLayout>
                <c:xMode val="edge"/>
                <c:yMode val="edge"/>
                <c:x val="0"/>
                <c:y val="0"/>
              </c:manualLayout>
            </c:layout>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US"/>
                    <a:t>Mill</a:t>
                  </a:r>
                  <a:r>
                    <a:rPr lang="en-US" baseline="0"/>
                    <a:t> lb</a:t>
                  </a:r>
                  <a:endParaRPr lang="en-US"/>
                </a:p>
              </c:rich>
            </c:tx>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dispUnitsLbl>
        </c:dispUnits>
      </c:valAx>
      <c:valAx>
        <c:axId val="325951024"/>
        <c:scaling>
          <c:orientation val="minMax"/>
          <c:max val="25"/>
          <c:min val="10"/>
        </c:scaling>
        <c:delete val="0"/>
        <c:axPos val="r"/>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USD/Flat</a:t>
                </a:r>
              </a:p>
            </c:rich>
          </c:tx>
          <c:layout>
            <c:manualLayout>
              <c:xMode val="edge"/>
              <c:yMode val="edge"/>
              <c:x val="0.9015086698608259"/>
              <c:y val="3.4943223242927968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51416"/>
        <c:crosses val="max"/>
        <c:crossBetween val="between"/>
      </c:valAx>
      <c:catAx>
        <c:axId val="325951416"/>
        <c:scaling>
          <c:orientation val="minMax"/>
        </c:scaling>
        <c:delete val="1"/>
        <c:axPos val="b"/>
        <c:numFmt formatCode="General" sourceLinked="1"/>
        <c:majorTickMark val="out"/>
        <c:minorTickMark val="none"/>
        <c:tickLblPos val="nextTo"/>
        <c:crossAx val="325951024"/>
        <c:crosses val="autoZero"/>
        <c:auto val="1"/>
        <c:lblAlgn val="ctr"/>
        <c:lblOffset val="100"/>
        <c:noMultiLvlLbl val="0"/>
      </c:catAx>
      <c:spPr>
        <a:noFill/>
        <a:ln>
          <a:noFill/>
        </a:ln>
        <a:effectLst/>
      </c:spPr>
    </c:plotArea>
    <c:legend>
      <c:legendPos val="b"/>
      <c:layout>
        <c:manualLayout>
          <c:xMode val="edge"/>
          <c:yMode val="edge"/>
          <c:x val="7.2130421582312476E-2"/>
          <c:y val="0.93389813903470398"/>
          <c:w val="0.84718337312558722"/>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350577841014241E-2"/>
          <c:y val="0.12010266294838146"/>
          <c:w val="0.8501335465766986"/>
          <c:h val="0.70124239027413227"/>
        </c:manualLayout>
      </c:layout>
      <c:barChart>
        <c:barDir val="col"/>
        <c:grouping val="clustered"/>
        <c:varyColors val="0"/>
        <c:ser>
          <c:idx val="2"/>
          <c:order val="2"/>
          <c:tx>
            <c:strRef>
              <c:f>Basic!$I$3</c:f>
              <c:strCache>
                <c:ptCount val="1"/>
                <c:pt idx="0">
                  <c:v>Wtd Premium % (lhs)</c:v>
                </c:pt>
              </c:strCache>
            </c:strRef>
          </c:tx>
          <c:spPr>
            <a:solidFill>
              <a:schemeClr val="accent3"/>
            </a:solidFill>
            <a:ln>
              <a:noFill/>
            </a:ln>
            <a:effectLst/>
          </c:spPr>
          <c:invertIfNegative val="0"/>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I$5:$I$15</c:f>
              <c:numCache>
                <c:formatCode>General</c:formatCode>
                <c:ptCount val="11"/>
                <c:pt idx="6" formatCode="0.0%">
                  <c:v>1.0556400453231436</c:v>
                </c:pt>
                <c:pt idx="7" formatCode="0.0%">
                  <c:v>0.78910333780468933</c:v>
                </c:pt>
                <c:pt idx="8" formatCode="0.0%">
                  <c:v>0.64353051955260399</c:v>
                </c:pt>
                <c:pt idx="9" formatCode="0.0%">
                  <c:v>0.39253169715738379</c:v>
                </c:pt>
                <c:pt idx="10" formatCode="0.0%">
                  <c:v>0.35170121125411624</c:v>
                </c:pt>
              </c:numCache>
            </c:numRef>
          </c:val>
        </c:ser>
        <c:dLbls>
          <c:showLegendKey val="0"/>
          <c:showVal val="0"/>
          <c:showCatName val="0"/>
          <c:showSerName val="0"/>
          <c:showPercent val="0"/>
          <c:showBubbleSize val="0"/>
        </c:dLbls>
        <c:gapWidth val="219"/>
        <c:overlap val="-27"/>
        <c:axId val="325952200"/>
        <c:axId val="325952592"/>
      </c:barChart>
      <c:lineChart>
        <c:grouping val="standard"/>
        <c:varyColors val="0"/>
        <c:ser>
          <c:idx val="0"/>
          <c:order val="0"/>
          <c:tx>
            <c:strRef>
              <c:f>Basic!$E$3</c:f>
              <c:strCache>
                <c:ptCount val="1"/>
                <c:pt idx="0">
                  <c:v>Conv Wtd Price (rhs)</c:v>
                </c:pt>
              </c:strCache>
            </c:strRef>
          </c:tx>
          <c:spPr>
            <a:ln w="28575" cap="rnd">
              <a:solidFill>
                <a:schemeClr val="accent1"/>
              </a:solidFill>
              <a:round/>
            </a:ln>
            <a:effectLst/>
          </c:spPr>
          <c:marker>
            <c:symbol val="none"/>
          </c:marker>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E$5:$E$15</c:f>
              <c:numCache>
                <c:formatCode>0.00</c:formatCode>
                <c:ptCount val="11"/>
                <c:pt idx="0">
                  <c:v>13.48451694888581</c:v>
                </c:pt>
                <c:pt idx="1">
                  <c:v>12.444095225278824</c:v>
                </c:pt>
                <c:pt idx="2">
                  <c:v>12.518192920280715</c:v>
                </c:pt>
                <c:pt idx="3">
                  <c:v>12.320731182795699</c:v>
                </c:pt>
                <c:pt idx="4">
                  <c:v>12.097685973878479</c:v>
                </c:pt>
                <c:pt idx="5">
                  <c:v>13.363557044287548</c:v>
                </c:pt>
                <c:pt idx="6">
                  <c:v>12.110362177066884</c:v>
                </c:pt>
                <c:pt idx="7">
                  <c:v>11.72596209091745</c:v>
                </c:pt>
                <c:pt idx="8">
                  <c:v>11.327088355775075</c:v>
                </c:pt>
                <c:pt idx="9">
                  <c:v>10.810767538620798</c:v>
                </c:pt>
                <c:pt idx="10">
                  <c:v>10.544866464020799</c:v>
                </c:pt>
              </c:numCache>
            </c:numRef>
          </c:val>
          <c:smooth val="0"/>
        </c:ser>
        <c:ser>
          <c:idx val="1"/>
          <c:order val="1"/>
          <c:tx>
            <c:strRef>
              <c:f>Basic!$G$3</c:f>
              <c:strCache>
                <c:ptCount val="1"/>
                <c:pt idx="0">
                  <c:v>Org Wtd Price (rhs)</c:v>
                </c:pt>
              </c:strCache>
            </c:strRef>
          </c:tx>
          <c:spPr>
            <a:ln w="28575" cap="rnd">
              <a:solidFill>
                <a:schemeClr val="accent2"/>
              </a:solidFill>
              <a:round/>
            </a:ln>
            <a:effectLst/>
          </c:spPr>
          <c:marker>
            <c:symbol val="none"/>
          </c:marker>
          <c:cat>
            <c:numRef>
              <c:f>Basic!$A$5:$A$15</c:f>
              <c:numCache>
                <c:formatCode>General</c:formatCode>
                <c:ptCount val="11"/>
                <c:pt idx="0">
                  <c:v>2008</c:v>
                </c:pt>
                <c:pt idx="1">
                  <c:v>2009</c:v>
                </c:pt>
                <c:pt idx="2">
                  <c:v>2010</c:v>
                </c:pt>
                <c:pt idx="3">
                  <c:v>2011</c:v>
                </c:pt>
                <c:pt idx="4">
                  <c:v>2012</c:v>
                </c:pt>
                <c:pt idx="5">
                  <c:v>2013</c:v>
                </c:pt>
                <c:pt idx="6">
                  <c:v>2014</c:v>
                </c:pt>
                <c:pt idx="7">
                  <c:v>2015</c:v>
                </c:pt>
                <c:pt idx="8">
                  <c:v>2016</c:v>
                </c:pt>
                <c:pt idx="9">
                  <c:v>2017</c:v>
                </c:pt>
                <c:pt idx="10">
                  <c:v>2018</c:v>
                </c:pt>
              </c:numCache>
            </c:numRef>
          </c:cat>
          <c:val>
            <c:numRef>
              <c:f>Basic!$G$5:$G$15</c:f>
              <c:numCache>
                <c:formatCode>General</c:formatCode>
                <c:ptCount val="11"/>
                <c:pt idx="6" formatCode="0.00">
                  <c:v>24.894545454545455</c:v>
                </c:pt>
                <c:pt idx="7" formatCode="0.00">
                  <c:v>20.978957915831664</c:v>
                </c:pt>
                <c:pt idx="8" formatCode="0.00">
                  <c:v>18.616415410385258</c:v>
                </c:pt>
                <c:pt idx="9" formatCode="0.00">
                  <c:v>15.054336468129572</c:v>
                </c:pt>
                <c:pt idx="10" formatCode="0.00">
                  <c:v>14.253508771929823</c:v>
                </c:pt>
              </c:numCache>
            </c:numRef>
          </c:val>
          <c:smooth val="0"/>
        </c:ser>
        <c:dLbls>
          <c:showLegendKey val="0"/>
          <c:showVal val="0"/>
          <c:showCatName val="0"/>
          <c:showSerName val="0"/>
          <c:showPercent val="0"/>
          <c:showBubbleSize val="0"/>
        </c:dLbls>
        <c:marker val="1"/>
        <c:smooth val="0"/>
        <c:axId val="346718688"/>
        <c:axId val="346718296"/>
      </c:lineChart>
      <c:catAx>
        <c:axId val="325952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52592"/>
        <c:crosses val="autoZero"/>
        <c:auto val="1"/>
        <c:lblAlgn val="ctr"/>
        <c:lblOffset val="100"/>
        <c:noMultiLvlLbl val="0"/>
      </c:catAx>
      <c:valAx>
        <c:axId val="3259525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 Org Premium</a:t>
                </a:r>
              </a:p>
            </c:rich>
          </c:tx>
          <c:layout>
            <c:manualLayout>
              <c:xMode val="edge"/>
              <c:yMode val="edge"/>
              <c:x val="1.4259639516313028E-3"/>
              <c:y val="1.9520997375328444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5952200"/>
        <c:crosses val="autoZero"/>
        <c:crossBetween val="between"/>
      </c:valAx>
      <c:valAx>
        <c:axId val="346718296"/>
        <c:scaling>
          <c:orientation val="minMax"/>
          <c:max val="25"/>
          <c:min val="10"/>
        </c:scaling>
        <c:delete val="0"/>
        <c:axPos val="r"/>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USD/Flat</a:t>
                </a:r>
              </a:p>
            </c:rich>
          </c:tx>
          <c:layout>
            <c:manualLayout>
              <c:xMode val="edge"/>
              <c:yMode val="edge"/>
              <c:x val="0.9000827059091947"/>
              <c:y val="1.9520997375328084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46718688"/>
        <c:crosses val="max"/>
        <c:crossBetween val="between"/>
      </c:valAx>
      <c:catAx>
        <c:axId val="346718688"/>
        <c:scaling>
          <c:orientation val="minMax"/>
        </c:scaling>
        <c:delete val="1"/>
        <c:axPos val="b"/>
        <c:numFmt formatCode="General" sourceLinked="1"/>
        <c:majorTickMark val="out"/>
        <c:minorTickMark val="none"/>
        <c:tickLblPos val="nextTo"/>
        <c:crossAx val="346718296"/>
        <c:crosses val="autoZero"/>
        <c:auto val="1"/>
        <c:lblAlgn val="ctr"/>
        <c:lblOffset val="100"/>
        <c:noMultiLvlLbl val="0"/>
      </c:catAx>
      <c:spPr>
        <a:noFill/>
        <a:ln>
          <a:noFill/>
        </a:ln>
        <a:effectLst/>
      </c:spPr>
    </c:plotArea>
    <c:legend>
      <c:legendPos val="b"/>
      <c:layout>
        <c:manualLayout>
          <c:xMode val="edge"/>
          <c:yMode val="edge"/>
          <c:x val="0"/>
          <c:y val="0.93389813903470398"/>
          <c:w val="0.9988928007459027"/>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033743273729585E-2"/>
          <c:y val="0.1051385782516485"/>
          <c:w val="0.91144005828702845"/>
          <c:h val="0.71999754894451418"/>
        </c:manualLayout>
      </c:layout>
      <c:barChart>
        <c:barDir val="col"/>
        <c:grouping val="clustered"/>
        <c:varyColors val="0"/>
        <c:ser>
          <c:idx val="1"/>
          <c:order val="0"/>
          <c:tx>
            <c:strRef>
              <c:f>Final!$B$3</c:f>
              <c:strCache>
                <c:ptCount val="1"/>
                <c:pt idx="0">
                  <c:v>Total US Organic Food Sales</c:v>
                </c:pt>
              </c:strCache>
            </c:strRef>
          </c:tx>
          <c:spPr>
            <a:solidFill>
              <a:srgbClr val="FF6600"/>
            </a:solidFill>
          </c:spPr>
          <c:invertIfNegative val="0"/>
          <c:cat>
            <c:strRef>
              <c:f>Final!$A$4:$A$19</c:f>
              <c:strCach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f</c:v>
                </c:pt>
                <c:pt idx="13">
                  <c:v>2018f</c:v>
                </c:pt>
                <c:pt idx="14">
                  <c:v>2019f</c:v>
                </c:pt>
                <c:pt idx="15">
                  <c:v>2020f</c:v>
                </c:pt>
              </c:strCache>
            </c:strRef>
          </c:cat>
          <c:val>
            <c:numRef>
              <c:f>Final!$B$4:$B$19</c:f>
              <c:numCache>
                <c:formatCode>0.00</c:formatCode>
                <c:ptCount val="16"/>
                <c:pt idx="0">
                  <c:v>13.311</c:v>
                </c:pt>
                <c:pt idx="1">
                  <c:v>15.561</c:v>
                </c:pt>
                <c:pt idx="2">
                  <c:v>18.266000000000002</c:v>
                </c:pt>
                <c:pt idx="3">
                  <c:v>20.523999999999997</c:v>
                </c:pt>
                <c:pt idx="4">
                  <c:v>21.591000000000001</c:v>
                </c:pt>
                <c:pt idx="5">
                  <c:v>23.408000000000001</c:v>
                </c:pt>
                <c:pt idx="6">
                  <c:v>25.710999999999999</c:v>
                </c:pt>
                <c:pt idx="7">
                  <c:v>28.411999999999999</c:v>
                </c:pt>
                <c:pt idx="8">
                  <c:v>31.444000000000003</c:v>
                </c:pt>
                <c:pt idx="9">
                  <c:v>34.797000000000004</c:v>
                </c:pt>
                <c:pt idx="10">
                  <c:v>39.700000000000003</c:v>
                </c:pt>
                <c:pt idx="11">
                  <c:v>43</c:v>
                </c:pt>
                <c:pt idx="12">
                  <c:v>47.730000000000004</c:v>
                </c:pt>
                <c:pt idx="13">
                  <c:v>52.980300000000007</c:v>
                </c:pt>
                <c:pt idx="14">
                  <c:v>58.808133000000012</c:v>
                </c:pt>
                <c:pt idx="15">
                  <c:v>65.277027630000021</c:v>
                </c:pt>
              </c:numCache>
            </c:numRef>
          </c:val>
        </c:ser>
        <c:dLbls>
          <c:showLegendKey val="0"/>
          <c:showVal val="0"/>
          <c:showCatName val="0"/>
          <c:showSerName val="0"/>
          <c:showPercent val="0"/>
          <c:showBubbleSize val="0"/>
        </c:dLbls>
        <c:gapWidth val="150"/>
        <c:axId val="346719080"/>
        <c:axId val="346719472"/>
      </c:barChart>
      <c:catAx>
        <c:axId val="346719080"/>
        <c:scaling>
          <c:orientation val="minMax"/>
        </c:scaling>
        <c:delete val="0"/>
        <c:axPos val="b"/>
        <c:numFmt formatCode="General" sourceLinked="0"/>
        <c:majorTickMark val="none"/>
        <c:minorTickMark val="none"/>
        <c:tickLblPos val="nextTo"/>
        <c:spPr>
          <a:ln>
            <a:noFill/>
          </a:ln>
        </c:spPr>
        <c:txPr>
          <a:bodyPr/>
          <a:lstStyle/>
          <a:p>
            <a:pPr>
              <a:defRPr sz="1400">
                <a:latin typeface="Verdana" panose="020B0604030504040204" pitchFamily="34" charset="0"/>
                <a:ea typeface="Verdana" panose="020B0604030504040204" pitchFamily="34" charset="0"/>
                <a:cs typeface="Verdana" panose="020B0604030504040204" pitchFamily="34" charset="0"/>
              </a:defRPr>
            </a:pPr>
            <a:endParaRPr lang="en-US"/>
          </a:p>
        </c:txPr>
        <c:crossAx val="346719472"/>
        <c:crosses val="autoZero"/>
        <c:auto val="1"/>
        <c:lblAlgn val="ctr"/>
        <c:lblOffset val="100"/>
        <c:tickLblSkip val="3"/>
        <c:noMultiLvlLbl val="0"/>
      </c:catAx>
      <c:valAx>
        <c:axId val="346719472"/>
        <c:scaling>
          <c:orientation val="minMax"/>
        </c:scaling>
        <c:delete val="0"/>
        <c:axPos val="l"/>
        <c:majorGridlines>
          <c:spPr>
            <a:ln>
              <a:solidFill>
                <a:schemeClr val="bg1">
                  <a:lumMod val="85000"/>
                </a:schemeClr>
              </a:solidFill>
            </a:ln>
          </c:spPr>
        </c:majorGridlines>
        <c:title>
          <c:tx>
            <c:rich>
              <a:bodyPr rot="0" vert="horz"/>
              <a:lstStyle/>
              <a:p>
                <a:pPr>
                  <a:defRPr sz="1400" b="0">
                    <a:latin typeface="Verdana" panose="020B0604030504040204" pitchFamily="34" charset="0"/>
                    <a:ea typeface="Verdana" panose="020B0604030504040204" pitchFamily="34" charset="0"/>
                    <a:cs typeface="Verdana" panose="020B0604030504040204" pitchFamily="34" charset="0"/>
                  </a:defRPr>
                </a:pPr>
                <a:r>
                  <a:rPr lang="en-US" sz="1400" b="0" dirty="0" smtClean="0">
                    <a:latin typeface="Verdana" panose="020B0604030504040204" pitchFamily="34" charset="0"/>
                    <a:ea typeface="Verdana" panose="020B0604030504040204" pitchFamily="34" charset="0"/>
                    <a:cs typeface="Verdana" panose="020B0604030504040204" pitchFamily="34" charset="0"/>
                  </a:rPr>
                  <a:t>Billion</a:t>
                </a:r>
                <a:r>
                  <a:rPr lang="en-US" sz="1400" b="0" baseline="0" dirty="0" smtClean="0">
                    <a:latin typeface="Verdana" panose="020B0604030504040204" pitchFamily="34" charset="0"/>
                    <a:ea typeface="Verdana" panose="020B0604030504040204" pitchFamily="34" charset="0"/>
                    <a:cs typeface="Verdana" panose="020B0604030504040204" pitchFamily="34" charset="0"/>
                  </a:rPr>
                  <a:t> USD</a:t>
                </a:r>
                <a:endParaRPr lang="en-US" sz="1400" b="0" dirty="0">
                  <a:latin typeface="Verdana" panose="020B0604030504040204" pitchFamily="34" charset="0"/>
                  <a:ea typeface="Verdana" panose="020B0604030504040204" pitchFamily="34" charset="0"/>
                  <a:cs typeface="Verdana" panose="020B0604030504040204" pitchFamily="34" charset="0"/>
                </a:endParaRPr>
              </a:p>
            </c:rich>
          </c:tx>
          <c:layout>
            <c:manualLayout>
              <c:xMode val="edge"/>
              <c:yMode val="edge"/>
              <c:x val="0"/>
              <c:y val="2.012203717502064E-3"/>
            </c:manualLayout>
          </c:layout>
          <c:overlay val="0"/>
        </c:title>
        <c:numFmt formatCode="0" sourceLinked="0"/>
        <c:majorTickMark val="out"/>
        <c:minorTickMark val="none"/>
        <c:tickLblPos val="nextTo"/>
        <c:spPr>
          <a:ln>
            <a:noFill/>
          </a:ln>
        </c:spPr>
        <c:txPr>
          <a:bodyPr/>
          <a:lstStyle/>
          <a:p>
            <a:pPr>
              <a:defRPr sz="1400">
                <a:latin typeface="Verdana" panose="020B0604030504040204" pitchFamily="34" charset="0"/>
                <a:ea typeface="Verdana" panose="020B0604030504040204" pitchFamily="34" charset="0"/>
                <a:cs typeface="Verdana" panose="020B0604030504040204" pitchFamily="34" charset="0"/>
              </a:defRPr>
            </a:pPr>
            <a:endParaRPr lang="en-US"/>
          </a:p>
        </c:txPr>
        <c:crossAx val="346719080"/>
        <c:crosses val="autoZero"/>
        <c:crossBetween val="between"/>
      </c:valAx>
      <c:spPr>
        <a:noFill/>
        <a:ln>
          <a:noFill/>
        </a:ln>
      </c:spPr>
    </c:plotArea>
    <c:legend>
      <c:legendPos val="b"/>
      <c:layout>
        <c:manualLayout>
          <c:xMode val="edge"/>
          <c:yMode val="edge"/>
          <c:x val="0"/>
          <c:y val="0.92782216060541067"/>
          <c:w val="0.99850303378069649"/>
          <c:h val="6.9102530714789057E-2"/>
        </c:manualLayout>
      </c:layout>
      <c:overlay val="0"/>
      <c:txPr>
        <a:bodyPr/>
        <a:lstStyle/>
        <a:p>
          <a:pPr>
            <a:defRPr sz="1400">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showDLblsOverMax val="0"/>
  </c:chart>
  <c:spPr>
    <a:noFill/>
    <a:ln>
      <a:noFill/>
    </a:ln>
  </c:sp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3158661190386974E-2"/>
          <c:y val="0.15761285475096123"/>
          <c:w val="0.87911196569652317"/>
          <c:h val="0.68339355036199789"/>
        </c:manualLayout>
      </c:layout>
      <c:lineChart>
        <c:grouping val="standard"/>
        <c:varyColors val="0"/>
        <c:ser>
          <c:idx val="0"/>
          <c:order val="0"/>
          <c:spPr>
            <a:ln w="50800">
              <a:solidFill>
                <a:srgbClr val="FF6600"/>
              </a:solidFill>
            </a:ln>
          </c:spPr>
          <c:marker>
            <c:symbol val="none"/>
          </c:marker>
          <c:cat>
            <c:strRef>
              <c:f>Sheet1!$A$3:$A$63</c:f>
              <c:strCache>
                <c:ptCount val="6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e</c:v>
                </c:pt>
                <c:pt idx="26">
                  <c:v>2016</c:v>
                </c:pt>
                <c:pt idx="27">
                  <c:v>2017</c:v>
                </c:pt>
                <c:pt idx="28">
                  <c:v>2018</c:v>
                </c:pt>
                <c:pt idx="29">
                  <c:v>2019</c:v>
                </c:pt>
                <c:pt idx="30">
                  <c:v>2020e</c:v>
                </c:pt>
                <c:pt idx="31">
                  <c:v>2021</c:v>
                </c:pt>
                <c:pt idx="32">
                  <c:v>2022</c:v>
                </c:pt>
                <c:pt idx="33">
                  <c:v>2023</c:v>
                </c:pt>
                <c:pt idx="34">
                  <c:v>2024</c:v>
                </c:pt>
                <c:pt idx="35">
                  <c:v>2025e</c:v>
                </c:pt>
                <c:pt idx="36">
                  <c:v>2026</c:v>
                </c:pt>
                <c:pt idx="37">
                  <c:v>2027</c:v>
                </c:pt>
                <c:pt idx="38">
                  <c:v>2028</c:v>
                </c:pt>
                <c:pt idx="39">
                  <c:v>2029</c:v>
                </c:pt>
                <c:pt idx="40">
                  <c:v>2030e</c:v>
                </c:pt>
                <c:pt idx="41">
                  <c:v>2031</c:v>
                </c:pt>
                <c:pt idx="42">
                  <c:v>2032</c:v>
                </c:pt>
                <c:pt idx="43">
                  <c:v>2033</c:v>
                </c:pt>
                <c:pt idx="44">
                  <c:v>2034</c:v>
                </c:pt>
                <c:pt idx="45">
                  <c:v>2035e</c:v>
                </c:pt>
                <c:pt idx="46">
                  <c:v>2036</c:v>
                </c:pt>
                <c:pt idx="47">
                  <c:v>2037</c:v>
                </c:pt>
                <c:pt idx="48">
                  <c:v>2038</c:v>
                </c:pt>
                <c:pt idx="49">
                  <c:v>2039</c:v>
                </c:pt>
                <c:pt idx="50">
                  <c:v>2040e</c:v>
                </c:pt>
                <c:pt idx="51">
                  <c:v>2041</c:v>
                </c:pt>
                <c:pt idx="52">
                  <c:v>2042</c:v>
                </c:pt>
                <c:pt idx="53">
                  <c:v>2043</c:v>
                </c:pt>
                <c:pt idx="54">
                  <c:v>2044</c:v>
                </c:pt>
                <c:pt idx="55">
                  <c:v>2045e</c:v>
                </c:pt>
                <c:pt idx="56">
                  <c:v>2046</c:v>
                </c:pt>
                <c:pt idx="57">
                  <c:v>2047</c:v>
                </c:pt>
                <c:pt idx="58">
                  <c:v>2048</c:v>
                </c:pt>
                <c:pt idx="59">
                  <c:v>2049</c:v>
                </c:pt>
                <c:pt idx="60">
                  <c:v>2050e</c:v>
                </c:pt>
              </c:strCache>
            </c:strRef>
          </c:cat>
          <c:val>
            <c:numRef>
              <c:f>Sheet1!$B$3:$B$63</c:f>
              <c:numCache>
                <c:formatCode>General</c:formatCode>
                <c:ptCount val="61"/>
                <c:pt idx="0">
                  <c:v>735000</c:v>
                </c:pt>
                <c:pt idx="1">
                  <c:v>710000</c:v>
                </c:pt>
                <c:pt idx="2">
                  <c:v>675000</c:v>
                </c:pt>
                <c:pt idx="3">
                  <c:v>645000</c:v>
                </c:pt>
                <c:pt idx="4">
                  <c:v>610522</c:v>
                </c:pt>
                <c:pt idx="5">
                  <c:v>560000</c:v>
                </c:pt>
                <c:pt idx="6">
                  <c:v>510000</c:v>
                </c:pt>
                <c:pt idx="7">
                  <c:v>450000</c:v>
                </c:pt>
                <c:pt idx="8">
                  <c:v>400000</c:v>
                </c:pt>
                <c:pt idx="9">
                  <c:v>340000</c:v>
                </c:pt>
                <c:pt idx="10">
                  <c:v>310000</c:v>
                </c:pt>
                <c:pt idx="11">
                  <c:v>300000</c:v>
                </c:pt>
                <c:pt idx="12">
                  <c:v>295000</c:v>
                </c:pt>
                <c:pt idx="13">
                  <c:v>292000</c:v>
                </c:pt>
                <c:pt idx="14">
                  <c:v>275000</c:v>
                </c:pt>
                <c:pt idx="15">
                  <c:v>250000</c:v>
                </c:pt>
                <c:pt idx="16">
                  <c:v>280000</c:v>
                </c:pt>
                <c:pt idx="17">
                  <c:v>310000</c:v>
                </c:pt>
                <c:pt idx="18">
                  <c:v>350000</c:v>
                </c:pt>
                <c:pt idx="19">
                  <c:v>390000</c:v>
                </c:pt>
                <c:pt idx="20">
                  <c:v>370000</c:v>
                </c:pt>
                <c:pt idx="21">
                  <c:v>350000</c:v>
                </c:pt>
                <c:pt idx="22">
                  <c:v>325000</c:v>
                </c:pt>
                <c:pt idx="23">
                  <c:v>300000</c:v>
                </c:pt>
                <c:pt idx="24">
                  <c:v>277313</c:v>
                </c:pt>
                <c:pt idx="25">
                  <c:v>260000</c:v>
                </c:pt>
                <c:pt idx="26">
                  <c:v>240000</c:v>
                </c:pt>
                <c:pt idx="27">
                  <c:v>220000</c:v>
                </c:pt>
                <c:pt idx="28">
                  <c:v>200000</c:v>
                </c:pt>
                <c:pt idx="29">
                  <c:v>190000</c:v>
                </c:pt>
                <c:pt idx="30">
                  <c:v>175000</c:v>
                </c:pt>
                <c:pt idx="31">
                  <c:v>150000</c:v>
                </c:pt>
                <c:pt idx="32">
                  <c:v>130000</c:v>
                </c:pt>
                <c:pt idx="33">
                  <c:v>100000</c:v>
                </c:pt>
                <c:pt idx="34">
                  <c:v>75000</c:v>
                </c:pt>
                <c:pt idx="35">
                  <c:v>45000</c:v>
                </c:pt>
                <c:pt idx="36">
                  <c:v>0</c:v>
                </c:pt>
                <c:pt idx="37">
                  <c:v>-25000</c:v>
                </c:pt>
                <c:pt idx="38">
                  <c:v>-43000</c:v>
                </c:pt>
                <c:pt idx="39">
                  <c:v>-60000</c:v>
                </c:pt>
                <c:pt idx="40">
                  <c:v>-75000</c:v>
                </c:pt>
                <c:pt idx="41">
                  <c:v>-83000</c:v>
                </c:pt>
                <c:pt idx="42">
                  <c:v>-90000</c:v>
                </c:pt>
                <c:pt idx="43">
                  <c:v>-96000</c:v>
                </c:pt>
                <c:pt idx="44">
                  <c:v>-90000</c:v>
                </c:pt>
                <c:pt idx="45">
                  <c:v>-88000</c:v>
                </c:pt>
                <c:pt idx="46">
                  <c:v>-86000</c:v>
                </c:pt>
                <c:pt idx="47">
                  <c:v>-85000</c:v>
                </c:pt>
                <c:pt idx="48">
                  <c:v>-85000</c:v>
                </c:pt>
                <c:pt idx="49">
                  <c:v>-85000</c:v>
                </c:pt>
                <c:pt idx="50">
                  <c:v>-85000</c:v>
                </c:pt>
                <c:pt idx="51">
                  <c:v>-85000</c:v>
                </c:pt>
                <c:pt idx="52">
                  <c:v>-85000</c:v>
                </c:pt>
                <c:pt idx="53">
                  <c:v>-85000</c:v>
                </c:pt>
                <c:pt idx="54">
                  <c:v>-85000</c:v>
                </c:pt>
                <c:pt idx="55">
                  <c:v>-85000</c:v>
                </c:pt>
                <c:pt idx="56">
                  <c:v>-85000</c:v>
                </c:pt>
                <c:pt idx="57">
                  <c:v>-80000</c:v>
                </c:pt>
                <c:pt idx="58">
                  <c:v>-80000</c:v>
                </c:pt>
                <c:pt idx="59">
                  <c:v>-80000</c:v>
                </c:pt>
                <c:pt idx="60">
                  <c:v>-81000</c:v>
                </c:pt>
              </c:numCache>
            </c:numRef>
          </c:val>
          <c:smooth val="0"/>
        </c:ser>
        <c:dLbls>
          <c:showLegendKey val="0"/>
          <c:showVal val="0"/>
          <c:showCatName val="0"/>
          <c:showSerName val="0"/>
          <c:showPercent val="0"/>
          <c:showBubbleSize val="0"/>
        </c:dLbls>
        <c:smooth val="0"/>
        <c:axId val="346720256"/>
        <c:axId val="346720648"/>
      </c:lineChart>
      <c:catAx>
        <c:axId val="346720256"/>
        <c:scaling>
          <c:orientation val="minMax"/>
        </c:scaling>
        <c:delete val="0"/>
        <c:axPos val="b"/>
        <c:numFmt formatCode="General" sourceLinked="1"/>
        <c:majorTickMark val="out"/>
        <c:minorTickMark val="none"/>
        <c:tickLblPos val="low"/>
        <c:txPr>
          <a:bodyPr rot="-2700000"/>
          <a:lstStyle/>
          <a:p>
            <a:pPr>
              <a:defRPr sz="1400"/>
            </a:pPr>
            <a:endParaRPr lang="en-US"/>
          </a:p>
        </c:txPr>
        <c:crossAx val="346720648"/>
        <c:crosses val="autoZero"/>
        <c:auto val="1"/>
        <c:lblAlgn val="ctr"/>
        <c:lblOffset val="100"/>
        <c:tickLblSkip val="10"/>
        <c:tickMarkSkip val="1"/>
        <c:noMultiLvlLbl val="0"/>
      </c:catAx>
      <c:valAx>
        <c:axId val="346720648"/>
        <c:scaling>
          <c:orientation val="minMax"/>
        </c:scaling>
        <c:delete val="0"/>
        <c:axPos val="l"/>
        <c:majorGridlines/>
        <c:title>
          <c:tx>
            <c:rich>
              <a:bodyPr rot="0" vert="horz"/>
              <a:lstStyle/>
              <a:p>
                <a:pPr>
                  <a:defRPr sz="1400" b="0"/>
                </a:pPr>
                <a:r>
                  <a:rPr lang="en-US" sz="1400" b="0" dirty="0" smtClean="0"/>
                  <a:t>Annual</a:t>
                </a:r>
                <a:r>
                  <a:rPr lang="en-US" sz="1400" b="0" baseline="0" dirty="0" smtClean="0"/>
                  <a:t> </a:t>
                </a:r>
                <a:r>
                  <a:rPr lang="en-US" sz="1400" b="0" dirty="0" smtClean="0"/>
                  <a:t>Change</a:t>
                </a:r>
                <a:endParaRPr lang="en-US" sz="1400" b="0" dirty="0"/>
              </a:p>
            </c:rich>
          </c:tx>
          <c:layout>
            <c:manualLayout>
              <c:xMode val="edge"/>
              <c:yMode val="edge"/>
              <c:x val="2.6258592270312367E-4"/>
              <c:y val="2.4041204216892617E-3"/>
            </c:manualLayout>
          </c:layout>
          <c:overlay val="0"/>
        </c:title>
        <c:numFmt formatCode="#,##0" sourceLinked="0"/>
        <c:majorTickMark val="out"/>
        <c:minorTickMark val="none"/>
        <c:tickLblPos val="nextTo"/>
        <c:txPr>
          <a:bodyPr/>
          <a:lstStyle/>
          <a:p>
            <a:pPr>
              <a:defRPr sz="1400"/>
            </a:pPr>
            <a:endParaRPr lang="en-US"/>
          </a:p>
        </c:txPr>
        <c:crossAx val="346720256"/>
        <c:crosses val="autoZero"/>
        <c:crossBetween val="between"/>
      </c:valAx>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686371630165662E-2"/>
          <c:y val="9.5945418058151308E-2"/>
          <c:w val="0.9182352490604665"/>
          <c:h val="0.48305431300659402"/>
        </c:manualLayout>
      </c:layout>
      <c:barChart>
        <c:barDir val="col"/>
        <c:grouping val="clustered"/>
        <c:varyColors val="0"/>
        <c:ser>
          <c:idx val="0"/>
          <c:order val="0"/>
          <c:spPr>
            <a:solidFill>
              <a:srgbClr val="FF6600"/>
            </a:solidFill>
            <a:ln>
              <a:noFill/>
            </a:ln>
            <a:effectLst/>
          </c:spPr>
          <c:invertIfNegative val="0"/>
          <c:dPt>
            <c:idx val="0"/>
            <c:invertIfNegative val="0"/>
            <c:bubble3D val="0"/>
            <c:spPr>
              <a:solidFill>
                <a:srgbClr val="283A97"/>
              </a:solidFill>
              <a:ln>
                <a:noFill/>
              </a:ln>
              <a:effectLst/>
            </c:spPr>
          </c:dPt>
          <c:cat>
            <c:strRef>
              <c:f>Graphs!$B$13:$AE$13</c:f>
              <c:strCache>
                <c:ptCount val="30"/>
                <c:pt idx="0">
                  <c:v>Total</c:v>
                </c:pt>
                <c:pt idx="1">
                  <c:v>Blackberries</c:v>
                </c:pt>
                <c:pt idx="2">
                  <c:v>Raspberries</c:v>
                </c:pt>
                <c:pt idx="3">
                  <c:v>Blueberries</c:v>
                </c:pt>
                <c:pt idx="4">
                  <c:v>Almonds</c:v>
                </c:pt>
                <c:pt idx="5">
                  <c:v> Tangerines &amp; Tangelos</c:v>
                </c:pt>
                <c:pt idx="6">
                  <c:v>Avocados</c:v>
                </c:pt>
                <c:pt idx="7">
                  <c:v>Pistachios</c:v>
                </c:pt>
                <c:pt idx="8">
                  <c:v> Limes</c:v>
                </c:pt>
                <c:pt idx="9">
                  <c:v>Pineapples</c:v>
                </c:pt>
                <c:pt idx="10">
                  <c:v>Mangoes</c:v>
                </c:pt>
                <c:pt idx="11">
                  <c:v>Papayas</c:v>
                </c:pt>
                <c:pt idx="12">
                  <c:v>Kiwifruit</c:v>
                </c:pt>
                <c:pt idx="13">
                  <c:v>Strawberries</c:v>
                </c:pt>
                <c:pt idx="14">
                  <c:v> Lemons</c:v>
                </c:pt>
                <c:pt idx="15">
                  <c:v>Cherries</c:v>
                </c:pt>
                <c:pt idx="16">
                  <c:v>Cranberries</c:v>
                </c:pt>
                <c:pt idx="17">
                  <c:v> Bananas</c:v>
                </c:pt>
                <c:pt idx="18">
                  <c:v>  Watermelon</c:v>
                </c:pt>
                <c:pt idx="19">
                  <c:v>Apples</c:v>
                </c:pt>
                <c:pt idx="20">
                  <c:v>Walnuts</c:v>
                </c:pt>
                <c:pt idx="21">
                  <c:v>Grapes</c:v>
                </c:pt>
                <c:pt idx="22">
                  <c:v>  Honeydew</c:v>
                </c:pt>
                <c:pt idx="23">
                  <c:v>Oranges</c:v>
                </c:pt>
                <c:pt idx="24">
                  <c:v>Pears</c:v>
                </c:pt>
                <c:pt idx="25">
                  <c:v>Apricots</c:v>
                </c:pt>
                <c:pt idx="26">
                  <c:v>Grapefruit</c:v>
                </c:pt>
                <c:pt idx="27">
                  <c:v>  Cantaloupe</c:v>
                </c:pt>
                <c:pt idx="28">
                  <c:v>Plums &amp; Prunes</c:v>
                </c:pt>
                <c:pt idx="29">
                  <c:v>Peaches &amp; Nectarines</c:v>
                </c:pt>
              </c:strCache>
            </c:strRef>
          </c:cat>
          <c:val>
            <c:numRef>
              <c:f>Graphs!$B$16:$AE$16</c:f>
              <c:numCache>
                <c:formatCode>0.0%</c:formatCode>
                <c:ptCount val="30"/>
                <c:pt idx="0">
                  <c:v>1.3084101623448863E-2</c:v>
                </c:pt>
                <c:pt idx="1">
                  <c:v>0.16948505614901399</c:v>
                </c:pt>
                <c:pt idx="2">
                  <c:v>0.16792415891192758</c:v>
                </c:pt>
                <c:pt idx="3">
                  <c:v>0.12384785434435397</c:v>
                </c:pt>
                <c:pt idx="4">
                  <c:v>7.9906429104366961E-2</c:v>
                </c:pt>
                <c:pt idx="5">
                  <c:v>7.717255888577923E-2</c:v>
                </c:pt>
                <c:pt idx="6">
                  <c:v>7.4879861217013843E-2</c:v>
                </c:pt>
                <c:pt idx="7">
                  <c:v>6.9561979575304189E-2</c:v>
                </c:pt>
                <c:pt idx="8">
                  <c:v>4.4556381383313415E-2</c:v>
                </c:pt>
                <c:pt idx="9">
                  <c:v>3.8103848809604157E-2</c:v>
                </c:pt>
                <c:pt idx="10">
                  <c:v>3.7243828146700908E-2</c:v>
                </c:pt>
                <c:pt idx="11">
                  <c:v>3.012767752782386E-2</c:v>
                </c:pt>
                <c:pt idx="12">
                  <c:v>2.9156112384644883E-2</c:v>
                </c:pt>
                <c:pt idx="13">
                  <c:v>2.831109150310418E-2</c:v>
                </c:pt>
                <c:pt idx="14">
                  <c:v>1.9359523205501272E-2</c:v>
                </c:pt>
                <c:pt idx="15">
                  <c:v>1.8469380851807493E-2</c:v>
                </c:pt>
                <c:pt idx="16">
                  <c:v>1.4910690449447594E-2</c:v>
                </c:pt>
                <c:pt idx="17">
                  <c:v>9.7121571247176242E-3</c:v>
                </c:pt>
                <c:pt idx="18">
                  <c:v>9.6225107808576293E-3</c:v>
                </c:pt>
                <c:pt idx="19">
                  <c:v>6.1093838789734178E-3</c:v>
                </c:pt>
                <c:pt idx="20">
                  <c:v>2.0318024686918346E-3</c:v>
                </c:pt>
                <c:pt idx="21" formatCode="0.00%">
                  <c:v>-2.9997064728004563E-4</c:v>
                </c:pt>
                <c:pt idx="22">
                  <c:v>-7.1102311291991738E-3</c:v>
                </c:pt>
                <c:pt idx="23">
                  <c:v>-1.1884620034549043E-2</c:v>
                </c:pt>
                <c:pt idx="24">
                  <c:v>-1.2509066406718783E-2</c:v>
                </c:pt>
                <c:pt idx="25">
                  <c:v>-1.8555238007128771E-2</c:v>
                </c:pt>
                <c:pt idx="26">
                  <c:v>-2.3920502428059764E-2</c:v>
                </c:pt>
                <c:pt idx="27">
                  <c:v>-2.9354371875237151E-2</c:v>
                </c:pt>
                <c:pt idx="28">
                  <c:v>-3.1142683588775144E-2</c:v>
                </c:pt>
                <c:pt idx="29">
                  <c:v>-4.6587692248901247E-2</c:v>
                </c:pt>
              </c:numCache>
            </c:numRef>
          </c:val>
        </c:ser>
        <c:dLbls>
          <c:showLegendKey val="0"/>
          <c:showVal val="0"/>
          <c:showCatName val="0"/>
          <c:showSerName val="0"/>
          <c:showPercent val="0"/>
          <c:showBubbleSize val="0"/>
        </c:dLbls>
        <c:gapWidth val="219"/>
        <c:overlap val="-27"/>
        <c:axId val="318209968"/>
        <c:axId val="318210360"/>
      </c:barChart>
      <c:catAx>
        <c:axId val="3182099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18210360"/>
        <c:crosses val="autoZero"/>
        <c:auto val="1"/>
        <c:lblAlgn val="ctr"/>
        <c:lblOffset val="100"/>
        <c:tickLblSkip val="1"/>
        <c:noMultiLvlLbl val="0"/>
      </c:catAx>
      <c:valAx>
        <c:axId val="318210360"/>
        <c:scaling>
          <c:orientation val="minMax"/>
          <c:max val="0.18000000000000002"/>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r>
                  <a:rPr lang="en-US" sz="1400" dirty="0">
                    <a:solidFill>
                      <a:schemeClr val="tx1"/>
                    </a:solidFill>
                    <a:latin typeface="Verdana" panose="020B0604030504040204" pitchFamily="34" charset="0"/>
                    <a:ea typeface="Verdana" panose="020B0604030504040204" pitchFamily="34" charset="0"/>
                    <a:cs typeface="Verdana" panose="020B0604030504040204" pitchFamily="34" charset="0"/>
                  </a:rPr>
                  <a:t>CAGR in</a:t>
                </a:r>
                <a:r>
                  <a:rPr lang="en-US" sz="14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lb/cap</a:t>
                </a:r>
                <a:endParaRPr lang="en-GB" sz="1400" dirty="0">
                  <a:solidFill>
                    <a:schemeClr val="tx1"/>
                  </a:solidFill>
                  <a:latin typeface="Verdana" panose="020B0604030504040204" pitchFamily="34" charset="0"/>
                  <a:ea typeface="Verdana" panose="020B0604030504040204" pitchFamily="34" charset="0"/>
                  <a:cs typeface="Verdana" panose="020B0604030504040204" pitchFamily="34" charset="0"/>
                </a:endParaRPr>
              </a:p>
            </c:rich>
          </c:tx>
          <c:layout>
            <c:manualLayout>
              <c:xMode val="edge"/>
              <c:yMode val="edge"/>
              <c:x val="0"/>
              <c:y val="1.1210600134127203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318209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3065157794700714E-2"/>
          <c:y val="0.10407644356955381"/>
          <c:w val="0.84661747876997906"/>
          <c:h val="0.70165705198308548"/>
        </c:manualLayout>
      </c:layout>
      <c:barChart>
        <c:barDir val="col"/>
        <c:grouping val="clustered"/>
        <c:varyColors val="0"/>
        <c:ser>
          <c:idx val="0"/>
          <c:order val="0"/>
          <c:tx>
            <c:strRef>
              <c:f>Basic!$B$3</c:f>
              <c:strCache>
                <c:ptCount val="1"/>
                <c:pt idx="0">
                  <c:v>Total Conv Q (lhs)</c:v>
                </c:pt>
              </c:strCache>
            </c:strRef>
          </c:tx>
          <c:spPr>
            <a:solidFill>
              <a:schemeClr val="accent1"/>
            </a:solidFill>
            <a:ln>
              <a:noFill/>
            </a:ln>
            <a:effectLst/>
          </c:spPr>
          <c:invertIfNegative val="0"/>
          <c:cat>
            <c:numRef>
              <c:f>Basic!$A$4:$A$15</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Basic!$B$4:$B$15</c:f>
              <c:numCache>
                <c:formatCode>General</c:formatCode>
                <c:ptCount val="12"/>
                <c:pt idx="0">
                  <c:v>97670000</c:v>
                </c:pt>
                <c:pt idx="1">
                  <c:v>99540000</c:v>
                </c:pt>
                <c:pt idx="2">
                  <c:v>113940000</c:v>
                </c:pt>
                <c:pt idx="3">
                  <c:v>128360000</c:v>
                </c:pt>
                <c:pt idx="4">
                  <c:v>150310000</c:v>
                </c:pt>
                <c:pt idx="5">
                  <c:v>188030000</c:v>
                </c:pt>
                <c:pt idx="6">
                  <c:v>207330000</c:v>
                </c:pt>
                <c:pt idx="7">
                  <c:v>256000000</c:v>
                </c:pt>
                <c:pt idx="8">
                  <c:v>260410000</c:v>
                </c:pt>
                <c:pt idx="9">
                  <c:v>241040000</c:v>
                </c:pt>
                <c:pt idx="10">
                  <c:v>226840000</c:v>
                </c:pt>
                <c:pt idx="11">
                  <c:v>216490000</c:v>
                </c:pt>
              </c:numCache>
            </c:numRef>
          </c:val>
        </c:ser>
        <c:dLbls>
          <c:showLegendKey val="0"/>
          <c:showVal val="0"/>
          <c:showCatName val="0"/>
          <c:showSerName val="0"/>
          <c:showPercent val="0"/>
          <c:showBubbleSize val="0"/>
        </c:dLbls>
        <c:gapWidth val="219"/>
        <c:overlap val="-27"/>
        <c:axId val="204246712"/>
        <c:axId val="204247104"/>
      </c:barChart>
      <c:lineChart>
        <c:grouping val="standard"/>
        <c:varyColors val="0"/>
        <c:ser>
          <c:idx val="1"/>
          <c:order val="1"/>
          <c:tx>
            <c:strRef>
              <c:f>Basic!$E$3</c:f>
              <c:strCache>
                <c:ptCount val="1"/>
                <c:pt idx="0">
                  <c:v>Conv Wtd Price (rhs)</c:v>
                </c:pt>
              </c:strCache>
            </c:strRef>
          </c:tx>
          <c:spPr>
            <a:ln w="28575" cap="rnd">
              <a:solidFill>
                <a:schemeClr val="accent2"/>
              </a:solidFill>
              <a:round/>
            </a:ln>
            <a:effectLst/>
          </c:spPr>
          <c:marker>
            <c:symbol val="none"/>
          </c:marker>
          <c:cat>
            <c:numRef>
              <c:f>Basic!$A$4:$A$15</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Basic!$E$4:$E$15</c:f>
              <c:numCache>
                <c:formatCode>0.00</c:formatCode>
                <c:ptCount val="12"/>
                <c:pt idx="0">
                  <c:v>17.232126603262419</c:v>
                </c:pt>
                <c:pt idx="1">
                  <c:v>17.366523752275732</c:v>
                </c:pt>
                <c:pt idx="2">
                  <c:v>16.774621539850724</c:v>
                </c:pt>
                <c:pt idx="3">
                  <c:v>17.825986835562219</c:v>
                </c:pt>
                <c:pt idx="4">
                  <c:v>17.589548266915045</c:v>
                </c:pt>
                <c:pt idx="5">
                  <c:v>17.442902137365788</c:v>
                </c:pt>
                <c:pt idx="6">
                  <c:v>17.905538276724592</c:v>
                </c:pt>
                <c:pt idx="7">
                  <c:v>16.757507812500002</c:v>
                </c:pt>
                <c:pt idx="8">
                  <c:v>16.053152334813618</c:v>
                </c:pt>
                <c:pt idx="9">
                  <c:v>17.226829571855294</c:v>
                </c:pt>
                <c:pt idx="10">
                  <c:v>16.708098219008992</c:v>
                </c:pt>
                <c:pt idx="11">
                  <c:v>17.285117095477851</c:v>
                </c:pt>
              </c:numCache>
            </c:numRef>
          </c:val>
          <c:smooth val="0"/>
        </c:ser>
        <c:dLbls>
          <c:showLegendKey val="0"/>
          <c:showVal val="0"/>
          <c:showCatName val="0"/>
          <c:showSerName val="0"/>
          <c:showPercent val="0"/>
          <c:showBubbleSize val="0"/>
        </c:dLbls>
        <c:marker val="1"/>
        <c:smooth val="0"/>
        <c:axId val="319010648"/>
        <c:axId val="204247496"/>
      </c:lineChart>
      <c:catAx>
        <c:axId val="204246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04247104"/>
        <c:crosses val="autoZero"/>
        <c:auto val="1"/>
        <c:lblAlgn val="ctr"/>
        <c:lblOffset val="100"/>
        <c:noMultiLvlLbl val="0"/>
      </c:catAx>
      <c:valAx>
        <c:axId val="20424710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04246712"/>
        <c:crosses val="autoZero"/>
        <c:crossBetween val="between"/>
        <c:dispUnits>
          <c:builtInUnit val="millions"/>
          <c:dispUnitsLbl>
            <c:layout>
              <c:manualLayout>
                <c:xMode val="edge"/>
                <c:yMode val="edge"/>
                <c:x val="0"/>
                <c:y val="0"/>
              </c:manualLayout>
            </c:layout>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a:solidFill>
                        <a:schemeClr val="tx1"/>
                      </a:solidFill>
                    </a:rPr>
                    <a:t>Mill</a:t>
                  </a:r>
                  <a:r>
                    <a:rPr lang="en-GB" sz="1400" baseline="0">
                      <a:solidFill>
                        <a:schemeClr val="tx1"/>
                      </a:solidFill>
                    </a:rPr>
                    <a:t> lb</a:t>
                  </a:r>
                  <a:endParaRPr lang="en-GB" sz="1400">
                    <a:solidFill>
                      <a:schemeClr val="tx1"/>
                    </a:solidFill>
                  </a:endParaRPr>
                </a:p>
              </c:rich>
            </c:tx>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dispUnitsLbl>
        </c:dispUnits>
      </c:valAx>
      <c:valAx>
        <c:axId val="204247496"/>
        <c:scaling>
          <c:orientation val="minMax"/>
          <c:max val="18"/>
        </c:scaling>
        <c:delete val="0"/>
        <c:axPos val="r"/>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dirty="0">
                    <a:solidFill>
                      <a:schemeClr val="tx1"/>
                    </a:solidFill>
                  </a:rPr>
                  <a:t>USD/Flat</a:t>
                </a:r>
              </a:p>
            </c:rich>
          </c:tx>
          <c:layout>
            <c:manualLayout>
              <c:xMode val="edge"/>
              <c:yMode val="edge"/>
              <c:x val="0.9017671398621373"/>
              <c:y val="4.6335028433945758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19010648"/>
        <c:crosses val="max"/>
        <c:crossBetween val="between"/>
      </c:valAx>
      <c:catAx>
        <c:axId val="319010648"/>
        <c:scaling>
          <c:orientation val="minMax"/>
        </c:scaling>
        <c:delete val="1"/>
        <c:axPos val="b"/>
        <c:numFmt formatCode="General" sourceLinked="1"/>
        <c:majorTickMark val="out"/>
        <c:minorTickMark val="none"/>
        <c:tickLblPos val="nextTo"/>
        <c:crossAx val="204247496"/>
        <c:crosses val="autoZero"/>
        <c:auto val="1"/>
        <c:lblAlgn val="ctr"/>
        <c:lblOffset val="100"/>
        <c:noMultiLvlLbl val="0"/>
      </c:catAx>
      <c:spPr>
        <a:noFill/>
        <a:ln>
          <a:noFill/>
        </a:ln>
        <a:effectLst/>
      </c:spPr>
    </c:plotArea>
    <c:legend>
      <c:legendPos val="b"/>
      <c:layout>
        <c:manualLayout>
          <c:xMode val="edge"/>
          <c:yMode val="edge"/>
          <c:x val="9.4113620807665985E-2"/>
          <c:y val="0.93389813903470398"/>
          <c:w val="0.82332418919914285"/>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250760364400032E-2"/>
          <c:y val="0.12299618146689997"/>
          <c:w val="0.83238018309826267"/>
          <c:h val="0.62307387357830268"/>
        </c:manualLayout>
      </c:layout>
      <c:barChart>
        <c:barDir val="col"/>
        <c:grouping val="clustered"/>
        <c:varyColors val="0"/>
        <c:ser>
          <c:idx val="2"/>
          <c:order val="1"/>
          <c:tx>
            <c:strRef>
              <c:f>Comp!$AR$3</c:f>
              <c:strCache>
                <c:ptCount val="1"/>
                <c:pt idx="0">
                  <c:v>CAGR Q (lhs)</c:v>
                </c:pt>
              </c:strCache>
            </c:strRef>
          </c:tx>
          <c:spPr>
            <a:solidFill>
              <a:schemeClr val="accent3"/>
            </a:solidFill>
            <a:ln>
              <a:noFill/>
            </a:ln>
            <a:effectLst/>
          </c:spPr>
          <c:invertIfNegative val="0"/>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R$4:$AR$55</c:f>
              <c:numCache>
                <c:formatCode>0.0%</c:formatCode>
                <c:ptCount val="52"/>
                <c:pt idx="0">
                  <c:v>0.13725088760823856</c:v>
                </c:pt>
                <c:pt idx="1">
                  <c:v>0.15980965532438107</c:v>
                </c:pt>
                <c:pt idx="2">
                  <c:v>0.12908149313847606</c:v>
                </c:pt>
                <c:pt idx="3">
                  <c:v>8.6175480409629079E-2</c:v>
                </c:pt>
                <c:pt idx="4">
                  <c:v>0.10778254952357713</c:v>
                </c:pt>
                <c:pt idx="5">
                  <c:v>0.11306075397264737</c:v>
                </c:pt>
                <c:pt idx="6">
                  <c:v>0.10974707823306917</c:v>
                </c:pt>
                <c:pt idx="7">
                  <c:v>6.498547731739146E-2</c:v>
                </c:pt>
                <c:pt idx="8">
                  <c:v>9.8513967277833459E-2</c:v>
                </c:pt>
                <c:pt idx="9">
                  <c:v>0.11137824355254322</c:v>
                </c:pt>
                <c:pt idx="10">
                  <c:v>0.13035156757178434</c:v>
                </c:pt>
                <c:pt idx="11">
                  <c:v>0.11563510818551981</c:v>
                </c:pt>
                <c:pt idx="12">
                  <c:v>0.12429516276061681</c:v>
                </c:pt>
                <c:pt idx="13">
                  <c:v>0.10272151672249108</c:v>
                </c:pt>
                <c:pt idx="14">
                  <c:v>9.7872809471499345E-2</c:v>
                </c:pt>
                <c:pt idx="15">
                  <c:v>9.4264040392956883E-2</c:v>
                </c:pt>
                <c:pt idx="16">
                  <c:v>3.8490068336375804E-2</c:v>
                </c:pt>
                <c:pt idx="17">
                  <c:v>4.3566881057033102E-2</c:v>
                </c:pt>
                <c:pt idx="18">
                  <c:v>-1.5513749016482392E-2</c:v>
                </c:pt>
                <c:pt idx="19">
                  <c:v>8.3949536963674465E-3</c:v>
                </c:pt>
                <c:pt idx="20">
                  <c:v>-9.2779469029208306E-3</c:v>
                </c:pt>
                <c:pt idx="21">
                  <c:v>-1.5318462005365574E-2</c:v>
                </c:pt>
                <c:pt idx="22">
                  <c:v>-2.0663310395676926E-2</c:v>
                </c:pt>
                <c:pt idx="23">
                  <c:v>-3.7176271500080071E-2</c:v>
                </c:pt>
                <c:pt idx="24">
                  <c:v>-2.1280624921623859E-2</c:v>
                </c:pt>
                <c:pt idx="25">
                  <c:v>-5.9158861511245164E-2</c:v>
                </c:pt>
                <c:pt idx="26">
                  <c:v>-8.4367368856324565E-2</c:v>
                </c:pt>
                <c:pt idx="27">
                  <c:v>-6.4254050061026691E-2</c:v>
                </c:pt>
                <c:pt idx="28">
                  <c:v>-3.3934708401652802E-2</c:v>
                </c:pt>
                <c:pt idx="29">
                  <c:v>1.1141150439079484E-2</c:v>
                </c:pt>
                <c:pt idx="30">
                  <c:v>-3.7231388261487197E-3</c:v>
                </c:pt>
                <c:pt idx="31">
                  <c:v>-2.8369349566151891E-2</c:v>
                </c:pt>
                <c:pt idx="32">
                  <c:v>-3.7328874463680051E-2</c:v>
                </c:pt>
                <c:pt idx="33">
                  <c:v>-8.6843932283262038E-2</c:v>
                </c:pt>
                <c:pt idx="34">
                  <c:v>-0.10164518130448286</c:v>
                </c:pt>
                <c:pt idx="35">
                  <c:v>-9.2547282720717328E-2</c:v>
                </c:pt>
                <c:pt idx="36">
                  <c:v>-5.5746643965857268E-2</c:v>
                </c:pt>
                <c:pt idx="37">
                  <c:v>-3.2222805488394068E-2</c:v>
                </c:pt>
                <c:pt idx="38">
                  <c:v>-5.2009853262454664E-3</c:v>
                </c:pt>
                <c:pt idx="39">
                  <c:v>2.3160853702751227E-2</c:v>
                </c:pt>
                <c:pt idx="40">
                  <c:v>2.5318171406996104E-2</c:v>
                </c:pt>
                <c:pt idx="41">
                  <c:v>1.2914786241882359E-2</c:v>
                </c:pt>
                <c:pt idx="42">
                  <c:v>8.9810168017938619E-3</c:v>
                </c:pt>
                <c:pt idx="43">
                  <c:v>2.3925172980908016E-2</c:v>
                </c:pt>
                <c:pt idx="44">
                  <c:v>2.9435978295994536E-2</c:v>
                </c:pt>
                <c:pt idx="45">
                  <c:v>3.3653041949932572E-4</c:v>
                </c:pt>
                <c:pt idx="46">
                  <c:v>-3.0546774253769837E-2</c:v>
                </c:pt>
                <c:pt idx="47">
                  <c:v>1.6005082323391484E-2</c:v>
                </c:pt>
                <c:pt idx="48">
                  <c:v>3.533571258199375E-2</c:v>
                </c:pt>
                <c:pt idx="49">
                  <c:v>6.0347136255311407E-2</c:v>
                </c:pt>
                <c:pt idx="50">
                  <c:v>3.3481090110235145E-2</c:v>
                </c:pt>
                <c:pt idx="51">
                  <c:v>-2.6483918188346944E-2</c:v>
                </c:pt>
              </c:numCache>
            </c:numRef>
          </c:val>
        </c:ser>
        <c:ser>
          <c:idx val="1"/>
          <c:order val="2"/>
          <c:tx>
            <c:strRef>
              <c:f>Comp!$AO$3</c:f>
              <c:strCache>
                <c:ptCount val="1"/>
                <c:pt idx="0">
                  <c:v>CAGR P (lhs)</c:v>
                </c:pt>
              </c:strCache>
            </c:strRef>
          </c:tx>
          <c:spPr>
            <a:solidFill>
              <a:schemeClr val="accent2"/>
            </a:solidFill>
            <a:ln>
              <a:noFill/>
            </a:ln>
            <a:effectLst/>
          </c:spPr>
          <c:invertIfNegative val="0"/>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O$4:$AO$55</c:f>
              <c:numCache>
                <c:formatCode>0.0%</c:formatCode>
                <c:ptCount val="52"/>
                <c:pt idx="0">
                  <c:v>-8.0234557598740985E-2</c:v>
                </c:pt>
                <c:pt idx="1">
                  <c:v>-8.0839752346190119E-2</c:v>
                </c:pt>
                <c:pt idx="2">
                  <c:v>-7.4608818619025685E-2</c:v>
                </c:pt>
                <c:pt idx="3">
                  <c:v>-7.9500925727612026E-2</c:v>
                </c:pt>
                <c:pt idx="4">
                  <c:v>-6.2704524282899188E-2</c:v>
                </c:pt>
                <c:pt idx="5">
                  <c:v>-5.2378980376434847E-2</c:v>
                </c:pt>
                <c:pt idx="6">
                  <c:v>-3.9073094935604069E-2</c:v>
                </c:pt>
                <c:pt idx="7">
                  <c:v>-2.6367656405393958E-2</c:v>
                </c:pt>
                <c:pt idx="8">
                  <c:v>-2.655736974404177E-2</c:v>
                </c:pt>
                <c:pt idx="9">
                  <c:v>-3.309397325389285E-2</c:v>
                </c:pt>
                <c:pt idx="10">
                  <c:v>-3.7715725127407951E-2</c:v>
                </c:pt>
                <c:pt idx="11">
                  <c:v>-4.625096164914877E-2</c:v>
                </c:pt>
                <c:pt idx="12">
                  <c:v>-5.4973508036652796E-2</c:v>
                </c:pt>
                <c:pt idx="13">
                  <c:v>-5.5685929569673998E-2</c:v>
                </c:pt>
                <c:pt idx="14">
                  <c:v>-5.2129128119689394E-2</c:v>
                </c:pt>
                <c:pt idx="15">
                  <c:v>-4.6331482474564867E-2</c:v>
                </c:pt>
                <c:pt idx="16">
                  <c:v>-2.2153955130198022E-2</c:v>
                </c:pt>
                <c:pt idx="17">
                  <c:v>-3.9920956519505779E-3</c:v>
                </c:pt>
                <c:pt idx="18">
                  <c:v>-8.4395730717289341E-3</c:v>
                </c:pt>
                <c:pt idx="19">
                  <c:v>1.6573689065292996E-2</c:v>
                </c:pt>
                <c:pt idx="20">
                  <c:v>5.0634529979740606E-3</c:v>
                </c:pt>
                <c:pt idx="21">
                  <c:v>1.2953670179724153E-2</c:v>
                </c:pt>
                <c:pt idx="22">
                  <c:v>1.1562614480587596E-2</c:v>
                </c:pt>
                <c:pt idx="23">
                  <c:v>3.9289877625411807E-2</c:v>
                </c:pt>
                <c:pt idx="24">
                  <c:v>5.6748730781321033E-2</c:v>
                </c:pt>
                <c:pt idx="25">
                  <c:v>4.4134201236026627E-2</c:v>
                </c:pt>
                <c:pt idx="26">
                  <c:v>4.0567433666564234E-2</c:v>
                </c:pt>
                <c:pt idx="27">
                  <c:v>6.5017251330325099E-2</c:v>
                </c:pt>
                <c:pt idx="28">
                  <c:v>5.8598626230188522E-2</c:v>
                </c:pt>
                <c:pt idx="29">
                  <c:v>2.6690096080340897E-2</c:v>
                </c:pt>
                <c:pt idx="30">
                  <c:v>0</c:v>
                </c:pt>
                <c:pt idx="31">
                  <c:v>-1.8817180805500544E-2</c:v>
                </c:pt>
                <c:pt idx="32">
                  <c:v>0</c:v>
                </c:pt>
                <c:pt idx="33">
                  <c:v>1.2272234429039131E-2</c:v>
                </c:pt>
                <c:pt idx="34">
                  <c:v>4.9931668833310683E-2</c:v>
                </c:pt>
                <c:pt idx="35">
                  <c:v>6.1218645116521753E-2</c:v>
                </c:pt>
                <c:pt idx="36">
                  <c:v>4.8657632184267774E-2</c:v>
                </c:pt>
                <c:pt idx="37">
                  <c:v>2.3362045503587003E-2</c:v>
                </c:pt>
                <c:pt idx="38">
                  <c:v>7.6438682062325292E-3</c:v>
                </c:pt>
                <c:pt idx="39">
                  <c:v>-1.015359923204695E-2</c:v>
                </c:pt>
                <c:pt idx="40">
                  <c:v>-4.2486897083342967E-2</c:v>
                </c:pt>
                <c:pt idx="41">
                  <c:v>-3.9914169618913475E-2</c:v>
                </c:pt>
                <c:pt idx="42">
                  <c:v>-3.3460433818755853E-2</c:v>
                </c:pt>
                <c:pt idx="43">
                  <c:v>3.0349362551791437E-3</c:v>
                </c:pt>
                <c:pt idx="44">
                  <c:v>2.9985343992966484E-3</c:v>
                </c:pt>
                <c:pt idx="45">
                  <c:v>-3.0806295610766865E-2</c:v>
                </c:pt>
                <c:pt idx="46">
                  <c:v>-4.6318400153254169E-2</c:v>
                </c:pt>
                <c:pt idx="47">
                  <c:v>-5.2591879496358906E-2</c:v>
                </c:pt>
                <c:pt idx="48">
                  <c:v>-2.1409496239395254E-2</c:v>
                </c:pt>
                <c:pt idx="49">
                  <c:v>-2.9016456585353123E-2</c:v>
                </c:pt>
                <c:pt idx="50">
                  <c:v>-6.7676565048183979E-2</c:v>
                </c:pt>
                <c:pt idx="51">
                  <c:v>-6.8111142429075011E-2</c:v>
                </c:pt>
              </c:numCache>
            </c:numRef>
          </c:val>
        </c:ser>
        <c:dLbls>
          <c:showLegendKey val="0"/>
          <c:showVal val="0"/>
          <c:showCatName val="0"/>
          <c:showSerName val="0"/>
          <c:showPercent val="0"/>
          <c:showBubbleSize val="0"/>
        </c:dLbls>
        <c:gapWidth val="150"/>
        <c:axId val="319041120"/>
        <c:axId val="319040728"/>
      </c:barChart>
      <c:lineChart>
        <c:grouping val="standard"/>
        <c:varyColors val="0"/>
        <c:ser>
          <c:idx val="0"/>
          <c:order val="0"/>
          <c:tx>
            <c:strRef>
              <c:f>Comp!$AL$3</c:f>
              <c:strCache>
                <c:ptCount val="1"/>
                <c:pt idx="0">
                  <c:v>Weekly Avg Price 2012-2018 (rhs)</c:v>
                </c:pt>
              </c:strCache>
            </c:strRef>
          </c:tx>
          <c:spPr>
            <a:ln w="28575" cap="rnd">
              <a:solidFill>
                <a:schemeClr val="accent1"/>
              </a:solidFill>
              <a:round/>
            </a:ln>
            <a:effectLst/>
          </c:spPr>
          <c:marker>
            <c:symbol val="none"/>
          </c:marker>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L$4:$AL$55</c:f>
              <c:numCache>
                <c:formatCode>0.00</c:formatCode>
                <c:ptCount val="52"/>
                <c:pt idx="0">
                  <c:v>19.666666666666668</c:v>
                </c:pt>
                <c:pt idx="1">
                  <c:v>20.25</c:v>
                </c:pt>
                <c:pt idx="2">
                  <c:v>21.428571428571427</c:v>
                </c:pt>
                <c:pt idx="3">
                  <c:v>21.928571428571427</c:v>
                </c:pt>
                <c:pt idx="4">
                  <c:v>22.206349206349209</c:v>
                </c:pt>
                <c:pt idx="5">
                  <c:v>21.738095238095237</c:v>
                </c:pt>
                <c:pt idx="6">
                  <c:v>22.412698412698411</c:v>
                </c:pt>
                <c:pt idx="7">
                  <c:v>22.484126984126988</c:v>
                </c:pt>
                <c:pt idx="8">
                  <c:v>22.269841269841272</c:v>
                </c:pt>
                <c:pt idx="9">
                  <c:v>22.174603174603178</c:v>
                </c:pt>
                <c:pt idx="10">
                  <c:v>22.603174603174601</c:v>
                </c:pt>
                <c:pt idx="11">
                  <c:v>23.50793650793651</c:v>
                </c:pt>
                <c:pt idx="12">
                  <c:v>24.107142857142854</c:v>
                </c:pt>
                <c:pt idx="13">
                  <c:v>24.071428571428577</c:v>
                </c:pt>
                <c:pt idx="14">
                  <c:v>24</c:v>
                </c:pt>
                <c:pt idx="15">
                  <c:v>23.571428571428573</c:v>
                </c:pt>
                <c:pt idx="16">
                  <c:v>21.571428571428569</c:v>
                </c:pt>
                <c:pt idx="17">
                  <c:v>20.142857142857146</c:v>
                </c:pt>
                <c:pt idx="18">
                  <c:v>19.107142857142854</c:v>
                </c:pt>
                <c:pt idx="19">
                  <c:v>17.357142857142858</c:v>
                </c:pt>
                <c:pt idx="20">
                  <c:v>16.142857142857142</c:v>
                </c:pt>
                <c:pt idx="21">
                  <c:v>15</c:v>
                </c:pt>
                <c:pt idx="22">
                  <c:v>14.5</c:v>
                </c:pt>
                <c:pt idx="23">
                  <c:v>15.142857142857142</c:v>
                </c:pt>
                <c:pt idx="24">
                  <c:v>15.857142857142856</c:v>
                </c:pt>
                <c:pt idx="25">
                  <c:v>15.892857142857142</c:v>
                </c:pt>
                <c:pt idx="26">
                  <c:v>15.642857142857142</c:v>
                </c:pt>
                <c:pt idx="27">
                  <c:v>16.107142857142858</c:v>
                </c:pt>
                <c:pt idx="28">
                  <c:v>15.714285714285714</c:v>
                </c:pt>
                <c:pt idx="29">
                  <c:v>15.428571428571429</c:v>
                </c:pt>
                <c:pt idx="30">
                  <c:v>14.285714285714288</c:v>
                </c:pt>
                <c:pt idx="31">
                  <c:v>13.142857142857146</c:v>
                </c:pt>
                <c:pt idx="32">
                  <c:v>13.285714285714288</c:v>
                </c:pt>
                <c:pt idx="33">
                  <c:v>13.928571428571427</c:v>
                </c:pt>
                <c:pt idx="34">
                  <c:v>14.785714285714288</c:v>
                </c:pt>
                <c:pt idx="35">
                  <c:v>15.571428571428569</c:v>
                </c:pt>
                <c:pt idx="36">
                  <c:v>15.714285714285712</c:v>
                </c:pt>
                <c:pt idx="37">
                  <c:v>16.071428571428573</c:v>
                </c:pt>
                <c:pt idx="38">
                  <c:v>16.214285714285715</c:v>
                </c:pt>
                <c:pt idx="39">
                  <c:v>16.071428571428573</c:v>
                </c:pt>
                <c:pt idx="40">
                  <c:v>15.444444444444445</c:v>
                </c:pt>
                <c:pt idx="41">
                  <c:v>14.738095238095241</c:v>
                </c:pt>
                <c:pt idx="42">
                  <c:v>14.333333333333336</c:v>
                </c:pt>
                <c:pt idx="43">
                  <c:v>13.928571428571427</c:v>
                </c:pt>
                <c:pt idx="44">
                  <c:v>14.071428571428573</c:v>
                </c:pt>
                <c:pt idx="45">
                  <c:v>14.333333333333334</c:v>
                </c:pt>
                <c:pt idx="46">
                  <c:v>13.928571428571431</c:v>
                </c:pt>
                <c:pt idx="47">
                  <c:v>14.30952380952381</c:v>
                </c:pt>
                <c:pt idx="48">
                  <c:v>16.178571428571427</c:v>
                </c:pt>
                <c:pt idx="49">
                  <c:v>18.416666666666668</c:v>
                </c:pt>
                <c:pt idx="50">
                  <c:v>19.75</c:v>
                </c:pt>
                <c:pt idx="51">
                  <c:v>19.383333333333333</c:v>
                </c:pt>
              </c:numCache>
            </c:numRef>
          </c:val>
          <c:smooth val="0"/>
        </c:ser>
        <c:dLbls>
          <c:showLegendKey val="0"/>
          <c:showVal val="0"/>
          <c:showCatName val="0"/>
          <c:showSerName val="0"/>
          <c:showPercent val="0"/>
          <c:showBubbleSize val="0"/>
        </c:dLbls>
        <c:marker val="1"/>
        <c:smooth val="0"/>
        <c:axId val="319012216"/>
        <c:axId val="319011824"/>
      </c:lineChart>
      <c:valAx>
        <c:axId val="319011824"/>
        <c:scaling>
          <c:orientation val="minMax"/>
          <c:max val="26"/>
          <c:min val="0"/>
        </c:scaling>
        <c:delete val="0"/>
        <c:axPos val="r"/>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USD/Flat</a:t>
                </a:r>
              </a:p>
            </c:rich>
          </c:tx>
          <c:layout>
            <c:manualLayout>
              <c:xMode val="edge"/>
              <c:yMode val="edge"/>
              <c:x val="0.9015086698608259"/>
              <c:y val="1.9302274715660543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19012216"/>
        <c:crosses val="max"/>
        <c:crossBetween val="between"/>
        <c:majorUnit val="5"/>
      </c:valAx>
      <c:catAx>
        <c:axId val="319012216"/>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dirty="0"/>
                  <a:t>Week</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19011824"/>
        <c:crosses val="autoZero"/>
        <c:auto val="1"/>
        <c:lblAlgn val="ctr"/>
        <c:lblOffset val="100"/>
        <c:tickLblSkip val="3"/>
        <c:tickMarkSkip val="1"/>
        <c:noMultiLvlLbl val="0"/>
      </c:catAx>
      <c:valAx>
        <c:axId val="319040728"/>
        <c:scaling>
          <c:orientation val="minMax"/>
          <c:max val="0.2"/>
          <c:min val="-0.15000000000000002"/>
        </c:scaling>
        <c:delete val="0"/>
        <c:axPos val="l"/>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CAGR</a:t>
                </a:r>
                <a:r>
                  <a:rPr lang="en-GB" baseline="0" dirty="0"/>
                  <a:t> %</a:t>
                </a:r>
                <a:endParaRPr lang="en-GB" dirty="0"/>
              </a:p>
            </c:rich>
          </c:tx>
          <c:layout>
            <c:manualLayout>
              <c:xMode val="edge"/>
              <c:yMode val="edge"/>
              <c:x val="1.4259639516313028E-3"/>
              <c:y val="3.3769867308253154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19041120"/>
        <c:crosses val="autoZero"/>
        <c:crossBetween val="between"/>
        <c:majorUnit val="5.000000000000001E-2"/>
      </c:valAx>
      <c:catAx>
        <c:axId val="319041120"/>
        <c:scaling>
          <c:orientation val="minMax"/>
        </c:scaling>
        <c:delete val="1"/>
        <c:axPos val="b"/>
        <c:numFmt formatCode="General" sourceLinked="1"/>
        <c:majorTickMark val="out"/>
        <c:minorTickMark val="none"/>
        <c:tickLblPos val="nextTo"/>
        <c:crossAx val="319040728"/>
        <c:crosses val="autoZero"/>
        <c:auto val="1"/>
        <c:lblAlgn val="ctr"/>
        <c:lblOffset val="100"/>
        <c:noMultiLvlLbl val="0"/>
      </c:catAx>
      <c:spPr>
        <a:noFill/>
        <a:ln>
          <a:noFill/>
        </a:ln>
        <a:effectLst/>
      </c:spPr>
    </c:plotArea>
    <c:legend>
      <c:legendPos val="b"/>
      <c:layout>
        <c:manualLayout>
          <c:xMode val="edge"/>
          <c:yMode val="edge"/>
          <c:x val="4.928445802590898E-2"/>
          <c:y val="0.95012757232721667"/>
          <c:w val="0.8679679766671875"/>
          <c:h val="4.891180232810915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701572688914456"/>
          <c:y val="5.4813157348137263E-2"/>
          <c:w val="6.5209052550824001E-3"/>
          <c:h val="5.1699427859287377E-2"/>
        </c:manualLayout>
      </c:layout>
      <c:barChart>
        <c:barDir val="col"/>
        <c:grouping val="stacked"/>
        <c:varyColors val="0"/>
        <c:ser>
          <c:idx val="0"/>
          <c:order val="0"/>
          <c:tx>
            <c:strRef>
              <c:f>Shares!$AF$4</c:f>
              <c:strCache>
                <c:ptCount val="1"/>
                <c:pt idx="0">
                  <c:v>Salinas-Watsonville</c:v>
                </c:pt>
              </c:strCache>
            </c:strRef>
          </c:tx>
          <c:spPr>
            <a:solidFill>
              <a:schemeClr val="accent1"/>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F$5:$AF$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4.0650406504065045E-3</c:v>
                </c:pt>
                <c:pt idx="14">
                  <c:v>0</c:v>
                </c:pt>
                <c:pt idx="15">
                  <c:v>0</c:v>
                </c:pt>
                <c:pt idx="16">
                  <c:v>1.6550387235861466E-2</c:v>
                </c:pt>
                <c:pt idx="17">
                  <c:v>8.4368530020703936E-2</c:v>
                </c:pt>
                <c:pt idx="18">
                  <c:v>0.14765313637151276</c:v>
                </c:pt>
                <c:pt idx="19">
                  <c:v>0.22678519191577004</c:v>
                </c:pt>
                <c:pt idx="20">
                  <c:v>0.36279649695585231</c:v>
                </c:pt>
                <c:pt idx="21">
                  <c:v>0.46904096081230473</c:v>
                </c:pt>
                <c:pt idx="22">
                  <c:v>0.59438671974045298</c:v>
                </c:pt>
                <c:pt idx="23">
                  <c:v>0.63690250445239072</c:v>
                </c:pt>
                <c:pt idx="24">
                  <c:v>0.70404677603650123</c:v>
                </c:pt>
                <c:pt idx="25">
                  <c:v>0.68560767728501393</c:v>
                </c:pt>
                <c:pt idx="26">
                  <c:v>0.63476027402763535</c:v>
                </c:pt>
                <c:pt idx="27">
                  <c:v>0.57119833571446466</c:v>
                </c:pt>
                <c:pt idx="28">
                  <c:v>0.44174385614074335</c:v>
                </c:pt>
                <c:pt idx="29">
                  <c:v>0.3866865965247579</c:v>
                </c:pt>
                <c:pt idx="30">
                  <c:v>0.43394032867717081</c:v>
                </c:pt>
                <c:pt idx="31">
                  <c:v>0.50773119996601901</c:v>
                </c:pt>
                <c:pt idx="32">
                  <c:v>0.63033706600958073</c:v>
                </c:pt>
                <c:pt idx="33">
                  <c:v>0.74364264906745969</c:v>
                </c:pt>
                <c:pt idx="34">
                  <c:v>0.78036935704514365</c:v>
                </c:pt>
                <c:pt idx="35">
                  <c:v>0.77633251262090452</c:v>
                </c:pt>
                <c:pt idx="36">
                  <c:v>0.77497377173597626</c:v>
                </c:pt>
                <c:pt idx="37">
                  <c:v>0.73604136604136594</c:v>
                </c:pt>
                <c:pt idx="38">
                  <c:v>0.64584434516774591</c:v>
                </c:pt>
                <c:pt idx="39">
                  <c:v>0.57954450698353133</c:v>
                </c:pt>
                <c:pt idx="40">
                  <c:v>0.50199951353869088</c:v>
                </c:pt>
                <c:pt idx="41">
                  <c:v>0.41520428162219208</c:v>
                </c:pt>
                <c:pt idx="42">
                  <c:v>0.3428598148762656</c:v>
                </c:pt>
                <c:pt idx="43">
                  <c:v>0.2585813763512495</c:v>
                </c:pt>
                <c:pt idx="44">
                  <c:v>0.18438152203061783</c:v>
                </c:pt>
                <c:pt idx="45">
                  <c:v>0.15384456578261207</c:v>
                </c:pt>
                <c:pt idx="46">
                  <c:v>0.12602203324071987</c:v>
                </c:pt>
                <c:pt idx="47">
                  <c:v>8.8174095721265541E-2</c:v>
                </c:pt>
                <c:pt idx="48">
                  <c:v>4.1384433345958593E-2</c:v>
                </c:pt>
                <c:pt idx="49">
                  <c:v>1.689956827993638E-2</c:v>
                </c:pt>
                <c:pt idx="50">
                  <c:v>2.2075055187637969E-3</c:v>
                </c:pt>
                <c:pt idx="51">
                  <c:v>0</c:v>
                </c:pt>
              </c:numCache>
            </c:numRef>
          </c:val>
        </c:ser>
        <c:ser>
          <c:idx val="1"/>
          <c:order val="1"/>
          <c:tx>
            <c:strRef>
              <c:f>Shares!$AG$4</c:f>
              <c:strCache>
                <c:ptCount val="1"/>
                <c:pt idx="0">
                  <c:v>Santa Maria</c:v>
                </c:pt>
              </c:strCache>
            </c:strRef>
          </c:tx>
          <c:spPr>
            <a:solidFill>
              <a:schemeClr val="accent2"/>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G$5:$AG$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8.771929824561403E-3</c:v>
                </c:pt>
                <c:pt idx="13">
                  <c:v>0</c:v>
                </c:pt>
                <c:pt idx="14">
                  <c:v>0</c:v>
                </c:pt>
                <c:pt idx="15">
                  <c:v>0</c:v>
                </c:pt>
                <c:pt idx="16">
                  <c:v>0</c:v>
                </c:pt>
                <c:pt idx="17">
                  <c:v>0</c:v>
                </c:pt>
                <c:pt idx="18">
                  <c:v>0</c:v>
                </c:pt>
                <c:pt idx="19">
                  <c:v>0</c:v>
                </c:pt>
                <c:pt idx="20">
                  <c:v>4.0650406504065045E-3</c:v>
                </c:pt>
                <c:pt idx="21">
                  <c:v>7.6804915514592934E-3</c:v>
                </c:pt>
                <c:pt idx="22">
                  <c:v>1.0292953285827395E-2</c:v>
                </c:pt>
                <c:pt idx="23">
                  <c:v>1.1494252873563218E-2</c:v>
                </c:pt>
                <c:pt idx="24">
                  <c:v>1.4035087719298246E-2</c:v>
                </c:pt>
                <c:pt idx="25">
                  <c:v>1.0563380281690141E-2</c:v>
                </c:pt>
                <c:pt idx="26">
                  <c:v>8.130081300813009E-3</c:v>
                </c:pt>
                <c:pt idx="27">
                  <c:v>8.5470085470085461E-3</c:v>
                </c:pt>
                <c:pt idx="28">
                  <c:v>9.0791180285343717E-3</c:v>
                </c:pt>
                <c:pt idx="29">
                  <c:v>6.5616797900262466E-3</c:v>
                </c:pt>
                <c:pt idx="30">
                  <c:v>8.0971659919028341E-3</c:v>
                </c:pt>
                <c:pt idx="31">
                  <c:v>8.5158150851581509E-3</c:v>
                </c:pt>
                <c:pt idx="32">
                  <c:v>8.2304526748971183E-3</c:v>
                </c:pt>
                <c:pt idx="33">
                  <c:v>8.4541062801932378E-3</c:v>
                </c:pt>
                <c:pt idx="34">
                  <c:v>9.0439276485788107E-3</c:v>
                </c:pt>
                <c:pt idx="35">
                  <c:v>1.0600706713780918E-2</c:v>
                </c:pt>
                <c:pt idx="36">
                  <c:v>1.21654501216545E-2</c:v>
                </c:pt>
                <c:pt idx="37">
                  <c:v>1.1904761904761904E-2</c:v>
                </c:pt>
                <c:pt idx="38">
                  <c:v>1.4629740148716874E-2</c:v>
                </c:pt>
                <c:pt idx="39">
                  <c:v>1.6824751580849142E-2</c:v>
                </c:pt>
                <c:pt idx="40">
                  <c:v>1.9489426896834305E-2</c:v>
                </c:pt>
                <c:pt idx="41">
                  <c:v>1.5689230614603752E-2</c:v>
                </c:pt>
                <c:pt idx="42">
                  <c:v>1.6275083539657533E-2</c:v>
                </c:pt>
                <c:pt idx="43">
                  <c:v>1.3622989032825099E-2</c:v>
                </c:pt>
                <c:pt idx="44">
                  <c:v>1.2648221343873519E-2</c:v>
                </c:pt>
                <c:pt idx="45">
                  <c:v>1.108078684026069E-2</c:v>
                </c:pt>
                <c:pt idx="46">
                  <c:v>1.0389680483592401E-2</c:v>
                </c:pt>
                <c:pt idx="47">
                  <c:v>1.3791149640206245E-2</c:v>
                </c:pt>
                <c:pt idx="48">
                  <c:v>8.1136390995545926E-3</c:v>
                </c:pt>
                <c:pt idx="49">
                  <c:v>7.1109778843591797E-3</c:v>
                </c:pt>
                <c:pt idx="50">
                  <c:v>5.7234094816998281E-3</c:v>
                </c:pt>
                <c:pt idx="51">
                  <c:v>1.5503875968992248E-3</c:v>
                </c:pt>
              </c:numCache>
            </c:numRef>
          </c:val>
        </c:ser>
        <c:ser>
          <c:idx val="2"/>
          <c:order val="2"/>
          <c:tx>
            <c:strRef>
              <c:f>Shares!$AH$4</c:f>
              <c:strCache>
                <c:ptCount val="1"/>
                <c:pt idx="0">
                  <c:v>Oxnard</c:v>
                </c:pt>
              </c:strCache>
            </c:strRef>
          </c:tx>
          <c:spPr>
            <a:solidFill>
              <a:schemeClr val="accent3"/>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H$5:$AH$56</c:f>
              <c:numCache>
                <c:formatCode>0%</c:formatCode>
                <c:ptCount val="52"/>
                <c:pt idx="0">
                  <c:v>0.37726694389275073</c:v>
                </c:pt>
                <c:pt idx="1">
                  <c:v>0.37591947348044902</c:v>
                </c:pt>
                <c:pt idx="2">
                  <c:v>0.31659027075609486</c:v>
                </c:pt>
                <c:pt idx="3">
                  <c:v>0.23200074336437973</c:v>
                </c:pt>
                <c:pt idx="4">
                  <c:v>0.20708044382801663</c:v>
                </c:pt>
                <c:pt idx="5">
                  <c:v>0.20008113257684979</c:v>
                </c:pt>
                <c:pt idx="6">
                  <c:v>0.17587437123313723</c:v>
                </c:pt>
                <c:pt idx="7">
                  <c:v>0.20384615384615387</c:v>
                </c:pt>
                <c:pt idx="8">
                  <c:v>0.19580353897927494</c:v>
                </c:pt>
                <c:pt idx="9">
                  <c:v>0.21967744160959332</c:v>
                </c:pt>
                <c:pt idx="10">
                  <c:v>0.22935436188641636</c:v>
                </c:pt>
                <c:pt idx="11">
                  <c:v>0.21012771012771014</c:v>
                </c:pt>
                <c:pt idx="12">
                  <c:v>0.24943560451516386</c:v>
                </c:pt>
                <c:pt idx="13">
                  <c:v>0.21453598127312543</c:v>
                </c:pt>
                <c:pt idx="14">
                  <c:v>0.20731616943966344</c:v>
                </c:pt>
                <c:pt idx="15">
                  <c:v>0.22130280309631645</c:v>
                </c:pt>
                <c:pt idx="16">
                  <c:v>0.27233615570990483</c:v>
                </c:pt>
                <c:pt idx="17">
                  <c:v>0.3611111111111111</c:v>
                </c:pt>
                <c:pt idx="18">
                  <c:v>0.3986103453526777</c:v>
                </c:pt>
                <c:pt idx="19">
                  <c:v>0.43698174842689691</c:v>
                </c:pt>
                <c:pt idx="20">
                  <c:v>0.42096936815824848</c:v>
                </c:pt>
                <c:pt idx="21">
                  <c:v>0.3807369291422637</c:v>
                </c:pt>
                <c:pt idx="22">
                  <c:v>0.30926518675444886</c:v>
                </c:pt>
                <c:pt idx="23">
                  <c:v>0.298552764649824</c:v>
                </c:pt>
                <c:pt idx="24">
                  <c:v>0.24480206882401365</c:v>
                </c:pt>
                <c:pt idx="25">
                  <c:v>0.28337076843265491</c:v>
                </c:pt>
                <c:pt idx="26">
                  <c:v>0.34518867505508144</c:v>
                </c:pt>
                <c:pt idx="27">
                  <c:v>0.41810411810411807</c:v>
                </c:pt>
                <c:pt idx="28">
                  <c:v>0.54917702583072237</c:v>
                </c:pt>
                <c:pt idx="29">
                  <c:v>0.60675172368521579</c:v>
                </c:pt>
                <c:pt idx="30">
                  <c:v>0.55796250533092639</c:v>
                </c:pt>
                <c:pt idx="31">
                  <c:v>0.48375298494882274</c:v>
                </c:pt>
                <c:pt idx="32">
                  <c:v>0.3614324813155223</c:v>
                </c:pt>
                <c:pt idx="33">
                  <c:v>0.24790324465234717</c:v>
                </c:pt>
                <c:pt idx="34">
                  <c:v>0.21058671530627757</c:v>
                </c:pt>
                <c:pt idx="35">
                  <c:v>0.2112452870405421</c:v>
                </c:pt>
                <c:pt idx="36">
                  <c:v>0.20915707443866557</c:v>
                </c:pt>
                <c:pt idx="37">
                  <c:v>0.24633958633958633</c:v>
                </c:pt>
                <c:pt idx="38">
                  <c:v>0.30887017811845369</c:v>
                </c:pt>
                <c:pt idx="39">
                  <c:v>0.35341127556574709</c:v>
                </c:pt>
                <c:pt idx="40">
                  <c:v>0.38946223107771588</c:v>
                </c:pt>
                <c:pt idx="41">
                  <c:v>0.35754309261771944</c:v>
                </c:pt>
                <c:pt idx="42">
                  <c:v>0.36562937162496167</c:v>
                </c:pt>
                <c:pt idx="43">
                  <c:v>0.38124109110808768</c:v>
                </c:pt>
                <c:pt idx="44">
                  <c:v>0.38477444704839853</c:v>
                </c:pt>
                <c:pt idx="45">
                  <c:v>0.34425956129683027</c:v>
                </c:pt>
                <c:pt idx="46">
                  <c:v>0.37563616993316812</c:v>
                </c:pt>
                <c:pt idx="47">
                  <c:v>0.41841812785209015</c:v>
                </c:pt>
                <c:pt idx="48">
                  <c:v>0.44382991717241121</c:v>
                </c:pt>
                <c:pt idx="49">
                  <c:v>0.48211441072091205</c:v>
                </c:pt>
                <c:pt idx="50">
                  <c:v>0.4128645352932469</c:v>
                </c:pt>
                <c:pt idx="51">
                  <c:v>0.39465911249219227</c:v>
                </c:pt>
              </c:numCache>
            </c:numRef>
          </c:val>
        </c:ser>
        <c:ser>
          <c:idx val="3"/>
          <c:order val="3"/>
          <c:tx>
            <c:strRef>
              <c:f>Shares!$AI$4</c:f>
              <c:strCache>
                <c:ptCount val="1"/>
                <c:pt idx="0">
                  <c:v>Mexico</c:v>
                </c:pt>
              </c:strCache>
            </c:strRef>
          </c:tx>
          <c:spPr>
            <a:solidFill>
              <a:schemeClr val="accent4"/>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I$5:$AI$56</c:f>
              <c:numCache>
                <c:formatCode>0%</c:formatCode>
                <c:ptCount val="52"/>
                <c:pt idx="0">
                  <c:v>0.54359742221118834</c:v>
                </c:pt>
                <c:pt idx="1">
                  <c:v>0.48102981029810293</c:v>
                </c:pt>
                <c:pt idx="2">
                  <c:v>0.5148657454218627</c:v>
                </c:pt>
                <c:pt idx="3">
                  <c:v>0.61942476715203976</c:v>
                </c:pt>
                <c:pt idx="4">
                  <c:v>0.56903952843273231</c:v>
                </c:pt>
                <c:pt idx="5">
                  <c:v>0.58083405419769207</c:v>
                </c:pt>
                <c:pt idx="6">
                  <c:v>0.56846718243220107</c:v>
                </c:pt>
                <c:pt idx="7">
                  <c:v>0.58467112597547388</c:v>
                </c:pt>
                <c:pt idx="8">
                  <c:v>0.5570763065856732</c:v>
                </c:pt>
                <c:pt idx="9">
                  <c:v>0.68081426707809634</c:v>
                </c:pt>
                <c:pt idx="10">
                  <c:v>0.6222752840928093</c:v>
                </c:pt>
                <c:pt idx="11">
                  <c:v>0.55260205260205264</c:v>
                </c:pt>
                <c:pt idx="12">
                  <c:v>0.54209846321229427</c:v>
                </c:pt>
                <c:pt idx="13">
                  <c:v>0.67195499509174661</c:v>
                </c:pt>
                <c:pt idx="14">
                  <c:v>0.72881287052973809</c:v>
                </c:pt>
                <c:pt idx="15">
                  <c:v>0.71773796021114789</c:v>
                </c:pt>
                <c:pt idx="16">
                  <c:v>0.65091331360671156</c:v>
                </c:pt>
                <c:pt idx="17">
                  <c:v>0.53600184034966647</c:v>
                </c:pt>
                <c:pt idx="18">
                  <c:v>0.45143766770109695</c:v>
                </c:pt>
                <c:pt idx="19">
                  <c:v>0.33623305965733324</c:v>
                </c:pt>
                <c:pt idx="20">
                  <c:v>0.21216909423549271</c:v>
                </c:pt>
                <c:pt idx="21">
                  <c:v>0.14254161849397232</c:v>
                </c:pt>
                <c:pt idx="22">
                  <c:v>8.6055140219270743E-2</c:v>
                </c:pt>
                <c:pt idx="23">
                  <c:v>5.3050478024222116E-2</c:v>
                </c:pt>
                <c:pt idx="24">
                  <c:v>3.7116067420186832E-2</c:v>
                </c:pt>
                <c:pt idx="25">
                  <c:v>2.0458174000640924E-2</c:v>
                </c:pt>
                <c:pt idx="26">
                  <c:v>1.1920969616470198E-2</c:v>
                </c:pt>
                <c:pt idx="27">
                  <c:v>2.1505376344086021E-3</c:v>
                </c:pt>
                <c:pt idx="28">
                  <c:v>0</c:v>
                </c:pt>
                <c:pt idx="29">
                  <c:v>0</c:v>
                </c:pt>
                <c:pt idx="30">
                  <c:v>0</c:v>
                </c:pt>
                <c:pt idx="31">
                  <c:v>0</c:v>
                </c:pt>
                <c:pt idx="32">
                  <c:v>0</c:v>
                </c:pt>
                <c:pt idx="33">
                  <c:v>0</c:v>
                </c:pt>
                <c:pt idx="34">
                  <c:v>0</c:v>
                </c:pt>
                <c:pt idx="35">
                  <c:v>1.8214936247723133E-3</c:v>
                </c:pt>
                <c:pt idx="36">
                  <c:v>3.7037037037037038E-3</c:v>
                </c:pt>
                <c:pt idx="37">
                  <c:v>5.7142857142857143E-3</c:v>
                </c:pt>
                <c:pt idx="38">
                  <c:v>3.0655736565083469E-2</c:v>
                </c:pt>
                <c:pt idx="39">
                  <c:v>5.021946586987238E-2</c:v>
                </c:pt>
                <c:pt idx="40">
                  <c:v>8.904882848675888E-2</c:v>
                </c:pt>
                <c:pt idx="41">
                  <c:v>0.2115633951454847</c:v>
                </c:pt>
                <c:pt idx="42">
                  <c:v>0.27523572995911527</c:v>
                </c:pt>
                <c:pt idx="43">
                  <c:v>0.34655454350783765</c:v>
                </c:pt>
                <c:pt idx="44">
                  <c:v>0.4137710308160481</c:v>
                </c:pt>
                <c:pt idx="45">
                  <c:v>0.49081508608029689</c:v>
                </c:pt>
                <c:pt idx="46">
                  <c:v>0.48360429025556301</c:v>
                </c:pt>
                <c:pt idx="47">
                  <c:v>0.46518477839232553</c:v>
                </c:pt>
                <c:pt idx="48">
                  <c:v>0.4710943165769686</c:v>
                </c:pt>
                <c:pt idx="49">
                  <c:v>0.41483633134392278</c:v>
                </c:pt>
                <c:pt idx="50">
                  <c:v>0.48838107043683232</c:v>
                </c:pt>
                <c:pt idx="51">
                  <c:v>0.49440769828728975</c:v>
                </c:pt>
              </c:numCache>
            </c:numRef>
          </c:val>
        </c:ser>
        <c:ser>
          <c:idx val="4"/>
          <c:order val="4"/>
          <c:tx>
            <c:strRef>
              <c:f>Shares!$AJ$4</c:f>
              <c:strCache>
                <c:ptCount val="1"/>
                <c:pt idx="0">
                  <c:v>Chile</c:v>
                </c:pt>
              </c:strCache>
            </c:strRef>
          </c:tx>
          <c:spPr>
            <a:solidFill>
              <a:srgbClr val="C00000"/>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J$5:$AJ$56</c:f>
              <c:numCache>
                <c:formatCode>0%</c:formatCode>
                <c:ptCount val="52"/>
                <c:pt idx="0">
                  <c:v>7.9135633896060903E-2</c:v>
                </c:pt>
                <c:pt idx="1">
                  <c:v>0.14305071622144794</c:v>
                </c:pt>
                <c:pt idx="2">
                  <c:v>0.16854398382204247</c:v>
                </c:pt>
                <c:pt idx="3">
                  <c:v>0.1485744894835804</c:v>
                </c:pt>
                <c:pt idx="4">
                  <c:v>0.22388002773925106</c:v>
                </c:pt>
                <c:pt idx="5">
                  <c:v>0.21908481322545811</c:v>
                </c:pt>
                <c:pt idx="6">
                  <c:v>0.25565844633466173</c:v>
                </c:pt>
                <c:pt idx="7">
                  <c:v>0.21148272017837236</c:v>
                </c:pt>
                <c:pt idx="8">
                  <c:v>0.24712015443505184</c:v>
                </c:pt>
                <c:pt idx="9">
                  <c:v>9.9508291312310274E-2</c:v>
                </c:pt>
                <c:pt idx="10">
                  <c:v>0.14837035402077439</c:v>
                </c:pt>
                <c:pt idx="11">
                  <c:v>0.23727023727023724</c:v>
                </c:pt>
                <c:pt idx="12">
                  <c:v>0.19969400244798041</c:v>
                </c:pt>
                <c:pt idx="13">
                  <c:v>0.10944398298472151</c:v>
                </c:pt>
                <c:pt idx="14">
                  <c:v>6.3870960030598598E-2</c:v>
                </c:pt>
                <c:pt idx="15">
                  <c:v>6.0959236692535564E-2</c:v>
                </c:pt>
                <c:pt idx="16">
                  <c:v>6.0200143447522114E-2</c:v>
                </c:pt>
                <c:pt idx="17">
                  <c:v>1.8518518518518517E-2</c:v>
                </c:pt>
                <c:pt idx="18">
                  <c:v>2.2988505747126436E-3</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4.4247787610619468E-3</c:v>
                </c:pt>
                <c:pt idx="45">
                  <c:v>0</c:v>
                </c:pt>
                <c:pt idx="46">
                  <c:v>4.3478260869565218E-3</c:v>
                </c:pt>
                <c:pt idx="47">
                  <c:v>1.4431848394112545E-2</c:v>
                </c:pt>
                <c:pt idx="48">
                  <c:v>3.5577693805107065E-2</c:v>
                </c:pt>
                <c:pt idx="49">
                  <c:v>7.9038711770869602E-2</c:v>
                </c:pt>
                <c:pt idx="50">
                  <c:v>9.0823479269457205E-2</c:v>
                </c:pt>
                <c:pt idx="51">
                  <c:v>0.10938280162361884</c:v>
                </c:pt>
              </c:numCache>
            </c:numRef>
          </c:val>
        </c:ser>
        <c:dLbls>
          <c:showLegendKey val="0"/>
          <c:showVal val="0"/>
          <c:showCatName val="0"/>
          <c:showSerName val="0"/>
          <c:showPercent val="0"/>
          <c:showBubbleSize val="0"/>
        </c:dLbls>
        <c:gapWidth val="150"/>
        <c:overlap val="100"/>
        <c:axId val="326104144"/>
        <c:axId val="327093720"/>
        <c:extLst>
          <c:ext xmlns:c15="http://schemas.microsoft.com/office/drawing/2012/chart" uri="{02D57815-91ED-43cb-92C2-25804820EDAC}">
            <c15:filteredBarSeries>
              <c15:ser>
                <c:idx val="5"/>
                <c:order val="5"/>
                <c:tx>
                  <c:strRef>
                    <c:extLst>
                      <c:ext uri="{02D57815-91ED-43cb-92C2-25804820EDAC}">
                        <c15:formulaRef>
                          <c15:sqref>Shares!$AK$4</c15:sqref>
                        </c15:formulaRef>
                      </c:ext>
                    </c:extLst>
                    <c:strCache>
                      <c:ptCount val="1"/>
                      <c:pt idx="0">
                        <c:v>Guatemala</c:v>
                      </c:pt>
                    </c:strCache>
                  </c:strRef>
                </c:tx>
                <c:spPr>
                  <a:solidFill>
                    <a:schemeClr val="accent6"/>
                  </a:solidFill>
                  <a:ln>
                    <a:noFill/>
                  </a:ln>
                  <a:effectLst/>
                </c:spPr>
                <c:invertIfNegative val="0"/>
                <c:cat>
                  <c:numRef>
                    <c:extLst>
                      <c:ext uri="{02D57815-91ED-43cb-92C2-25804820EDAC}">
                        <c15:formulaRef>
                          <c15:sqref>Shares!$AE$5:$AE$56</c15:sqref>
                        </c15:formulaRef>
                      </c:ext>
                    </c:extLst>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extLst>
                      <c:ext uri="{02D57815-91ED-43cb-92C2-25804820EDAC}">
                        <c15:formulaRef>
                          <c15:sqref>Shares!$AK$5:$AK$56</c15:sqref>
                        </c15:formulaRef>
                      </c:ext>
                    </c:extLst>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15:ser>
            </c15:filteredBarSeries>
          </c:ext>
        </c:extLst>
      </c:barChart>
      <c:catAx>
        <c:axId val="326104144"/>
        <c:scaling>
          <c:orientation val="minMax"/>
        </c:scaling>
        <c:delete val="1"/>
        <c:axPos val="b"/>
        <c:numFmt formatCode="General" sourceLinked="1"/>
        <c:majorTickMark val="none"/>
        <c:minorTickMark val="none"/>
        <c:tickLblPos val="nextTo"/>
        <c:crossAx val="327093720"/>
        <c:crosses val="autoZero"/>
        <c:auto val="1"/>
        <c:lblAlgn val="ctr"/>
        <c:lblOffset val="100"/>
        <c:noMultiLvlLbl val="0"/>
      </c:catAx>
      <c:valAx>
        <c:axId val="327093720"/>
        <c:scaling>
          <c:orientation val="minMax"/>
          <c:max val="1"/>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326104144"/>
        <c:crosses val="autoZero"/>
        <c:crossBetween val="between"/>
      </c:valAx>
      <c:spPr>
        <a:solidFill>
          <a:schemeClr val="tx1">
            <a:lumMod val="65000"/>
            <a:lumOff val="35000"/>
          </a:schemeClr>
        </a:solidFill>
        <a:ln w="25400">
          <a:noFill/>
        </a:ln>
        <a:effectLst/>
      </c:spPr>
    </c:plotArea>
    <c:legend>
      <c:legendPos val="b"/>
      <c:layout>
        <c:manualLayout>
          <c:xMode val="edge"/>
          <c:yMode val="edge"/>
          <c:x val="6.4505728851201288E-2"/>
          <c:y val="4.2152903963927589E-2"/>
          <c:w val="0.89160294266101348"/>
          <c:h val="0.9463826094318855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legend>
    <c:plotVisOnly val="1"/>
    <c:dispBlanksAs val="gap"/>
    <c:showDLblsOverMax val="0"/>
  </c:chart>
  <c:spPr>
    <a:solidFill>
      <a:schemeClr val="tx1">
        <a:lumMod val="65000"/>
        <a:lumOff val="35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ares!$AF$4</c:f>
              <c:strCache>
                <c:ptCount val="1"/>
                <c:pt idx="0">
                  <c:v>Salinas-Watsonville</c:v>
                </c:pt>
              </c:strCache>
            </c:strRef>
          </c:tx>
          <c:spPr>
            <a:solidFill>
              <a:schemeClr val="accent1"/>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F$5:$AF$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4.0650406504065045E-3</c:v>
                </c:pt>
                <c:pt idx="14">
                  <c:v>0</c:v>
                </c:pt>
                <c:pt idx="15">
                  <c:v>0</c:v>
                </c:pt>
                <c:pt idx="16">
                  <c:v>1.6550387235861466E-2</c:v>
                </c:pt>
                <c:pt idx="17">
                  <c:v>8.4368530020703936E-2</c:v>
                </c:pt>
                <c:pt idx="18">
                  <c:v>0.14765313637151276</c:v>
                </c:pt>
                <c:pt idx="19">
                  <c:v>0.22678519191577004</c:v>
                </c:pt>
                <c:pt idx="20">
                  <c:v>0.36279649695585231</c:v>
                </c:pt>
                <c:pt idx="21">
                  <c:v>0.46904096081230473</c:v>
                </c:pt>
                <c:pt idx="22">
                  <c:v>0.59438671974045298</c:v>
                </c:pt>
                <c:pt idx="23">
                  <c:v>0.63690250445239072</c:v>
                </c:pt>
                <c:pt idx="24">
                  <c:v>0.70404677603650123</c:v>
                </c:pt>
                <c:pt idx="25">
                  <c:v>0.68560767728501393</c:v>
                </c:pt>
                <c:pt idx="26">
                  <c:v>0.63476027402763535</c:v>
                </c:pt>
                <c:pt idx="27">
                  <c:v>0.57119833571446466</c:v>
                </c:pt>
                <c:pt idx="28">
                  <c:v>0.44174385614074335</c:v>
                </c:pt>
                <c:pt idx="29">
                  <c:v>0.3866865965247579</c:v>
                </c:pt>
                <c:pt idx="30">
                  <c:v>0.43394032867717081</c:v>
                </c:pt>
                <c:pt idx="31">
                  <c:v>0.50773119996601901</c:v>
                </c:pt>
                <c:pt idx="32">
                  <c:v>0.63033706600958073</c:v>
                </c:pt>
                <c:pt idx="33">
                  <c:v>0.74364264906745969</c:v>
                </c:pt>
                <c:pt idx="34">
                  <c:v>0.78036935704514365</c:v>
                </c:pt>
                <c:pt idx="35">
                  <c:v>0.77633251262090452</c:v>
                </c:pt>
                <c:pt idx="36">
                  <c:v>0.77497377173597626</c:v>
                </c:pt>
                <c:pt idx="37">
                  <c:v>0.73604136604136594</c:v>
                </c:pt>
                <c:pt idx="38">
                  <c:v>0.64584434516774591</c:v>
                </c:pt>
                <c:pt idx="39">
                  <c:v>0.57954450698353133</c:v>
                </c:pt>
                <c:pt idx="40">
                  <c:v>0.50199951353869088</c:v>
                </c:pt>
                <c:pt idx="41">
                  <c:v>0.41520428162219208</c:v>
                </c:pt>
                <c:pt idx="42">
                  <c:v>0.3428598148762656</c:v>
                </c:pt>
                <c:pt idx="43">
                  <c:v>0.2585813763512495</c:v>
                </c:pt>
                <c:pt idx="44">
                  <c:v>0.18438152203061783</c:v>
                </c:pt>
                <c:pt idx="45">
                  <c:v>0.15384456578261207</c:v>
                </c:pt>
                <c:pt idx="46">
                  <c:v>0.12602203324071987</c:v>
                </c:pt>
                <c:pt idx="47">
                  <c:v>8.8174095721265541E-2</c:v>
                </c:pt>
                <c:pt idx="48">
                  <c:v>4.1384433345958593E-2</c:v>
                </c:pt>
                <c:pt idx="49">
                  <c:v>1.689956827993638E-2</c:v>
                </c:pt>
                <c:pt idx="50">
                  <c:v>2.2075055187637969E-3</c:v>
                </c:pt>
                <c:pt idx="51">
                  <c:v>0</c:v>
                </c:pt>
              </c:numCache>
            </c:numRef>
          </c:val>
        </c:ser>
        <c:ser>
          <c:idx val="1"/>
          <c:order val="1"/>
          <c:tx>
            <c:strRef>
              <c:f>Shares!$AG$4</c:f>
              <c:strCache>
                <c:ptCount val="1"/>
                <c:pt idx="0">
                  <c:v>Santa Maria</c:v>
                </c:pt>
              </c:strCache>
            </c:strRef>
          </c:tx>
          <c:spPr>
            <a:solidFill>
              <a:schemeClr val="accent2"/>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G$5:$AG$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8.771929824561403E-3</c:v>
                </c:pt>
                <c:pt idx="13">
                  <c:v>0</c:v>
                </c:pt>
                <c:pt idx="14">
                  <c:v>0</c:v>
                </c:pt>
                <c:pt idx="15">
                  <c:v>0</c:v>
                </c:pt>
                <c:pt idx="16">
                  <c:v>0</c:v>
                </c:pt>
                <c:pt idx="17">
                  <c:v>0</c:v>
                </c:pt>
                <c:pt idx="18">
                  <c:v>0</c:v>
                </c:pt>
                <c:pt idx="19">
                  <c:v>0</c:v>
                </c:pt>
                <c:pt idx="20">
                  <c:v>4.0650406504065045E-3</c:v>
                </c:pt>
                <c:pt idx="21">
                  <c:v>7.6804915514592934E-3</c:v>
                </c:pt>
                <c:pt idx="22">
                  <c:v>1.0292953285827395E-2</c:v>
                </c:pt>
                <c:pt idx="23">
                  <c:v>1.1494252873563218E-2</c:v>
                </c:pt>
                <c:pt idx="24">
                  <c:v>1.4035087719298246E-2</c:v>
                </c:pt>
                <c:pt idx="25">
                  <c:v>1.0563380281690141E-2</c:v>
                </c:pt>
                <c:pt idx="26">
                  <c:v>8.130081300813009E-3</c:v>
                </c:pt>
                <c:pt idx="27">
                  <c:v>8.5470085470085461E-3</c:v>
                </c:pt>
                <c:pt idx="28">
                  <c:v>9.0791180285343717E-3</c:v>
                </c:pt>
                <c:pt idx="29">
                  <c:v>6.5616797900262466E-3</c:v>
                </c:pt>
                <c:pt idx="30">
                  <c:v>8.0971659919028341E-3</c:v>
                </c:pt>
                <c:pt idx="31">
                  <c:v>8.5158150851581509E-3</c:v>
                </c:pt>
                <c:pt idx="32">
                  <c:v>8.2304526748971183E-3</c:v>
                </c:pt>
                <c:pt idx="33">
                  <c:v>8.4541062801932378E-3</c:v>
                </c:pt>
                <c:pt idx="34">
                  <c:v>9.0439276485788107E-3</c:v>
                </c:pt>
                <c:pt idx="35">
                  <c:v>1.0600706713780918E-2</c:v>
                </c:pt>
                <c:pt idx="36">
                  <c:v>1.21654501216545E-2</c:v>
                </c:pt>
                <c:pt idx="37">
                  <c:v>1.1904761904761904E-2</c:v>
                </c:pt>
                <c:pt idx="38">
                  <c:v>1.4629740148716874E-2</c:v>
                </c:pt>
                <c:pt idx="39">
                  <c:v>1.6824751580849142E-2</c:v>
                </c:pt>
                <c:pt idx="40">
                  <c:v>1.9489426896834305E-2</c:v>
                </c:pt>
                <c:pt idx="41">
                  <c:v>1.5689230614603752E-2</c:v>
                </c:pt>
                <c:pt idx="42">
                  <c:v>1.6275083539657533E-2</c:v>
                </c:pt>
                <c:pt idx="43">
                  <c:v>1.3622989032825099E-2</c:v>
                </c:pt>
                <c:pt idx="44">
                  <c:v>1.2648221343873519E-2</c:v>
                </c:pt>
                <c:pt idx="45">
                  <c:v>1.108078684026069E-2</c:v>
                </c:pt>
                <c:pt idx="46">
                  <c:v>1.0389680483592401E-2</c:v>
                </c:pt>
                <c:pt idx="47">
                  <c:v>1.3791149640206245E-2</c:v>
                </c:pt>
                <c:pt idx="48">
                  <c:v>8.1136390995545926E-3</c:v>
                </c:pt>
                <c:pt idx="49">
                  <c:v>7.1109778843591797E-3</c:v>
                </c:pt>
                <c:pt idx="50">
                  <c:v>5.7234094816998281E-3</c:v>
                </c:pt>
                <c:pt idx="51">
                  <c:v>1.5503875968992248E-3</c:v>
                </c:pt>
              </c:numCache>
            </c:numRef>
          </c:val>
        </c:ser>
        <c:ser>
          <c:idx val="2"/>
          <c:order val="2"/>
          <c:tx>
            <c:strRef>
              <c:f>Shares!$AH$4</c:f>
              <c:strCache>
                <c:ptCount val="1"/>
                <c:pt idx="0">
                  <c:v>Oxnard</c:v>
                </c:pt>
              </c:strCache>
            </c:strRef>
          </c:tx>
          <c:spPr>
            <a:solidFill>
              <a:schemeClr val="accent3"/>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H$5:$AH$56</c:f>
              <c:numCache>
                <c:formatCode>0%</c:formatCode>
                <c:ptCount val="52"/>
                <c:pt idx="0">
                  <c:v>0.37726694389275073</c:v>
                </c:pt>
                <c:pt idx="1">
                  <c:v>0.37591947348044902</c:v>
                </c:pt>
                <c:pt idx="2">
                  <c:v>0.31659027075609486</c:v>
                </c:pt>
                <c:pt idx="3">
                  <c:v>0.23200074336437973</c:v>
                </c:pt>
                <c:pt idx="4">
                  <c:v>0.20708044382801663</c:v>
                </c:pt>
                <c:pt idx="5">
                  <c:v>0.20008113257684979</c:v>
                </c:pt>
                <c:pt idx="6">
                  <c:v>0.17587437123313723</c:v>
                </c:pt>
                <c:pt idx="7">
                  <c:v>0.20384615384615387</c:v>
                </c:pt>
                <c:pt idx="8">
                  <c:v>0.19580353897927494</c:v>
                </c:pt>
                <c:pt idx="9">
                  <c:v>0.21967744160959332</c:v>
                </c:pt>
                <c:pt idx="10">
                  <c:v>0.22935436188641636</c:v>
                </c:pt>
                <c:pt idx="11">
                  <c:v>0.21012771012771014</c:v>
                </c:pt>
                <c:pt idx="12">
                  <c:v>0.24943560451516386</c:v>
                </c:pt>
                <c:pt idx="13">
                  <c:v>0.21453598127312543</c:v>
                </c:pt>
                <c:pt idx="14">
                  <c:v>0.20731616943966344</c:v>
                </c:pt>
                <c:pt idx="15">
                  <c:v>0.22130280309631645</c:v>
                </c:pt>
                <c:pt idx="16">
                  <c:v>0.27233615570990483</c:v>
                </c:pt>
                <c:pt idx="17">
                  <c:v>0.3611111111111111</c:v>
                </c:pt>
                <c:pt idx="18">
                  <c:v>0.3986103453526777</c:v>
                </c:pt>
                <c:pt idx="19">
                  <c:v>0.43698174842689691</c:v>
                </c:pt>
                <c:pt idx="20">
                  <c:v>0.42096936815824848</c:v>
                </c:pt>
                <c:pt idx="21">
                  <c:v>0.3807369291422637</c:v>
                </c:pt>
                <c:pt idx="22">
                  <c:v>0.30926518675444886</c:v>
                </c:pt>
                <c:pt idx="23">
                  <c:v>0.298552764649824</c:v>
                </c:pt>
                <c:pt idx="24">
                  <c:v>0.24480206882401365</c:v>
                </c:pt>
                <c:pt idx="25">
                  <c:v>0.28337076843265491</c:v>
                </c:pt>
                <c:pt idx="26">
                  <c:v>0.34518867505508144</c:v>
                </c:pt>
                <c:pt idx="27">
                  <c:v>0.41810411810411807</c:v>
                </c:pt>
                <c:pt idx="28">
                  <c:v>0.54917702583072237</c:v>
                </c:pt>
                <c:pt idx="29">
                  <c:v>0.60675172368521579</c:v>
                </c:pt>
                <c:pt idx="30">
                  <c:v>0.55796250533092639</c:v>
                </c:pt>
                <c:pt idx="31">
                  <c:v>0.48375298494882274</c:v>
                </c:pt>
                <c:pt idx="32">
                  <c:v>0.3614324813155223</c:v>
                </c:pt>
                <c:pt idx="33">
                  <c:v>0.24790324465234717</c:v>
                </c:pt>
                <c:pt idx="34">
                  <c:v>0.21058671530627757</c:v>
                </c:pt>
                <c:pt idx="35">
                  <c:v>0.2112452870405421</c:v>
                </c:pt>
                <c:pt idx="36">
                  <c:v>0.20915707443866557</c:v>
                </c:pt>
                <c:pt idx="37">
                  <c:v>0.24633958633958633</c:v>
                </c:pt>
                <c:pt idx="38">
                  <c:v>0.30887017811845369</c:v>
                </c:pt>
                <c:pt idx="39">
                  <c:v>0.35341127556574709</c:v>
                </c:pt>
                <c:pt idx="40">
                  <c:v>0.38946223107771588</c:v>
                </c:pt>
                <c:pt idx="41">
                  <c:v>0.35754309261771944</c:v>
                </c:pt>
                <c:pt idx="42">
                  <c:v>0.36562937162496167</c:v>
                </c:pt>
                <c:pt idx="43">
                  <c:v>0.38124109110808768</c:v>
                </c:pt>
                <c:pt idx="44">
                  <c:v>0.38477444704839853</c:v>
                </c:pt>
                <c:pt idx="45">
                  <c:v>0.34425956129683027</c:v>
                </c:pt>
                <c:pt idx="46">
                  <c:v>0.37563616993316812</c:v>
                </c:pt>
                <c:pt idx="47">
                  <c:v>0.41841812785209015</c:v>
                </c:pt>
                <c:pt idx="48">
                  <c:v>0.44382991717241121</c:v>
                </c:pt>
                <c:pt idx="49">
                  <c:v>0.48211441072091205</c:v>
                </c:pt>
                <c:pt idx="50">
                  <c:v>0.4128645352932469</c:v>
                </c:pt>
                <c:pt idx="51">
                  <c:v>0.39465911249219227</c:v>
                </c:pt>
              </c:numCache>
            </c:numRef>
          </c:val>
        </c:ser>
        <c:ser>
          <c:idx val="3"/>
          <c:order val="3"/>
          <c:tx>
            <c:strRef>
              <c:f>Shares!$AI$4</c:f>
              <c:strCache>
                <c:ptCount val="1"/>
                <c:pt idx="0">
                  <c:v>Mexico</c:v>
                </c:pt>
              </c:strCache>
            </c:strRef>
          </c:tx>
          <c:spPr>
            <a:solidFill>
              <a:schemeClr val="accent4"/>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I$5:$AI$56</c:f>
              <c:numCache>
                <c:formatCode>0%</c:formatCode>
                <c:ptCount val="52"/>
                <c:pt idx="0">
                  <c:v>0.54359742221118834</c:v>
                </c:pt>
                <c:pt idx="1">
                  <c:v>0.48102981029810293</c:v>
                </c:pt>
                <c:pt idx="2">
                  <c:v>0.5148657454218627</c:v>
                </c:pt>
                <c:pt idx="3">
                  <c:v>0.61942476715203976</c:v>
                </c:pt>
                <c:pt idx="4">
                  <c:v>0.56903952843273231</c:v>
                </c:pt>
                <c:pt idx="5">
                  <c:v>0.58083405419769207</c:v>
                </c:pt>
                <c:pt idx="6">
                  <c:v>0.56846718243220107</c:v>
                </c:pt>
                <c:pt idx="7">
                  <c:v>0.58467112597547388</c:v>
                </c:pt>
                <c:pt idx="8">
                  <c:v>0.5570763065856732</c:v>
                </c:pt>
                <c:pt idx="9">
                  <c:v>0.68081426707809634</c:v>
                </c:pt>
                <c:pt idx="10">
                  <c:v>0.6222752840928093</c:v>
                </c:pt>
                <c:pt idx="11">
                  <c:v>0.55260205260205264</c:v>
                </c:pt>
                <c:pt idx="12">
                  <c:v>0.54209846321229427</c:v>
                </c:pt>
                <c:pt idx="13">
                  <c:v>0.67195499509174661</c:v>
                </c:pt>
                <c:pt idx="14">
                  <c:v>0.72881287052973809</c:v>
                </c:pt>
                <c:pt idx="15">
                  <c:v>0.71773796021114789</c:v>
                </c:pt>
                <c:pt idx="16">
                  <c:v>0.65091331360671156</c:v>
                </c:pt>
                <c:pt idx="17">
                  <c:v>0.53600184034966647</c:v>
                </c:pt>
                <c:pt idx="18">
                  <c:v>0.45143766770109695</c:v>
                </c:pt>
                <c:pt idx="19">
                  <c:v>0.33623305965733324</c:v>
                </c:pt>
                <c:pt idx="20">
                  <c:v>0.21216909423549271</c:v>
                </c:pt>
                <c:pt idx="21">
                  <c:v>0.14254161849397232</c:v>
                </c:pt>
                <c:pt idx="22">
                  <c:v>8.6055140219270743E-2</c:v>
                </c:pt>
                <c:pt idx="23">
                  <c:v>5.3050478024222116E-2</c:v>
                </c:pt>
                <c:pt idx="24">
                  <c:v>3.7116067420186832E-2</c:v>
                </c:pt>
                <c:pt idx="25">
                  <c:v>2.0458174000640924E-2</c:v>
                </c:pt>
                <c:pt idx="26">
                  <c:v>1.1920969616470198E-2</c:v>
                </c:pt>
                <c:pt idx="27">
                  <c:v>2.1505376344086021E-3</c:v>
                </c:pt>
                <c:pt idx="28">
                  <c:v>0</c:v>
                </c:pt>
                <c:pt idx="29">
                  <c:v>0</c:v>
                </c:pt>
                <c:pt idx="30">
                  <c:v>0</c:v>
                </c:pt>
                <c:pt idx="31">
                  <c:v>0</c:v>
                </c:pt>
                <c:pt idx="32">
                  <c:v>0</c:v>
                </c:pt>
                <c:pt idx="33">
                  <c:v>0</c:v>
                </c:pt>
                <c:pt idx="34">
                  <c:v>0</c:v>
                </c:pt>
                <c:pt idx="35">
                  <c:v>1.8214936247723133E-3</c:v>
                </c:pt>
                <c:pt idx="36">
                  <c:v>3.7037037037037038E-3</c:v>
                </c:pt>
                <c:pt idx="37">
                  <c:v>5.7142857142857143E-3</c:v>
                </c:pt>
                <c:pt idx="38">
                  <c:v>3.0655736565083469E-2</c:v>
                </c:pt>
                <c:pt idx="39">
                  <c:v>5.021946586987238E-2</c:v>
                </c:pt>
                <c:pt idx="40">
                  <c:v>8.904882848675888E-2</c:v>
                </c:pt>
                <c:pt idx="41">
                  <c:v>0.2115633951454847</c:v>
                </c:pt>
                <c:pt idx="42">
                  <c:v>0.27523572995911527</c:v>
                </c:pt>
                <c:pt idx="43">
                  <c:v>0.34655454350783765</c:v>
                </c:pt>
                <c:pt idx="44">
                  <c:v>0.4137710308160481</c:v>
                </c:pt>
                <c:pt idx="45">
                  <c:v>0.49081508608029689</c:v>
                </c:pt>
                <c:pt idx="46">
                  <c:v>0.48360429025556301</c:v>
                </c:pt>
                <c:pt idx="47">
                  <c:v>0.46518477839232553</c:v>
                </c:pt>
                <c:pt idx="48">
                  <c:v>0.4710943165769686</c:v>
                </c:pt>
                <c:pt idx="49">
                  <c:v>0.41483633134392278</c:v>
                </c:pt>
                <c:pt idx="50">
                  <c:v>0.48838107043683232</c:v>
                </c:pt>
                <c:pt idx="51">
                  <c:v>0.49440769828728975</c:v>
                </c:pt>
              </c:numCache>
            </c:numRef>
          </c:val>
        </c:ser>
        <c:ser>
          <c:idx val="4"/>
          <c:order val="4"/>
          <c:tx>
            <c:strRef>
              <c:f>Shares!$AJ$4</c:f>
              <c:strCache>
                <c:ptCount val="1"/>
                <c:pt idx="0">
                  <c:v>Chile</c:v>
                </c:pt>
              </c:strCache>
            </c:strRef>
          </c:tx>
          <c:spPr>
            <a:solidFill>
              <a:srgbClr val="C00000"/>
            </a:solidFill>
            <a:ln>
              <a:noFill/>
            </a:ln>
            <a:effectLst/>
          </c:spPr>
          <c:invertIfNegative val="0"/>
          <c:cat>
            <c:numRef>
              <c:f>Shares!$AE$5:$AE$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J$5:$AJ$56</c:f>
              <c:numCache>
                <c:formatCode>0%</c:formatCode>
                <c:ptCount val="52"/>
                <c:pt idx="0">
                  <c:v>7.9135633896060903E-2</c:v>
                </c:pt>
                <c:pt idx="1">
                  <c:v>0.14305071622144794</c:v>
                </c:pt>
                <c:pt idx="2">
                  <c:v>0.16854398382204247</c:v>
                </c:pt>
                <c:pt idx="3">
                  <c:v>0.1485744894835804</c:v>
                </c:pt>
                <c:pt idx="4">
                  <c:v>0.22388002773925106</c:v>
                </c:pt>
                <c:pt idx="5">
                  <c:v>0.21908481322545811</c:v>
                </c:pt>
                <c:pt idx="6">
                  <c:v>0.25565844633466173</c:v>
                </c:pt>
                <c:pt idx="7">
                  <c:v>0.21148272017837236</c:v>
                </c:pt>
                <c:pt idx="8">
                  <c:v>0.24712015443505184</c:v>
                </c:pt>
                <c:pt idx="9">
                  <c:v>9.9508291312310274E-2</c:v>
                </c:pt>
                <c:pt idx="10">
                  <c:v>0.14837035402077439</c:v>
                </c:pt>
                <c:pt idx="11">
                  <c:v>0.23727023727023724</c:v>
                </c:pt>
                <c:pt idx="12">
                  <c:v>0.19969400244798041</c:v>
                </c:pt>
                <c:pt idx="13">
                  <c:v>0.10944398298472151</c:v>
                </c:pt>
                <c:pt idx="14">
                  <c:v>6.3870960030598598E-2</c:v>
                </c:pt>
                <c:pt idx="15">
                  <c:v>6.0959236692535564E-2</c:v>
                </c:pt>
                <c:pt idx="16">
                  <c:v>6.0200143447522114E-2</c:v>
                </c:pt>
                <c:pt idx="17">
                  <c:v>1.8518518518518517E-2</c:v>
                </c:pt>
                <c:pt idx="18">
                  <c:v>2.2988505747126436E-3</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4.4247787610619468E-3</c:v>
                </c:pt>
                <c:pt idx="45">
                  <c:v>0</c:v>
                </c:pt>
                <c:pt idx="46">
                  <c:v>4.3478260869565218E-3</c:v>
                </c:pt>
                <c:pt idx="47">
                  <c:v>1.4431848394112545E-2</c:v>
                </c:pt>
                <c:pt idx="48">
                  <c:v>3.5577693805107065E-2</c:v>
                </c:pt>
                <c:pt idx="49">
                  <c:v>7.9038711770869602E-2</c:v>
                </c:pt>
                <c:pt idx="50">
                  <c:v>9.0823479269457205E-2</c:v>
                </c:pt>
                <c:pt idx="51">
                  <c:v>0.10938280162361884</c:v>
                </c:pt>
              </c:numCache>
            </c:numRef>
          </c:val>
        </c:ser>
        <c:dLbls>
          <c:showLegendKey val="0"/>
          <c:showVal val="0"/>
          <c:showCatName val="0"/>
          <c:showSerName val="0"/>
          <c:showPercent val="0"/>
          <c:showBubbleSize val="0"/>
        </c:dLbls>
        <c:gapWidth val="150"/>
        <c:overlap val="100"/>
        <c:axId val="327096464"/>
        <c:axId val="327096856"/>
        <c:extLst>
          <c:ext xmlns:c15="http://schemas.microsoft.com/office/drawing/2012/chart" uri="{02D57815-91ED-43cb-92C2-25804820EDAC}">
            <c15:filteredBarSeries>
              <c15:ser>
                <c:idx val="5"/>
                <c:order val="5"/>
                <c:tx>
                  <c:strRef>
                    <c:extLst>
                      <c:ext uri="{02D57815-91ED-43cb-92C2-25804820EDAC}">
                        <c15:formulaRef>
                          <c15:sqref>Shares!$AK$4</c15:sqref>
                        </c15:formulaRef>
                      </c:ext>
                    </c:extLst>
                    <c:strCache>
                      <c:ptCount val="1"/>
                      <c:pt idx="0">
                        <c:v>Guatemala</c:v>
                      </c:pt>
                    </c:strCache>
                  </c:strRef>
                </c:tx>
                <c:spPr>
                  <a:solidFill>
                    <a:schemeClr val="accent6"/>
                  </a:solidFill>
                  <a:ln>
                    <a:noFill/>
                  </a:ln>
                  <a:effectLst/>
                </c:spPr>
                <c:invertIfNegative val="0"/>
                <c:cat>
                  <c:numRef>
                    <c:extLst>
                      <c:ext uri="{02D57815-91ED-43cb-92C2-25804820EDAC}">
                        <c15:formulaRef>
                          <c15:sqref>Shares!$AE$5:$AE$56</c15:sqref>
                        </c15:formulaRef>
                      </c:ext>
                    </c:extLst>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extLst>
                      <c:ext uri="{02D57815-91ED-43cb-92C2-25804820EDAC}">
                        <c15:formulaRef>
                          <c15:sqref>Shares!$AK$5:$AK$56</c15:sqref>
                        </c15:formulaRef>
                      </c:ext>
                    </c:extLst>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numCache>
                  </c:numRef>
                </c:val>
              </c15:ser>
            </c15:filteredBarSeries>
          </c:ext>
        </c:extLst>
      </c:barChart>
      <c:catAx>
        <c:axId val="327096464"/>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GB" sz="1400" dirty="0">
                    <a:solidFill>
                      <a:schemeClr val="bg1"/>
                    </a:solidFill>
                  </a:rPr>
                  <a:t>Week</a:t>
                </a:r>
              </a:p>
            </c:rich>
          </c:tx>
          <c:layout>
            <c:manualLayout>
              <c:xMode val="edge"/>
              <c:yMode val="edge"/>
              <c:x val="0.50927215828790628"/>
              <c:y val="0.9197066686108681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27096856"/>
        <c:crosses val="autoZero"/>
        <c:auto val="1"/>
        <c:lblAlgn val="ctr"/>
        <c:lblOffset val="100"/>
        <c:noMultiLvlLbl val="0"/>
      </c:catAx>
      <c:valAx>
        <c:axId val="32709685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27096464"/>
        <c:crosses val="autoZero"/>
        <c:crossBetween val="between"/>
      </c:valAx>
      <c:spPr>
        <a:noFill/>
        <a:ln>
          <a:noFill/>
        </a:ln>
        <a:effectLst/>
      </c:spPr>
    </c:plotArea>
    <c:plotVisOnly val="1"/>
    <c:dispBlanksAs val="gap"/>
    <c:showDLblsOverMax val="0"/>
  </c:chart>
  <c:spPr>
    <a:solidFill>
      <a:schemeClr val="tx1">
        <a:lumMod val="65000"/>
        <a:lumOff val="35000"/>
      </a:schemeClr>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ares!$AT$4</c:f>
              <c:strCache>
                <c:ptCount val="1"/>
                <c:pt idx="0">
                  <c:v>Salinas-Watsonville</c:v>
                </c:pt>
              </c:strCache>
            </c:strRef>
          </c:tx>
          <c:spPr>
            <a:solidFill>
              <a:schemeClr val="accent1"/>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T$5:$AT$56</c:f>
              <c:numCache>
                <c:formatCode>0%</c:formatCode>
                <c:ptCount val="5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8.3542188805346695E-4</c:v>
                </c:pt>
                <c:pt idx="15">
                  <c:v>2.2779043280182231E-3</c:v>
                </c:pt>
                <c:pt idx="16">
                  <c:v>9.2151011145853341E-3</c:v>
                </c:pt>
                <c:pt idx="17">
                  <c:v>3.5143018165089475E-2</c:v>
                </c:pt>
                <c:pt idx="18">
                  <c:v>7.454117084344597E-2</c:v>
                </c:pt>
                <c:pt idx="19">
                  <c:v>0.14052105680656476</c:v>
                </c:pt>
                <c:pt idx="20">
                  <c:v>0.26492626734324387</c:v>
                </c:pt>
                <c:pt idx="21">
                  <c:v>0.37520476241344586</c:v>
                </c:pt>
                <c:pt idx="22">
                  <c:v>0.47457550153075873</c:v>
                </c:pt>
                <c:pt idx="23">
                  <c:v>0.48643357444645025</c:v>
                </c:pt>
                <c:pt idx="24">
                  <c:v>0.54058759787330068</c:v>
                </c:pt>
                <c:pt idx="25">
                  <c:v>0.58033333879793314</c:v>
                </c:pt>
                <c:pt idx="26">
                  <c:v>0.54892862708430734</c:v>
                </c:pt>
                <c:pt idx="27">
                  <c:v>0.52833648906014707</c:v>
                </c:pt>
                <c:pt idx="28">
                  <c:v>0.48290079852579854</c:v>
                </c:pt>
                <c:pt idx="29">
                  <c:v>0.4908820634183873</c:v>
                </c:pt>
                <c:pt idx="30">
                  <c:v>0.48311126656688574</c:v>
                </c:pt>
                <c:pt idx="31">
                  <c:v>0.53011643851687096</c:v>
                </c:pt>
                <c:pt idx="32">
                  <c:v>0.52203370921103454</c:v>
                </c:pt>
                <c:pt idx="33">
                  <c:v>0.58001870101876885</c:v>
                </c:pt>
                <c:pt idx="34">
                  <c:v>0.58059055426336037</c:v>
                </c:pt>
                <c:pt idx="35">
                  <c:v>0.5915357145869613</c:v>
                </c:pt>
                <c:pt idx="36">
                  <c:v>0.59009356048955952</c:v>
                </c:pt>
                <c:pt idx="37">
                  <c:v>0.55518788232703054</c:v>
                </c:pt>
                <c:pt idx="38">
                  <c:v>0.48090450740659402</c:v>
                </c:pt>
                <c:pt idx="39">
                  <c:v>0.42165552142461715</c:v>
                </c:pt>
                <c:pt idx="40">
                  <c:v>0.31786755525917076</c:v>
                </c:pt>
                <c:pt idx="41">
                  <c:v>0.19903372942865127</c:v>
                </c:pt>
                <c:pt idx="42">
                  <c:v>0.15725958908702067</c:v>
                </c:pt>
                <c:pt idx="43">
                  <c:v>0.1165906471070733</c:v>
                </c:pt>
                <c:pt idx="44">
                  <c:v>7.0467892471516011E-2</c:v>
                </c:pt>
                <c:pt idx="45">
                  <c:v>4.0155835259371338E-2</c:v>
                </c:pt>
                <c:pt idx="46">
                  <c:v>1.975246973212889E-2</c:v>
                </c:pt>
                <c:pt idx="47">
                  <c:v>6.0249792698796496E-3</c:v>
                </c:pt>
                <c:pt idx="48">
                  <c:v>2.3254168533760997E-3</c:v>
                </c:pt>
                <c:pt idx="49">
                  <c:v>9.1324200913242006E-4</c:v>
                </c:pt>
                <c:pt idx="50">
                  <c:v>0</c:v>
                </c:pt>
                <c:pt idx="51">
                  <c:v>0</c:v>
                </c:pt>
              </c:numCache>
            </c:numRef>
          </c:val>
        </c:ser>
        <c:ser>
          <c:idx val="1"/>
          <c:order val="1"/>
          <c:tx>
            <c:strRef>
              <c:f>Shares!$AU$4</c:f>
              <c:strCache>
                <c:ptCount val="1"/>
                <c:pt idx="0">
                  <c:v>Santa Maria</c:v>
                </c:pt>
              </c:strCache>
            </c:strRef>
          </c:tx>
          <c:spPr>
            <a:solidFill>
              <a:schemeClr val="accent2"/>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U$5:$AU$56</c:f>
              <c:numCache>
                <c:formatCode>0%</c:formatCode>
                <c:ptCount val="52"/>
                <c:pt idx="0">
                  <c:v>3.1395031395031396E-3</c:v>
                </c:pt>
                <c:pt idx="1">
                  <c:v>1.8165304268846503E-3</c:v>
                </c:pt>
                <c:pt idx="2">
                  <c:v>1.792114695340502E-3</c:v>
                </c:pt>
                <c:pt idx="3">
                  <c:v>9.7751710654936461E-4</c:v>
                </c:pt>
                <c:pt idx="4">
                  <c:v>9.3109869646182495E-4</c:v>
                </c:pt>
                <c:pt idx="5">
                  <c:v>0</c:v>
                </c:pt>
                <c:pt idx="6">
                  <c:v>0</c:v>
                </c:pt>
                <c:pt idx="7">
                  <c:v>9.0579710144927537E-4</c:v>
                </c:pt>
                <c:pt idx="8">
                  <c:v>1.6129305142766909E-3</c:v>
                </c:pt>
                <c:pt idx="9">
                  <c:v>1.759125171735175E-3</c:v>
                </c:pt>
                <c:pt idx="10">
                  <c:v>1.6501650165016502E-3</c:v>
                </c:pt>
                <c:pt idx="11">
                  <c:v>9.0826521344232513E-4</c:v>
                </c:pt>
                <c:pt idx="12">
                  <c:v>0</c:v>
                </c:pt>
                <c:pt idx="13">
                  <c:v>0</c:v>
                </c:pt>
                <c:pt idx="14">
                  <c:v>0</c:v>
                </c:pt>
                <c:pt idx="15">
                  <c:v>1.6251023084736069E-3</c:v>
                </c:pt>
                <c:pt idx="16">
                  <c:v>3.647947321961813E-3</c:v>
                </c:pt>
                <c:pt idx="17">
                  <c:v>8.5219083521290654E-3</c:v>
                </c:pt>
                <c:pt idx="18">
                  <c:v>1.5063959783057128E-2</c:v>
                </c:pt>
                <c:pt idx="19">
                  <c:v>2.8805524171436548E-2</c:v>
                </c:pt>
                <c:pt idx="20">
                  <c:v>5.1463686691650655E-2</c:v>
                </c:pt>
                <c:pt idx="21">
                  <c:v>7.2306894969304633E-2</c:v>
                </c:pt>
                <c:pt idx="22">
                  <c:v>9.8109160052518976E-2</c:v>
                </c:pt>
                <c:pt idx="23">
                  <c:v>0.11710409349772431</c:v>
                </c:pt>
                <c:pt idx="24">
                  <c:v>0.13417514863288901</c:v>
                </c:pt>
                <c:pt idx="25">
                  <c:v>0.13862409776219578</c:v>
                </c:pt>
                <c:pt idx="26">
                  <c:v>0.13828567347150797</c:v>
                </c:pt>
                <c:pt idx="27">
                  <c:v>0.14246328007352291</c:v>
                </c:pt>
                <c:pt idx="28">
                  <c:v>0.15796762671762674</c:v>
                </c:pt>
                <c:pt idx="29">
                  <c:v>0.15633210635153857</c:v>
                </c:pt>
                <c:pt idx="30">
                  <c:v>0.1802736383158717</c:v>
                </c:pt>
                <c:pt idx="31">
                  <c:v>0.15427421836767188</c:v>
                </c:pt>
                <c:pt idx="32">
                  <c:v>0.1492844583822974</c:v>
                </c:pt>
                <c:pt idx="33">
                  <c:v>0.14235663559666548</c:v>
                </c:pt>
                <c:pt idx="34">
                  <c:v>0.1305198553302562</c:v>
                </c:pt>
                <c:pt idx="35">
                  <c:v>0.12863656730590553</c:v>
                </c:pt>
                <c:pt idx="36">
                  <c:v>0.10957269525927298</c:v>
                </c:pt>
                <c:pt idx="37">
                  <c:v>0.10414463631057565</c:v>
                </c:pt>
                <c:pt idx="38">
                  <c:v>7.8607413915123117E-2</c:v>
                </c:pt>
                <c:pt idx="39">
                  <c:v>7.1770123104814329E-2</c:v>
                </c:pt>
                <c:pt idx="40">
                  <c:v>6.1162724012034965E-2</c:v>
                </c:pt>
                <c:pt idx="41">
                  <c:v>5.0185841873864601E-2</c:v>
                </c:pt>
                <c:pt idx="42">
                  <c:v>3.8117329654311666E-2</c:v>
                </c:pt>
                <c:pt idx="43">
                  <c:v>3.2616438795890261E-2</c:v>
                </c:pt>
                <c:pt idx="44">
                  <c:v>2.4036540928853833E-2</c:v>
                </c:pt>
                <c:pt idx="45">
                  <c:v>2.0971892961783478E-2</c:v>
                </c:pt>
                <c:pt idx="46">
                  <c:v>1.6945048567487807E-2</c:v>
                </c:pt>
                <c:pt idx="47">
                  <c:v>1.4711417658001436E-2</c:v>
                </c:pt>
                <c:pt idx="48">
                  <c:v>1.1668995337160542E-2</c:v>
                </c:pt>
                <c:pt idx="49">
                  <c:v>8.6846731565207932E-3</c:v>
                </c:pt>
                <c:pt idx="50">
                  <c:v>6.3979360379547391E-3</c:v>
                </c:pt>
                <c:pt idx="51">
                  <c:v>4.5567663300920972E-3</c:v>
                </c:pt>
              </c:numCache>
            </c:numRef>
          </c:val>
        </c:ser>
        <c:ser>
          <c:idx val="2"/>
          <c:order val="2"/>
          <c:tx>
            <c:strRef>
              <c:f>Shares!$AV$4</c:f>
              <c:strCache>
                <c:ptCount val="1"/>
                <c:pt idx="0">
                  <c:v>Oxnard</c:v>
                </c:pt>
              </c:strCache>
            </c:strRef>
          </c:tx>
          <c:spPr>
            <a:solidFill>
              <a:schemeClr val="accent3"/>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V$5:$AV$56</c:f>
              <c:numCache>
                <c:formatCode>0%</c:formatCode>
                <c:ptCount val="52"/>
                <c:pt idx="0">
                  <c:v>0.18725679080370158</c:v>
                </c:pt>
                <c:pt idx="1">
                  <c:v>0.17215260932807588</c:v>
                </c:pt>
                <c:pt idx="2">
                  <c:v>0.16833219154280724</c:v>
                </c:pt>
                <c:pt idx="3">
                  <c:v>0.12868118739086482</c:v>
                </c:pt>
                <c:pt idx="4">
                  <c:v>0.12586447250155683</c:v>
                </c:pt>
                <c:pt idx="5">
                  <c:v>0.12067687730210959</c:v>
                </c:pt>
                <c:pt idx="6">
                  <c:v>0.12352543320713083</c:v>
                </c:pt>
                <c:pt idx="7">
                  <c:v>0.12178269154192957</c:v>
                </c:pt>
                <c:pt idx="8">
                  <c:v>0.10419326388042183</c:v>
                </c:pt>
                <c:pt idx="9">
                  <c:v>0.11974726009203006</c:v>
                </c:pt>
                <c:pt idx="10">
                  <c:v>0.17430768911889763</c:v>
                </c:pt>
                <c:pt idx="11">
                  <c:v>0.11600716858202327</c:v>
                </c:pt>
                <c:pt idx="12">
                  <c:v>8.5124923013291512E-2</c:v>
                </c:pt>
                <c:pt idx="13">
                  <c:v>0.10229132407580793</c:v>
                </c:pt>
                <c:pt idx="14">
                  <c:v>0.10607799533784219</c:v>
                </c:pt>
                <c:pt idx="15">
                  <c:v>0.10568763678820536</c:v>
                </c:pt>
                <c:pt idx="16">
                  <c:v>0.16637171851236077</c:v>
                </c:pt>
                <c:pt idx="17">
                  <c:v>0.23125986114101563</c:v>
                </c:pt>
                <c:pt idx="18">
                  <c:v>0.30361574715776068</c:v>
                </c:pt>
                <c:pt idx="19">
                  <c:v>0.29966193465230534</c:v>
                </c:pt>
                <c:pt idx="20">
                  <c:v>0.31677612848397058</c:v>
                </c:pt>
                <c:pt idx="21">
                  <c:v>0.31623691423143402</c:v>
                </c:pt>
                <c:pt idx="22">
                  <c:v>0.25877225229163109</c:v>
                </c:pt>
                <c:pt idx="23">
                  <c:v>0.24955039331144113</c:v>
                </c:pt>
                <c:pt idx="24">
                  <c:v>0.20810375384884963</c:v>
                </c:pt>
                <c:pt idx="25">
                  <c:v>0.19738161841760113</c:v>
                </c:pt>
                <c:pt idx="26">
                  <c:v>0.2199171471611864</c:v>
                </c:pt>
                <c:pt idx="27">
                  <c:v>0.24833556171937285</c:v>
                </c:pt>
                <c:pt idx="28">
                  <c:v>0.28371496496496501</c:v>
                </c:pt>
                <c:pt idx="29">
                  <c:v>0.27541088844896061</c:v>
                </c:pt>
                <c:pt idx="30">
                  <c:v>0.25715635235678186</c:v>
                </c:pt>
                <c:pt idx="31">
                  <c:v>0.22994231294087789</c:v>
                </c:pt>
                <c:pt idx="32">
                  <c:v>0.20798852238775548</c:v>
                </c:pt>
                <c:pt idx="33">
                  <c:v>0.2055552150667308</c:v>
                </c:pt>
                <c:pt idx="34">
                  <c:v>0.19443937948813353</c:v>
                </c:pt>
                <c:pt idx="35">
                  <c:v>0.19572333541820616</c:v>
                </c:pt>
                <c:pt idx="36">
                  <c:v>0.1873017149041564</c:v>
                </c:pt>
                <c:pt idx="37">
                  <c:v>0.18410804488250213</c:v>
                </c:pt>
                <c:pt idx="38">
                  <c:v>0.17963189106083899</c:v>
                </c:pt>
                <c:pt idx="39">
                  <c:v>0.19787406226106372</c:v>
                </c:pt>
                <c:pt idx="40">
                  <c:v>0.20276126435948968</c:v>
                </c:pt>
                <c:pt idx="41">
                  <c:v>0.19835600253447314</c:v>
                </c:pt>
                <c:pt idx="42">
                  <c:v>0.18122064625010262</c:v>
                </c:pt>
                <c:pt idx="43">
                  <c:v>0.19565380761980669</c:v>
                </c:pt>
                <c:pt idx="44">
                  <c:v>0.17588937464925233</c:v>
                </c:pt>
                <c:pt idx="45">
                  <c:v>0.14761351218945939</c:v>
                </c:pt>
                <c:pt idx="46">
                  <c:v>0.15898318878884068</c:v>
                </c:pt>
                <c:pt idx="47">
                  <c:v>0.147302628302416</c:v>
                </c:pt>
                <c:pt idx="48">
                  <c:v>0.16607274094991489</c:v>
                </c:pt>
                <c:pt idx="49">
                  <c:v>0.14723274724380683</c:v>
                </c:pt>
                <c:pt idx="50">
                  <c:v>0.13665812454187085</c:v>
                </c:pt>
                <c:pt idx="51">
                  <c:v>0.15441226354179885</c:v>
                </c:pt>
              </c:numCache>
            </c:numRef>
          </c:val>
        </c:ser>
        <c:ser>
          <c:idx val="3"/>
          <c:order val="3"/>
          <c:tx>
            <c:strRef>
              <c:f>Shares!$AW$4</c:f>
              <c:strCache>
                <c:ptCount val="1"/>
                <c:pt idx="0">
                  <c:v>Mexico</c:v>
                </c:pt>
              </c:strCache>
            </c:strRef>
          </c:tx>
          <c:spPr>
            <a:solidFill>
              <a:schemeClr val="accent4"/>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W$5:$AW$56</c:f>
              <c:numCache>
                <c:formatCode>0%</c:formatCode>
                <c:ptCount val="52"/>
                <c:pt idx="0">
                  <c:v>0.80960370605679532</c:v>
                </c:pt>
                <c:pt idx="1">
                  <c:v>0.82603086024503947</c:v>
                </c:pt>
                <c:pt idx="2">
                  <c:v>0.82897963641418204</c:v>
                </c:pt>
                <c:pt idx="3">
                  <c:v>0.87034129550258577</c:v>
                </c:pt>
                <c:pt idx="4">
                  <c:v>0.86926431847889229</c:v>
                </c:pt>
                <c:pt idx="5">
                  <c:v>0.87932312269789048</c:v>
                </c:pt>
                <c:pt idx="6">
                  <c:v>0.86551814660724002</c:v>
                </c:pt>
                <c:pt idx="7">
                  <c:v>0.86463035193633131</c:v>
                </c:pt>
                <c:pt idx="8">
                  <c:v>0.89093222700125718</c:v>
                </c:pt>
                <c:pt idx="9">
                  <c:v>0.87849361473623466</c:v>
                </c:pt>
                <c:pt idx="10">
                  <c:v>0.82404214586460078</c:v>
                </c:pt>
                <c:pt idx="11">
                  <c:v>0.87380839165247437</c:v>
                </c:pt>
                <c:pt idx="12">
                  <c:v>0.90057861348031265</c:v>
                </c:pt>
                <c:pt idx="13">
                  <c:v>0.89770867592419201</c:v>
                </c:pt>
                <c:pt idx="14">
                  <c:v>0.88890947333383696</c:v>
                </c:pt>
                <c:pt idx="15">
                  <c:v>0.87748776821203422</c:v>
                </c:pt>
                <c:pt idx="16">
                  <c:v>0.82076523305109195</c:v>
                </c:pt>
                <c:pt idx="17">
                  <c:v>0.71830168943921058</c:v>
                </c:pt>
                <c:pt idx="18">
                  <c:v>0.60341055377124586</c:v>
                </c:pt>
                <c:pt idx="19">
                  <c:v>0.4996134903453151</c:v>
                </c:pt>
                <c:pt idx="20">
                  <c:v>0.36540020920158484</c:v>
                </c:pt>
                <c:pt idx="21">
                  <c:v>0.23297001450552179</c:v>
                </c:pt>
                <c:pt idx="22">
                  <c:v>0.16682929006682209</c:v>
                </c:pt>
                <c:pt idx="23">
                  <c:v>0.14179621021669339</c:v>
                </c:pt>
                <c:pt idx="24">
                  <c:v>0.1156487186501573</c:v>
                </c:pt>
                <c:pt idx="25">
                  <c:v>8.2941002617662407E-2</c:v>
                </c:pt>
                <c:pt idx="26">
                  <c:v>8.8125941509531971E-2</c:v>
                </c:pt>
                <c:pt idx="27">
                  <c:v>8.086466914695721E-2</c:v>
                </c:pt>
                <c:pt idx="28">
                  <c:v>7.0818261443261435E-2</c:v>
                </c:pt>
                <c:pt idx="29">
                  <c:v>7.6545754384761897E-2</c:v>
                </c:pt>
                <c:pt idx="30">
                  <c:v>7.3225960391314723E-2</c:v>
                </c:pt>
                <c:pt idx="31">
                  <c:v>8.4982567477796214E-2</c:v>
                </c:pt>
                <c:pt idx="32">
                  <c:v>0.12069331001891265</c:v>
                </c:pt>
                <c:pt idx="33">
                  <c:v>7.1292447540833984E-2</c:v>
                </c:pt>
                <c:pt idx="34">
                  <c:v>9.4450210918249913E-2</c:v>
                </c:pt>
                <c:pt idx="35">
                  <c:v>8.4104382688927004E-2</c:v>
                </c:pt>
                <c:pt idx="36">
                  <c:v>0.11303202934701116</c:v>
                </c:pt>
                <c:pt idx="37">
                  <c:v>0.15655943647989165</c:v>
                </c:pt>
                <c:pt idx="38">
                  <c:v>0.26085618761744395</c:v>
                </c:pt>
                <c:pt idx="39">
                  <c:v>0.30870029320950482</c:v>
                </c:pt>
                <c:pt idx="40">
                  <c:v>0.41466988595175325</c:v>
                </c:pt>
                <c:pt idx="41">
                  <c:v>0.55242442616301102</c:v>
                </c:pt>
                <c:pt idx="42">
                  <c:v>0.62340243500856507</c:v>
                </c:pt>
                <c:pt idx="43">
                  <c:v>0.65455939633230231</c:v>
                </c:pt>
                <c:pt idx="44">
                  <c:v>0.72496043120705611</c:v>
                </c:pt>
                <c:pt idx="45">
                  <c:v>0.79125875958938574</c:v>
                </c:pt>
                <c:pt idx="46">
                  <c:v>0.80431929291154258</c:v>
                </c:pt>
                <c:pt idx="47">
                  <c:v>0.83127368954633518</c:v>
                </c:pt>
                <c:pt idx="48">
                  <c:v>0.818464328035307</c:v>
                </c:pt>
                <c:pt idx="49">
                  <c:v>0.84151370508400591</c:v>
                </c:pt>
                <c:pt idx="50">
                  <c:v>0.85524272909343813</c:v>
                </c:pt>
                <c:pt idx="51">
                  <c:v>0.83944058145910694</c:v>
                </c:pt>
              </c:numCache>
            </c:numRef>
          </c:val>
        </c:ser>
        <c:ser>
          <c:idx val="4"/>
          <c:order val="4"/>
          <c:tx>
            <c:strRef>
              <c:f>Shares!$AX$4</c:f>
              <c:strCache>
                <c:ptCount val="1"/>
                <c:pt idx="0">
                  <c:v>Chile</c:v>
                </c:pt>
              </c:strCache>
            </c:strRef>
          </c:tx>
          <c:spPr>
            <a:solidFill>
              <a:srgbClr val="C00000"/>
            </a:solidFill>
            <a:ln>
              <a:noFill/>
            </a:ln>
            <a:effectLst/>
          </c:spPr>
          <c:invertIfNegative val="0"/>
          <c:cat>
            <c:numRef>
              <c:f>Shares!$AS$5:$AS$56</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Shares!$AX$5:$AX$56</c:f>
              <c:numCache>
                <c:formatCode>0%</c:formatCode>
                <c:ptCount val="52"/>
                <c:pt idx="0">
                  <c:v>0</c:v>
                </c:pt>
                <c:pt idx="1">
                  <c:v>0</c:v>
                </c:pt>
                <c:pt idx="2">
                  <c:v>0</c:v>
                </c:pt>
                <c:pt idx="3">
                  <c:v>0</c:v>
                </c:pt>
                <c:pt idx="4">
                  <c:v>3.9401103230890461E-3</c:v>
                </c:pt>
                <c:pt idx="5">
                  <c:v>0</c:v>
                </c:pt>
                <c:pt idx="6">
                  <c:v>1.0114669343878269E-2</c:v>
                </c:pt>
                <c:pt idx="7">
                  <c:v>1.2681159420289856E-2</c:v>
                </c:pt>
                <c:pt idx="8">
                  <c:v>3.2615786040443573E-3</c:v>
                </c:pt>
                <c:pt idx="9">
                  <c:v>0</c:v>
                </c:pt>
                <c:pt idx="10">
                  <c:v>0</c:v>
                </c:pt>
                <c:pt idx="11">
                  <c:v>9.276174552060111E-3</c:v>
                </c:pt>
                <c:pt idx="12">
                  <c:v>1.4296463506395787E-2</c:v>
                </c:pt>
                <c:pt idx="13">
                  <c:v>0</c:v>
                </c:pt>
                <c:pt idx="14">
                  <c:v>4.1771094402673348E-3</c:v>
                </c:pt>
                <c:pt idx="15">
                  <c:v>1.292158836326863E-2</c:v>
                </c:pt>
                <c:pt idx="16">
                  <c:v>0</c:v>
                </c:pt>
                <c:pt idx="17">
                  <c:v>6.7735229025551605E-3</c:v>
                </c:pt>
                <c:pt idx="18">
                  <c:v>2.6455026455026454E-3</c:v>
                </c:pt>
                <c:pt idx="19">
                  <c:v>3.06872619703626E-2</c:v>
                </c:pt>
                <c:pt idx="20">
                  <c:v>0</c:v>
                </c:pt>
                <c:pt idx="21">
                  <c:v>0</c:v>
                </c:pt>
                <c:pt idx="22">
                  <c:v>0</c:v>
                </c:pt>
                <c:pt idx="23">
                  <c:v>3.5544482778861138E-3</c:v>
                </c:pt>
                <c:pt idx="24">
                  <c:v>0</c:v>
                </c:pt>
                <c:pt idx="25">
                  <c:v>0</c:v>
                </c:pt>
                <c:pt idx="26">
                  <c:v>4.0257648953301124E-3</c:v>
                </c:pt>
                <c:pt idx="27">
                  <c:v>0</c:v>
                </c:pt>
                <c:pt idx="28">
                  <c:v>3.472222222222222E-3</c:v>
                </c:pt>
                <c:pt idx="29">
                  <c:v>0</c:v>
                </c:pt>
                <c:pt idx="30">
                  <c:v>4.1666666666666666E-3</c:v>
                </c:pt>
                <c:pt idx="31">
                  <c:v>0</c:v>
                </c:pt>
                <c:pt idx="32">
                  <c:v>0</c:v>
                </c:pt>
                <c:pt idx="33">
                  <c:v>0</c:v>
                </c:pt>
                <c:pt idx="34">
                  <c:v>0</c:v>
                </c:pt>
                <c:pt idx="35">
                  <c:v>0</c:v>
                </c:pt>
                <c:pt idx="36">
                  <c:v>0</c:v>
                </c:pt>
                <c:pt idx="37">
                  <c:v>0</c:v>
                </c:pt>
                <c:pt idx="38">
                  <c:v>0</c:v>
                </c:pt>
                <c:pt idx="39">
                  <c:v>0</c:v>
                </c:pt>
                <c:pt idx="40">
                  <c:v>3.5385704175513091E-3</c:v>
                </c:pt>
                <c:pt idx="41">
                  <c:v>0</c:v>
                </c:pt>
                <c:pt idx="42">
                  <c:v>0</c:v>
                </c:pt>
                <c:pt idx="43">
                  <c:v>0</c:v>
                </c:pt>
                <c:pt idx="44">
                  <c:v>4.6457607433217189E-3</c:v>
                </c:pt>
                <c:pt idx="45">
                  <c:v>0</c:v>
                </c:pt>
                <c:pt idx="46">
                  <c:v>0</c:v>
                </c:pt>
                <c:pt idx="47">
                  <c:v>0</c:v>
                </c:pt>
                <c:pt idx="48">
                  <c:v>0</c:v>
                </c:pt>
                <c:pt idx="49">
                  <c:v>0</c:v>
                </c:pt>
                <c:pt idx="50">
                  <c:v>0</c:v>
                </c:pt>
                <c:pt idx="51">
                  <c:v>0</c:v>
                </c:pt>
              </c:numCache>
            </c:numRef>
          </c:val>
        </c:ser>
        <c:dLbls>
          <c:showLegendKey val="0"/>
          <c:showVal val="0"/>
          <c:showCatName val="0"/>
          <c:showSerName val="0"/>
          <c:showPercent val="0"/>
          <c:showBubbleSize val="0"/>
        </c:dLbls>
        <c:gapWidth val="150"/>
        <c:overlap val="100"/>
        <c:axId val="328932872"/>
        <c:axId val="328933264"/>
        <c:extLst>
          <c:ext xmlns:c15="http://schemas.microsoft.com/office/drawing/2012/chart" uri="{02D57815-91ED-43cb-92C2-25804820EDAC}">
            <c15:filteredBarSeries>
              <c15:ser>
                <c:idx val="5"/>
                <c:order val="5"/>
                <c:tx>
                  <c:strRef>
                    <c:extLst>
                      <c:ext uri="{02D57815-91ED-43cb-92C2-25804820EDAC}">
                        <c15:formulaRef>
                          <c15:sqref>Shares!$AY$4</c15:sqref>
                        </c15:formulaRef>
                      </c:ext>
                    </c:extLst>
                    <c:strCache>
                      <c:ptCount val="1"/>
                      <c:pt idx="0">
                        <c:v>Guatemala</c:v>
                      </c:pt>
                    </c:strCache>
                  </c:strRef>
                </c:tx>
                <c:spPr>
                  <a:solidFill>
                    <a:schemeClr val="accent6"/>
                  </a:solidFill>
                  <a:ln>
                    <a:noFill/>
                  </a:ln>
                  <a:effectLst/>
                </c:spPr>
                <c:invertIfNegative val="0"/>
                <c:cat>
                  <c:numRef>
                    <c:extLst>
                      <c:ext uri="{02D57815-91ED-43cb-92C2-25804820EDAC}">
                        <c15:formulaRef>
                          <c15:sqref>Shares!$AS$5:$AS$56</c15:sqref>
                        </c15:formulaRef>
                      </c:ext>
                    </c:extLst>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extLst>
                      <c:ext uri="{02D57815-91ED-43cb-92C2-25804820EDAC}">
                        <c15:formulaRef>
                          <c15:sqref>Shares!$AY$5:$AY$56</c15:sqref>
                        </c15:formulaRef>
                      </c:ext>
                    </c:extLst>
                    <c:numCache>
                      <c:formatCode>0%</c:formatCode>
                      <c:ptCount val="52"/>
                      <c:pt idx="0">
                        <c:v>0</c:v>
                      </c:pt>
                      <c:pt idx="1">
                        <c:v>0</c:v>
                      </c:pt>
                      <c:pt idx="2">
                        <c:v>8.96057347670251E-4</c:v>
                      </c:pt>
                      <c:pt idx="3">
                        <c:v>0</c:v>
                      </c:pt>
                      <c:pt idx="4">
                        <c:v>0</c:v>
                      </c:pt>
                      <c:pt idx="5">
                        <c:v>0</c:v>
                      </c:pt>
                      <c:pt idx="6">
                        <c:v>8.4175084175084182E-4</c:v>
                      </c:pt>
                      <c:pt idx="7">
                        <c:v>0</c:v>
                      </c:pt>
                      <c:pt idx="8">
                        <c:v>0</c:v>
                      </c:pt>
                      <c:pt idx="9">
                        <c:v>0</c:v>
                      </c:pt>
                      <c:pt idx="10">
                        <c:v>0</c:v>
                      </c:pt>
                      <c:pt idx="11">
                        <c:v>0</c:v>
                      </c:pt>
                      <c:pt idx="12">
                        <c:v>0</c:v>
                      </c:pt>
                      <c:pt idx="13">
                        <c:v>0</c:v>
                      </c:pt>
                      <c:pt idx="14">
                        <c:v>0</c:v>
                      </c:pt>
                      <c:pt idx="15">
                        <c:v>0</c:v>
                      </c:pt>
                      <c:pt idx="16">
                        <c:v>0</c:v>
                      </c:pt>
                      <c:pt idx="17">
                        <c:v>0</c:v>
                      </c:pt>
                      <c:pt idx="18">
                        <c:v>7.2306579898770787E-4</c:v>
                      </c:pt>
                      <c:pt idx="19">
                        <c:v>7.1073205401563609E-4</c:v>
                      </c:pt>
                      <c:pt idx="20">
                        <c:v>1.4337082795500644E-3</c:v>
                      </c:pt>
                      <c:pt idx="21">
                        <c:v>3.2814138802936734E-3</c:v>
                      </c:pt>
                      <c:pt idx="22">
                        <c:v>1.7137960582690659E-3</c:v>
                      </c:pt>
                      <c:pt idx="23">
                        <c:v>1.56128024980484E-3</c:v>
                      </c:pt>
                      <c:pt idx="24">
                        <c:v>1.4847809948032665E-3</c:v>
                      </c:pt>
                      <c:pt idx="25">
                        <c:v>7.1994240460763147E-4</c:v>
                      </c:pt>
                      <c:pt idx="26">
                        <c:v>7.1684587813620072E-4</c:v>
                      </c:pt>
                      <c:pt idx="27">
                        <c:v>0</c:v>
                      </c:pt>
                      <c:pt idx="28">
                        <c:v>1.1261261261261261E-3</c:v>
                      </c:pt>
                      <c:pt idx="29">
                        <c:v>8.2918739635157548E-4</c:v>
                      </c:pt>
                      <c:pt idx="30">
                        <c:v>2.0661157024793389E-3</c:v>
                      </c:pt>
                      <c:pt idx="31">
                        <c:v>6.8446269678302531E-4</c:v>
                      </c:pt>
                      <c:pt idx="32">
                        <c:v>0</c:v>
                      </c:pt>
                      <c:pt idx="33">
                        <c:v>7.77000777000777E-4</c:v>
                      </c:pt>
                      <c:pt idx="34">
                        <c:v>0</c:v>
                      </c:pt>
                      <c:pt idx="35">
                        <c:v>0</c:v>
                      </c:pt>
                      <c:pt idx="36">
                        <c:v>0</c:v>
                      </c:pt>
                      <c:pt idx="37">
                        <c:v>0</c:v>
                      </c:pt>
                      <c:pt idx="38">
                        <c:v>0</c:v>
                      </c:pt>
                      <c:pt idx="39">
                        <c:v>0</c:v>
                      </c:pt>
                      <c:pt idx="40">
                        <c:v>0</c:v>
                      </c:pt>
                      <c:pt idx="41">
                        <c:v>0</c:v>
                      </c:pt>
                      <c:pt idx="42">
                        <c:v>0</c:v>
                      </c:pt>
                      <c:pt idx="43">
                        <c:v>5.7971014492753622E-4</c:v>
                      </c:pt>
                      <c:pt idx="44">
                        <c:v>0</c:v>
                      </c:pt>
                      <c:pt idx="45">
                        <c:v>0</c:v>
                      </c:pt>
                      <c:pt idx="46">
                        <c:v>0</c:v>
                      </c:pt>
                      <c:pt idx="47">
                        <c:v>6.8728522336769765E-4</c:v>
                      </c:pt>
                      <c:pt idx="48">
                        <c:v>1.4685188242415665E-3</c:v>
                      </c:pt>
                      <c:pt idx="49">
                        <c:v>1.6556325065340532E-3</c:v>
                      </c:pt>
                      <c:pt idx="50">
                        <c:v>1.7012103267362733E-3</c:v>
                      </c:pt>
                      <c:pt idx="51">
                        <c:v>1.5903886690020168E-3</c:v>
                      </c:pt>
                    </c:numCache>
                  </c:numRef>
                </c:val>
              </c15:ser>
            </c15:filteredBarSeries>
          </c:ext>
        </c:extLst>
      </c:barChart>
      <c:catAx>
        <c:axId val="328932872"/>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r>
                  <a:rPr lang="en-GB" sz="1400" dirty="0">
                    <a:solidFill>
                      <a:schemeClr val="bg1"/>
                    </a:solidFill>
                  </a:rPr>
                  <a:t>Week</a:t>
                </a:r>
              </a:p>
            </c:rich>
          </c:tx>
          <c:layout>
            <c:manualLayout>
              <c:xMode val="edge"/>
              <c:yMode val="edge"/>
              <c:x val="0.50660121811696612"/>
              <c:y val="0.9197066686108681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28933264"/>
        <c:crosses val="autoZero"/>
        <c:auto val="1"/>
        <c:lblAlgn val="ctr"/>
        <c:lblOffset val="100"/>
        <c:noMultiLvlLbl val="0"/>
      </c:catAx>
      <c:valAx>
        <c:axId val="3289332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328932872"/>
        <c:crosses val="autoZero"/>
        <c:crossBetween val="between"/>
      </c:valAx>
      <c:spPr>
        <a:noFill/>
        <a:ln>
          <a:noFill/>
        </a:ln>
        <a:effectLst/>
      </c:spPr>
    </c:plotArea>
    <c:plotVisOnly val="1"/>
    <c:dispBlanksAs val="gap"/>
    <c:showDLblsOverMax val="0"/>
  </c:chart>
  <c:spPr>
    <a:solidFill>
      <a:srgbClr val="595959"/>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3065157794700714E-2"/>
          <c:y val="0.10407644356955381"/>
          <c:w val="0.84661747876997906"/>
          <c:h val="0.70165705198308548"/>
        </c:manualLayout>
      </c:layout>
      <c:barChart>
        <c:barDir val="col"/>
        <c:grouping val="clustered"/>
        <c:varyColors val="0"/>
        <c:ser>
          <c:idx val="0"/>
          <c:order val="0"/>
          <c:tx>
            <c:strRef>
              <c:f>Basic!$B$3</c:f>
              <c:strCache>
                <c:ptCount val="1"/>
                <c:pt idx="0">
                  <c:v>Total Conv Q (lhs)</c:v>
                </c:pt>
              </c:strCache>
            </c:strRef>
          </c:tx>
          <c:spPr>
            <a:solidFill>
              <a:schemeClr val="accent1"/>
            </a:solidFill>
            <a:ln>
              <a:noFill/>
            </a:ln>
            <a:effectLst/>
          </c:spPr>
          <c:invertIfNegative val="0"/>
          <c:cat>
            <c:numRef>
              <c:f>Basic!$A$4:$A$15</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Basic!$B$4:$B$15</c:f>
              <c:numCache>
                <c:formatCode>General</c:formatCode>
                <c:ptCount val="12"/>
                <c:pt idx="0">
                  <c:v>56070000</c:v>
                </c:pt>
                <c:pt idx="1">
                  <c:v>67600000</c:v>
                </c:pt>
                <c:pt idx="2">
                  <c:v>90120000</c:v>
                </c:pt>
                <c:pt idx="3">
                  <c:v>118210000</c:v>
                </c:pt>
                <c:pt idx="4">
                  <c:v>116250000</c:v>
                </c:pt>
                <c:pt idx="5">
                  <c:v>129140000</c:v>
                </c:pt>
                <c:pt idx="6">
                  <c:v>126410000</c:v>
                </c:pt>
                <c:pt idx="7">
                  <c:v>145670000</c:v>
                </c:pt>
                <c:pt idx="8">
                  <c:v>154810000</c:v>
                </c:pt>
                <c:pt idx="9">
                  <c:v>170070000</c:v>
                </c:pt>
                <c:pt idx="10">
                  <c:v>167440000</c:v>
                </c:pt>
                <c:pt idx="11">
                  <c:v>174360000</c:v>
                </c:pt>
              </c:numCache>
            </c:numRef>
          </c:val>
        </c:ser>
        <c:dLbls>
          <c:showLegendKey val="0"/>
          <c:showVal val="0"/>
          <c:showCatName val="0"/>
          <c:showSerName val="0"/>
          <c:showPercent val="0"/>
          <c:showBubbleSize val="0"/>
        </c:dLbls>
        <c:gapWidth val="219"/>
        <c:overlap val="-27"/>
        <c:axId val="328934048"/>
        <c:axId val="328933656"/>
      </c:barChart>
      <c:lineChart>
        <c:grouping val="standard"/>
        <c:varyColors val="0"/>
        <c:ser>
          <c:idx val="1"/>
          <c:order val="1"/>
          <c:tx>
            <c:strRef>
              <c:f>Basic!$E$3</c:f>
              <c:strCache>
                <c:ptCount val="1"/>
                <c:pt idx="0">
                  <c:v>Conv Wtd Price (rhs)</c:v>
                </c:pt>
              </c:strCache>
            </c:strRef>
          </c:tx>
          <c:spPr>
            <a:ln w="28575" cap="rnd">
              <a:solidFill>
                <a:schemeClr val="accent2"/>
              </a:solidFill>
              <a:round/>
            </a:ln>
            <a:effectLst/>
          </c:spPr>
          <c:marker>
            <c:symbol val="none"/>
          </c:marker>
          <c:cat>
            <c:numRef>
              <c:f>Basic!$A$4:$A$15</c:f>
              <c:numCache>
                <c:formatCode>General</c:formatCod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numCache>
            </c:numRef>
          </c:cat>
          <c:val>
            <c:numRef>
              <c:f>Basic!$E$4:$E$15</c:f>
              <c:numCache>
                <c:formatCode>0.00</c:formatCode>
                <c:ptCount val="12"/>
                <c:pt idx="0">
                  <c:v>16.068453377047689</c:v>
                </c:pt>
                <c:pt idx="1">
                  <c:v>13.48451694888581</c:v>
                </c:pt>
                <c:pt idx="2">
                  <c:v>12.444095225278824</c:v>
                </c:pt>
                <c:pt idx="3">
                  <c:v>12.518192920280715</c:v>
                </c:pt>
                <c:pt idx="4">
                  <c:v>12.320731182795699</c:v>
                </c:pt>
                <c:pt idx="5">
                  <c:v>12.097685973878479</c:v>
                </c:pt>
                <c:pt idx="6">
                  <c:v>13.363557044287548</c:v>
                </c:pt>
                <c:pt idx="7">
                  <c:v>12.110362177066884</c:v>
                </c:pt>
                <c:pt idx="8">
                  <c:v>11.72596209091745</c:v>
                </c:pt>
                <c:pt idx="9">
                  <c:v>11.327088355775075</c:v>
                </c:pt>
                <c:pt idx="10">
                  <c:v>10.810767538620798</c:v>
                </c:pt>
                <c:pt idx="11">
                  <c:v>10.544866464020799</c:v>
                </c:pt>
              </c:numCache>
            </c:numRef>
          </c:val>
          <c:smooth val="0"/>
        </c:ser>
        <c:dLbls>
          <c:showLegendKey val="0"/>
          <c:showVal val="0"/>
          <c:showCatName val="0"/>
          <c:showSerName val="0"/>
          <c:showPercent val="0"/>
          <c:showBubbleSize val="0"/>
        </c:dLbls>
        <c:marker val="1"/>
        <c:smooth val="0"/>
        <c:axId val="331625152"/>
        <c:axId val="331624760"/>
      </c:lineChart>
      <c:catAx>
        <c:axId val="32893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8933656"/>
        <c:crosses val="autoZero"/>
        <c:auto val="1"/>
        <c:lblAlgn val="ctr"/>
        <c:lblOffset val="100"/>
        <c:noMultiLvlLbl val="0"/>
      </c:catAx>
      <c:valAx>
        <c:axId val="328933656"/>
        <c:scaling>
          <c:orientation val="minMax"/>
          <c:max val="1800000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28934048"/>
        <c:crosses val="autoZero"/>
        <c:crossBetween val="between"/>
        <c:dispUnits>
          <c:builtInUnit val="millions"/>
          <c:dispUnitsLbl>
            <c:layout>
              <c:manualLayout>
                <c:xMode val="edge"/>
                <c:yMode val="edge"/>
                <c:x val="0"/>
                <c:y val="0"/>
              </c:manualLayout>
            </c:layout>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a:solidFill>
                        <a:schemeClr val="tx1"/>
                      </a:solidFill>
                    </a:rPr>
                    <a:t>Mill</a:t>
                  </a:r>
                  <a:r>
                    <a:rPr lang="en-GB" sz="1400" baseline="0">
                      <a:solidFill>
                        <a:schemeClr val="tx1"/>
                      </a:solidFill>
                    </a:rPr>
                    <a:t> lb</a:t>
                  </a:r>
                  <a:endParaRPr lang="en-GB" sz="1400">
                    <a:solidFill>
                      <a:schemeClr val="tx1"/>
                    </a:solidFill>
                  </a:endParaRPr>
                </a:p>
              </c:rich>
            </c:tx>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dispUnitsLbl>
        </c:dispUnits>
      </c:valAx>
      <c:valAx>
        <c:axId val="331624760"/>
        <c:scaling>
          <c:orientation val="minMax"/>
          <c:max val="17"/>
          <c:min val="10"/>
        </c:scaling>
        <c:delete val="0"/>
        <c:axPos val="r"/>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sz="1400" dirty="0">
                    <a:solidFill>
                      <a:schemeClr val="tx1"/>
                    </a:solidFill>
                  </a:rPr>
                  <a:t>USD/Flat</a:t>
                </a:r>
              </a:p>
            </c:rich>
          </c:tx>
          <c:layout>
            <c:manualLayout>
              <c:xMode val="edge"/>
              <c:yMode val="edge"/>
              <c:x val="0.9017671398621373"/>
              <c:y val="4.6335028433945758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31625152"/>
        <c:crosses val="max"/>
        <c:crossBetween val="between"/>
      </c:valAx>
      <c:catAx>
        <c:axId val="331625152"/>
        <c:scaling>
          <c:orientation val="minMax"/>
        </c:scaling>
        <c:delete val="1"/>
        <c:axPos val="b"/>
        <c:numFmt formatCode="General" sourceLinked="1"/>
        <c:majorTickMark val="out"/>
        <c:minorTickMark val="none"/>
        <c:tickLblPos val="nextTo"/>
        <c:crossAx val="331624760"/>
        <c:crosses val="autoZero"/>
        <c:auto val="1"/>
        <c:lblAlgn val="ctr"/>
        <c:lblOffset val="100"/>
        <c:noMultiLvlLbl val="0"/>
      </c:catAx>
      <c:spPr>
        <a:noFill/>
        <a:ln>
          <a:noFill/>
        </a:ln>
        <a:effectLst/>
      </c:spPr>
    </c:plotArea>
    <c:legend>
      <c:legendPos val="b"/>
      <c:layout>
        <c:manualLayout>
          <c:xMode val="edge"/>
          <c:yMode val="edge"/>
          <c:x val="9.4113620807665985E-2"/>
          <c:y val="0.93389813903470398"/>
          <c:w val="0.82332418919914285"/>
          <c:h val="6.610186096529600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250760364400032E-2"/>
          <c:y val="0.12299618146689997"/>
          <c:w val="0.83238018309826267"/>
          <c:h val="0.62307387357830268"/>
        </c:manualLayout>
      </c:layout>
      <c:barChart>
        <c:barDir val="col"/>
        <c:grouping val="clustered"/>
        <c:varyColors val="0"/>
        <c:ser>
          <c:idx val="2"/>
          <c:order val="1"/>
          <c:tx>
            <c:strRef>
              <c:f>Comp!$AR$3</c:f>
              <c:strCache>
                <c:ptCount val="1"/>
                <c:pt idx="0">
                  <c:v>CAGR Q (lhs)</c:v>
                </c:pt>
              </c:strCache>
            </c:strRef>
          </c:tx>
          <c:spPr>
            <a:solidFill>
              <a:schemeClr val="accent3"/>
            </a:solidFill>
            <a:ln>
              <a:noFill/>
            </a:ln>
            <a:effectLst/>
          </c:spPr>
          <c:invertIfNegative val="0"/>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R$4:$AR$55</c:f>
              <c:numCache>
                <c:formatCode>0.0%</c:formatCode>
                <c:ptCount val="52"/>
                <c:pt idx="0">
                  <c:v>5.5568407329506631E-2</c:v>
                </c:pt>
                <c:pt idx="1">
                  <c:v>4.2429397153880055E-2</c:v>
                </c:pt>
                <c:pt idx="2">
                  <c:v>2.9454492016159461E-2</c:v>
                </c:pt>
                <c:pt idx="3">
                  <c:v>-4.7866220156396855E-2</c:v>
                </c:pt>
                <c:pt idx="4">
                  <c:v>-1.0193997003818289E-2</c:v>
                </c:pt>
                <c:pt idx="5">
                  <c:v>-6.4328566418158095E-3</c:v>
                </c:pt>
                <c:pt idx="6">
                  <c:v>6.4809268853760704E-2</c:v>
                </c:pt>
                <c:pt idx="7">
                  <c:v>7.3467241883078627E-2</c:v>
                </c:pt>
                <c:pt idx="8">
                  <c:v>5.7769402283283977E-2</c:v>
                </c:pt>
                <c:pt idx="9">
                  <c:v>9.2228351156701249E-2</c:v>
                </c:pt>
                <c:pt idx="10">
                  <c:v>6.1006977583005995E-2</c:v>
                </c:pt>
                <c:pt idx="11">
                  <c:v>0.11230881069491971</c:v>
                </c:pt>
                <c:pt idx="12">
                  <c:v>0.13635673204656307</c:v>
                </c:pt>
                <c:pt idx="13">
                  <c:v>6.9349871071305191E-2</c:v>
                </c:pt>
                <c:pt idx="14">
                  <c:v>6.0479688729776715E-2</c:v>
                </c:pt>
                <c:pt idx="15">
                  <c:v>0.13472138118501498</c:v>
                </c:pt>
                <c:pt idx="16">
                  <c:v>0.11430916901657806</c:v>
                </c:pt>
                <c:pt idx="17">
                  <c:v>3.1117357209937468E-2</c:v>
                </c:pt>
                <c:pt idx="18">
                  <c:v>4.3801386356369765E-2</c:v>
                </c:pt>
                <c:pt idx="19">
                  <c:v>-2.5624642359947214E-2</c:v>
                </c:pt>
                <c:pt idx="20">
                  <c:v>1.6176275861830236E-2</c:v>
                </c:pt>
                <c:pt idx="21">
                  <c:v>2.6568428708876324E-2</c:v>
                </c:pt>
                <c:pt idx="22">
                  <c:v>5.3931369179668787E-2</c:v>
                </c:pt>
                <c:pt idx="23">
                  <c:v>0.10546645172744817</c:v>
                </c:pt>
                <c:pt idx="24">
                  <c:v>0.14644840390202107</c:v>
                </c:pt>
                <c:pt idx="25">
                  <c:v>0.14948615244732677</c:v>
                </c:pt>
                <c:pt idx="26">
                  <c:v>8.0547110710290193E-2</c:v>
                </c:pt>
                <c:pt idx="27">
                  <c:v>4.0403205282216081E-2</c:v>
                </c:pt>
                <c:pt idx="28">
                  <c:v>6.2386603815296926E-2</c:v>
                </c:pt>
                <c:pt idx="29">
                  <c:v>5.8475569137005134E-2</c:v>
                </c:pt>
                <c:pt idx="30">
                  <c:v>4.3703732751112279E-2</c:v>
                </c:pt>
                <c:pt idx="31">
                  <c:v>6.9954422611141265E-2</c:v>
                </c:pt>
                <c:pt idx="32">
                  <c:v>7.9140728008616268E-2</c:v>
                </c:pt>
                <c:pt idx="33">
                  <c:v>8.7265219267172345E-2</c:v>
                </c:pt>
                <c:pt idx="34">
                  <c:v>6.4458964329107138E-2</c:v>
                </c:pt>
                <c:pt idx="35">
                  <c:v>3.4212138070745635E-2</c:v>
                </c:pt>
                <c:pt idx="36">
                  <c:v>4.902746388773882E-2</c:v>
                </c:pt>
                <c:pt idx="37">
                  <c:v>0.18611651905807824</c:v>
                </c:pt>
                <c:pt idx="38">
                  <c:v>0.16905515115279135</c:v>
                </c:pt>
                <c:pt idx="39">
                  <c:v>0.18264959860050545</c:v>
                </c:pt>
                <c:pt idx="40">
                  <c:v>0.19341577030649026</c:v>
                </c:pt>
                <c:pt idx="41">
                  <c:v>0.14328637577621417</c:v>
                </c:pt>
                <c:pt idx="42">
                  <c:v>5.1123111216664352E-2</c:v>
                </c:pt>
                <c:pt idx="43">
                  <c:v>7.1417742010565721E-2</c:v>
                </c:pt>
                <c:pt idx="44">
                  <c:v>6.9331750033167383E-2</c:v>
                </c:pt>
                <c:pt idx="45">
                  <c:v>8.6780931323525712E-2</c:v>
                </c:pt>
                <c:pt idx="46">
                  <c:v>2.8359411985352745E-2</c:v>
                </c:pt>
                <c:pt idx="47">
                  <c:v>4.7235544963799558E-2</c:v>
                </c:pt>
                <c:pt idx="48">
                  <c:v>4.8755991481150618E-2</c:v>
                </c:pt>
                <c:pt idx="49">
                  <c:v>2.5605172454052028E-2</c:v>
                </c:pt>
                <c:pt idx="50">
                  <c:v>7.4155119960186422E-2</c:v>
                </c:pt>
                <c:pt idx="51">
                  <c:v>-2.7512217307116615E-2</c:v>
                </c:pt>
              </c:numCache>
            </c:numRef>
          </c:val>
        </c:ser>
        <c:ser>
          <c:idx val="1"/>
          <c:order val="2"/>
          <c:tx>
            <c:strRef>
              <c:f>Comp!$AO$3</c:f>
              <c:strCache>
                <c:ptCount val="1"/>
                <c:pt idx="0">
                  <c:v>CAGR P (lhs)</c:v>
                </c:pt>
              </c:strCache>
            </c:strRef>
          </c:tx>
          <c:spPr>
            <a:solidFill>
              <a:schemeClr val="accent2"/>
            </a:solidFill>
            <a:ln>
              <a:noFill/>
            </a:ln>
            <a:effectLst/>
          </c:spPr>
          <c:invertIfNegative val="0"/>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O$4:$AO$55</c:f>
              <c:numCache>
                <c:formatCode>0.0%</c:formatCode>
                <c:ptCount val="52"/>
                <c:pt idx="0">
                  <c:v>-2.8357492145422269E-2</c:v>
                </c:pt>
                <c:pt idx="1">
                  <c:v>-3.8534307561015835E-2</c:v>
                </c:pt>
                <c:pt idx="2">
                  <c:v>-5.4258390996824168E-2</c:v>
                </c:pt>
                <c:pt idx="3">
                  <c:v>-6.9208310013867402E-3</c:v>
                </c:pt>
                <c:pt idx="4">
                  <c:v>2.1673230609294825E-2</c:v>
                </c:pt>
                <c:pt idx="5">
                  <c:v>5.918962142656703E-2</c:v>
                </c:pt>
                <c:pt idx="6">
                  <c:v>4.5101603934038836E-2</c:v>
                </c:pt>
                <c:pt idx="7">
                  <c:v>8.8114240026304635E-3</c:v>
                </c:pt>
                <c:pt idx="8">
                  <c:v>-2.8084162142903546E-2</c:v>
                </c:pt>
                <c:pt idx="9">
                  <c:v>-5.183856326508296E-2</c:v>
                </c:pt>
                <c:pt idx="10">
                  <c:v>-5.0696212658551398E-2</c:v>
                </c:pt>
                <c:pt idx="11">
                  <c:v>-5.4077127623096244E-2</c:v>
                </c:pt>
                <c:pt idx="12">
                  <c:v>-7.4667901855169139E-2</c:v>
                </c:pt>
                <c:pt idx="13">
                  <c:v>-7.2343462181117646E-2</c:v>
                </c:pt>
                <c:pt idx="14">
                  <c:v>-1.1978208649246147E-2</c:v>
                </c:pt>
                <c:pt idx="15">
                  <c:v>-6.7851637322423608E-3</c:v>
                </c:pt>
                <c:pt idx="16">
                  <c:v>-2.1785997945659052E-2</c:v>
                </c:pt>
                <c:pt idx="17">
                  <c:v>-7.1725749874155253E-2</c:v>
                </c:pt>
                <c:pt idx="18">
                  <c:v>-9.9819496688237974E-2</c:v>
                </c:pt>
                <c:pt idx="19">
                  <c:v>-0.1401668220050214</c:v>
                </c:pt>
                <c:pt idx="20">
                  <c:v>-0.10215371599386325</c:v>
                </c:pt>
                <c:pt idx="21">
                  <c:v>-4.9673954156036926E-2</c:v>
                </c:pt>
                <c:pt idx="22">
                  <c:v>-4.0164251557793351E-2</c:v>
                </c:pt>
                <c:pt idx="23">
                  <c:v>5.4696661495536869E-3</c:v>
                </c:pt>
                <c:pt idx="24">
                  <c:v>-3.2941464779776664E-2</c:v>
                </c:pt>
                <c:pt idx="25">
                  <c:v>-4.3101261554759129E-2</c:v>
                </c:pt>
                <c:pt idx="26">
                  <c:v>-6.0380017532295716E-2</c:v>
                </c:pt>
                <c:pt idx="27">
                  <c:v>-3.9480526405202498E-2</c:v>
                </c:pt>
                <c:pt idx="28">
                  <c:v>-1.8450239296384341E-2</c:v>
                </c:pt>
                <c:pt idx="29">
                  <c:v>-4.8019189064765211E-3</c:v>
                </c:pt>
                <c:pt idx="30">
                  <c:v>-8.6091223417673612E-3</c:v>
                </c:pt>
                <c:pt idx="31">
                  <c:v>-6.1420421370572686E-3</c:v>
                </c:pt>
                <c:pt idx="32">
                  <c:v>-3.144250946942051E-2</c:v>
                </c:pt>
                <c:pt idx="33">
                  <c:v>-5.9205020400172392E-2</c:v>
                </c:pt>
                <c:pt idx="34">
                  <c:v>-8.3524008931100124E-2</c:v>
                </c:pt>
                <c:pt idx="35">
                  <c:v>-6.9930432956625488E-2</c:v>
                </c:pt>
                <c:pt idx="36">
                  <c:v>-6.6664244944882434E-2</c:v>
                </c:pt>
                <c:pt idx="37">
                  <c:v>-5.2045058185430593E-2</c:v>
                </c:pt>
                <c:pt idx="38">
                  <c:v>-6.8693062043927111E-2</c:v>
                </c:pt>
                <c:pt idx="39">
                  <c:v>-8.9647359445393371E-2</c:v>
                </c:pt>
                <c:pt idx="40">
                  <c:v>-0.10140667781591828</c:v>
                </c:pt>
                <c:pt idx="41">
                  <c:v>-8.2670212860805226E-2</c:v>
                </c:pt>
                <c:pt idx="42">
                  <c:v>-4.7823726687127976E-2</c:v>
                </c:pt>
                <c:pt idx="43">
                  <c:v>2.0377062203583263E-2</c:v>
                </c:pt>
                <c:pt idx="44">
                  <c:v>-3.2564135707397024E-2</c:v>
                </c:pt>
                <c:pt idx="45">
                  <c:v>-6.6871101286276269E-2</c:v>
                </c:pt>
                <c:pt idx="46">
                  <c:v>-7.6719188525887994E-2</c:v>
                </c:pt>
                <c:pt idx="47">
                  <c:v>-2.764014761267064E-2</c:v>
                </c:pt>
                <c:pt idx="48">
                  <c:v>-1.0583500050377781E-2</c:v>
                </c:pt>
                <c:pt idx="49">
                  <c:v>1.4121141190391873E-2</c:v>
                </c:pt>
                <c:pt idx="50">
                  <c:v>9.8534065489688238E-3</c:v>
                </c:pt>
                <c:pt idx="51">
                  <c:v>8.9325254566203771E-3</c:v>
                </c:pt>
              </c:numCache>
            </c:numRef>
          </c:val>
        </c:ser>
        <c:dLbls>
          <c:showLegendKey val="0"/>
          <c:showVal val="0"/>
          <c:showCatName val="0"/>
          <c:showSerName val="0"/>
          <c:showPercent val="0"/>
          <c:showBubbleSize val="0"/>
        </c:dLbls>
        <c:gapWidth val="150"/>
        <c:axId val="331627112"/>
        <c:axId val="331626720"/>
      </c:barChart>
      <c:lineChart>
        <c:grouping val="standard"/>
        <c:varyColors val="0"/>
        <c:ser>
          <c:idx val="0"/>
          <c:order val="0"/>
          <c:tx>
            <c:strRef>
              <c:f>Comp!$AL$3</c:f>
              <c:strCache>
                <c:ptCount val="1"/>
                <c:pt idx="0">
                  <c:v>Weekly Avg Price 2012-2018 (rhs)</c:v>
                </c:pt>
              </c:strCache>
            </c:strRef>
          </c:tx>
          <c:spPr>
            <a:ln w="28575" cap="rnd">
              <a:solidFill>
                <a:schemeClr val="accent1"/>
              </a:solidFill>
              <a:round/>
            </a:ln>
            <a:effectLst/>
          </c:spPr>
          <c:marker>
            <c:symbol val="none"/>
          </c:marker>
          <c:cat>
            <c:numRef>
              <c:f>Comp!$B$4:$B$55</c:f>
              <c:numCache>
                <c:formatCode>General</c:formatCode>
                <c:ptCount val="52"/>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numCache>
            </c:numRef>
          </c:cat>
          <c:val>
            <c:numRef>
              <c:f>Comp!$AL$4:$AL$55</c:f>
              <c:numCache>
                <c:formatCode>0.00</c:formatCode>
                <c:ptCount val="52"/>
                <c:pt idx="0">
                  <c:v>7.6428571428571432</c:v>
                </c:pt>
                <c:pt idx="1">
                  <c:v>9.1428571428571423</c:v>
                </c:pt>
                <c:pt idx="2">
                  <c:v>11.785714285714286</c:v>
                </c:pt>
                <c:pt idx="3">
                  <c:v>12</c:v>
                </c:pt>
                <c:pt idx="4">
                  <c:v>11.285714285714285</c:v>
                </c:pt>
                <c:pt idx="5">
                  <c:v>10.642857142857142</c:v>
                </c:pt>
                <c:pt idx="6">
                  <c:v>10.357142857142858</c:v>
                </c:pt>
                <c:pt idx="7">
                  <c:v>9.7142857142857153</c:v>
                </c:pt>
                <c:pt idx="8">
                  <c:v>10.214285714285715</c:v>
                </c:pt>
                <c:pt idx="9">
                  <c:v>10.642857142857146</c:v>
                </c:pt>
                <c:pt idx="10">
                  <c:v>12.178571428571431</c:v>
                </c:pt>
                <c:pt idx="11">
                  <c:v>12.053571428571431</c:v>
                </c:pt>
                <c:pt idx="12">
                  <c:v>12.732142857142858</c:v>
                </c:pt>
                <c:pt idx="13">
                  <c:v>13.071428571428569</c:v>
                </c:pt>
                <c:pt idx="14">
                  <c:v>13.142857142857142</c:v>
                </c:pt>
                <c:pt idx="15">
                  <c:v>12.874999999999998</c:v>
                </c:pt>
                <c:pt idx="16">
                  <c:v>12.571428571428569</c:v>
                </c:pt>
                <c:pt idx="17">
                  <c:v>11.964285714285714</c:v>
                </c:pt>
                <c:pt idx="18">
                  <c:v>11.321428571428573</c:v>
                </c:pt>
                <c:pt idx="19">
                  <c:v>9.8928571428571441</c:v>
                </c:pt>
                <c:pt idx="20">
                  <c:v>10.267857142857142</c:v>
                </c:pt>
                <c:pt idx="21">
                  <c:v>11.696428571428573</c:v>
                </c:pt>
                <c:pt idx="22">
                  <c:v>12.839285714285715</c:v>
                </c:pt>
                <c:pt idx="23">
                  <c:v>15.38095238095238</c:v>
                </c:pt>
                <c:pt idx="24">
                  <c:v>16.327380952380953</c:v>
                </c:pt>
                <c:pt idx="25">
                  <c:v>15.720238095238093</c:v>
                </c:pt>
                <c:pt idx="26">
                  <c:v>15.272619047619049</c:v>
                </c:pt>
                <c:pt idx="27">
                  <c:v>15.055952380952384</c:v>
                </c:pt>
                <c:pt idx="28">
                  <c:v>15.149404761904762</c:v>
                </c:pt>
                <c:pt idx="29">
                  <c:v>15.032738095238097</c:v>
                </c:pt>
                <c:pt idx="30">
                  <c:v>14.794642857142859</c:v>
                </c:pt>
                <c:pt idx="31">
                  <c:v>14.101190476190478</c:v>
                </c:pt>
                <c:pt idx="32">
                  <c:v>13.613095238095239</c:v>
                </c:pt>
                <c:pt idx="33">
                  <c:v>13.547619047619046</c:v>
                </c:pt>
                <c:pt idx="34">
                  <c:v>13.80952380952381</c:v>
                </c:pt>
                <c:pt idx="35">
                  <c:v>14.261904761904763</c:v>
                </c:pt>
                <c:pt idx="36">
                  <c:v>15.357142857142858</c:v>
                </c:pt>
                <c:pt idx="37">
                  <c:v>16.779761904761905</c:v>
                </c:pt>
                <c:pt idx="38">
                  <c:v>16.470238095238091</c:v>
                </c:pt>
                <c:pt idx="39">
                  <c:v>15.416666666666668</c:v>
                </c:pt>
                <c:pt idx="40">
                  <c:v>13.24513888888889</c:v>
                </c:pt>
                <c:pt idx="41">
                  <c:v>12.174404761904764</c:v>
                </c:pt>
                <c:pt idx="42">
                  <c:v>11.779761904761905</c:v>
                </c:pt>
                <c:pt idx="43">
                  <c:v>10.857142857142856</c:v>
                </c:pt>
                <c:pt idx="44">
                  <c:v>10.678571428571429</c:v>
                </c:pt>
                <c:pt idx="45">
                  <c:v>11.464285714285715</c:v>
                </c:pt>
                <c:pt idx="46">
                  <c:v>10.678571428571429</c:v>
                </c:pt>
                <c:pt idx="47">
                  <c:v>10</c:v>
                </c:pt>
                <c:pt idx="48">
                  <c:v>9.5</c:v>
                </c:pt>
                <c:pt idx="49">
                  <c:v>8.9166666666666679</c:v>
                </c:pt>
                <c:pt idx="50">
                  <c:v>8.5</c:v>
                </c:pt>
                <c:pt idx="51">
                  <c:v>7.6145833333333321</c:v>
                </c:pt>
              </c:numCache>
            </c:numRef>
          </c:val>
          <c:smooth val="0"/>
        </c:ser>
        <c:dLbls>
          <c:showLegendKey val="0"/>
          <c:showVal val="0"/>
          <c:showCatName val="0"/>
          <c:showSerName val="0"/>
          <c:showPercent val="0"/>
          <c:showBubbleSize val="0"/>
        </c:dLbls>
        <c:marker val="1"/>
        <c:smooth val="0"/>
        <c:axId val="331626328"/>
        <c:axId val="331625936"/>
      </c:lineChart>
      <c:valAx>
        <c:axId val="331625936"/>
        <c:scaling>
          <c:orientation val="minMax"/>
          <c:max val="18"/>
        </c:scaling>
        <c:delete val="0"/>
        <c:axPos val="r"/>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USD/Flat</a:t>
                </a:r>
              </a:p>
            </c:rich>
          </c:tx>
          <c:layout>
            <c:manualLayout>
              <c:xMode val="edge"/>
              <c:yMode val="edge"/>
              <c:x val="0.9015086698608259"/>
              <c:y val="1.9302274715660543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31626328"/>
        <c:crosses val="max"/>
        <c:crossBetween val="between"/>
      </c:valAx>
      <c:catAx>
        <c:axId val="331626328"/>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dirty="0"/>
                  <a:t>Week</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31625936"/>
        <c:crosses val="autoZero"/>
        <c:auto val="1"/>
        <c:lblAlgn val="ctr"/>
        <c:lblOffset val="100"/>
        <c:tickLblSkip val="3"/>
        <c:tickMarkSkip val="1"/>
        <c:noMultiLvlLbl val="0"/>
      </c:catAx>
      <c:valAx>
        <c:axId val="331626720"/>
        <c:scaling>
          <c:orientation val="minMax"/>
          <c:max val="0.2"/>
          <c:min val="-0.15000000000000002"/>
        </c:scaling>
        <c:delete val="0"/>
        <c:axPos val="l"/>
        <c:title>
          <c:tx>
            <c:rich>
              <a:bodyPr rot="0" spcFirstLastPara="1" vertOverflow="ellipsis" wrap="square" anchor="ctr" anchorCtr="1"/>
              <a:lstStyle/>
              <a:p>
                <a:pPr>
                  <a:defRPr sz="1400" b="0" i="0" u="none" strike="noStrike" kern="1200" baseline="0">
                    <a:solidFill>
                      <a:schemeClr val="tx1"/>
                    </a:solidFill>
                    <a:latin typeface="+mn-lt"/>
                    <a:ea typeface="+mn-ea"/>
                    <a:cs typeface="+mn-cs"/>
                  </a:defRPr>
                </a:pPr>
                <a:r>
                  <a:rPr lang="en-GB" dirty="0"/>
                  <a:t>CAGR</a:t>
                </a:r>
                <a:r>
                  <a:rPr lang="en-GB" baseline="0" dirty="0"/>
                  <a:t> %</a:t>
                </a:r>
                <a:endParaRPr lang="en-GB" dirty="0"/>
              </a:p>
            </c:rich>
          </c:tx>
          <c:layout>
            <c:manualLayout>
              <c:xMode val="edge"/>
              <c:yMode val="edge"/>
              <c:x val="1.4259639516313028E-3"/>
              <c:y val="3.3769867308253154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solidFill>
                  <a:latin typeface="+mn-lt"/>
                  <a:ea typeface="+mn-ea"/>
                  <a:cs typeface="+mn-cs"/>
                </a:defRPr>
              </a:pPr>
              <a:endParaRPr lang="en-US"/>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31627112"/>
        <c:crosses val="autoZero"/>
        <c:crossBetween val="between"/>
      </c:valAx>
      <c:catAx>
        <c:axId val="331627112"/>
        <c:scaling>
          <c:orientation val="minMax"/>
        </c:scaling>
        <c:delete val="1"/>
        <c:axPos val="b"/>
        <c:numFmt formatCode="General" sourceLinked="1"/>
        <c:majorTickMark val="out"/>
        <c:minorTickMark val="none"/>
        <c:tickLblPos val="nextTo"/>
        <c:crossAx val="331626720"/>
        <c:crosses val="autoZero"/>
        <c:auto val="1"/>
        <c:lblAlgn val="ctr"/>
        <c:lblOffset val="100"/>
        <c:noMultiLvlLbl val="0"/>
      </c:catAx>
      <c:spPr>
        <a:noFill/>
        <a:ln>
          <a:noFill/>
        </a:ln>
        <a:effectLst/>
      </c:spPr>
    </c:plotArea>
    <c:legend>
      <c:legendPos val="b"/>
      <c:layout>
        <c:manualLayout>
          <c:xMode val="edge"/>
          <c:yMode val="edge"/>
          <c:x val="6.3544106167056982E-2"/>
          <c:y val="0.95012757232721667"/>
          <c:w val="0.84087465501238579"/>
          <c:h val="4.891180232810915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2279" tIns="46139" rIns="92279" bIns="46139" rtlCol="0"/>
          <a:lstStyle>
            <a:lvl1pPr algn="l">
              <a:defRPr sz="900" b="1">
                <a:latin typeface="Verdana" pitchFamily="34" charset="0"/>
              </a:defRPr>
            </a:lvl1pPr>
          </a:lstStyle>
          <a:p>
            <a:pPr>
              <a:defRPr/>
            </a:pPr>
            <a:r>
              <a:rPr lang="en-GB" dirty="0"/>
              <a:t>Insert your presentation title here</a:t>
            </a:r>
          </a:p>
          <a:p>
            <a:pPr>
              <a:defRPr/>
            </a:pPr>
            <a:endParaRPr lang="en-GB" dirty="0"/>
          </a:p>
        </p:txBody>
      </p:sp>
      <p:sp>
        <p:nvSpPr>
          <p:cNvPr id="3" name="Date Placeholder 2"/>
          <p:cNvSpPr>
            <a:spLocks noGrp="1"/>
          </p:cNvSpPr>
          <p:nvPr>
            <p:ph type="dt" sz="quarter" idx="1"/>
          </p:nvPr>
        </p:nvSpPr>
        <p:spPr>
          <a:xfrm>
            <a:off x="3970940" y="1"/>
            <a:ext cx="3037840" cy="464820"/>
          </a:xfrm>
          <a:prstGeom prst="rect">
            <a:avLst/>
          </a:prstGeom>
        </p:spPr>
        <p:txBody>
          <a:bodyPr vert="horz" lIns="92279" tIns="46139" rIns="92279" bIns="46139" rtlCol="0"/>
          <a:lstStyle>
            <a:lvl1pPr algn="r">
              <a:defRPr sz="1000">
                <a:latin typeface="Verdana" pitchFamily="34" charset="0"/>
              </a:defRPr>
            </a:lvl1pPr>
          </a:lstStyle>
          <a:p>
            <a:pPr>
              <a:defRPr/>
            </a:pPr>
            <a:fld id="{23AE234D-9952-4432-99D9-0543DDA2B9FC}" type="datetimeFigureOut">
              <a:rPr lang="en-US"/>
              <a:pPr>
                <a:defRPr/>
              </a:pPr>
              <a:t>2/20/2019</a:t>
            </a:fld>
            <a:endParaRPr lang="en-GB"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2279" tIns="46139" rIns="92279" bIns="46139" rtlCol="0" anchor="b"/>
          <a:lstStyle>
            <a:lvl1pPr algn="l">
              <a:defRPr sz="1000" b="1">
                <a:latin typeface="Verdana" pitchFamily="34" charset="0"/>
              </a:defRPr>
            </a:lvl1pPr>
          </a:lstStyle>
          <a:p>
            <a:pPr>
              <a:defRPr/>
            </a:pPr>
            <a:endParaRPr lang="en-GB" dirty="0"/>
          </a:p>
        </p:txBody>
      </p:sp>
      <p:sp>
        <p:nvSpPr>
          <p:cNvPr id="5" name="Slide Number Placeholder 4"/>
          <p:cNvSpPr>
            <a:spLocks noGrp="1"/>
          </p:cNvSpPr>
          <p:nvPr>
            <p:ph type="sldNum" sz="quarter" idx="3"/>
          </p:nvPr>
        </p:nvSpPr>
        <p:spPr>
          <a:xfrm>
            <a:off x="3970940" y="8829967"/>
            <a:ext cx="3037840" cy="464820"/>
          </a:xfrm>
          <a:prstGeom prst="rect">
            <a:avLst/>
          </a:prstGeom>
        </p:spPr>
        <p:txBody>
          <a:bodyPr vert="horz" lIns="92279" tIns="46139" rIns="92279" bIns="46139" rtlCol="0" anchor="b"/>
          <a:lstStyle>
            <a:lvl1pPr algn="r">
              <a:defRPr sz="1000">
                <a:latin typeface="Verdana" pitchFamily="34" charset="0"/>
              </a:defRPr>
            </a:lvl1pPr>
          </a:lstStyle>
          <a:p>
            <a:pPr>
              <a:defRPr/>
            </a:pPr>
            <a:fld id="{ADD24103-421B-4764-A1E2-02B99982DFA5}" type="slidenum">
              <a:rPr lang="en-GB"/>
              <a:pPr>
                <a:defRPr/>
              </a:pPr>
              <a:t>‹#›</a:t>
            </a:fld>
            <a:endParaRPr lang="en-GB" dirty="0"/>
          </a:p>
        </p:txBody>
      </p:sp>
    </p:spTree>
    <p:extLst>
      <p:ext uri="{BB962C8B-B14F-4D97-AF65-F5344CB8AC3E}">
        <p14:creationId xmlns:p14="http://schemas.microsoft.com/office/powerpoint/2010/main" val="1659953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2279" tIns="46139" rIns="92279" bIns="46139" rtlCol="0"/>
          <a:lstStyle>
            <a:lvl1pPr algn="l" fontAlgn="auto">
              <a:spcBef>
                <a:spcPts val="0"/>
              </a:spcBef>
              <a:spcAft>
                <a:spcPts val="0"/>
              </a:spcAft>
              <a:defRPr sz="900" b="1">
                <a:latin typeface="Verdana" pitchFamily="34" charset="0"/>
              </a:defRPr>
            </a:lvl1pPr>
          </a:lstStyle>
          <a:p>
            <a:pPr>
              <a:defRPr/>
            </a:pPr>
            <a:r>
              <a:rPr lang="en-GB" dirty="0"/>
              <a:t>Insert your presentation title here</a:t>
            </a:r>
          </a:p>
          <a:p>
            <a:pPr>
              <a:defRPr/>
            </a:pPr>
            <a:endParaRPr lang="en-GB" dirty="0"/>
          </a:p>
        </p:txBody>
      </p:sp>
      <p:sp>
        <p:nvSpPr>
          <p:cNvPr id="3" name="Date Placeholder 2"/>
          <p:cNvSpPr>
            <a:spLocks noGrp="1"/>
          </p:cNvSpPr>
          <p:nvPr>
            <p:ph type="dt" idx="1"/>
          </p:nvPr>
        </p:nvSpPr>
        <p:spPr>
          <a:xfrm>
            <a:off x="3970940" y="1"/>
            <a:ext cx="3037840" cy="464820"/>
          </a:xfrm>
          <a:prstGeom prst="rect">
            <a:avLst/>
          </a:prstGeom>
        </p:spPr>
        <p:txBody>
          <a:bodyPr vert="horz" lIns="92279" tIns="46139" rIns="92279" bIns="46139" rtlCol="0"/>
          <a:lstStyle>
            <a:lvl1pPr algn="r" fontAlgn="auto">
              <a:spcBef>
                <a:spcPts val="0"/>
              </a:spcBef>
              <a:spcAft>
                <a:spcPts val="0"/>
              </a:spcAft>
              <a:defRPr sz="1000">
                <a:latin typeface="Verdana" pitchFamily="34" charset="0"/>
              </a:defRPr>
            </a:lvl1pPr>
          </a:lstStyle>
          <a:p>
            <a:pPr>
              <a:defRPr/>
            </a:pPr>
            <a:fld id="{6524FD12-44F4-49F1-9150-ADBB104C06E8}" type="datetimeFigureOut">
              <a:rPr lang="en-US"/>
              <a:pPr>
                <a:defRPr/>
              </a:pPr>
              <a:t>2/20/2019</a:t>
            </a:fld>
            <a:endParaRPr lang="en-GB" dirty="0"/>
          </a:p>
        </p:txBody>
      </p:sp>
      <p:sp>
        <p:nvSpPr>
          <p:cNvPr id="4" name="Slide Image Placeholder 3"/>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lIns="92279" tIns="46139" rIns="92279" bIns="46139" rtlCol="0" anchor="ctr"/>
          <a:lstStyle/>
          <a:p>
            <a:pPr lvl="0"/>
            <a:endParaRPr lang="en-GB" noProof="0" dirty="0" smtClean="0"/>
          </a:p>
        </p:txBody>
      </p:sp>
      <p:sp>
        <p:nvSpPr>
          <p:cNvPr id="5" name="Notes Placeholder 4"/>
          <p:cNvSpPr>
            <a:spLocks noGrp="1"/>
          </p:cNvSpPr>
          <p:nvPr>
            <p:ph type="body" sz="quarter" idx="3"/>
          </p:nvPr>
        </p:nvSpPr>
        <p:spPr>
          <a:xfrm>
            <a:off x="701041" y="4415792"/>
            <a:ext cx="5608320" cy="4183380"/>
          </a:xfrm>
          <a:prstGeom prst="rect">
            <a:avLst/>
          </a:prstGeom>
        </p:spPr>
        <p:txBody>
          <a:bodyPr vert="horz" wrap="square" lIns="92279" tIns="46139" rIns="92279" bIns="46139"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2279" tIns="46139" rIns="92279" bIns="46139" rtlCol="0" anchor="b"/>
          <a:lstStyle>
            <a:lvl1pPr algn="l" fontAlgn="auto">
              <a:spcBef>
                <a:spcPts val="0"/>
              </a:spcBef>
              <a:spcAft>
                <a:spcPts val="0"/>
              </a:spcAft>
              <a:defRPr sz="900" b="1">
                <a:latin typeface="Verdana" pitchFamily="34" charset="0"/>
              </a:defRPr>
            </a:lvl1pPr>
          </a:lstStyle>
          <a:p>
            <a:pPr>
              <a:defRPr/>
            </a:pPr>
            <a:endParaRPr lang="en-GB" dirty="0"/>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2279" tIns="46139" rIns="92279" bIns="46139" rtlCol="0" anchor="b"/>
          <a:lstStyle>
            <a:lvl1pPr algn="r" fontAlgn="auto">
              <a:spcBef>
                <a:spcPts val="0"/>
              </a:spcBef>
              <a:spcAft>
                <a:spcPts val="0"/>
              </a:spcAft>
              <a:defRPr sz="1000">
                <a:latin typeface="Verdana" pitchFamily="34" charset="0"/>
              </a:defRPr>
            </a:lvl1pPr>
          </a:lstStyle>
          <a:p>
            <a:pPr>
              <a:defRPr/>
            </a:pPr>
            <a:fld id="{60B3860A-A264-4CC1-8D94-945B56A81C7D}" type="slidenum">
              <a:rPr lang="en-GB"/>
              <a:pPr>
                <a:defRPr/>
              </a:pPr>
              <a:t>‹#›</a:t>
            </a:fld>
            <a:endParaRPr lang="en-GB" dirty="0"/>
          </a:p>
        </p:txBody>
      </p:sp>
    </p:spTree>
    <p:extLst>
      <p:ext uri="{BB962C8B-B14F-4D97-AF65-F5344CB8AC3E}">
        <p14:creationId xmlns:p14="http://schemas.microsoft.com/office/powerpoint/2010/main" val="3738048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0B3860A-A264-4CC1-8D94-945B56A81C7D}" type="slidenum">
              <a:rPr lang="en-GB" smtClean="0">
                <a:solidFill>
                  <a:prstClr val="black"/>
                </a:solidFill>
              </a:rPr>
              <a:pPr>
                <a:defRPr/>
              </a:pPr>
              <a:t>1</a:t>
            </a:fld>
            <a:endParaRPr lang="en-GB" dirty="0">
              <a:solidFill>
                <a:prstClr val="black"/>
              </a:solidFill>
            </a:endParaRPr>
          </a:p>
        </p:txBody>
      </p:sp>
    </p:spTree>
    <p:extLst>
      <p:ext uri="{BB962C8B-B14F-4D97-AF65-F5344CB8AC3E}">
        <p14:creationId xmlns:p14="http://schemas.microsoft.com/office/powerpoint/2010/main" val="3002027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606425" y="715963"/>
            <a:ext cx="5178425" cy="35861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16130" indent="-275434" eaLnBrk="0" hangingPunct="0">
              <a:defRPr>
                <a:solidFill>
                  <a:schemeClr val="tx1"/>
                </a:solidFill>
                <a:latin typeface="Arial" pitchFamily="34" charset="0"/>
                <a:cs typeface="Arial" pitchFamily="34" charset="0"/>
              </a:defRPr>
            </a:lvl2pPr>
            <a:lvl3pPr marL="1101738" indent="-220348" eaLnBrk="0" hangingPunct="0">
              <a:defRPr>
                <a:solidFill>
                  <a:schemeClr val="tx1"/>
                </a:solidFill>
                <a:latin typeface="Arial" pitchFamily="34" charset="0"/>
                <a:cs typeface="Arial" pitchFamily="34" charset="0"/>
              </a:defRPr>
            </a:lvl3pPr>
            <a:lvl4pPr marL="1542433" indent="-220348" eaLnBrk="0" hangingPunct="0">
              <a:defRPr>
                <a:solidFill>
                  <a:schemeClr val="tx1"/>
                </a:solidFill>
                <a:latin typeface="Arial" pitchFamily="34" charset="0"/>
                <a:cs typeface="Arial" pitchFamily="34" charset="0"/>
              </a:defRPr>
            </a:lvl4pPr>
            <a:lvl5pPr marL="1983128" indent="-220348" eaLnBrk="0" hangingPunct="0">
              <a:defRPr>
                <a:solidFill>
                  <a:schemeClr val="tx1"/>
                </a:solidFill>
                <a:latin typeface="Arial" pitchFamily="34" charset="0"/>
                <a:cs typeface="Arial" pitchFamily="34" charset="0"/>
              </a:defRPr>
            </a:lvl5pPr>
            <a:lvl6pPr marL="2423823" indent="-220348" eaLnBrk="0" fontAlgn="base" hangingPunct="0">
              <a:spcBef>
                <a:spcPct val="0"/>
              </a:spcBef>
              <a:spcAft>
                <a:spcPct val="0"/>
              </a:spcAft>
              <a:defRPr>
                <a:solidFill>
                  <a:schemeClr val="tx1"/>
                </a:solidFill>
                <a:latin typeface="Arial" pitchFamily="34" charset="0"/>
                <a:cs typeface="Arial" pitchFamily="34" charset="0"/>
              </a:defRPr>
            </a:lvl6pPr>
            <a:lvl7pPr marL="2864518" indent="-220348" eaLnBrk="0" fontAlgn="base" hangingPunct="0">
              <a:spcBef>
                <a:spcPct val="0"/>
              </a:spcBef>
              <a:spcAft>
                <a:spcPct val="0"/>
              </a:spcAft>
              <a:defRPr>
                <a:solidFill>
                  <a:schemeClr val="tx1"/>
                </a:solidFill>
                <a:latin typeface="Arial" pitchFamily="34" charset="0"/>
                <a:cs typeface="Arial" pitchFamily="34" charset="0"/>
              </a:defRPr>
            </a:lvl7pPr>
            <a:lvl8pPr marL="3305213" indent="-220348" eaLnBrk="0" fontAlgn="base" hangingPunct="0">
              <a:spcBef>
                <a:spcPct val="0"/>
              </a:spcBef>
              <a:spcAft>
                <a:spcPct val="0"/>
              </a:spcAft>
              <a:defRPr>
                <a:solidFill>
                  <a:schemeClr val="tx1"/>
                </a:solidFill>
                <a:latin typeface="Arial" pitchFamily="34" charset="0"/>
                <a:cs typeface="Arial" pitchFamily="34" charset="0"/>
              </a:defRPr>
            </a:lvl8pPr>
            <a:lvl9pPr marL="3745908" indent="-22034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4C1A45DD-0C66-43EB-AD26-F84D5A958882}" type="slidenum">
              <a:rPr lang="en-GB" altLang="en-US" smtClean="0"/>
              <a:pPr eaLnBrk="1" hangingPunct="1"/>
              <a:t>3</a:t>
            </a:fld>
            <a:endParaRPr lang="en-GB" altLang="en-US" dirty="0" smtClean="0"/>
          </a:p>
        </p:txBody>
      </p:sp>
    </p:spTree>
    <p:extLst>
      <p:ext uri="{BB962C8B-B14F-4D97-AF65-F5344CB8AC3E}">
        <p14:creationId xmlns:p14="http://schemas.microsoft.com/office/powerpoint/2010/main" val="701828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tail Spend-Berries</a:t>
            </a:r>
            <a:r>
              <a:rPr lang="en-US" baseline="0" dirty="0" smtClean="0"/>
              <a:t> #1</a:t>
            </a:r>
          </a:p>
          <a:p>
            <a:r>
              <a:rPr lang="en-US" baseline="0" dirty="0" smtClean="0"/>
              <a:t>Strawberries 45-50% of berry value, 70-75% of berry volume, 71% of households.</a:t>
            </a:r>
          </a:p>
          <a:p>
            <a:r>
              <a:rPr lang="en-US" baseline="0" dirty="0" smtClean="0"/>
              <a:t>Berry retail spend is _____% more than ________:</a:t>
            </a:r>
          </a:p>
          <a:p>
            <a:r>
              <a:rPr lang="en-US" baseline="0" dirty="0" smtClean="0"/>
              <a:t>Bananas 75%</a:t>
            </a:r>
          </a:p>
          <a:p>
            <a:r>
              <a:rPr lang="en-US" baseline="0" dirty="0" smtClean="0"/>
              <a:t>Apples 43%</a:t>
            </a:r>
          </a:p>
          <a:p>
            <a:r>
              <a:rPr lang="en-US" baseline="0" dirty="0" smtClean="0"/>
              <a:t>Citrus 42%, including mandarins &amp; lemons</a:t>
            </a:r>
          </a:p>
          <a:p>
            <a:r>
              <a:rPr lang="en-US" baseline="0" dirty="0" smtClean="0"/>
              <a:t>Avocados 212%</a:t>
            </a:r>
          </a:p>
          <a:p>
            <a:endParaRPr lang="en-GB" dirty="0"/>
          </a:p>
        </p:txBody>
      </p:sp>
      <p:sp>
        <p:nvSpPr>
          <p:cNvPr id="4" name="Slide Number Placeholder 3"/>
          <p:cNvSpPr>
            <a:spLocks noGrp="1"/>
          </p:cNvSpPr>
          <p:nvPr>
            <p:ph type="sldNum" sz="quarter" idx="10"/>
          </p:nvPr>
        </p:nvSpPr>
        <p:spPr/>
        <p:txBody>
          <a:bodyPr/>
          <a:lstStyle/>
          <a:p>
            <a:pPr>
              <a:defRPr/>
            </a:pPr>
            <a:fld id="{60B3860A-A264-4CC1-8D94-945B56A81C7D}" type="slidenum">
              <a:rPr lang="en-GB" smtClean="0"/>
              <a:pPr>
                <a:defRPr/>
              </a:pPr>
              <a:t>4</a:t>
            </a:fld>
            <a:endParaRPr lang="en-GB" dirty="0"/>
          </a:p>
        </p:txBody>
      </p:sp>
    </p:spTree>
    <p:extLst>
      <p:ext uri="{BB962C8B-B14F-4D97-AF65-F5344CB8AC3E}">
        <p14:creationId xmlns:p14="http://schemas.microsoft.com/office/powerpoint/2010/main" val="3409787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60B3860A-A264-4CC1-8D94-945B56A81C7D}" type="slidenum">
              <a:rPr lang="en-GB" smtClean="0"/>
              <a:pPr>
                <a:defRPr/>
              </a:pPr>
              <a:t>5</a:t>
            </a:fld>
            <a:endParaRPr lang="en-GB" dirty="0"/>
          </a:p>
        </p:txBody>
      </p:sp>
    </p:spTree>
    <p:extLst>
      <p:ext uri="{BB962C8B-B14F-4D97-AF65-F5344CB8AC3E}">
        <p14:creationId xmlns:p14="http://schemas.microsoft.com/office/powerpoint/2010/main" val="4074045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tle change: Convenience</a:t>
            </a:r>
            <a:r>
              <a:rPr lang="en-US" baseline="0" dirty="0" smtClean="0"/>
              <a:t> is Que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chart title has different font types. Move the chart title to bottom of the slide and add placeholder for source</a:t>
            </a:r>
          </a:p>
          <a:p>
            <a:r>
              <a:rPr lang="en-US" baseline="0" dirty="0" smtClean="0"/>
              <a:t>1</a:t>
            </a:r>
            <a:r>
              <a:rPr lang="en-US" baseline="30000" dirty="0" smtClean="0"/>
              <a:t>st</a:t>
            </a:r>
            <a:r>
              <a:rPr lang="en-US" baseline="0" dirty="0" smtClean="0"/>
              <a:t> click: left graph comes up </a:t>
            </a:r>
          </a:p>
          <a:p>
            <a:r>
              <a:rPr lang="en-US" baseline="0" dirty="0" smtClean="0"/>
              <a:t>2</a:t>
            </a:r>
            <a:r>
              <a:rPr lang="en-US" baseline="30000" dirty="0" smtClean="0"/>
              <a:t>nd</a:t>
            </a:r>
            <a:r>
              <a:rPr lang="en-US" baseline="0" dirty="0" smtClean="0"/>
              <a:t> click: right graph comes up with a chart title above the right graph “A society of snackers”</a:t>
            </a:r>
          </a:p>
        </p:txBody>
      </p:sp>
      <p:sp>
        <p:nvSpPr>
          <p:cNvPr id="4" name="Slide Number Placeholder 3"/>
          <p:cNvSpPr>
            <a:spLocks noGrp="1"/>
          </p:cNvSpPr>
          <p:nvPr>
            <p:ph type="sldNum" sz="quarter" idx="10"/>
          </p:nvPr>
        </p:nvSpPr>
        <p:spPr/>
        <p:txBody>
          <a:bodyPr/>
          <a:lstStyle/>
          <a:p>
            <a:fld id="{CEA41DA7-A0C1-4E48-8623-52F68D50795B}" type="slidenum">
              <a:rPr lang="en-US" smtClean="0"/>
              <a:t>7</a:t>
            </a:fld>
            <a:endParaRPr lang="en-US" dirty="0"/>
          </a:p>
        </p:txBody>
      </p:sp>
    </p:spTree>
    <p:extLst>
      <p:ext uri="{BB962C8B-B14F-4D97-AF65-F5344CB8AC3E}">
        <p14:creationId xmlns:p14="http://schemas.microsoft.com/office/powerpoint/2010/main" val="3556719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CEA41DA7-A0C1-4E48-8623-52F68D50795B}" type="slidenum">
              <a:rPr lang="en-US" smtClean="0"/>
              <a:t>8</a:t>
            </a:fld>
            <a:endParaRPr lang="en-US" dirty="0"/>
          </a:p>
        </p:txBody>
      </p:sp>
    </p:spTree>
    <p:extLst>
      <p:ext uri="{BB962C8B-B14F-4D97-AF65-F5344CB8AC3E}">
        <p14:creationId xmlns:p14="http://schemas.microsoft.com/office/powerpoint/2010/main" val="2940587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mium not any better</a:t>
            </a:r>
            <a:r>
              <a:rPr lang="en-US" baseline="0" dirty="0" smtClean="0"/>
              <a:t> during SE window</a:t>
            </a:r>
            <a:endParaRPr lang="en-GB" dirty="0"/>
          </a:p>
        </p:txBody>
      </p:sp>
      <p:sp>
        <p:nvSpPr>
          <p:cNvPr id="4" name="Slide Number Placeholder 3"/>
          <p:cNvSpPr>
            <a:spLocks noGrp="1"/>
          </p:cNvSpPr>
          <p:nvPr>
            <p:ph type="sldNum" sz="quarter" idx="10"/>
          </p:nvPr>
        </p:nvSpPr>
        <p:spPr/>
        <p:txBody>
          <a:bodyPr/>
          <a:lstStyle/>
          <a:p>
            <a:pPr>
              <a:defRPr/>
            </a:pPr>
            <a:fld id="{60B3860A-A264-4CC1-8D94-945B56A81C7D}" type="slidenum">
              <a:rPr lang="en-GB" smtClean="0"/>
              <a:pPr>
                <a:defRPr/>
              </a:pPr>
              <a:t>17</a:t>
            </a:fld>
            <a:endParaRPr lang="en-GB" dirty="0"/>
          </a:p>
        </p:txBody>
      </p:sp>
    </p:spTree>
    <p:extLst>
      <p:ext uri="{BB962C8B-B14F-4D97-AF65-F5344CB8AC3E}">
        <p14:creationId xmlns:p14="http://schemas.microsoft.com/office/powerpoint/2010/main" val="3017085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p:spTree>
      <p:nvGrpSpPr>
        <p:cNvPr id="1" name=""/>
        <p:cNvGrpSpPr/>
        <p:nvPr/>
      </p:nvGrpSpPr>
      <p:grpSpPr>
        <a:xfrm>
          <a:off x="0" y="0"/>
          <a:ext cx="0" cy="0"/>
          <a:chOff x="0" y="0"/>
          <a:chExt cx="0" cy="0"/>
        </a:xfrm>
      </p:grpSpPr>
      <p:grpSp>
        <p:nvGrpSpPr>
          <p:cNvPr id="8" name="Group 8"/>
          <p:cNvGrpSpPr>
            <a:grpSpLocks/>
          </p:cNvGrpSpPr>
          <p:nvPr userDrawn="1"/>
        </p:nvGrpSpPr>
        <p:grpSpPr bwMode="auto">
          <a:xfrm>
            <a:off x="150813" y="-819150"/>
            <a:ext cx="647700" cy="719137"/>
            <a:chOff x="160506" y="-818892"/>
            <a:chExt cx="648072" cy="719500"/>
          </a:xfrm>
        </p:grpSpPr>
        <p:cxnSp>
          <p:nvCxnSpPr>
            <p:cNvPr id="9" name="Straight Arrow Connector 8"/>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11"/>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11" name="Group 12"/>
          <p:cNvGrpSpPr>
            <a:grpSpLocks/>
          </p:cNvGrpSpPr>
          <p:nvPr userDrawn="1"/>
        </p:nvGrpSpPr>
        <p:grpSpPr bwMode="auto">
          <a:xfrm>
            <a:off x="-1431925" y="1009650"/>
            <a:ext cx="1338262" cy="214313"/>
            <a:chOff x="-1563724" y="81191"/>
            <a:chExt cx="1338744" cy="215444"/>
          </a:xfrm>
        </p:grpSpPr>
        <p:cxnSp>
          <p:nvCxnSpPr>
            <p:cNvPr id="12" name="Straight Arrow Connector 11"/>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4"/>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6.40</a:t>
              </a:r>
            </a:p>
          </p:txBody>
        </p:sp>
      </p:grpSp>
      <p:grpSp>
        <p:nvGrpSpPr>
          <p:cNvPr id="14" name="Group 16"/>
          <p:cNvGrpSpPr>
            <a:grpSpLocks/>
          </p:cNvGrpSpPr>
          <p:nvPr userDrawn="1"/>
        </p:nvGrpSpPr>
        <p:grpSpPr bwMode="auto">
          <a:xfrm>
            <a:off x="10066338" y="858838"/>
            <a:ext cx="1381125" cy="215900"/>
            <a:chOff x="10065568" y="797397"/>
            <a:chExt cx="1382640" cy="215444"/>
          </a:xfrm>
        </p:grpSpPr>
        <p:cxnSp>
          <p:nvCxnSpPr>
            <p:cNvPr id="15" name="Straight Arrow Connector 14"/>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7"/>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6.80</a:t>
              </a:r>
            </a:p>
          </p:txBody>
        </p:sp>
      </p:grpSp>
      <p:grpSp>
        <p:nvGrpSpPr>
          <p:cNvPr id="17" name="Group 20"/>
          <p:cNvGrpSpPr>
            <a:grpSpLocks/>
          </p:cNvGrpSpPr>
          <p:nvPr userDrawn="1"/>
        </p:nvGrpSpPr>
        <p:grpSpPr bwMode="auto">
          <a:xfrm>
            <a:off x="10066338" y="1217613"/>
            <a:ext cx="1381125" cy="215900"/>
            <a:chOff x="10065568" y="797397"/>
            <a:chExt cx="1382640" cy="215444"/>
          </a:xfrm>
        </p:grpSpPr>
        <p:cxnSp>
          <p:nvCxnSpPr>
            <p:cNvPr id="19" name="Straight Arrow Connector 18"/>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20"/>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5.80</a:t>
              </a:r>
            </a:p>
          </p:txBody>
        </p:sp>
      </p:grpSp>
      <p:grpSp>
        <p:nvGrpSpPr>
          <p:cNvPr id="21" name="Group 23"/>
          <p:cNvGrpSpPr>
            <a:grpSpLocks/>
          </p:cNvGrpSpPr>
          <p:nvPr userDrawn="1"/>
        </p:nvGrpSpPr>
        <p:grpSpPr bwMode="auto">
          <a:xfrm>
            <a:off x="-1431925" y="3597275"/>
            <a:ext cx="1338262" cy="215900"/>
            <a:chOff x="-1563724" y="81191"/>
            <a:chExt cx="1338744" cy="215444"/>
          </a:xfrm>
        </p:grpSpPr>
        <p:cxnSp>
          <p:nvCxnSpPr>
            <p:cNvPr id="22" name="Straight Arrow Connector 21"/>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3"/>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0.80</a:t>
              </a:r>
            </a:p>
          </p:txBody>
        </p:sp>
      </p:grpSp>
      <p:grpSp>
        <p:nvGrpSpPr>
          <p:cNvPr id="24" name="Group 26"/>
          <p:cNvGrpSpPr>
            <a:grpSpLocks/>
          </p:cNvGrpSpPr>
          <p:nvPr userDrawn="1"/>
        </p:nvGrpSpPr>
        <p:grpSpPr bwMode="auto">
          <a:xfrm>
            <a:off x="10109200" y="3738563"/>
            <a:ext cx="1382713" cy="215900"/>
            <a:chOff x="10065568" y="797397"/>
            <a:chExt cx="1382640" cy="215444"/>
          </a:xfrm>
        </p:grpSpPr>
        <p:cxnSp>
          <p:nvCxnSpPr>
            <p:cNvPr id="25" name="Straight Arrow Connector 24"/>
            <p:cNvCxnSpPr/>
            <p:nvPr userDrawn="1"/>
          </p:nvCxnSpPr>
          <p:spPr>
            <a:xfrm flipH="1">
              <a:off x="10065568" y="908287"/>
              <a:ext cx="64766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6"/>
            <p:cNvSpPr txBox="1">
              <a:spLocks noChangeArrowheads="1"/>
            </p:cNvSpPr>
            <p:nvPr userDrawn="1"/>
          </p:nvSpPr>
          <p:spPr bwMode="auto">
            <a:xfrm>
              <a:off x="10800542" y="797397"/>
              <a:ext cx="6476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1.20</a:t>
              </a:r>
            </a:p>
          </p:txBody>
        </p:sp>
      </p:grpSp>
      <p:grpSp>
        <p:nvGrpSpPr>
          <p:cNvPr id="27" name="Group 29"/>
          <p:cNvGrpSpPr>
            <a:grpSpLocks/>
          </p:cNvGrpSpPr>
          <p:nvPr userDrawn="1"/>
        </p:nvGrpSpPr>
        <p:grpSpPr bwMode="auto">
          <a:xfrm>
            <a:off x="-1431925" y="6118225"/>
            <a:ext cx="1338262" cy="215900"/>
            <a:chOff x="-1563724" y="81191"/>
            <a:chExt cx="1338744" cy="215444"/>
          </a:xfrm>
        </p:grpSpPr>
        <p:cxnSp>
          <p:nvCxnSpPr>
            <p:cNvPr id="28" name="Straight Arrow Connector 27"/>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9"/>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7.80</a:t>
              </a:r>
            </a:p>
          </p:txBody>
        </p:sp>
      </p:grpSp>
      <p:grpSp>
        <p:nvGrpSpPr>
          <p:cNvPr id="30" name="Group 32"/>
          <p:cNvGrpSpPr>
            <a:grpSpLocks/>
          </p:cNvGrpSpPr>
          <p:nvPr userDrawn="1"/>
        </p:nvGrpSpPr>
        <p:grpSpPr bwMode="auto">
          <a:xfrm>
            <a:off x="-1431925" y="6481763"/>
            <a:ext cx="1338262" cy="215900"/>
            <a:chOff x="-1563724" y="81191"/>
            <a:chExt cx="1338744" cy="215444"/>
          </a:xfrm>
        </p:grpSpPr>
        <p:cxnSp>
          <p:nvCxnSpPr>
            <p:cNvPr id="31" name="Straight Arrow Connector 3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80</a:t>
              </a:r>
            </a:p>
          </p:txBody>
        </p:sp>
      </p:grpSp>
      <p:grpSp>
        <p:nvGrpSpPr>
          <p:cNvPr id="33" name="Group 35"/>
          <p:cNvGrpSpPr>
            <a:grpSpLocks/>
          </p:cNvGrpSpPr>
          <p:nvPr userDrawn="1"/>
        </p:nvGrpSpPr>
        <p:grpSpPr bwMode="auto">
          <a:xfrm>
            <a:off x="-1431925" y="74613"/>
            <a:ext cx="1338262" cy="214312"/>
            <a:chOff x="-1563724" y="81191"/>
            <a:chExt cx="1338744" cy="215444"/>
          </a:xfrm>
        </p:grpSpPr>
        <p:cxnSp>
          <p:nvCxnSpPr>
            <p:cNvPr id="34" name="Straight Arrow Connector 33"/>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5"/>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9.00</a:t>
              </a:r>
            </a:p>
          </p:txBody>
        </p:sp>
      </p:grpSp>
      <p:grpSp>
        <p:nvGrpSpPr>
          <p:cNvPr id="36" name="Group 38"/>
          <p:cNvGrpSpPr>
            <a:grpSpLocks/>
          </p:cNvGrpSpPr>
          <p:nvPr userDrawn="1"/>
        </p:nvGrpSpPr>
        <p:grpSpPr bwMode="auto">
          <a:xfrm>
            <a:off x="4557713" y="-819150"/>
            <a:ext cx="647700" cy="719137"/>
            <a:chOff x="312906" y="-666492"/>
            <a:chExt cx="648072" cy="719500"/>
          </a:xfrm>
        </p:grpSpPr>
        <p:cxnSp>
          <p:nvCxnSpPr>
            <p:cNvPr id="37" name="Straight Arrow Connector 36"/>
            <p:cNvCxnSpPr/>
            <p:nvPr userDrawn="1"/>
          </p:nvCxnSpPr>
          <p:spPr>
            <a:xfrm>
              <a:off x="635353" y="-4504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8"/>
            <p:cNvSpPr txBox="1">
              <a:spLocks noChangeArrowheads="1"/>
            </p:cNvSpPr>
            <p:nvPr userDrawn="1"/>
          </p:nvSpPr>
          <p:spPr bwMode="auto">
            <a:xfrm>
              <a:off x="312906" y="-6664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39" name="Group 84"/>
          <p:cNvGrpSpPr>
            <a:grpSpLocks/>
          </p:cNvGrpSpPr>
          <p:nvPr userDrawn="1"/>
        </p:nvGrpSpPr>
        <p:grpSpPr bwMode="auto">
          <a:xfrm>
            <a:off x="4691063" y="6958013"/>
            <a:ext cx="649287" cy="719137"/>
            <a:chOff x="4691529" y="6957392"/>
            <a:chExt cx="648072" cy="719501"/>
          </a:xfrm>
        </p:grpSpPr>
        <p:cxnSp>
          <p:nvCxnSpPr>
            <p:cNvPr id="40" name="Straight Arrow Connector 39"/>
            <p:cNvCxnSpPr/>
            <p:nvPr userDrawn="1"/>
          </p:nvCxnSpPr>
          <p:spPr>
            <a:xfrm rot="10800000">
              <a:off x="5016357" y="6957392"/>
              <a:ext cx="0" cy="50349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1"/>
            <p:cNvSpPr txBox="1">
              <a:spLocks noChangeArrowheads="1"/>
            </p:cNvSpPr>
            <p:nvPr userDrawn="1"/>
          </p:nvSpPr>
          <p:spPr bwMode="auto">
            <a:xfrm>
              <a:off x="4691529" y="7460884"/>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42" name="Group 44"/>
          <p:cNvGrpSpPr>
            <a:grpSpLocks/>
          </p:cNvGrpSpPr>
          <p:nvPr userDrawn="1"/>
        </p:nvGrpSpPr>
        <p:grpSpPr bwMode="auto">
          <a:xfrm>
            <a:off x="9085263" y="-808038"/>
            <a:ext cx="647700" cy="719138"/>
            <a:chOff x="160506" y="-818892"/>
            <a:chExt cx="648072" cy="719500"/>
          </a:xfrm>
        </p:grpSpPr>
        <p:cxnSp>
          <p:nvCxnSpPr>
            <p:cNvPr id="43" name="Straight Arrow Connector 42"/>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4"/>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45" name="Group 47"/>
          <p:cNvGrpSpPr>
            <a:grpSpLocks/>
          </p:cNvGrpSpPr>
          <p:nvPr userDrawn="1"/>
        </p:nvGrpSpPr>
        <p:grpSpPr bwMode="auto">
          <a:xfrm>
            <a:off x="1773238" y="-819150"/>
            <a:ext cx="647700" cy="719137"/>
            <a:chOff x="160506" y="-818892"/>
            <a:chExt cx="648072" cy="719500"/>
          </a:xfrm>
        </p:grpSpPr>
        <p:cxnSp>
          <p:nvCxnSpPr>
            <p:cNvPr id="46" name="Straight Arrow Connector 45"/>
            <p:cNvCxnSpPr/>
            <p:nvPr userDrawn="1"/>
          </p:nvCxnSpPr>
          <p:spPr>
            <a:xfrm>
              <a:off x="482953" y="-602883"/>
              <a:ext cx="0" cy="50349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7"/>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90</a:t>
              </a:r>
            </a:p>
          </p:txBody>
        </p:sp>
      </p:grpSp>
      <p:grpSp>
        <p:nvGrpSpPr>
          <p:cNvPr id="48" name="Group 88"/>
          <p:cNvGrpSpPr>
            <a:grpSpLocks/>
          </p:cNvGrpSpPr>
          <p:nvPr userDrawn="1"/>
        </p:nvGrpSpPr>
        <p:grpSpPr bwMode="auto">
          <a:xfrm>
            <a:off x="1938338" y="-603250"/>
            <a:ext cx="647700" cy="503237"/>
            <a:chOff x="1938189" y="-602868"/>
            <a:chExt cx="648072" cy="502896"/>
          </a:xfrm>
        </p:grpSpPr>
        <p:cxnSp>
          <p:nvCxnSpPr>
            <p:cNvPr id="49" name="Straight Arrow Connector 48"/>
            <p:cNvCxnSpPr/>
            <p:nvPr userDrawn="1"/>
          </p:nvCxnSpPr>
          <p:spPr>
            <a:xfrm>
              <a:off x="2249518" y="-387114"/>
              <a:ext cx="0" cy="28714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50"/>
            <p:cNvSpPr txBox="1">
              <a:spLocks noChangeArrowheads="1"/>
            </p:cNvSpPr>
            <p:nvPr userDrawn="1"/>
          </p:nvSpPr>
          <p:spPr bwMode="auto">
            <a:xfrm>
              <a:off x="1938189" y="-602868"/>
              <a:ext cx="648072" cy="21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50</a:t>
              </a:r>
            </a:p>
          </p:txBody>
        </p:sp>
      </p:grpSp>
      <p:sp>
        <p:nvSpPr>
          <p:cNvPr id="51" name="TextBox 51"/>
          <p:cNvSpPr txBox="1">
            <a:spLocks noChangeArrowheads="1"/>
          </p:cNvSpPr>
          <p:nvPr userDrawn="1"/>
        </p:nvSpPr>
        <p:spPr bwMode="auto">
          <a:xfrm>
            <a:off x="1647825" y="-981075"/>
            <a:ext cx="10287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0000"/>
                </a:solidFill>
                <a:latin typeface="Verdana" pitchFamily="34" charset="0"/>
              </a:rPr>
              <a:t>Guides for gutter</a:t>
            </a:r>
          </a:p>
        </p:txBody>
      </p:sp>
      <p:sp>
        <p:nvSpPr>
          <p:cNvPr id="52" name="Rectangle 51"/>
          <p:cNvSpPr/>
          <p:nvPr userDrawn="1"/>
        </p:nvSpPr>
        <p:spPr>
          <a:xfrm>
            <a:off x="-2211388" y="3829050"/>
            <a:ext cx="2117725" cy="839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Text colours</a:t>
            </a:r>
          </a:p>
        </p:txBody>
      </p:sp>
      <p:sp>
        <p:nvSpPr>
          <p:cNvPr id="53" name="Rectangle 52"/>
          <p:cNvSpPr/>
          <p:nvPr userDrawn="1"/>
        </p:nvSpPr>
        <p:spPr>
          <a:xfrm>
            <a:off x="-2103438" y="4129088"/>
            <a:ext cx="431800" cy="431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GB" sz="800" dirty="0">
                <a:solidFill>
                  <a:srgbClr val="FFFFFF"/>
                </a:solidFill>
              </a:rPr>
              <a:t>G 66</a:t>
            </a:r>
          </a:p>
          <a:p>
            <a:pPr algn="ctr">
              <a:defRPr/>
            </a:pPr>
            <a:r>
              <a:rPr lang="en-GB" sz="800" dirty="0">
                <a:solidFill>
                  <a:srgbClr val="FFFFFF"/>
                </a:solidFill>
              </a:rPr>
              <a:t>B 152</a:t>
            </a:r>
          </a:p>
        </p:txBody>
      </p:sp>
      <p:sp>
        <p:nvSpPr>
          <p:cNvPr id="54" name="Rectangle 53"/>
          <p:cNvSpPr/>
          <p:nvPr userDrawn="1"/>
        </p:nvSpPr>
        <p:spPr>
          <a:xfrm>
            <a:off x="-1365250" y="4129088"/>
            <a:ext cx="431800" cy="431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0</a:t>
            </a:r>
          </a:p>
          <a:p>
            <a:pPr algn="ctr">
              <a:defRPr/>
            </a:pPr>
            <a:r>
              <a:rPr lang="en-GB" sz="800" dirty="0">
                <a:solidFill>
                  <a:srgbClr val="FFFFFF"/>
                </a:solidFill>
              </a:rPr>
              <a:t>G 0</a:t>
            </a:r>
          </a:p>
          <a:p>
            <a:pPr algn="ctr">
              <a:defRPr/>
            </a:pPr>
            <a:r>
              <a:rPr lang="en-GB" sz="800" dirty="0">
                <a:solidFill>
                  <a:srgbClr val="FFFFFF"/>
                </a:solidFill>
              </a:rPr>
              <a:t>B 0</a:t>
            </a:r>
          </a:p>
        </p:txBody>
      </p:sp>
      <p:sp>
        <p:nvSpPr>
          <p:cNvPr id="55" name="Rectangle 54"/>
          <p:cNvSpPr/>
          <p:nvPr userDrawn="1"/>
        </p:nvSpPr>
        <p:spPr>
          <a:xfrm>
            <a:off x="-627063" y="4129088"/>
            <a:ext cx="431800" cy="431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27</a:t>
            </a:r>
          </a:p>
          <a:p>
            <a:pPr algn="ctr">
              <a:defRPr/>
            </a:pPr>
            <a:r>
              <a:rPr lang="en-GB" sz="800" dirty="0">
                <a:solidFill>
                  <a:srgbClr val="FFFFFF"/>
                </a:solidFill>
              </a:rPr>
              <a:t>G 127</a:t>
            </a:r>
          </a:p>
          <a:p>
            <a:pPr algn="ctr">
              <a:defRPr/>
            </a:pPr>
            <a:r>
              <a:rPr lang="en-GB" sz="800" dirty="0">
                <a:solidFill>
                  <a:srgbClr val="FFFFFF"/>
                </a:solidFill>
              </a:rPr>
              <a:t>B 127</a:t>
            </a:r>
          </a:p>
        </p:txBody>
      </p:sp>
      <p:sp>
        <p:nvSpPr>
          <p:cNvPr id="56" name="Rectangle 55"/>
          <p:cNvSpPr/>
          <p:nvPr userDrawn="1"/>
        </p:nvSpPr>
        <p:spPr>
          <a:xfrm>
            <a:off x="-2211388" y="4821238"/>
            <a:ext cx="2117725" cy="12969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Background shading</a:t>
            </a:r>
          </a:p>
        </p:txBody>
      </p:sp>
      <p:sp>
        <p:nvSpPr>
          <p:cNvPr id="57" name="Rectangle 56"/>
          <p:cNvSpPr/>
          <p:nvPr userDrawn="1"/>
        </p:nvSpPr>
        <p:spPr>
          <a:xfrm>
            <a:off x="-2103438" y="5013325"/>
            <a:ext cx="431800" cy="431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lumMod val="50000"/>
                  </a:srgbClr>
                </a:solidFill>
              </a:rPr>
              <a:t>R 242</a:t>
            </a:r>
          </a:p>
          <a:p>
            <a:pPr algn="ctr">
              <a:defRPr/>
            </a:pPr>
            <a:r>
              <a:rPr lang="en-GB" sz="800" dirty="0">
                <a:solidFill>
                  <a:srgbClr val="FFFFFF">
                    <a:lumMod val="50000"/>
                  </a:srgbClr>
                </a:solidFill>
              </a:rPr>
              <a:t>G 242</a:t>
            </a:r>
          </a:p>
          <a:p>
            <a:pPr algn="ctr">
              <a:defRPr/>
            </a:pPr>
            <a:r>
              <a:rPr lang="en-GB" sz="800" dirty="0">
                <a:solidFill>
                  <a:srgbClr val="FFFFFF">
                    <a:lumMod val="50000"/>
                  </a:srgbClr>
                </a:solidFill>
              </a:rPr>
              <a:t>B 242</a:t>
            </a:r>
          </a:p>
        </p:txBody>
      </p:sp>
      <p:sp>
        <p:nvSpPr>
          <p:cNvPr id="58" name="Rectangle 57"/>
          <p:cNvSpPr/>
          <p:nvPr userDrawn="1"/>
        </p:nvSpPr>
        <p:spPr>
          <a:xfrm>
            <a:off x="-1365250" y="5013325"/>
            <a:ext cx="431800" cy="4318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25</a:t>
            </a:r>
          </a:p>
          <a:p>
            <a:pPr algn="ctr">
              <a:defRPr/>
            </a:pPr>
            <a:r>
              <a:rPr lang="en-GB" sz="800" dirty="0">
                <a:solidFill>
                  <a:srgbClr val="1B4298"/>
                </a:solidFill>
              </a:rPr>
              <a:t>G 235</a:t>
            </a:r>
          </a:p>
          <a:p>
            <a:pPr algn="ctr">
              <a:defRPr/>
            </a:pPr>
            <a:r>
              <a:rPr lang="en-GB" sz="800" dirty="0">
                <a:solidFill>
                  <a:srgbClr val="1B4298"/>
                </a:solidFill>
              </a:rPr>
              <a:t>B 244</a:t>
            </a:r>
          </a:p>
        </p:txBody>
      </p:sp>
      <p:sp>
        <p:nvSpPr>
          <p:cNvPr id="59" name="Rectangle 58"/>
          <p:cNvSpPr/>
          <p:nvPr userDrawn="1"/>
        </p:nvSpPr>
        <p:spPr>
          <a:xfrm>
            <a:off x="-627063" y="5013325"/>
            <a:ext cx="431800" cy="431800"/>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73C6A1"/>
                </a:solidFill>
              </a:rPr>
              <a:t>R 227</a:t>
            </a:r>
          </a:p>
          <a:p>
            <a:pPr algn="ctr">
              <a:defRPr/>
            </a:pPr>
            <a:r>
              <a:rPr lang="en-GB" sz="800" dirty="0">
                <a:solidFill>
                  <a:srgbClr val="73C6A1"/>
                </a:solidFill>
              </a:rPr>
              <a:t>G 244</a:t>
            </a:r>
          </a:p>
          <a:p>
            <a:pPr algn="ctr">
              <a:defRPr/>
            </a:pPr>
            <a:r>
              <a:rPr lang="en-GB" sz="800" dirty="0">
                <a:solidFill>
                  <a:srgbClr val="73C6A1"/>
                </a:solidFill>
              </a:rPr>
              <a:t>B 236</a:t>
            </a:r>
          </a:p>
        </p:txBody>
      </p:sp>
      <p:grpSp>
        <p:nvGrpSpPr>
          <p:cNvPr id="60" name="Group 65"/>
          <p:cNvGrpSpPr>
            <a:grpSpLocks/>
          </p:cNvGrpSpPr>
          <p:nvPr userDrawn="1"/>
        </p:nvGrpSpPr>
        <p:grpSpPr bwMode="auto">
          <a:xfrm>
            <a:off x="-1431925" y="295275"/>
            <a:ext cx="1338262" cy="215900"/>
            <a:chOff x="-1563724" y="81191"/>
            <a:chExt cx="1338744" cy="215444"/>
          </a:xfrm>
        </p:grpSpPr>
        <p:cxnSp>
          <p:nvCxnSpPr>
            <p:cNvPr id="61" name="Straight Arrow Connector 6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40</a:t>
              </a:r>
            </a:p>
          </p:txBody>
        </p:sp>
      </p:grpSp>
      <p:sp>
        <p:nvSpPr>
          <p:cNvPr id="63" name="Rectangle 62"/>
          <p:cNvSpPr/>
          <p:nvPr userDrawn="1"/>
        </p:nvSpPr>
        <p:spPr>
          <a:xfrm>
            <a:off x="-2211388" y="1341438"/>
            <a:ext cx="2117725" cy="2255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Colour order </a:t>
            </a:r>
            <a:r>
              <a:rPr lang="en-GB" sz="700" i="1" dirty="0">
                <a:solidFill>
                  <a:srgbClr val="1B4298"/>
                </a:solidFill>
              </a:rPr>
              <a:t>(left to right, top to bottom)</a:t>
            </a:r>
          </a:p>
        </p:txBody>
      </p:sp>
      <p:sp>
        <p:nvSpPr>
          <p:cNvPr id="64" name="Rectangle 63"/>
          <p:cNvSpPr/>
          <p:nvPr userDrawn="1"/>
        </p:nvSpPr>
        <p:spPr>
          <a:xfrm>
            <a:off x="-2103438" y="1533525"/>
            <a:ext cx="431800"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59</a:t>
            </a:r>
          </a:p>
          <a:p>
            <a:pPr algn="ctr">
              <a:defRPr/>
            </a:pPr>
            <a:r>
              <a:rPr lang="en-US" sz="800" dirty="0">
                <a:solidFill>
                  <a:srgbClr val="FFFFFF"/>
                </a:solidFill>
              </a:rPr>
              <a:t>G 110</a:t>
            </a:r>
          </a:p>
          <a:p>
            <a:pPr algn="ctr">
              <a:defRPr/>
            </a:pPr>
            <a:r>
              <a:rPr lang="en-US" sz="800" dirty="0">
                <a:solidFill>
                  <a:srgbClr val="FFFFFF"/>
                </a:solidFill>
              </a:rPr>
              <a:t>B 143</a:t>
            </a:r>
            <a:endParaRPr lang="en-GB" sz="800" dirty="0">
              <a:solidFill>
                <a:srgbClr val="FFFFFF"/>
              </a:solidFill>
            </a:endParaRPr>
          </a:p>
        </p:txBody>
      </p:sp>
      <p:sp>
        <p:nvSpPr>
          <p:cNvPr id="65" name="Rectangle 64"/>
          <p:cNvSpPr/>
          <p:nvPr userDrawn="1"/>
        </p:nvSpPr>
        <p:spPr>
          <a:xfrm>
            <a:off x="-1365250" y="1533525"/>
            <a:ext cx="431800" cy="4318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51</a:t>
            </a:r>
          </a:p>
          <a:p>
            <a:pPr algn="ctr">
              <a:defRPr/>
            </a:pPr>
            <a:r>
              <a:rPr lang="en-US" sz="800" dirty="0">
                <a:solidFill>
                  <a:srgbClr val="FFFFFF"/>
                </a:solidFill>
              </a:rPr>
              <a:t>G 193</a:t>
            </a:r>
          </a:p>
          <a:p>
            <a:pPr algn="ctr">
              <a:defRPr/>
            </a:pPr>
            <a:r>
              <a:rPr lang="en-US" sz="800" dirty="0">
                <a:solidFill>
                  <a:srgbClr val="FFFFFF"/>
                </a:solidFill>
              </a:rPr>
              <a:t>B 119</a:t>
            </a:r>
            <a:endParaRPr lang="en-GB" sz="800" dirty="0">
              <a:solidFill>
                <a:srgbClr val="FFFFFF"/>
              </a:solidFill>
            </a:endParaRPr>
          </a:p>
        </p:txBody>
      </p:sp>
      <p:sp>
        <p:nvSpPr>
          <p:cNvPr id="66" name="Rectangle 65"/>
          <p:cNvSpPr/>
          <p:nvPr userDrawn="1"/>
        </p:nvSpPr>
        <p:spPr>
          <a:xfrm>
            <a:off x="-627063" y="1533525"/>
            <a:ext cx="431800" cy="431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15</a:t>
            </a:r>
          </a:p>
          <a:p>
            <a:pPr algn="ctr">
              <a:defRPr/>
            </a:pPr>
            <a:r>
              <a:rPr lang="en-US" sz="800" dirty="0">
                <a:solidFill>
                  <a:srgbClr val="FFFFFF"/>
                </a:solidFill>
              </a:rPr>
              <a:t>G 198</a:t>
            </a:r>
          </a:p>
          <a:p>
            <a:pPr algn="ctr">
              <a:defRPr/>
            </a:pPr>
            <a:r>
              <a:rPr lang="en-US" sz="800" dirty="0">
                <a:solidFill>
                  <a:srgbClr val="FFFFFF"/>
                </a:solidFill>
              </a:rPr>
              <a:t>B 161</a:t>
            </a:r>
            <a:endParaRPr lang="en-GB" sz="800" dirty="0">
              <a:solidFill>
                <a:srgbClr val="FFFFFF"/>
              </a:solidFill>
            </a:endParaRPr>
          </a:p>
        </p:txBody>
      </p:sp>
      <p:sp>
        <p:nvSpPr>
          <p:cNvPr id="67" name="Rectangle 66"/>
          <p:cNvSpPr/>
          <p:nvPr userDrawn="1"/>
        </p:nvSpPr>
        <p:spPr>
          <a:xfrm>
            <a:off x="-2103438" y="2028825"/>
            <a:ext cx="431800"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03</a:t>
            </a:r>
          </a:p>
          <a:p>
            <a:pPr algn="ctr">
              <a:defRPr/>
            </a:pPr>
            <a:r>
              <a:rPr lang="en-US" sz="800" dirty="0">
                <a:solidFill>
                  <a:srgbClr val="FFFFFF"/>
                </a:solidFill>
              </a:rPr>
              <a:t>G 153</a:t>
            </a:r>
          </a:p>
          <a:p>
            <a:pPr algn="ctr">
              <a:defRPr/>
            </a:pPr>
            <a:r>
              <a:rPr lang="en-US" sz="800" dirty="0">
                <a:solidFill>
                  <a:srgbClr val="FFFFFF"/>
                </a:solidFill>
              </a:rPr>
              <a:t>B 200</a:t>
            </a:r>
            <a:endParaRPr lang="en-GB" sz="800" dirty="0">
              <a:solidFill>
                <a:srgbClr val="FFFFFF"/>
              </a:solidFill>
            </a:endParaRPr>
          </a:p>
        </p:txBody>
      </p:sp>
      <p:sp>
        <p:nvSpPr>
          <p:cNvPr id="68" name="Rectangle 67"/>
          <p:cNvSpPr/>
          <p:nvPr userDrawn="1"/>
        </p:nvSpPr>
        <p:spPr>
          <a:xfrm>
            <a:off x="-627063" y="2028825"/>
            <a:ext cx="431800"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86</a:t>
            </a:r>
          </a:p>
          <a:p>
            <a:pPr algn="ctr">
              <a:defRPr/>
            </a:pPr>
            <a:r>
              <a:rPr lang="en-US" sz="800" dirty="0">
                <a:solidFill>
                  <a:srgbClr val="1B4298"/>
                </a:solidFill>
              </a:rPr>
              <a:t>G 163</a:t>
            </a:r>
          </a:p>
          <a:p>
            <a:pPr algn="ctr">
              <a:defRPr/>
            </a:pPr>
            <a:r>
              <a:rPr lang="en-US" sz="800" dirty="0">
                <a:solidFill>
                  <a:srgbClr val="1B4298"/>
                </a:solidFill>
              </a:rPr>
              <a:t>B 171</a:t>
            </a:r>
            <a:endParaRPr lang="en-GB" sz="800" dirty="0">
              <a:solidFill>
                <a:srgbClr val="1B4298"/>
              </a:solidFill>
            </a:endParaRPr>
          </a:p>
        </p:txBody>
      </p:sp>
      <p:sp>
        <p:nvSpPr>
          <p:cNvPr id="69" name="Rectangle 68"/>
          <p:cNvSpPr/>
          <p:nvPr userDrawn="1"/>
        </p:nvSpPr>
        <p:spPr>
          <a:xfrm>
            <a:off x="-1365250" y="2028825"/>
            <a:ext cx="431800" cy="431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91</a:t>
            </a:r>
          </a:p>
          <a:p>
            <a:pPr algn="ctr">
              <a:defRPr/>
            </a:pPr>
            <a:r>
              <a:rPr lang="en-US" sz="800" dirty="0">
                <a:solidFill>
                  <a:srgbClr val="1B4298"/>
                </a:solidFill>
              </a:rPr>
              <a:t>G 191</a:t>
            </a:r>
          </a:p>
          <a:p>
            <a:pPr algn="ctr">
              <a:defRPr/>
            </a:pPr>
            <a:r>
              <a:rPr lang="en-US" sz="800" dirty="0">
                <a:solidFill>
                  <a:srgbClr val="1B4298"/>
                </a:solidFill>
              </a:rPr>
              <a:t>B 191</a:t>
            </a:r>
            <a:endParaRPr lang="en-GB" sz="800" dirty="0">
              <a:solidFill>
                <a:srgbClr val="1B4298"/>
              </a:solidFill>
            </a:endParaRPr>
          </a:p>
        </p:txBody>
      </p:sp>
      <p:sp>
        <p:nvSpPr>
          <p:cNvPr id="70" name="Rectangle 69"/>
          <p:cNvSpPr/>
          <p:nvPr userDrawn="1"/>
        </p:nvSpPr>
        <p:spPr>
          <a:xfrm>
            <a:off x="-2103438" y="2524125"/>
            <a:ext cx="431800" cy="433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127</a:t>
            </a:r>
          </a:p>
          <a:p>
            <a:pPr algn="ctr">
              <a:defRPr/>
            </a:pPr>
            <a:r>
              <a:rPr lang="en-US" sz="800" dirty="0">
                <a:solidFill>
                  <a:srgbClr val="FFFFFF"/>
                </a:solidFill>
              </a:rPr>
              <a:t>G 127</a:t>
            </a:r>
          </a:p>
          <a:p>
            <a:pPr algn="ctr">
              <a:defRPr/>
            </a:pPr>
            <a:r>
              <a:rPr lang="en-US" sz="800" dirty="0">
                <a:solidFill>
                  <a:srgbClr val="FFFFFF"/>
                </a:solidFill>
              </a:rPr>
              <a:t>B 127</a:t>
            </a:r>
            <a:endParaRPr lang="en-GB" sz="800" dirty="0">
              <a:solidFill>
                <a:srgbClr val="FFFFFF"/>
              </a:solidFill>
            </a:endParaRPr>
          </a:p>
        </p:txBody>
      </p:sp>
      <p:sp>
        <p:nvSpPr>
          <p:cNvPr id="71" name="Rectangle 70"/>
          <p:cNvSpPr/>
          <p:nvPr userDrawn="1"/>
        </p:nvSpPr>
        <p:spPr>
          <a:xfrm>
            <a:off x="-1365250" y="2524125"/>
            <a:ext cx="431800" cy="4333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01</a:t>
            </a:r>
          </a:p>
          <a:p>
            <a:pPr algn="ctr">
              <a:defRPr/>
            </a:pPr>
            <a:r>
              <a:rPr lang="en-US" sz="800" dirty="0">
                <a:solidFill>
                  <a:srgbClr val="FFFFFF"/>
                </a:solidFill>
              </a:rPr>
              <a:t>G 48</a:t>
            </a:r>
          </a:p>
          <a:p>
            <a:pPr algn="ctr">
              <a:defRPr/>
            </a:pPr>
            <a:r>
              <a:rPr lang="en-US" sz="800" dirty="0">
                <a:solidFill>
                  <a:srgbClr val="FFFFFF"/>
                </a:solidFill>
              </a:rPr>
              <a:t>B 146</a:t>
            </a:r>
            <a:endParaRPr lang="en-GB" sz="800" dirty="0">
              <a:solidFill>
                <a:srgbClr val="FFFFFF"/>
              </a:solidFill>
            </a:endParaRPr>
          </a:p>
        </p:txBody>
      </p:sp>
      <p:sp>
        <p:nvSpPr>
          <p:cNvPr id="72" name="Rectangle 71"/>
          <p:cNvSpPr/>
          <p:nvPr userDrawn="1"/>
        </p:nvSpPr>
        <p:spPr>
          <a:xfrm>
            <a:off x="-627063" y="2524125"/>
            <a:ext cx="431800" cy="4333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US" sz="800" dirty="0">
                <a:solidFill>
                  <a:srgbClr val="FFFFFF"/>
                </a:solidFill>
              </a:rPr>
              <a:t>G 66</a:t>
            </a:r>
          </a:p>
          <a:p>
            <a:pPr algn="ctr">
              <a:defRPr/>
            </a:pPr>
            <a:r>
              <a:rPr lang="en-US" sz="800" dirty="0">
                <a:solidFill>
                  <a:srgbClr val="FFFFFF"/>
                </a:solidFill>
              </a:rPr>
              <a:t>B 152</a:t>
            </a:r>
            <a:endParaRPr lang="en-GB" sz="800" dirty="0">
              <a:solidFill>
                <a:srgbClr val="FFFFFF"/>
              </a:solidFill>
            </a:endParaRPr>
          </a:p>
        </p:txBody>
      </p:sp>
      <p:sp>
        <p:nvSpPr>
          <p:cNvPr id="73" name="Rectangle 72"/>
          <p:cNvSpPr/>
          <p:nvPr userDrawn="1"/>
        </p:nvSpPr>
        <p:spPr>
          <a:xfrm>
            <a:off x="-2103438" y="3021013"/>
            <a:ext cx="431800" cy="431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84</a:t>
            </a:r>
          </a:p>
          <a:p>
            <a:pPr algn="ctr">
              <a:defRPr/>
            </a:pPr>
            <a:r>
              <a:rPr lang="en-US" sz="800" dirty="0">
                <a:solidFill>
                  <a:srgbClr val="FFFFFF"/>
                </a:solidFill>
              </a:rPr>
              <a:t>G 7</a:t>
            </a:r>
          </a:p>
          <a:p>
            <a:pPr algn="ctr">
              <a:defRPr/>
            </a:pPr>
            <a:r>
              <a:rPr lang="en-US" sz="800" dirty="0">
                <a:solidFill>
                  <a:srgbClr val="FFFFFF"/>
                </a:solidFill>
              </a:rPr>
              <a:t>B 91</a:t>
            </a:r>
            <a:endParaRPr lang="en-GB" sz="800" dirty="0">
              <a:solidFill>
                <a:srgbClr val="FFFFFF"/>
              </a:solidFill>
            </a:endParaRPr>
          </a:p>
        </p:txBody>
      </p:sp>
      <p:sp>
        <p:nvSpPr>
          <p:cNvPr id="74" name="Rectangle 73"/>
          <p:cNvSpPr/>
          <p:nvPr userDrawn="1"/>
        </p:nvSpPr>
        <p:spPr>
          <a:xfrm>
            <a:off x="-1365250" y="3021013"/>
            <a:ext cx="431800" cy="431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48</a:t>
            </a:r>
          </a:p>
          <a:p>
            <a:pPr algn="ctr">
              <a:defRPr/>
            </a:pPr>
            <a:r>
              <a:rPr lang="en-US" sz="800" dirty="0">
                <a:solidFill>
                  <a:srgbClr val="1B4298"/>
                </a:solidFill>
              </a:rPr>
              <a:t>G 152</a:t>
            </a:r>
          </a:p>
          <a:p>
            <a:pPr algn="ctr">
              <a:defRPr/>
            </a:pPr>
            <a:r>
              <a:rPr lang="en-US" sz="800" dirty="0">
                <a:solidFill>
                  <a:srgbClr val="1B4298"/>
                </a:solidFill>
              </a:rPr>
              <a:t>B 29</a:t>
            </a:r>
            <a:endParaRPr lang="en-GB" sz="800" dirty="0">
              <a:solidFill>
                <a:srgbClr val="1B4298"/>
              </a:solidFill>
            </a:endParaRPr>
          </a:p>
        </p:txBody>
      </p:sp>
      <p:sp>
        <p:nvSpPr>
          <p:cNvPr id="76" name="Rectangle 75"/>
          <p:cNvSpPr/>
          <p:nvPr userDrawn="1"/>
        </p:nvSpPr>
        <p:spPr>
          <a:xfrm>
            <a:off x="-2103438" y="5516563"/>
            <a:ext cx="431800" cy="43338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BAA3AB"/>
                </a:solidFill>
              </a:rPr>
              <a:t>R 241</a:t>
            </a:r>
          </a:p>
          <a:p>
            <a:pPr algn="ctr">
              <a:defRPr/>
            </a:pPr>
            <a:r>
              <a:rPr lang="en-GB" sz="800" dirty="0">
                <a:solidFill>
                  <a:srgbClr val="BAA3AB"/>
                </a:solidFill>
              </a:rPr>
              <a:t>G 237</a:t>
            </a:r>
          </a:p>
          <a:p>
            <a:pPr algn="ctr">
              <a:defRPr/>
            </a:pPr>
            <a:r>
              <a:rPr lang="en-GB" sz="800" dirty="0">
                <a:solidFill>
                  <a:srgbClr val="BAA3AB"/>
                </a:solidFill>
              </a:rPr>
              <a:t>B 238</a:t>
            </a:r>
          </a:p>
        </p:txBody>
      </p:sp>
      <p:sp>
        <p:nvSpPr>
          <p:cNvPr id="77" name="Rectangle 76"/>
          <p:cNvSpPr/>
          <p:nvPr userDrawn="1"/>
        </p:nvSpPr>
        <p:spPr>
          <a:xfrm>
            <a:off x="-1365250" y="5516563"/>
            <a:ext cx="431800" cy="43338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8981D"/>
                </a:solidFill>
              </a:rPr>
              <a:t>R 254</a:t>
            </a:r>
          </a:p>
          <a:p>
            <a:pPr algn="ctr">
              <a:defRPr/>
            </a:pPr>
            <a:r>
              <a:rPr lang="en-GB" sz="800" dirty="0">
                <a:solidFill>
                  <a:srgbClr val="F8981D"/>
                </a:solidFill>
              </a:rPr>
              <a:t>G 234</a:t>
            </a:r>
          </a:p>
          <a:p>
            <a:pPr algn="ctr">
              <a:defRPr/>
            </a:pPr>
            <a:r>
              <a:rPr lang="en-GB" sz="800" dirty="0">
                <a:solidFill>
                  <a:srgbClr val="F8981D"/>
                </a:solidFill>
              </a:rPr>
              <a:t>B 210</a:t>
            </a:r>
          </a:p>
        </p:txBody>
      </p:sp>
      <p:sp>
        <p:nvSpPr>
          <p:cNvPr id="78" name="Rectangle 77"/>
          <p:cNvSpPr/>
          <p:nvPr userDrawn="1"/>
        </p:nvSpPr>
        <p:spPr>
          <a:xfrm>
            <a:off x="-627063" y="5516563"/>
            <a:ext cx="431800" cy="4333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11</a:t>
            </a:r>
          </a:p>
          <a:p>
            <a:pPr algn="ctr">
              <a:defRPr/>
            </a:pPr>
            <a:r>
              <a:rPr lang="en-GB" sz="800" dirty="0">
                <a:solidFill>
                  <a:srgbClr val="1B4298"/>
                </a:solidFill>
              </a:rPr>
              <a:t>G 227</a:t>
            </a:r>
          </a:p>
          <a:p>
            <a:pPr algn="ctr">
              <a:defRPr/>
            </a:pPr>
            <a:r>
              <a:rPr lang="en-GB" sz="800" dirty="0">
                <a:solidFill>
                  <a:srgbClr val="1B4298"/>
                </a:solidFill>
              </a:rPr>
              <a:t>B 237</a:t>
            </a:r>
          </a:p>
        </p:txBody>
      </p:sp>
    </p:spTree>
    <p:extLst>
      <p:ext uri="{BB962C8B-B14F-4D97-AF65-F5344CB8AC3E}">
        <p14:creationId xmlns:p14="http://schemas.microsoft.com/office/powerpoint/2010/main" val="42135069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box above, 2 charts under">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8928100" cy="237490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7"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44"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1"/>
          <p:cNvSpPr>
            <a:spLocks noGrp="1"/>
          </p:cNvSpPr>
          <p:nvPr>
            <p:ph type="body" sz="quarter" idx="46"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7"/>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8"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23"/>
          <p:cNvSpPr>
            <a:spLocks noGrp="1"/>
          </p:cNvSpPr>
          <p:nvPr>
            <p:ph type="body" sz="quarter" idx="49"/>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50"/>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913211272"/>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4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63289925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8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16632"/>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6" name="Text Placeholder 21"/>
          <p:cNvSpPr>
            <a:spLocks noGrp="1"/>
          </p:cNvSpPr>
          <p:nvPr>
            <p:ph type="body" sz="quarter" idx="42"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43"/>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hasCustomPrompt="1"/>
          </p:nvPr>
        </p:nvSpPr>
        <p:spPr>
          <a:xfrm>
            <a:off x="5024437" y="6093295"/>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01327785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16632"/>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6" name="Text Placeholder 21"/>
          <p:cNvSpPr>
            <a:spLocks noGrp="1"/>
          </p:cNvSpPr>
          <p:nvPr>
            <p:ph type="body" sz="quarter" idx="42"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43"/>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hasCustomPrompt="1"/>
          </p:nvPr>
        </p:nvSpPr>
        <p:spPr>
          <a:xfrm>
            <a:off x="5024437" y="6093295"/>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84877041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75" name="Picture Placeholder 74"/>
          <p:cNvSpPr>
            <a:spLocks noGrp="1"/>
          </p:cNvSpPr>
          <p:nvPr>
            <p:ph type="pic" sz="quarter" idx="11"/>
          </p:nvPr>
        </p:nvSpPr>
        <p:spPr>
          <a:xfrm>
            <a:off x="488950" y="182813"/>
            <a:ext cx="8928000" cy="3786187"/>
          </a:xfrm>
        </p:spPr>
        <p:txBody>
          <a:bodyPr/>
          <a:lstStyle/>
          <a:p>
            <a:r>
              <a:rPr lang="en-US" dirty="0" smtClean="0"/>
              <a:t>Click icon to add picture</a:t>
            </a:r>
            <a:endParaRPr lang="en-GB" dirty="0"/>
          </a:p>
        </p:txBody>
      </p:sp>
      <p:sp>
        <p:nvSpPr>
          <p:cNvPr id="79" name="ClipArt Placeholder 78"/>
          <p:cNvSpPr>
            <a:spLocks noGrp="1"/>
          </p:cNvSpPr>
          <p:nvPr>
            <p:ph type="clipArt" sz="quarter" idx="12" hasCustomPrompt="1"/>
          </p:nvPr>
        </p:nvSpPr>
        <p:spPr>
          <a:xfrm>
            <a:off x="2962275" y="2824164"/>
            <a:ext cx="6049963" cy="1844746"/>
          </a:xfrm>
          <a:solidFill>
            <a:schemeClr val="bg1"/>
          </a:solidFill>
        </p:spPr>
        <p:txBody>
          <a:bodyPr/>
          <a:lstStyle>
            <a:lvl1pPr>
              <a:defRPr baseline="0"/>
            </a:lvl1pPr>
          </a:lstStyle>
          <a:p>
            <a:r>
              <a:rPr lang="en-GB" dirty="0" smtClean="0"/>
              <a:t> </a:t>
            </a:r>
            <a:endParaRPr lang="en-GB" dirty="0"/>
          </a:p>
        </p:txBody>
      </p:sp>
      <p:sp>
        <p:nvSpPr>
          <p:cNvPr id="2" name="Title 1"/>
          <p:cNvSpPr>
            <a:spLocks noGrp="1"/>
          </p:cNvSpPr>
          <p:nvPr>
            <p:ph type="ctrTitle"/>
          </p:nvPr>
        </p:nvSpPr>
        <p:spPr>
          <a:xfrm>
            <a:off x="3026256" y="2889000"/>
            <a:ext cx="5922000" cy="1080000"/>
          </a:xfrm>
          <a:solidFill>
            <a:schemeClr val="tx2"/>
          </a:solidFill>
          <a:ln w="9525" algn="ctr">
            <a:noFill/>
            <a:miter lim="800000"/>
            <a:headEnd/>
            <a:tailEnd/>
          </a:ln>
        </p:spPr>
        <p:txBody>
          <a:bodyPr vert="horz" wrap="square" lIns="180000" tIns="72000" rIns="180000" bIns="72000" numCol="1" anchor="b" anchorCtr="0" compatLnSpc="1">
            <a:prstTxWarp prst="textNoShape">
              <a:avLst/>
            </a:prstTxWarp>
          </a:bodyPr>
          <a:lstStyle>
            <a:lvl1pPr>
              <a:defRPr kumimoji="0" lang="en-GB" sz="3200" b="0" i="1" u="none" strike="noStrike" kern="1200" cap="none" spc="0" normalizeH="0" baseline="0" noProof="0">
                <a:ln>
                  <a:noFill/>
                </a:ln>
                <a:solidFill>
                  <a:schemeClr val="bg1"/>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Master title style</a:t>
            </a:r>
            <a:endParaRPr lang="en-GB" dirty="0"/>
          </a:p>
        </p:txBody>
      </p:sp>
      <p:sp>
        <p:nvSpPr>
          <p:cNvPr id="3" name="Subtitle 2"/>
          <p:cNvSpPr>
            <a:spLocks noGrp="1"/>
          </p:cNvSpPr>
          <p:nvPr>
            <p:ph type="subTitle" idx="1"/>
          </p:nvPr>
        </p:nvSpPr>
        <p:spPr>
          <a:xfrm>
            <a:off x="3026256" y="4041128"/>
            <a:ext cx="5922000" cy="540000"/>
          </a:xfrm>
          <a:solidFill>
            <a:schemeClr val="bg2"/>
          </a:solidFill>
          <a:ln w="9525">
            <a:noFill/>
            <a:miter lim="800000"/>
            <a:headEnd/>
            <a:tailEnd/>
          </a:ln>
        </p:spPr>
        <p:txBody>
          <a:bodyPr vert="horz" wrap="square" lIns="180000" tIns="72000" rIns="180000" bIns="72000" numCol="1" anchor="ctr" anchorCtr="0" compatLnSpc="1">
            <a:prstTxWarp prst="textNoShape">
              <a:avLst/>
            </a:prstTxWarp>
          </a:bodyPr>
          <a:lstStyle>
            <a:lvl1pPr marL="0" indent="0" algn="r">
              <a:buNone/>
              <a:defRPr kumimoji="0" lang="en-GB" sz="1600" b="0" i="1" u="none" strike="noStrike" kern="1200" cap="none" spc="0" normalizeH="0" baseline="0" noProof="0">
                <a:ln>
                  <a:noFill/>
                </a:ln>
                <a:solidFill>
                  <a:schemeClr val="bg1"/>
                </a:solidFill>
                <a:effectLst/>
                <a:uLnTx/>
                <a:uFillTx/>
                <a:latin typeface="Myriad-Italic" pitchFamily="2" charset="0"/>
                <a:ea typeface="+mj-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r" defTabSz="995363" rtl="0" eaLnBrk="1" fontAlgn="base" latinLnBrk="0" hangingPunct="1">
              <a:lnSpc>
                <a:spcPct val="110000"/>
              </a:lnSpc>
              <a:spcBef>
                <a:spcPct val="0"/>
              </a:spcBef>
              <a:spcAft>
                <a:spcPct val="0"/>
              </a:spcAft>
              <a:buClrTx/>
              <a:buSzTx/>
              <a:buFontTx/>
              <a:buNone/>
              <a:tabLst/>
              <a:defRPr/>
            </a:pPr>
            <a:r>
              <a:rPr lang="en-US" dirty="0" smtClean="0"/>
              <a:t>Click to edit Master subtitle style</a:t>
            </a:r>
            <a:endParaRPr lang="en-GB" dirty="0"/>
          </a:p>
        </p:txBody>
      </p:sp>
      <p:sp>
        <p:nvSpPr>
          <p:cNvPr id="18" name="Text Placeholder 17"/>
          <p:cNvSpPr>
            <a:spLocks noGrp="1"/>
          </p:cNvSpPr>
          <p:nvPr>
            <p:ph type="body" sz="quarter" idx="10"/>
          </p:nvPr>
        </p:nvSpPr>
        <p:spPr>
          <a:xfrm>
            <a:off x="3025775" y="5373688"/>
            <a:ext cx="3871913" cy="1223962"/>
          </a:xfrm>
          <a:noFill/>
          <a:ln w="9525" algn="ctr">
            <a:noFill/>
            <a:miter lim="800000"/>
            <a:headEnd/>
            <a:tailEnd/>
          </a:ln>
          <a:effectLst/>
        </p:spPr>
        <p:txBody>
          <a:bodyPr vert="horz" wrap="square" lIns="180000" tIns="0" rIns="0" bIns="0" numCol="1" anchor="b" anchorCtr="0" compatLnSpc="1">
            <a:prstTxWarp prst="textNoShape">
              <a:avLst/>
            </a:prstTxWarp>
            <a:noAutofit/>
          </a:bodyPr>
          <a:lstStyle>
            <a:lvl1pPr>
              <a:defRPr lang="en-GB" sz="1400" b="0" i="1" kern="1200" noProof="0" dirty="0" smtClean="0">
                <a:solidFill>
                  <a:schemeClr val="bg1">
                    <a:lumMod val="50000"/>
                  </a:schemeClr>
                </a:solidFill>
                <a:latin typeface="Myriad Light" pitchFamily="2" charset="0"/>
                <a:ea typeface="+mn-ea"/>
                <a:cs typeface="+mn-cs"/>
              </a:defRPr>
            </a:lvl1pPr>
          </a:lstStyle>
          <a:p>
            <a:pPr marL="0" marR="0" lvl="0" indent="0" algn="l" defTabSz="995363" rtl="0" eaLnBrk="1" fontAlgn="base" latinLnBrk="0" hangingPunct="1">
              <a:lnSpc>
                <a:spcPct val="150000"/>
              </a:lnSpc>
              <a:spcBef>
                <a:spcPct val="50000"/>
              </a:spcBef>
              <a:spcAft>
                <a:spcPct val="0"/>
              </a:spcAft>
              <a:buClrTx/>
              <a:buSzTx/>
              <a:buFont typeface="Times" pitchFamily="-112" charset="0"/>
              <a:buNone/>
              <a:tabLst/>
            </a:pPr>
            <a:r>
              <a:rPr lang="en-US" smtClean="0"/>
              <a:t>Click to edit Master text styles</a:t>
            </a:r>
          </a:p>
        </p:txBody>
      </p:sp>
      <p:grpSp>
        <p:nvGrpSpPr>
          <p:cNvPr id="4" name="Group 8"/>
          <p:cNvGrpSpPr/>
          <p:nvPr userDrawn="1"/>
        </p:nvGrpSpPr>
        <p:grpSpPr>
          <a:xfrm>
            <a:off x="150981" y="-818892"/>
            <a:ext cx="648072" cy="719500"/>
            <a:chOff x="160506" y="-818892"/>
            <a:chExt cx="648072" cy="719500"/>
          </a:xfrm>
        </p:grpSpPr>
        <p:cxnSp>
          <p:nvCxnSpPr>
            <p:cNvPr id="11" name="Straight Arrow Connector 10"/>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5" name="Group 12"/>
          <p:cNvGrpSpPr/>
          <p:nvPr userDrawn="1"/>
        </p:nvGrpSpPr>
        <p:grpSpPr>
          <a:xfrm>
            <a:off x="-1432624" y="1009303"/>
            <a:ext cx="1338744" cy="215444"/>
            <a:chOff x="-1563724" y="81191"/>
            <a:chExt cx="1338744" cy="215444"/>
          </a:xfrm>
        </p:grpSpPr>
        <p:cxnSp>
          <p:nvCxnSpPr>
            <p:cNvPr id="14" name="Straight Arrow Connector 1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6.40</a:t>
              </a:r>
            </a:p>
          </p:txBody>
        </p:sp>
      </p:grpSp>
      <p:grpSp>
        <p:nvGrpSpPr>
          <p:cNvPr id="6" name="Group 16"/>
          <p:cNvGrpSpPr/>
          <p:nvPr userDrawn="1"/>
        </p:nvGrpSpPr>
        <p:grpSpPr>
          <a:xfrm>
            <a:off x="10065568" y="858808"/>
            <a:ext cx="1382640" cy="215444"/>
            <a:chOff x="10065568" y="797397"/>
            <a:chExt cx="1382640" cy="215444"/>
          </a:xfrm>
        </p:grpSpPr>
        <p:cxnSp>
          <p:nvCxnSpPr>
            <p:cNvPr id="19" name="Straight Arrow Connector 18"/>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6.80</a:t>
              </a:r>
            </a:p>
          </p:txBody>
        </p:sp>
      </p:grpSp>
      <p:grpSp>
        <p:nvGrpSpPr>
          <p:cNvPr id="7" name="Group 20"/>
          <p:cNvGrpSpPr/>
          <p:nvPr userDrawn="1"/>
        </p:nvGrpSpPr>
        <p:grpSpPr>
          <a:xfrm>
            <a:off x="10065568" y="1218268"/>
            <a:ext cx="1382640" cy="215444"/>
            <a:chOff x="10065568" y="797397"/>
            <a:chExt cx="1382640" cy="215444"/>
          </a:xfrm>
        </p:grpSpPr>
        <p:cxnSp>
          <p:nvCxnSpPr>
            <p:cNvPr id="22" name="Straight Arrow Connector 21"/>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5.80</a:t>
              </a:r>
            </a:p>
          </p:txBody>
        </p:sp>
      </p:grpSp>
      <p:grpSp>
        <p:nvGrpSpPr>
          <p:cNvPr id="8" name="Group 23"/>
          <p:cNvGrpSpPr/>
          <p:nvPr userDrawn="1"/>
        </p:nvGrpSpPr>
        <p:grpSpPr>
          <a:xfrm>
            <a:off x="-1432624" y="3597859"/>
            <a:ext cx="1338744" cy="215444"/>
            <a:chOff x="-1563724" y="81191"/>
            <a:chExt cx="1338744" cy="215444"/>
          </a:xfrm>
        </p:grpSpPr>
        <p:cxnSp>
          <p:nvCxnSpPr>
            <p:cNvPr id="25" name="Straight Arrow Connector 24"/>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0.80</a:t>
              </a:r>
            </a:p>
          </p:txBody>
        </p:sp>
      </p:grpSp>
      <p:grpSp>
        <p:nvGrpSpPr>
          <p:cNvPr id="9" name="Group 26"/>
          <p:cNvGrpSpPr/>
          <p:nvPr userDrawn="1"/>
        </p:nvGrpSpPr>
        <p:grpSpPr>
          <a:xfrm>
            <a:off x="10108816" y="3738548"/>
            <a:ext cx="1382640" cy="215444"/>
            <a:chOff x="10065568" y="797397"/>
            <a:chExt cx="1382640" cy="215444"/>
          </a:xfrm>
        </p:grpSpPr>
        <p:cxnSp>
          <p:nvCxnSpPr>
            <p:cNvPr id="28" name="Straight Arrow Connector 27"/>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1.20</a:t>
              </a:r>
            </a:p>
          </p:txBody>
        </p:sp>
      </p:grpSp>
      <p:grpSp>
        <p:nvGrpSpPr>
          <p:cNvPr id="10" name="Group 29"/>
          <p:cNvGrpSpPr/>
          <p:nvPr userDrawn="1"/>
        </p:nvGrpSpPr>
        <p:grpSpPr>
          <a:xfrm>
            <a:off x="-1432624" y="6118808"/>
            <a:ext cx="1338744" cy="215444"/>
            <a:chOff x="-1563724" y="81191"/>
            <a:chExt cx="1338744" cy="215444"/>
          </a:xfrm>
        </p:grpSpPr>
        <p:cxnSp>
          <p:nvCxnSpPr>
            <p:cNvPr id="31" name="Straight Arrow Connector 30"/>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7.80</a:t>
              </a:r>
            </a:p>
          </p:txBody>
        </p:sp>
      </p:grpSp>
      <p:grpSp>
        <p:nvGrpSpPr>
          <p:cNvPr id="13" name="Group 32"/>
          <p:cNvGrpSpPr/>
          <p:nvPr userDrawn="1"/>
        </p:nvGrpSpPr>
        <p:grpSpPr>
          <a:xfrm>
            <a:off x="-1432624" y="6481659"/>
            <a:ext cx="1338744" cy="215444"/>
            <a:chOff x="-1563724" y="81191"/>
            <a:chExt cx="1338744" cy="215444"/>
          </a:xfrm>
        </p:grpSpPr>
        <p:cxnSp>
          <p:nvCxnSpPr>
            <p:cNvPr id="34" name="Straight Arrow Connector 3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80</a:t>
              </a:r>
            </a:p>
          </p:txBody>
        </p:sp>
      </p:grpSp>
      <p:grpSp>
        <p:nvGrpSpPr>
          <p:cNvPr id="17" name="Group 35"/>
          <p:cNvGrpSpPr/>
          <p:nvPr userDrawn="1"/>
        </p:nvGrpSpPr>
        <p:grpSpPr>
          <a:xfrm>
            <a:off x="-1432624" y="74180"/>
            <a:ext cx="1338744" cy="215444"/>
            <a:chOff x="-1563724" y="81191"/>
            <a:chExt cx="1338744" cy="215444"/>
          </a:xfrm>
        </p:grpSpPr>
        <p:cxnSp>
          <p:nvCxnSpPr>
            <p:cNvPr id="37" name="Straight Arrow Connector 3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9.00</a:t>
              </a:r>
            </a:p>
          </p:txBody>
        </p:sp>
      </p:grpSp>
      <p:grpSp>
        <p:nvGrpSpPr>
          <p:cNvPr id="21" name="Group 38"/>
          <p:cNvGrpSpPr/>
          <p:nvPr userDrawn="1"/>
        </p:nvGrpSpPr>
        <p:grpSpPr>
          <a:xfrm>
            <a:off x="4557994" y="-818892"/>
            <a:ext cx="648072" cy="719500"/>
            <a:chOff x="312906" y="-666492"/>
            <a:chExt cx="648072" cy="719500"/>
          </a:xfrm>
        </p:grpSpPr>
        <p:cxnSp>
          <p:nvCxnSpPr>
            <p:cNvPr id="40" name="Straight Arrow Connector 39"/>
            <p:cNvCxnSpPr/>
            <p:nvPr userDrawn="1"/>
          </p:nvCxnSpPr>
          <p:spPr>
            <a:xfrm>
              <a:off x="635000" y="-4510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312906" y="-666492"/>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4" name="Group 84"/>
          <p:cNvGrpSpPr/>
          <p:nvPr userDrawn="1"/>
        </p:nvGrpSpPr>
        <p:grpSpPr>
          <a:xfrm>
            <a:off x="4691529" y="6957392"/>
            <a:ext cx="648072" cy="719501"/>
            <a:chOff x="4691529" y="6957392"/>
            <a:chExt cx="648072" cy="719501"/>
          </a:xfrm>
        </p:grpSpPr>
        <p:cxnSp>
          <p:nvCxnSpPr>
            <p:cNvPr id="43" name="Straight Arrow Connector 42"/>
            <p:cNvCxnSpPr/>
            <p:nvPr userDrawn="1"/>
          </p:nvCxnSpPr>
          <p:spPr>
            <a:xfrm rot="10800000">
              <a:off x="5015565" y="6957392"/>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a:xfrm>
              <a:off x="4691529" y="7461449"/>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7" name="Group 44"/>
          <p:cNvGrpSpPr/>
          <p:nvPr userDrawn="1"/>
        </p:nvGrpSpPr>
        <p:grpSpPr>
          <a:xfrm>
            <a:off x="9085514" y="-808714"/>
            <a:ext cx="648072" cy="719500"/>
            <a:chOff x="160506" y="-818892"/>
            <a:chExt cx="648072" cy="719500"/>
          </a:xfrm>
        </p:grpSpPr>
        <p:cxnSp>
          <p:nvCxnSpPr>
            <p:cNvPr id="46" name="Straight Arrow Connector 45"/>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30" name="Group 47"/>
          <p:cNvGrpSpPr/>
          <p:nvPr userDrawn="1"/>
        </p:nvGrpSpPr>
        <p:grpSpPr>
          <a:xfrm>
            <a:off x="1773406" y="-818892"/>
            <a:ext cx="648072" cy="719500"/>
            <a:chOff x="160506" y="-818892"/>
            <a:chExt cx="648072" cy="719500"/>
          </a:xfrm>
        </p:grpSpPr>
        <p:cxnSp>
          <p:nvCxnSpPr>
            <p:cNvPr id="49" name="Straight Arrow Connector 48"/>
            <p:cNvCxnSpPr/>
            <p:nvPr userDrawn="1"/>
          </p:nvCxnSpPr>
          <p:spPr>
            <a:xfrm>
              <a:off x="482600" y="-603448"/>
              <a:ext cx="0" cy="50405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0000"/>
                  </a:solidFill>
                  <a:cs typeface="Arial" charset="0"/>
                </a:rPr>
                <a:t>7.90</a:t>
              </a:r>
            </a:p>
          </p:txBody>
        </p:sp>
      </p:grpSp>
      <p:grpSp>
        <p:nvGrpSpPr>
          <p:cNvPr id="57345" name="Group 88"/>
          <p:cNvGrpSpPr/>
          <p:nvPr userDrawn="1"/>
        </p:nvGrpSpPr>
        <p:grpSpPr>
          <a:xfrm>
            <a:off x="1938189" y="-602868"/>
            <a:ext cx="648072" cy="502896"/>
            <a:chOff x="1938189" y="-602868"/>
            <a:chExt cx="648072" cy="502896"/>
          </a:xfrm>
        </p:grpSpPr>
        <p:cxnSp>
          <p:nvCxnSpPr>
            <p:cNvPr id="52" name="Straight Arrow Connector 51"/>
            <p:cNvCxnSpPr/>
            <p:nvPr userDrawn="1"/>
          </p:nvCxnSpPr>
          <p:spPr>
            <a:xfrm>
              <a:off x="2249525" y="-387424"/>
              <a:ext cx="0" cy="28745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userDrawn="1"/>
          </p:nvSpPr>
          <p:spPr>
            <a:xfrm>
              <a:off x="1938189" y="-602868"/>
              <a:ext cx="648072" cy="215444"/>
            </a:xfrm>
            <a:prstGeom prst="rect">
              <a:avLst/>
            </a:prstGeom>
            <a:noFill/>
          </p:spPr>
          <p:txBody>
            <a:bodyPr wrap="square" rtlCol="0">
              <a:spAutoFit/>
            </a:bodyPr>
            <a:lstStyle/>
            <a:p>
              <a:pPr algn="ctr"/>
              <a:r>
                <a:rPr lang="en-GB" sz="800" dirty="0">
                  <a:solidFill>
                    <a:srgbClr val="FF0000"/>
                  </a:solidFill>
                  <a:cs typeface="Arial" charset="0"/>
                </a:rPr>
                <a:t>7.50</a:t>
              </a:r>
            </a:p>
          </p:txBody>
        </p:sp>
      </p:grpSp>
      <p:sp>
        <p:nvSpPr>
          <p:cNvPr id="55" name="TextBox 54"/>
          <p:cNvSpPr txBox="1"/>
          <p:nvPr userDrawn="1"/>
        </p:nvSpPr>
        <p:spPr>
          <a:xfrm>
            <a:off x="1647659" y="-981347"/>
            <a:ext cx="1028661" cy="195814"/>
          </a:xfrm>
          <a:prstGeom prst="rect">
            <a:avLst/>
          </a:prstGeom>
          <a:noFill/>
        </p:spPr>
        <p:txBody>
          <a:bodyPr wrap="square" lIns="72000" tIns="36000" rIns="72000" bIns="36000" rtlCol="0" anchor="ctr" anchorCtr="0">
            <a:spAutoFit/>
          </a:bodyPr>
          <a:lstStyle/>
          <a:p>
            <a:r>
              <a:rPr lang="en-GB" sz="800" dirty="0">
                <a:solidFill>
                  <a:srgbClr val="FF0000"/>
                </a:solidFill>
                <a:latin typeface="Verdana" pitchFamily="34" charset="0"/>
                <a:cs typeface="Arial" charset="0"/>
              </a:rPr>
              <a:t>Guides for gutter</a:t>
            </a:r>
          </a:p>
        </p:txBody>
      </p:sp>
      <p:sp>
        <p:nvSpPr>
          <p:cNvPr id="56" name="Rectangle 55"/>
          <p:cNvSpPr/>
          <p:nvPr userDrawn="1"/>
        </p:nvSpPr>
        <p:spPr>
          <a:xfrm>
            <a:off x="-2211796" y="3828970"/>
            <a:ext cx="2117916" cy="839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Text colours</a:t>
            </a:r>
          </a:p>
        </p:txBody>
      </p:sp>
      <p:sp>
        <p:nvSpPr>
          <p:cNvPr id="57" name="Rectangle 56"/>
          <p:cNvSpPr/>
          <p:nvPr userDrawn="1"/>
        </p:nvSpPr>
        <p:spPr>
          <a:xfrm>
            <a:off x="-2103784" y="4128849"/>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GB" sz="800" dirty="0">
                <a:solidFill>
                  <a:srgbClr val="FFFFFF"/>
                </a:solidFill>
              </a:rPr>
              <a:t>G 66</a:t>
            </a:r>
          </a:p>
          <a:p>
            <a:pPr algn="ctr"/>
            <a:r>
              <a:rPr lang="en-GB" sz="800" dirty="0">
                <a:solidFill>
                  <a:srgbClr val="FFFFFF"/>
                </a:solidFill>
              </a:rPr>
              <a:t>B 152</a:t>
            </a:r>
          </a:p>
        </p:txBody>
      </p:sp>
      <p:sp>
        <p:nvSpPr>
          <p:cNvPr id="60" name="Rectangle 59"/>
          <p:cNvSpPr/>
          <p:nvPr userDrawn="1"/>
        </p:nvSpPr>
        <p:spPr>
          <a:xfrm>
            <a:off x="-1365702" y="4128849"/>
            <a:ext cx="432048"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0</a:t>
            </a:r>
          </a:p>
          <a:p>
            <a:pPr algn="ctr"/>
            <a:r>
              <a:rPr lang="en-GB" sz="800" dirty="0">
                <a:solidFill>
                  <a:srgbClr val="FFFFFF"/>
                </a:solidFill>
              </a:rPr>
              <a:t>G 0</a:t>
            </a:r>
          </a:p>
          <a:p>
            <a:pPr algn="ctr"/>
            <a:r>
              <a:rPr lang="en-GB" sz="800" dirty="0">
                <a:solidFill>
                  <a:srgbClr val="FFFFFF"/>
                </a:solidFill>
              </a:rPr>
              <a:t>B 0</a:t>
            </a:r>
          </a:p>
        </p:txBody>
      </p:sp>
      <p:sp>
        <p:nvSpPr>
          <p:cNvPr id="61" name="Rectangle 60"/>
          <p:cNvSpPr/>
          <p:nvPr userDrawn="1"/>
        </p:nvSpPr>
        <p:spPr>
          <a:xfrm>
            <a:off x="-627620" y="4128849"/>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27</a:t>
            </a:r>
          </a:p>
          <a:p>
            <a:pPr algn="ctr"/>
            <a:r>
              <a:rPr lang="en-GB" sz="800" dirty="0">
                <a:solidFill>
                  <a:srgbClr val="FFFFFF"/>
                </a:solidFill>
              </a:rPr>
              <a:t>G 127</a:t>
            </a:r>
          </a:p>
          <a:p>
            <a:pPr algn="ctr"/>
            <a:r>
              <a:rPr lang="en-GB" sz="800" dirty="0">
                <a:solidFill>
                  <a:srgbClr val="FFFFFF"/>
                </a:solidFill>
              </a:rPr>
              <a:t>B 127</a:t>
            </a:r>
          </a:p>
        </p:txBody>
      </p:sp>
      <p:sp>
        <p:nvSpPr>
          <p:cNvPr id="62" name="Rectangle 61"/>
          <p:cNvSpPr/>
          <p:nvPr userDrawn="1"/>
        </p:nvSpPr>
        <p:spPr>
          <a:xfrm>
            <a:off x="-2211796" y="4821309"/>
            <a:ext cx="2117916" cy="1297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Background shading</a:t>
            </a:r>
          </a:p>
        </p:txBody>
      </p:sp>
      <p:sp>
        <p:nvSpPr>
          <p:cNvPr id="63" name="Rectangle 62"/>
          <p:cNvSpPr/>
          <p:nvPr userDrawn="1"/>
        </p:nvSpPr>
        <p:spPr>
          <a:xfrm>
            <a:off x="-2103784" y="5013176"/>
            <a:ext cx="43204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lumMod val="50000"/>
                  </a:srgbClr>
                </a:solidFill>
              </a:rPr>
              <a:t>R 242</a:t>
            </a:r>
          </a:p>
          <a:p>
            <a:pPr algn="ctr"/>
            <a:r>
              <a:rPr lang="en-GB" sz="800" dirty="0">
                <a:solidFill>
                  <a:srgbClr val="FFFFFF">
                    <a:lumMod val="50000"/>
                  </a:srgbClr>
                </a:solidFill>
              </a:rPr>
              <a:t>G 242</a:t>
            </a:r>
          </a:p>
          <a:p>
            <a:pPr algn="ctr"/>
            <a:r>
              <a:rPr lang="en-GB" sz="800" dirty="0">
                <a:solidFill>
                  <a:srgbClr val="FFFFFF">
                    <a:lumMod val="50000"/>
                  </a:srgbClr>
                </a:solidFill>
              </a:rPr>
              <a:t>B 242</a:t>
            </a:r>
          </a:p>
        </p:txBody>
      </p:sp>
      <p:sp>
        <p:nvSpPr>
          <p:cNvPr id="64" name="Rectangle 63"/>
          <p:cNvSpPr/>
          <p:nvPr userDrawn="1"/>
        </p:nvSpPr>
        <p:spPr>
          <a:xfrm>
            <a:off x="-1365702" y="5013176"/>
            <a:ext cx="432048" cy="4320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25</a:t>
            </a:r>
          </a:p>
          <a:p>
            <a:pPr algn="ctr"/>
            <a:r>
              <a:rPr lang="en-GB" sz="800" dirty="0">
                <a:solidFill>
                  <a:srgbClr val="1B4298"/>
                </a:solidFill>
              </a:rPr>
              <a:t>G 235</a:t>
            </a:r>
          </a:p>
          <a:p>
            <a:pPr algn="ctr"/>
            <a:r>
              <a:rPr lang="en-GB" sz="800" dirty="0">
                <a:solidFill>
                  <a:srgbClr val="1B4298"/>
                </a:solidFill>
              </a:rPr>
              <a:t>B 244</a:t>
            </a:r>
          </a:p>
        </p:txBody>
      </p:sp>
      <p:sp>
        <p:nvSpPr>
          <p:cNvPr id="65" name="Rectangle 64"/>
          <p:cNvSpPr/>
          <p:nvPr userDrawn="1"/>
        </p:nvSpPr>
        <p:spPr>
          <a:xfrm>
            <a:off x="-627620" y="5013176"/>
            <a:ext cx="432048" cy="432048"/>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73C6A1"/>
                </a:solidFill>
              </a:rPr>
              <a:t>R 227</a:t>
            </a:r>
          </a:p>
          <a:p>
            <a:pPr algn="ctr"/>
            <a:r>
              <a:rPr lang="en-GB" sz="800" dirty="0">
                <a:solidFill>
                  <a:srgbClr val="73C6A1"/>
                </a:solidFill>
              </a:rPr>
              <a:t>G 244</a:t>
            </a:r>
          </a:p>
          <a:p>
            <a:pPr algn="ctr"/>
            <a:r>
              <a:rPr lang="en-GB" sz="800" dirty="0">
                <a:solidFill>
                  <a:srgbClr val="73C6A1"/>
                </a:solidFill>
              </a:rPr>
              <a:t>B 236</a:t>
            </a:r>
          </a:p>
        </p:txBody>
      </p:sp>
      <p:grpSp>
        <p:nvGrpSpPr>
          <p:cNvPr id="57346" name="Group 65"/>
          <p:cNvGrpSpPr/>
          <p:nvPr userDrawn="1"/>
        </p:nvGrpSpPr>
        <p:grpSpPr>
          <a:xfrm>
            <a:off x="-1432624" y="295999"/>
            <a:ext cx="1338744" cy="215444"/>
            <a:chOff x="-1563724" y="81191"/>
            <a:chExt cx="1338744" cy="215444"/>
          </a:xfrm>
        </p:grpSpPr>
        <p:cxnSp>
          <p:nvCxnSpPr>
            <p:cNvPr id="67" name="Straight Arrow Connector 6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40</a:t>
              </a:r>
            </a:p>
          </p:txBody>
        </p:sp>
      </p:grpSp>
      <p:sp>
        <p:nvSpPr>
          <p:cNvPr id="71" name="Rectangle 70"/>
          <p:cNvSpPr/>
          <p:nvPr userDrawn="1"/>
        </p:nvSpPr>
        <p:spPr>
          <a:xfrm>
            <a:off x="-2211796" y="1341437"/>
            <a:ext cx="2117916" cy="2256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Colour order </a:t>
            </a:r>
            <a:r>
              <a:rPr lang="en-GB" sz="700" i="1" dirty="0">
                <a:solidFill>
                  <a:srgbClr val="1B4298"/>
                </a:solidFill>
              </a:rPr>
              <a:t>(left to right, top to bottom)</a:t>
            </a:r>
          </a:p>
        </p:txBody>
      </p:sp>
      <p:sp>
        <p:nvSpPr>
          <p:cNvPr id="72" name="Rectangle 71"/>
          <p:cNvSpPr/>
          <p:nvPr userDrawn="1"/>
        </p:nvSpPr>
        <p:spPr>
          <a:xfrm>
            <a:off x="-2103784" y="1533305"/>
            <a:ext cx="4320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59</a:t>
            </a:r>
          </a:p>
          <a:p>
            <a:pPr algn="ctr"/>
            <a:r>
              <a:rPr lang="en-US" sz="800" dirty="0">
                <a:solidFill>
                  <a:srgbClr val="FFFFFF"/>
                </a:solidFill>
              </a:rPr>
              <a:t>G 110</a:t>
            </a:r>
          </a:p>
          <a:p>
            <a:pPr algn="ctr"/>
            <a:r>
              <a:rPr lang="en-US" sz="800" dirty="0">
                <a:solidFill>
                  <a:srgbClr val="FFFFFF"/>
                </a:solidFill>
              </a:rPr>
              <a:t>B 143</a:t>
            </a:r>
            <a:endParaRPr lang="en-GB" sz="800" dirty="0">
              <a:solidFill>
                <a:srgbClr val="FFFFFF"/>
              </a:solidFill>
            </a:endParaRPr>
          </a:p>
        </p:txBody>
      </p:sp>
      <p:sp>
        <p:nvSpPr>
          <p:cNvPr id="73" name="Rectangle 72"/>
          <p:cNvSpPr/>
          <p:nvPr userDrawn="1"/>
        </p:nvSpPr>
        <p:spPr>
          <a:xfrm>
            <a:off x="-1365702" y="1533305"/>
            <a:ext cx="432048" cy="432048"/>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51</a:t>
            </a:r>
          </a:p>
          <a:p>
            <a:pPr algn="ctr"/>
            <a:r>
              <a:rPr lang="en-US" sz="800" dirty="0">
                <a:solidFill>
                  <a:srgbClr val="FFFFFF"/>
                </a:solidFill>
              </a:rPr>
              <a:t>G 193</a:t>
            </a:r>
          </a:p>
          <a:p>
            <a:pPr algn="ctr"/>
            <a:r>
              <a:rPr lang="en-US" sz="800" dirty="0">
                <a:solidFill>
                  <a:srgbClr val="FFFFFF"/>
                </a:solidFill>
              </a:rPr>
              <a:t>B 119</a:t>
            </a:r>
            <a:endParaRPr lang="en-GB" sz="800" dirty="0">
              <a:solidFill>
                <a:srgbClr val="FFFFFF"/>
              </a:solidFill>
            </a:endParaRPr>
          </a:p>
        </p:txBody>
      </p:sp>
      <p:sp>
        <p:nvSpPr>
          <p:cNvPr id="74" name="Rectangle 73"/>
          <p:cNvSpPr/>
          <p:nvPr userDrawn="1"/>
        </p:nvSpPr>
        <p:spPr>
          <a:xfrm>
            <a:off x="-627620" y="1533305"/>
            <a:ext cx="432048"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15</a:t>
            </a:r>
          </a:p>
          <a:p>
            <a:pPr algn="ctr"/>
            <a:r>
              <a:rPr lang="en-US" sz="800" dirty="0">
                <a:solidFill>
                  <a:srgbClr val="FFFFFF"/>
                </a:solidFill>
              </a:rPr>
              <a:t>G 198</a:t>
            </a:r>
          </a:p>
          <a:p>
            <a:pPr algn="ctr"/>
            <a:r>
              <a:rPr lang="en-US" sz="800" dirty="0">
                <a:solidFill>
                  <a:srgbClr val="FFFFFF"/>
                </a:solidFill>
              </a:rPr>
              <a:t>B 161</a:t>
            </a:r>
            <a:endParaRPr lang="en-GB" sz="800" dirty="0">
              <a:solidFill>
                <a:srgbClr val="FFFFFF"/>
              </a:solidFill>
            </a:endParaRPr>
          </a:p>
        </p:txBody>
      </p:sp>
      <p:sp>
        <p:nvSpPr>
          <p:cNvPr id="76" name="Rectangle 75"/>
          <p:cNvSpPr/>
          <p:nvPr userDrawn="1"/>
        </p:nvSpPr>
        <p:spPr>
          <a:xfrm>
            <a:off x="-2103784" y="2029016"/>
            <a:ext cx="432048"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03</a:t>
            </a:r>
          </a:p>
          <a:p>
            <a:pPr algn="ctr"/>
            <a:r>
              <a:rPr lang="en-US" sz="800" dirty="0">
                <a:solidFill>
                  <a:srgbClr val="FFFFFF"/>
                </a:solidFill>
              </a:rPr>
              <a:t>G 153</a:t>
            </a:r>
          </a:p>
          <a:p>
            <a:pPr algn="ctr"/>
            <a:r>
              <a:rPr lang="en-US" sz="800" dirty="0">
                <a:solidFill>
                  <a:srgbClr val="FFFFFF"/>
                </a:solidFill>
              </a:rPr>
              <a:t>B 200</a:t>
            </a:r>
            <a:endParaRPr lang="en-GB" sz="800" dirty="0">
              <a:solidFill>
                <a:srgbClr val="FFFFFF"/>
              </a:solidFill>
            </a:endParaRPr>
          </a:p>
        </p:txBody>
      </p:sp>
      <p:sp>
        <p:nvSpPr>
          <p:cNvPr id="77" name="Rectangle 76"/>
          <p:cNvSpPr/>
          <p:nvPr userDrawn="1"/>
        </p:nvSpPr>
        <p:spPr>
          <a:xfrm>
            <a:off x="-627620" y="2029016"/>
            <a:ext cx="432048" cy="432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86</a:t>
            </a:r>
          </a:p>
          <a:p>
            <a:pPr algn="ctr"/>
            <a:r>
              <a:rPr lang="en-US" sz="800" dirty="0">
                <a:solidFill>
                  <a:srgbClr val="1B4298"/>
                </a:solidFill>
              </a:rPr>
              <a:t>G 163</a:t>
            </a:r>
          </a:p>
          <a:p>
            <a:pPr algn="ctr"/>
            <a:r>
              <a:rPr lang="en-US" sz="800" dirty="0">
                <a:solidFill>
                  <a:srgbClr val="1B4298"/>
                </a:solidFill>
              </a:rPr>
              <a:t>B 171</a:t>
            </a:r>
            <a:endParaRPr lang="en-GB" sz="800" dirty="0">
              <a:solidFill>
                <a:srgbClr val="1B4298"/>
              </a:solidFill>
            </a:endParaRPr>
          </a:p>
        </p:txBody>
      </p:sp>
      <p:sp>
        <p:nvSpPr>
          <p:cNvPr id="78" name="Rectangle 77"/>
          <p:cNvSpPr/>
          <p:nvPr userDrawn="1"/>
        </p:nvSpPr>
        <p:spPr>
          <a:xfrm>
            <a:off x="-1365702" y="2029016"/>
            <a:ext cx="432048" cy="43204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91</a:t>
            </a:r>
          </a:p>
          <a:p>
            <a:pPr algn="ctr"/>
            <a:r>
              <a:rPr lang="en-US" sz="800" dirty="0">
                <a:solidFill>
                  <a:srgbClr val="1B4298"/>
                </a:solidFill>
              </a:rPr>
              <a:t>G 191</a:t>
            </a:r>
          </a:p>
          <a:p>
            <a:pPr algn="ctr"/>
            <a:r>
              <a:rPr lang="en-US" sz="800" dirty="0">
                <a:solidFill>
                  <a:srgbClr val="1B4298"/>
                </a:solidFill>
              </a:rPr>
              <a:t>B 191</a:t>
            </a:r>
            <a:endParaRPr lang="en-GB" sz="800" dirty="0">
              <a:solidFill>
                <a:srgbClr val="1B4298"/>
              </a:solidFill>
            </a:endParaRPr>
          </a:p>
        </p:txBody>
      </p:sp>
      <p:sp>
        <p:nvSpPr>
          <p:cNvPr id="80" name="Rectangle 79"/>
          <p:cNvSpPr/>
          <p:nvPr userDrawn="1"/>
        </p:nvSpPr>
        <p:spPr>
          <a:xfrm>
            <a:off x="-2103784" y="2524727"/>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127</a:t>
            </a:r>
          </a:p>
          <a:p>
            <a:pPr algn="ctr"/>
            <a:r>
              <a:rPr lang="en-US" sz="800" dirty="0">
                <a:solidFill>
                  <a:srgbClr val="FFFFFF"/>
                </a:solidFill>
              </a:rPr>
              <a:t>G 127</a:t>
            </a:r>
          </a:p>
          <a:p>
            <a:pPr algn="ctr"/>
            <a:r>
              <a:rPr lang="en-US" sz="800" dirty="0">
                <a:solidFill>
                  <a:srgbClr val="FFFFFF"/>
                </a:solidFill>
              </a:rPr>
              <a:t>B 127</a:t>
            </a:r>
            <a:endParaRPr lang="en-GB" sz="800" dirty="0">
              <a:solidFill>
                <a:srgbClr val="FFFFFF"/>
              </a:solidFill>
            </a:endParaRPr>
          </a:p>
        </p:txBody>
      </p:sp>
      <p:sp>
        <p:nvSpPr>
          <p:cNvPr id="81" name="Rectangle 80"/>
          <p:cNvSpPr/>
          <p:nvPr userDrawn="1"/>
        </p:nvSpPr>
        <p:spPr>
          <a:xfrm>
            <a:off x="-1365702" y="2524727"/>
            <a:ext cx="432048" cy="432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01</a:t>
            </a:r>
          </a:p>
          <a:p>
            <a:pPr algn="ctr"/>
            <a:r>
              <a:rPr lang="en-US" sz="800" dirty="0">
                <a:solidFill>
                  <a:srgbClr val="FFFFFF"/>
                </a:solidFill>
              </a:rPr>
              <a:t>G 48</a:t>
            </a:r>
          </a:p>
          <a:p>
            <a:pPr algn="ctr"/>
            <a:r>
              <a:rPr lang="en-US" sz="800" dirty="0">
                <a:solidFill>
                  <a:srgbClr val="FFFFFF"/>
                </a:solidFill>
              </a:rPr>
              <a:t>B 146</a:t>
            </a:r>
            <a:endParaRPr lang="en-GB" sz="800" dirty="0">
              <a:solidFill>
                <a:srgbClr val="FFFFFF"/>
              </a:solidFill>
            </a:endParaRPr>
          </a:p>
        </p:txBody>
      </p:sp>
      <p:sp>
        <p:nvSpPr>
          <p:cNvPr id="82" name="Rectangle 81"/>
          <p:cNvSpPr/>
          <p:nvPr userDrawn="1"/>
        </p:nvSpPr>
        <p:spPr>
          <a:xfrm>
            <a:off x="-627620" y="2524727"/>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US" sz="800" dirty="0">
                <a:solidFill>
                  <a:srgbClr val="FFFFFF"/>
                </a:solidFill>
              </a:rPr>
              <a:t>G 66</a:t>
            </a:r>
          </a:p>
          <a:p>
            <a:pPr algn="ctr"/>
            <a:r>
              <a:rPr lang="en-US" sz="800" dirty="0">
                <a:solidFill>
                  <a:srgbClr val="FFFFFF"/>
                </a:solidFill>
              </a:rPr>
              <a:t>B 152</a:t>
            </a:r>
            <a:endParaRPr lang="en-GB" sz="800" dirty="0">
              <a:solidFill>
                <a:srgbClr val="FFFFFF"/>
              </a:solidFill>
            </a:endParaRPr>
          </a:p>
        </p:txBody>
      </p:sp>
      <p:sp>
        <p:nvSpPr>
          <p:cNvPr id="83" name="Rectangle 82"/>
          <p:cNvSpPr/>
          <p:nvPr userDrawn="1"/>
        </p:nvSpPr>
        <p:spPr>
          <a:xfrm>
            <a:off x="-2103784" y="3020439"/>
            <a:ext cx="432048" cy="432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84</a:t>
            </a:r>
          </a:p>
          <a:p>
            <a:pPr algn="ctr"/>
            <a:r>
              <a:rPr lang="en-US" sz="800" dirty="0">
                <a:solidFill>
                  <a:srgbClr val="FFFFFF"/>
                </a:solidFill>
              </a:rPr>
              <a:t>G 7</a:t>
            </a:r>
          </a:p>
          <a:p>
            <a:pPr algn="ctr"/>
            <a:r>
              <a:rPr lang="en-US" sz="800" dirty="0">
                <a:solidFill>
                  <a:srgbClr val="FFFFFF"/>
                </a:solidFill>
              </a:rPr>
              <a:t>B 91</a:t>
            </a:r>
            <a:endParaRPr lang="en-GB" sz="800" dirty="0">
              <a:solidFill>
                <a:srgbClr val="FFFFFF"/>
              </a:solidFill>
            </a:endParaRPr>
          </a:p>
        </p:txBody>
      </p:sp>
      <p:sp>
        <p:nvSpPr>
          <p:cNvPr id="84" name="Rectangle 83"/>
          <p:cNvSpPr/>
          <p:nvPr userDrawn="1"/>
        </p:nvSpPr>
        <p:spPr>
          <a:xfrm>
            <a:off x="-1365702" y="3020439"/>
            <a:ext cx="432048" cy="432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48</a:t>
            </a:r>
          </a:p>
          <a:p>
            <a:pPr algn="ctr"/>
            <a:r>
              <a:rPr lang="en-US" sz="800" dirty="0">
                <a:solidFill>
                  <a:srgbClr val="1B4298"/>
                </a:solidFill>
              </a:rPr>
              <a:t>G 152</a:t>
            </a:r>
          </a:p>
          <a:p>
            <a:pPr algn="ctr"/>
            <a:r>
              <a:rPr lang="en-US" sz="800" dirty="0">
                <a:solidFill>
                  <a:srgbClr val="1B4298"/>
                </a:solidFill>
              </a:rPr>
              <a:t>B 29</a:t>
            </a:r>
            <a:endParaRPr lang="en-GB" sz="800" dirty="0">
              <a:solidFill>
                <a:srgbClr val="1B4298"/>
              </a:solidFill>
            </a:endParaRPr>
          </a:p>
        </p:txBody>
      </p:sp>
      <p:sp>
        <p:nvSpPr>
          <p:cNvPr id="86" name="Rectangle 85"/>
          <p:cNvSpPr/>
          <p:nvPr userDrawn="1"/>
        </p:nvSpPr>
        <p:spPr>
          <a:xfrm>
            <a:off x="-2103784" y="5517232"/>
            <a:ext cx="432048" cy="4320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BAA3AB"/>
                </a:solidFill>
              </a:rPr>
              <a:t>R 241</a:t>
            </a:r>
          </a:p>
          <a:p>
            <a:pPr algn="ctr"/>
            <a:r>
              <a:rPr lang="en-GB" sz="800" dirty="0">
                <a:solidFill>
                  <a:srgbClr val="BAA3AB"/>
                </a:solidFill>
              </a:rPr>
              <a:t>G 237</a:t>
            </a:r>
          </a:p>
          <a:p>
            <a:pPr algn="ctr"/>
            <a:r>
              <a:rPr lang="en-GB" sz="800" dirty="0">
                <a:solidFill>
                  <a:srgbClr val="BAA3AB"/>
                </a:solidFill>
              </a:rPr>
              <a:t>B 238</a:t>
            </a:r>
          </a:p>
        </p:txBody>
      </p:sp>
      <p:sp>
        <p:nvSpPr>
          <p:cNvPr id="87" name="Rectangle 86"/>
          <p:cNvSpPr/>
          <p:nvPr userDrawn="1"/>
        </p:nvSpPr>
        <p:spPr>
          <a:xfrm>
            <a:off x="-1365702" y="5517232"/>
            <a:ext cx="432048" cy="4320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8981D"/>
                </a:solidFill>
              </a:rPr>
              <a:t>R 254</a:t>
            </a:r>
          </a:p>
          <a:p>
            <a:pPr algn="ctr"/>
            <a:r>
              <a:rPr lang="en-GB" sz="800" dirty="0">
                <a:solidFill>
                  <a:srgbClr val="F8981D"/>
                </a:solidFill>
              </a:rPr>
              <a:t>G 234</a:t>
            </a:r>
          </a:p>
          <a:p>
            <a:pPr algn="ctr"/>
            <a:r>
              <a:rPr lang="en-GB" sz="800" dirty="0">
                <a:solidFill>
                  <a:srgbClr val="F8981D"/>
                </a:solidFill>
              </a:rPr>
              <a:t>B 210</a:t>
            </a:r>
          </a:p>
        </p:txBody>
      </p:sp>
      <p:sp>
        <p:nvSpPr>
          <p:cNvPr id="88" name="Rectangle 87"/>
          <p:cNvSpPr/>
          <p:nvPr userDrawn="1"/>
        </p:nvSpPr>
        <p:spPr>
          <a:xfrm>
            <a:off x="-627620" y="5517232"/>
            <a:ext cx="432048"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11</a:t>
            </a:r>
          </a:p>
          <a:p>
            <a:pPr algn="ctr"/>
            <a:r>
              <a:rPr lang="en-GB" sz="800" dirty="0">
                <a:solidFill>
                  <a:srgbClr val="1B4298"/>
                </a:solidFill>
              </a:rPr>
              <a:t>G 227</a:t>
            </a:r>
          </a:p>
          <a:p>
            <a:pPr algn="ctr"/>
            <a:r>
              <a:rPr lang="en-GB" sz="800" dirty="0">
                <a:solidFill>
                  <a:srgbClr val="1B4298"/>
                </a:solidFill>
              </a:rPr>
              <a:t>B 237</a:t>
            </a:r>
          </a:p>
        </p:txBody>
      </p:sp>
    </p:spTree>
    <p:extLst>
      <p:ext uri="{BB962C8B-B14F-4D97-AF65-F5344CB8AC3E}">
        <p14:creationId xmlns:p14="http://schemas.microsoft.com/office/powerpoint/2010/main" val="223111527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_Title">
    <p:spTree>
      <p:nvGrpSpPr>
        <p:cNvPr id="1" name=""/>
        <p:cNvGrpSpPr/>
        <p:nvPr/>
      </p:nvGrpSpPr>
      <p:grpSpPr>
        <a:xfrm>
          <a:off x="0" y="0"/>
          <a:ext cx="0" cy="0"/>
          <a:chOff x="0" y="0"/>
          <a:chExt cx="0" cy="0"/>
        </a:xfrm>
      </p:grpSpPr>
      <p:grpSp>
        <p:nvGrpSpPr>
          <p:cNvPr id="8" name="Group 8"/>
          <p:cNvGrpSpPr>
            <a:grpSpLocks/>
          </p:cNvGrpSpPr>
          <p:nvPr userDrawn="1"/>
        </p:nvGrpSpPr>
        <p:grpSpPr bwMode="auto">
          <a:xfrm>
            <a:off x="150813" y="-819150"/>
            <a:ext cx="647700" cy="719137"/>
            <a:chOff x="160506" y="-818892"/>
            <a:chExt cx="648072" cy="719500"/>
          </a:xfrm>
        </p:grpSpPr>
        <p:cxnSp>
          <p:nvCxnSpPr>
            <p:cNvPr id="9" name="Straight Arrow Connector 8"/>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11"/>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11" name="Group 12"/>
          <p:cNvGrpSpPr>
            <a:grpSpLocks/>
          </p:cNvGrpSpPr>
          <p:nvPr userDrawn="1"/>
        </p:nvGrpSpPr>
        <p:grpSpPr bwMode="auto">
          <a:xfrm>
            <a:off x="-1431925" y="1009650"/>
            <a:ext cx="1338262" cy="214313"/>
            <a:chOff x="-1563724" y="81191"/>
            <a:chExt cx="1338744" cy="215444"/>
          </a:xfrm>
        </p:grpSpPr>
        <p:cxnSp>
          <p:nvCxnSpPr>
            <p:cNvPr id="12" name="Straight Arrow Connector 11"/>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4"/>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6.40</a:t>
              </a:r>
            </a:p>
          </p:txBody>
        </p:sp>
      </p:grpSp>
      <p:grpSp>
        <p:nvGrpSpPr>
          <p:cNvPr id="14" name="Group 16"/>
          <p:cNvGrpSpPr>
            <a:grpSpLocks/>
          </p:cNvGrpSpPr>
          <p:nvPr userDrawn="1"/>
        </p:nvGrpSpPr>
        <p:grpSpPr bwMode="auto">
          <a:xfrm>
            <a:off x="10066338" y="858838"/>
            <a:ext cx="1381125" cy="215900"/>
            <a:chOff x="10065568" y="797397"/>
            <a:chExt cx="1382640" cy="215444"/>
          </a:xfrm>
        </p:grpSpPr>
        <p:cxnSp>
          <p:nvCxnSpPr>
            <p:cNvPr id="15" name="Straight Arrow Connector 14"/>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7"/>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6.80</a:t>
              </a:r>
            </a:p>
          </p:txBody>
        </p:sp>
      </p:grpSp>
      <p:grpSp>
        <p:nvGrpSpPr>
          <p:cNvPr id="17" name="Group 20"/>
          <p:cNvGrpSpPr>
            <a:grpSpLocks/>
          </p:cNvGrpSpPr>
          <p:nvPr userDrawn="1"/>
        </p:nvGrpSpPr>
        <p:grpSpPr bwMode="auto">
          <a:xfrm>
            <a:off x="10066338" y="1217613"/>
            <a:ext cx="1381125" cy="215900"/>
            <a:chOff x="10065568" y="797397"/>
            <a:chExt cx="1382640" cy="215444"/>
          </a:xfrm>
        </p:grpSpPr>
        <p:cxnSp>
          <p:nvCxnSpPr>
            <p:cNvPr id="19" name="Straight Arrow Connector 18"/>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20"/>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5.80</a:t>
              </a:r>
            </a:p>
          </p:txBody>
        </p:sp>
      </p:grpSp>
      <p:grpSp>
        <p:nvGrpSpPr>
          <p:cNvPr id="21" name="Group 23"/>
          <p:cNvGrpSpPr>
            <a:grpSpLocks/>
          </p:cNvGrpSpPr>
          <p:nvPr userDrawn="1"/>
        </p:nvGrpSpPr>
        <p:grpSpPr bwMode="auto">
          <a:xfrm>
            <a:off x="-1431925" y="3597275"/>
            <a:ext cx="1338262" cy="215900"/>
            <a:chOff x="-1563724" y="81191"/>
            <a:chExt cx="1338744" cy="215444"/>
          </a:xfrm>
        </p:grpSpPr>
        <p:cxnSp>
          <p:nvCxnSpPr>
            <p:cNvPr id="22" name="Straight Arrow Connector 21"/>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3"/>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0.80</a:t>
              </a:r>
            </a:p>
          </p:txBody>
        </p:sp>
      </p:grpSp>
      <p:grpSp>
        <p:nvGrpSpPr>
          <p:cNvPr id="24" name="Group 26"/>
          <p:cNvGrpSpPr>
            <a:grpSpLocks/>
          </p:cNvGrpSpPr>
          <p:nvPr userDrawn="1"/>
        </p:nvGrpSpPr>
        <p:grpSpPr bwMode="auto">
          <a:xfrm>
            <a:off x="10109200" y="3738563"/>
            <a:ext cx="1382713" cy="215900"/>
            <a:chOff x="10065568" y="797397"/>
            <a:chExt cx="1382640" cy="215444"/>
          </a:xfrm>
        </p:grpSpPr>
        <p:cxnSp>
          <p:nvCxnSpPr>
            <p:cNvPr id="25" name="Straight Arrow Connector 24"/>
            <p:cNvCxnSpPr/>
            <p:nvPr userDrawn="1"/>
          </p:nvCxnSpPr>
          <p:spPr>
            <a:xfrm flipH="1">
              <a:off x="10065568" y="908287"/>
              <a:ext cx="64766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6"/>
            <p:cNvSpPr txBox="1">
              <a:spLocks noChangeArrowheads="1"/>
            </p:cNvSpPr>
            <p:nvPr userDrawn="1"/>
          </p:nvSpPr>
          <p:spPr bwMode="auto">
            <a:xfrm>
              <a:off x="10800542" y="797397"/>
              <a:ext cx="6476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1.20</a:t>
              </a:r>
            </a:p>
          </p:txBody>
        </p:sp>
      </p:grpSp>
      <p:grpSp>
        <p:nvGrpSpPr>
          <p:cNvPr id="27" name="Group 29"/>
          <p:cNvGrpSpPr>
            <a:grpSpLocks/>
          </p:cNvGrpSpPr>
          <p:nvPr userDrawn="1"/>
        </p:nvGrpSpPr>
        <p:grpSpPr bwMode="auto">
          <a:xfrm>
            <a:off x="-1431925" y="6118225"/>
            <a:ext cx="1338262" cy="215900"/>
            <a:chOff x="-1563724" y="81191"/>
            <a:chExt cx="1338744" cy="215444"/>
          </a:xfrm>
        </p:grpSpPr>
        <p:cxnSp>
          <p:nvCxnSpPr>
            <p:cNvPr id="28" name="Straight Arrow Connector 27"/>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9"/>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7.80</a:t>
              </a:r>
            </a:p>
          </p:txBody>
        </p:sp>
      </p:grpSp>
      <p:grpSp>
        <p:nvGrpSpPr>
          <p:cNvPr id="30" name="Group 32"/>
          <p:cNvGrpSpPr>
            <a:grpSpLocks/>
          </p:cNvGrpSpPr>
          <p:nvPr userDrawn="1"/>
        </p:nvGrpSpPr>
        <p:grpSpPr bwMode="auto">
          <a:xfrm>
            <a:off x="-1431925" y="6481763"/>
            <a:ext cx="1338262" cy="215900"/>
            <a:chOff x="-1563724" y="81191"/>
            <a:chExt cx="1338744" cy="215444"/>
          </a:xfrm>
        </p:grpSpPr>
        <p:cxnSp>
          <p:nvCxnSpPr>
            <p:cNvPr id="31" name="Straight Arrow Connector 3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80</a:t>
              </a:r>
            </a:p>
          </p:txBody>
        </p:sp>
      </p:grpSp>
      <p:grpSp>
        <p:nvGrpSpPr>
          <p:cNvPr id="33" name="Group 35"/>
          <p:cNvGrpSpPr>
            <a:grpSpLocks/>
          </p:cNvGrpSpPr>
          <p:nvPr userDrawn="1"/>
        </p:nvGrpSpPr>
        <p:grpSpPr bwMode="auto">
          <a:xfrm>
            <a:off x="-1431925" y="74613"/>
            <a:ext cx="1338262" cy="214312"/>
            <a:chOff x="-1563724" y="81191"/>
            <a:chExt cx="1338744" cy="215444"/>
          </a:xfrm>
        </p:grpSpPr>
        <p:cxnSp>
          <p:nvCxnSpPr>
            <p:cNvPr id="34" name="Straight Arrow Connector 33"/>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5"/>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9.00</a:t>
              </a:r>
            </a:p>
          </p:txBody>
        </p:sp>
      </p:grpSp>
      <p:grpSp>
        <p:nvGrpSpPr>
          <p:cNvPr id="36" name="Group 38"/>
          <p:cNvGrpSpPr>
            <a:grpSpLocks/>
          </p:cNvGrpSpPr>
          <p:nvPr userDrawn="1"/>
        </p:nvGrpSpPr>
        <p:grpSpPr bwMode="auto">
          <a:xfrm>
            <a:off x="4557713" y="-819150"/>
            <a:ext cx="647700" cy="719137"/>
            <a:chOff x="312906" y="-666492"/>
            <a:chExt cx="648072" cy="719500"/>
          </a:xfrm>
        </p:grpSpPr>
        <p:cxnSp>
          <p:nvCxnSpPr>
            <p:cNvPr id="37" name="Straight Arrow Connector 36"/>
            <p:cNvCxnSpPr/>
            <p:nvPr userDrawn="1"/>
          </p:nvCxnSpPr>
          <p:spPr>
            <a:xfrm>
              <a:off x="635353" y="-4504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8"/>
            <p:cNvSpPr txBox="1">
              <a:spLocks noChangeArrowheads="1"/>
            </p:cNvSpPr>
            <p:nvPr userDrawn="1"/>
          </p:nvSpPr>
          <p:spPr bwMode="auto">
            <a:xfrm>
              <a:off x="312906" y="-6664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39" name="Group 84"/>
          <p:cNvGrpSpPr>
            <a:grpSpLocks/>
          </p:cNvGrpSpPr>
          <p:nvPr userDrawn="1"/>
        </p:nvGrpSpPr>
        <p:grpSpPr bwMode="auto">
          <a:xfrm>
            <a:off x="4691063" y="6958013"/>
            <a:ext cx="649287" cy="719137"/>
            <a:chOff x="4691529" y="6957392"/>
            <a:chExt cx="648072" cy="719501"/>
          </a:xfrm>
        </p:grpSpPr>
        <p:cxnSp>
          <p:nvCxnSpPr>
            <p:cNvPr id="40" name="Straight Arrow Connector 39"/>
            <p:cNvCxnSpPr/>
            <p:nvPr userDrawn="1"/>
          </p:nvCxnSpPr>
          <p:spPr>
            <a:xfrm rot="10800000">
              <a:off x="5016357" y="6957392"/>
              <a:ext cx="0" cy="50349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1"/>
            <p:cNvSpPr txBox="1">
              <a:spLocks noChangeArrowheads="1"/>
            </p:cNvSpPr>
            <p:nvPr userDrawn="1"/>
          </p:nvSpPr>
          <p:spPr bwMode="auto">
            <a:xfrm>
              <a:off x="4691529" y="7460884"/>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42" name="Group 44"/>
          <p:cNvGrpSpPr>
            <a:grpSpLocks/>
          </p:cNvGrpSpPr>
          <p:nvPr userDrawn="1"/>
        </p:nvGrpSpPr>
        <p:grpSpPr bwMode="auto">
          <a:xfrm>
            <a:off x="9085263" y="-808038"/>
            <a:ext cx="647700" cy="719138"/>
            <a:chOff x="160506" y="-818892"/>
            <a:chExt cx="648072" cy="719500"/>
          </a:xfrm>
        </p:grpSpPr>
        <p:cxnSp>
          <p:nvCxnSpPr>
            <p:cNvPr id="43" name="Straight Arrow Connector 42"/>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4"/>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45" name="Group 47"/>
          <p:cNvGrpSpPr>
            <a:grpSpLocks/>
          </p:cNvGrpSpPr>
          <p:nvPr userDrawn="1"/>
        </p:nvGrpSpPr>
        <p:grpSpPr bwMode="auto">
          <a:xfrm>
            <a:off x="1773238" y="-819150"/>
            <a:ext cx="647700" cy="719137"/>
            <a:chOff x="160506" y="-818892"/>
            <a:chExt cx="648072" cy="719500"/>
          </a:xfrm>
        </p:grpSpPr>
        <p:cxnSp>
          <p:nvCxnSpPr>
            <p:cNvPr id="46" name="Straight Arrow Connector 45"/>
            <p:cNvCxnSpPr/>
            <p:nvPr userDrawn="1"/>
          </p:nvCxnSpPr>
          <p:spPr>
            <a:xfrm>
              <a:off x="482953" y="-602883"/>
              <a:ext cx="0" cy="50349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7"/>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90</a:t>
              </a:r>
            </a:p>
          </p:txBody>
        </p:sp>
      </p:grpSp>
      <p:grpSp>
        <p:nvGrpSpPr>
          <p:cNvPr id="48" name="Group 88"/>
          <p:cNvGrpSpPr>
            <a:grpSpLocks/>
          </p:cNvGrpSpPr>
          <p:nvPr userDrawn="1"/>
        </p:nvGrpSpPr>
        <p:grpSpPr bwMode="auto">
          <a:xfrm>
            <a:off x="1938338" y="-603250"/>
            <a:ext cx="647700" cy="503237"/>
            <a:chOff x="1938189" y="-602868"/>
            <a:chExt cx="648072" cy="502896"/>
          </a:xfrm>
        </p:grpSpPr>
        <p:cxnSp>
          <p:nvCxnSpPr>
            <p:cNvPr id="49" name="Straight Arrow Connector 48"/>
            <p:cNvCxnSpPr/>
            <p:nvPr userDrawn="1"/>
          </p:nvCxnSpPr>
          <p:spPr>
            <a:xfrm>
              <a:off x="2249518" y="-387114"/>
              <a:ext cx="0" cy="28714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50"/>
            <p:cNvSpPr txBox="1">
              <a:spLocks noChangeArrowheads="1"/>
            </p:cNvSpPr>
            <p:nvPr userDrawn="1"/>
          </p:nvSpPr>
          <p:spPr bwMode="auto">
            <a:xfrm>
              <a:off x="1938189" y="-602868"/>
              <a:ext cx="648072" cy="21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50</a:t>
              </a:r>
            </a:p>
          </p:txBody>
        </p:sp>
      </p:grpSp>
      <p:sp>
        <p:nvSpPr>
          <p:cNvPr id="51" name="TextBox 51"/>
          <p:cNvSpPr txBox="1">
            <a:spLocks noChangeArrowheads="1"/>
          </p:cNvSpPr>
          <p:nvPr userDrawn="1"/>
        </p:nvSpPr>
        <p:spPr bwMode="auto">
          <a:xfrm>
            <a:off x="1647825" y="-981075"/>
            <a:ext cx="10287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0000"/>
                </a:solidFill>
                <a:latin typeface="Verdana" pitchFamily="34" charset="0"/>
              </a:rPr>
              <a:t>Guides for gutter</a:t>
            </a:r>
          </a:p>
        </p:txBody>
      </p:sp>
      <p:sp>
        <p:nvSpPr>
          <p:cNvPr id="52" name="Rectangle 51"/>
          <p:cNvSpPr/>
          <p:nvPr userDrawn="1"/>
        </p:nvSpPr>
        <p:spPr>
          <a:xfrm>
            <a:off x="-2211388" y="3829050"/>
            <a:ext cx="2117725" cy="839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Text colours</a:t>
            </a:r>
          </a:p>
        </p:txBody>
      </p:sp>
      <p:sp>
        <p:nvSpPr>
          <p:cNvPr id="53" name="Rectangle 52"/>
          <p:cNvSpPr/>
          <p:nvPr userDrawn="1"/>
        </p:nvSpPr>
        <p:spPr>
          <a:xfrm>
            <a:off x="-2103438" y="4129088"/>
            <a:ext cx="431800" cy="431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GB" sz="800" dirty="0">
                <a:solidFill>
                  <a:srgbClr val="FFFFFF"/>
                </a:solidFill>
              </a:rPr>
              <a:t>G 66</a:t>
            </a:r>
          </a:p>
          <a:p>
            <a:pPr algn="ctr">
              <a:defRPr/>
            </a:pPr>
            <a:r>
              <a:rPr lang="en-GB" sz="800" dirty="0">
                <a:solidFill>
                  <a:srgbClr val="FFFFFF"/>
                </a:solidFill>
              </a:rPr>
              <a:t>B 152</a:t>
            </a:r>
          </a:p>
        </p:txBody>
      </p:sp>
      <p:sp>
        <p:nvSpPr>
          <p:cNvPr id="54" name="Rectangle 53"/>
          <p:cNvSpPr/>
          <p:nvPr userDrawn="1"/>
        </p:nvSpPr>
        <p:spPr>
          <a:xfrm>
            <a:off x="-1365250" y="4129088"/>
            <a:ext cx="431800" cy="431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0</a:t>
            </a:r>
          </a:p>
          <a:p>
            <a:pPr algn="ctr">
              <a:defRPr/>
            </a:pPr>
            <a:r>
              <a:rPr lang="en-GB" sz="800" dirty="0">
                <a:solidFill>
                  <a:srgbClr val="FFFFFF"/>
                </a:solidFill>
              </a:rPr>
              <a:t>G 0</a:t>
            </a:r>
          </a:p>
          <a:p>
            <a:pPr algn="ctr">
              <a:defRPr/>
            </a:pPr>
            <a:r>
              <a:rPr lang="en-GB" sz="800" dirty="0">
                <a:solidFill>
                  <a:srgbClr val="FFFFFF"/>
                </a:solidFill>
              </a:rPr>
              <a:t>B 0</a:t>
            </a:r>
          </a:p>
        </p:txBody>
      </p:sp>
      <p:sp>
        <p:nvSpPr>
          <p:cNvPr id="55" name="Rectangle 54"/>
          <p:cNvSpPr/>
          <p:nvPr userDrawn="1"/>
        </p:nvSpPr>
        <p:spPr>
          <a:xfrm>
            <a:off x="-627063" y="4129088"/>
            <a:ext cx="431800" cy="431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27</a:t>
            </a:r>
          </a:p>
          <a:p>
            <a:pPr algn="ctr">
              <a:defRPr/>
            </a:pPr>
            <a:r>
              <a:rPr lang="en-GB" sz="800" dirty="0">
                <a:solidFill>
                  <a:srgbClr val="FFFFFF"/>
                </a:solidFill>
              </a:rPr>
              <a:t>G 127</a:t>
            </a:r>
          </a:p>
          <a:p>
            <a:pPr algn="ctr">
              <a:defRPr/>
            </a:pPr>
            <a:r>
              <a:rPr lang="en-GB" sz="800" dirty="0">
                <a:solidFill>
                  <a:srgbClr val="FFFFFF"/>
                </a:solidFill>
              </a:rPr>
              <a:t>B 127</a:t>
            </a:r>
          </a:p>
        </p:txBody>
      </p:sp>
      <p:sp>
        <p:nvSpPr>
          <p:cNvPr id="56" name="Rectangle 55"/>
          <p:cNvSpPr/>
          <p:nvPr userDrawn="1"/>
        </p:nvSpPr>
        <p:spPr>
          <a:xfrm>
            <a:off x="-2211388" y="4821238"/>
            <a:ext cx="2117725" cy="12969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Background shading</a:t>
            </a:r>
          </a:p>
        </p:txBody>
      </p:sp>
      <p:sp>
        <p:nvSpPr>
          <p:cNvPr id="57" name="Rectangle 56"/>
          <p:cNvSpPr/>
          <p:nvPr userDrawn="1"/>
        </p:nvSpPr>
        <p:spPr>
          <a:xfrm>
            <a:off x="-2103438" y="5013325"/>
            <a:ext cx="431800" cy="431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lumMod val="50000"/>
                  </a:srgbClr>
                </a:solidFill>
              </a:rPr>
              <a:t>R 242</a:t>
            </a:r>
          </a:p>
          <a:p>
            <a:pPr algn="ctr">
              <a:defRPr/>
            </a:pPr>
            <a:r>
              <a:rPr lang="en-GB" sz="800" dirty="0">
                <a:solidFill>
                  <a:srgbClr val="FFFFFF">
                    <a:lumMod val="50000"/>
                  </a:srgbClr>
                </a:solidFill>
              </a:rPr>
              <a:t>G 242</a:t>
            </a:r>
          </a:p>
          <a:p>
            <a:pPr algn="ctr">
              <a:defRPr/>
            </a:pPr>
            <a:r>
              <a:rPr lang="en-GB" sz="800" dirty="0">
                <a:solidFill>
                  <a:srgbClr val="FFFFFF">
                    <a:lumMod val="50000"/>
                  </a:srgbClr>
                </a:solidFill>
              </a:rPr>
              <a:t>B 242</a:t>
            </a:r>
          </a:p>
        </p:txBody>
      </p:sp>
      <p:sp>
        <p:nvSpPr>
          <p:cNvPr id="58" name="Rectangle 57"/>
          <p:cNvSpPr/>
          <p:nvPr userDrawn="1"/>
        </p:nvSpPr>
        <p:spPr>
          <a:xfrm>
            <a:off x="-1365250" y="5013325"/>
            <a:ext cx="431800" cy="4318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25</a:t>
            </a:r>
          </a:p>
          <a:p>
            <a:pPr algn="ctr">
              <a:defRPr/>
            </a:pPr>
            <a:r>
              <a:rPr lang="en-GB" sz="800" dirty="0">
                <a:solidFill>
                  <a:srgbClr val="1B4298"/>
                </a:solidFill>
              </a:rPr>
              <a:t>G 235</a:t>
            </a:r>
          </a:p>
          <a:p>
            <a:pPr algn="ctr">
              <a:defRPr/>
            </a:pPr>
            <a:r>
              <a:rPr lang="en-GB" sz="800" dirty="0">
                <a:solidFill>
                  <a:srgbClr val="1B4298"/>
                </a:solidFill>
              </a:rPr>
              <a:t>B 244</a:t>
            </a:r>
          </a:p>
        </p:txBody>
      </p:sp>
      <p:sp>
        <p:nvSpPr>
          <p:cNvPr id="59" name="Rectangle 58"/>
          <p:cNvSpPr/>
          <p:nvPr userDrawn="1"/>
        </p:nvSpPr>
        <p:spPr>
          <a:xfrm>
            <a:off x="-627063" y="5013325"/>
            <a:ext cx="431800" cy="431800"/>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73C6A1"/>
                </a:solidFill>
              </a:rPr>
              <a:t>R 227</a:t>
            </a:r>
          </a:p>
          <a:p>
            <a:pPr algn="ctr">
              <a:defRPr/>
            </a:pPr>
            <a:r>
              <a:rPr lang="en-GB" sz="800" dirty="0">
                <a:solidFill>
                  <a:srgbClr val="73C6A1"/>
                </a:solidFill>
              </a:rPr>
              <a:t>G 244</a:t>
            </a:r>
          </a:p>
          <a:p>
            <a:pPr algn="ctr">
              <a:defRPr/>
            </a:pPr>
            <a:r>
              <a:rPr lang="en-GB" sz="800" dirty="0">
                <a:solidFill>
                  <a:srgbClr val="73C6A1"/>
                </a:solidFill>
              </a:rPr>
              <a:t>B 236</a:t>
            </a:r>
          </a:p>
        </p:txBody>
      </p:sp>
      <p:grpSp>
        <p:nvGrpSpPr>
          <p:cNvPr id="60" name="Group 65"/>
          <p:cNvGrpSpPr>
            <a:grpSpLocks/>
          </p:cNvGrpSpPr>
          <p:nvPr userDrawn="1"/>
        </p:nvGrpSpPr>
        <p:grpSpPr bwMode="auto">
          <a:xfrm>
            <a:off x="-1431925" y="295275"/>
            <a:ext cx="1338262" cy="215900"/>
            <a:chOff x="-1563724" y="81191"/>
            <a:chExt cx="1338744" cy="215444"/>
          </a:xfrm>
        </p:grpSpPr>
        <p:cxnSp>
          <p:nvCxnSpPr>
            <p:cNvPr id="61" name="Straight Arrow Connector 6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40</a:t>
              </a:r>
            </a:p>
          </p:txBody>
        </p:sp>
      </p:grpSp>
      <p:sp>
        <p:nvSpPr>
          <p:cNvPr id="63" name="Rectangle 62"/>
          <p:cNvSpPr/>
          <p:nvPr userDrawn="1"/>
        </p:nvSpPr>
        <p:spPr>
          <a:xfrm>
            <a:off x="-2211388" y="1341438"/>
            <a:ext cx="2117725" cy="2255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Colour order </a:t>
            </a:r>
            <a:r>
              <a:rPr lang="en-GB" sz="700" i="1" dirty="0">
                <a:solidFill>
                  <a:srgbClr val="1B4298"/>
                </a:solidFill>
              </a:rPr>
              <a:t>(left to right, top to bottom)</a:t>
            </a:r>
          </a:p>
        </p:txBody>
      </p:sp>
      <p:sp>
        <p:nvSpPr>
          <p:cNvPr id="64" name="Rectangle 63"/>
          <p:cNvSpPr/>
          <p:nvPr userDrawn="1"/>
        </p:nvSpPr>
        <p:spPr>
          <a:xfrm>
            <a:off x="-2103438" y="1533525"/>
            <a:ext cx="431800"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59</a:t>
            </a:r>
          </a:p>
          <a:p>
            <a:pPr algn="ctr">
              <a:defRPr/>
            </a:pPr>
            <a:r>
              <a:rPr lang="en-US" sz="800" dirty="0">
                <a:solidFill>
                  <a:srgbClr val="FFFFFF"/>
                </a:solidFill>
              </a:rPr>
              <a:t>G 110</a:t>
            </a:r>
          </a:p>
          <a:p>
            <a:pPr algn="ctr">
              <a:defRPr/>
            </a:pPr>
            <a:r>
              <a:rPr lang="en-US" sz="800" dirty="0">
                <a:solidFill>
                  <a:srgbClr val="FFFFFF"/>
                </a:solidFill>
              </a:rPr>
              <a:t>B 143</a:t>
            </a:r>
            <a:endParaRPr lang="en-GB" sz="800" dirty="0">
              <a:solidFill>
                <a:srgbClr val="FFFFFF"/>
              </a:solidFill>
            </a:endParaRPr>
          </a:p>
        </p:txBody>
      </p:sp>
      <p:sp>
        <p:nvSpPr>
          <p:cNvPr id="65" name="Rectangle 64"/>
          <p:cNvSpPr/>
          <p:nvPr userDrawn="1"/>
        </p:nvSpPr>
        <p:spPr>
          <a:xfrm>
            <a:off x="-1365250" y="1533525"/>
            <a:ext cx="431800" cy="4318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51</a:t>
            </a:r>
          </a:p>
          <a:p>
            <a:pPr algn="ctr">
              <a:defRPr/>
            </a:pPr>
            <a:r>
              <a:rPr lang="en-US" sz="800" dirty="0">
                <a:solidFill>
                  <a:srgbClr val="FFFFFF"/>
                </a:solidFill>
              </a:rPr>
              <a:t>G 193</a:t>
            </a:r>
          </a:p>
          <a:p>
            <a:pPr algn="ctr">
              <a:defRPr/>
            </a:pPr>
            <a:r>
              <a:rPr lang="en-US" sz="800" dirty="0">
                <a:solidFill>
                  <a:srgbClr val="FFFFFF"/>
                </a:solidFill>
              </a:rPr>
              <a:t>B 119</a:t>
            </a:r>
            <a:endParaRPr lang="en-GB" sz="800" dirty="0">
              <a:solidFill>
                <a:srgbClr val="FFFFFF"/>
              </a:solidFill>
            </a:endParaRPr>
          </a:p>
        </p:txBody>
      </p:sp>
      <p:sp>
        <p:nvSpPr>
          <p:cNvPr id="66" name="Rectangle 65"/>
          <p:cNvSpPr/>
          <p:nvPr userDrawn="1"/>
        </p:nvSpPr>
        <p:spPr>
          <a:xfrm>
            <a:off x="-627063" y="1533525"/>
            <a:ext cx="431800" cy="431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15</a:t>
            </a:r>
          </a:p>
          <a:p>
            <a:pPr algn="ctr">
              <a:defRPr/>
            </a:pPr>
            <a:r>
              <a:rPr lang="en-US" sz="800" dirty="0">
                <a:solidFill>
                  <a:srgbClr val="FFFFFF"/>
                </a:solidFill>
              </a:rPr>
              <a:t>G 198</a:t>
            </a:r>
          </a:p>
          <a:p>
            <a:pPr algn="ctr">
              <a:defRPr/>
            </a:pPr>
            <a:r>
              <a:rPr lang="en-US" sz="800" dirty="0">
                <a:solidFill>
                  <a:srgbClr val="FFFFFF"/>
                </a:solidFill>
              </a:rPr>
              <a:t>B 161</a:t>
            </a:r>
            <a:endParaRPr lang="en-GB" sz="800" dirty="0">
              <a:solidFill>
                <a:srgbClr val="FFFFFF"/>
              </a:solidFill>
            </a:endParaRPr>
          </a:p>
        </p:txBody>
      </p:sp>
      <p:sp>
        <p:nvSpPr>
          <p:cNvPr id="67" name="Rectangle 66"/>
          <p:cNvSpPr/>
          <p:nvPr userDrawn="1"/>
        </p:nvSpPr>
        <p:spPr>
          <a:xfrm>
            <a:off x="-2103438" y="2028825"/>
            <a:ext cx="431800"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03</a:t>
            </a:r>
          </a:p>
          <a:p>
            <a:pPr algn="ctr">
              <a:defRPr/>
            </a:pPr>
            <a:r>
              <a:rPr lang="en-US" sz="800" dirty="0">
                <a:solidFill>
                  <a:srgbClr val="FFFFFF"/>
                </a:solidFill>
              </a:rPr>
              <a:t>G 153</a:t>
            </a:r>
          </a:p>
          <a:p>
            <a:pPr algn="ctr">
              <a:defRPr/>
            </a:pPr>
            <a:r>
              <a:rPr lang="en-US" sz="800" dirty="0">
                <a:solidFill>
                  <a:srgbClr val="FFFFFF"/>
                </a:solidFill>
              </a:rPr>
              <a:t>B 200</a:t>
            </a:r>
            <a:endParaRPr lang="en-GB" sz="800" dirty="0">
              <a:solidFill>
                <a:srgbClr val="FFFFFF"/>
              </a:solidFill>
            </a:endParaRPr>
          </a:p>
        </p:txBody>
      </p:sp>
      <p:sp>
        <p:nvSpPr>
          <p:cNvPr id="68" name="Rectangle 67"/>
          <p:cNvSpPr/>
          <p:nvPr userDrawn="1"/>
        </p:nvSpPr>
        <p:spPr>
          <a:xfrm>
            <a:off x="-627063" y="2028825"/>
            <a:ext cx="431800"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86</a:t>
            </a:r>
          </a:p>
          <a:p>
            <a:pPr algn="ctr">
              <a:defRPr/>
            </a:pPr>
            <a:r>
              <a:rPr lang="en-US" sz="800" dirty="0">
                <a:solidFill>
                  <a:srgbClr val="1B4298"/>
                </a:solidFill>
              </a:rPr>
              <a:t>G 163</a:t>
            </a:r>
          </a:p>
          <a:p>
            <a:pPr algn="ctr">
              <a:defRPr/>
            </a:pPr>
            <a:r>
              <a:rPr lang="en-US" sz="800" dirty="0">
                <a:solidFill>
                  <a:srgbClr val="1B4298"/>
                </a:solidFill>
              </a:rPr>
              <a:t>B 171</a:t>
            </a:r>
            <a:endParaRPr lang="en-GB" sz="800" dirty="0">
              <a:solidFill>
                <a:srgbClr val="1B4298"/>
              </a:solidFill>
            </a:endParaRPr>
          </a:p>
        </p:txBody>
      </p:sp>
      <p:sp>
        <p:nvSpPr>
          <p:cNvPr id="69" name="Rectangle 68"/>
          <p:cNvSpPr/>
          <p:nvPr userDrawn="1"/>
        </p:nvSpPr>
        <p:spPr>
          <a:xfrm>
            <a:off x="-1365250" y="2028825"/>
            <a:ext cx="431800" cy="431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91</a:t>
            </a:r>
          </a:p>
          <a:p>
            <a:pPr algn="ctr">
              <a:defRPr/>
            </a:pPr>
            <a:r>
              <a:rPr lang="en-US" sz="800" dirty="0">
                <a:solidFill>
                  <a:srgbClr val="1B4298"/>
                </a:solidFill>
              </a:rPr>
              <a:t>G 191</a:t>
            </a:r>
          </a:p>
          <a:p>
            <a:pPr algn="ctr">
              <a:defRPr/>
            </a:pPr>
            <a:r>
              <a:rPr lang="en-US" sz="800" dirty="0">
                <a:solidFill>
                  <a:srgbClr val="1B4298"/>
                </a:solidFill>
              </a:rPr>
              <a:t>B 191</a:t>
            </a:r>
            <a:endParaRPr lang="en-GB" sz="800" dirty="0">
              <a:solidFill>
                <a:srgbClr val="1B4298"/>
              </a:solidFill>
            </a:endParaRPr>
          </a:p>
        </p:txBody>
      </p:sp>
      <p:sp>
        <p:nvSpPr>
          <p:cNvPr id="70" name="Rectangle 69"/>
          <p:cNvSpPr/>
          <p:nvPr userDrawn="1"/>
        </p:nvSpPr>
        <p:spPr>
          <a:xfrm>
            <a:off x="-2103438" y="2524125"/>
            <a:ext cx="431800" cy="433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127</a:t>
            </a:r>
          </a:p>
          <a:p>
            <a:pPr algn="ctr">
              <a:defRPr/>
            </a:pPr>
            <a:r>
              <a:rPr lang="en-US" sz="800" dirty="0">
                <a:solidFill>
                  <a:srgbClr val="FFFFFF"/>
                </a:solidFill>
              </a:rPr>
              <a:t>G 127</a:t>
            </a:r>
          </a:p>
          <a:p>
            <a:pPr algn="ctr">
              <a:defRPr/>
            </a:pPr>
            <a:r>
              <a:rPr lang="en-US" sz="800" dirty="0">
                <a:solidFill>
                  <a:srgbClr val="FFFFFF"/>
                </a:solidFill>
              </a:rPr>
              <a:t>B 127</a:t>
            </a:r>
            <a:endParaRPr lang="en-GB" sz="800" dirty="0">
              <a:solidFill>
                <a:srgbClr val="FFFFFF"/>
              </a:solidFill>
            </a:endParaRPr>
          </a:p>
        </p:txBody>
      </p:sp>
      <p:sp>
        <p:nvSpPr>
          <p:cNvPr id="71" name="Rectangle 70"/>
          <p:cNvSpPr/>
          <p:nvPr userDrawn="1"/>
        </p:nvSpPr>
        <p:spPr>
          <a:xfrm>
            <a:off x="-1365250" y="2524125"/>
            <a:ext cx="431800" cy="4333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01</a:t>
            </a:r>
          </a:p>
          <a:p>
            <a:pPr algn="ctr">
              <a:defRPr/>
            </a:pPr>
            <a:r>
              <a:rPr lang="en-US" sz="800" dirty="0">
                <a:solidFill>
                  <a:srgbClr val="FFFFFF"/>
                </a:solidFill>
              </a:rPr>
              <a:t>G 48</a:t>
            </a:r>
          </a:p>
          <a:p>
            <a:pPr algn="ctr">
              <a:defRPr/>
            </a:pPr>
            <a:r>
              <a:rPr lang="en-US" sz="800" dirty="0">
                <a:solidFill>
                  <a:srgbClr val="FFFFFF"/>
                </a:solidFill>
              </a:rPr>
              <a:t>B 146</a:t>
            </a:r>
            <a:endParaRPr lang="en-GB" sz="800" dirty="0">
              <a:solidFill>
                <a:srgbClr val="FFFFFF"/>
              </a:solidFill>
            </a:endParaRPr>
          </a:p>
        </p:txBody>
      </p:sp>
      <p:sp>
        <p:nvSpPr>
          <p:cNvPr id="72" name="Rectangle 71"/>
          <p:cNvSpPr/>
          <p:nvPr userDrawn="1"/>
        </p:nvSpPr>
        <p:spPr>
          <a:xfrm>
            <a:off x="-627063" y="2524125"/>
            <a:ext cx="431800" cy="4333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US" sz="800" dirty="0">
                <a:solidFill>
                  <a:srgbClr val="FFFFFF"/>
                </a:solidFill>
              </a:rPr>
              <a:t>G 66</a:t>
            </a:r>
          </a:p>
          <a:p>
            <a:pPr algn="ctr">
              <a:defRPr/>
            </a:pPr>
            <a:r>
              <a:rPr lang="en-US" sz="800" dirty="0">
                <a:solidFill>
                  <a:srgbClr val="FFFFFF"/>
                </a:solidFill>
              </a:rPr>
              <a:t>B 152</a:t>
            </a:r>
            <a:endParaRPr lang="en-GB" sz="800" dirty="0">
              <a:solidFill>
                <a:srgbClr val="FFFFFF"/>
              </a:solidFill>
            </a:endParaRPr>
          </a:p>
        </p:txBody>
      </p:sp>
      <p:sp>
        <p:nvSpPr>
          <p:cNvPr id="73" name="Rectangle 72"/>
          <p:cNvSpPr/>
          <p:nvPr userDrawn="1"/>
        </p:nvSpPr>
        <p:spPr>
          <a:xfrm>
            <a:off x="-2103438" y="3021013"/>
            <a:ext cx="431800" cy="431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84</a:t>
            </a:r>
          </a:p>
          <a:p>
            <a:pPr algn="ctr">
              <a:defRPr/>
            </a:pPr>
            <a:r>
              <a:rPr lang="en-US" sz="800" dirty="0">
                <a:solidFill>
                  <a:srgbClr val="FFFFFF"/>
                </a:solidFill>
              </a:rPr>
              <a:t>G 7</a:t>
            </a:r>
          </a:p>
          <a:p>
            <a:pPr algn="ctr">
              <a:defRPr/>
            </a:pPr>
            <a:r>
              <a:rPr lang="en-US" sz="800" dirty="0">
                <a:solidFill>
                  <a:srgbClr val="FFFFFF"/>
                </a:solidFill>
              </a:rPr>
              <a:t>B 91</a:t>
            </a:r>
            <a:endParaRPr lang="en-GB" sz="800" dirty="0">
              <a:solidFill>
                <a:srgbClr val="FFFFFF"/>
              </a:solidFill>
            </a:endParaRPr>
          </a:p>
        </p:txBody>
      </p:sp>
      <p:sp>
        <p:nvSpPr>
          <p:cNvPr id="74" name="Rectangle 73"/>
          <p:cNvSpPr/>
          <p:nvPr userDrawn="1"/>
        </p:nvSpPr>
        <p:spPr>
          <a:xfrm>
            <a:off x="-1365250" y="3021013"/>
            <a:ext cx="431800" cy="431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48</a:t>
            </a:r>
          </a:p>
          <a:p>
            <a:pPr algn="ctr">
              <a:defRPr/>
            </a:pPr>
            <a:r>
              <a:rPr lang="en-US" sz="800" dirty="0">
                <a:solidFill>
                  <a:srgbClr val="1B4298"/>
                </a:solidFill>
              </a:rPr>
              <a:t>G 152</a:t>
            </a:r>
          </a:p>
          <a:p>
            <a:pPr algn="ctr">
              <a:defRPr/>
            </a:pPr>
            <a:r>
              <a:rPr lang="en-US" sz="800" dirty="0">
                <a:solidFill>
                  <a:srgbClr val="1B4298"/>
                </a:solidFill>
              </a:rPr>
              <a:t>B 29</a:t>
            </a:r>
            <a:endParaRPr lang="en-GB" sz="800" dirty="0">
              <a:solidFill>
                <a:srgbClr val="1B4298"/>
              </a:solidFill>
            </a:endParaRPr>
          </a:p>
        </p:txBody>
      </p:sp>
      <p:sp>
        <p:nvSpPr>
          <p:cNvPr id="76" name="Rectangle 75"/>
          <p:cNvSpPr/>
          <p:nvPr userDrawn="1"/>
        </p:nvSpPr>
        <p:spPr>
          <a:xfrm>
            <a:off x="-2103438" y="5516563"/>
            <a:ext cx="431800" cy="43338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BAA3AB"/>
                </a:solidFill>
              </a:rPr>
              <a:t>R 241</a:t>
            </a:r>
          </a:p>
          <a:p>
            <a:pPr algn="ctr">
              <a:defRPr/>
            </a:pPr>
            <a:r>
              <a:rPr lang="en-GB" sz="800" dirty="0">
                <a:solidFill>
                  <a:srgbClr val="BAA3AB"/>
                </a:solidFill>
              </a:rPr>
              <a:t>G 237</a:t>
            </a:r>
          </a:p>
          <a:p>
            <a:pPr algn="ctr">
              <a:defRPr/>
            </a:pPr>
            <a:r>
              <a:rPr lang="en-GB" sz="800" dirty="0">
                <a:solidFill>
                  <a:srgbClr val="BAA3AB"/>
                </a:solidFill>
              </a:rPr>
              <a:t>B 238</a:t>
            </a:r>
          </a:p>
        </p:txBody>
      </p:sp>
      <p:sp>
        <p:nvSpPr>
          <p:cNvPr id="77" name="Rectangle 76"/>
          <p:cNvSpPr/>
          <p:nvPr userDrawn="1"/>
        </p:nvSpPr>
        <p:spPr>
          <a:xfrm>
            <a:off x="-1365250" y="5516563"/>
            <a:ext cx="431800" cy="43338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8981D"/>
                </a:solidFill>
              </a:rPr>
              <a:t>R 254</a:t>
            </a:r>
          </a:p>
          <a:p>
            <a:pPr algn="ctr">
              <a:defRPr/>
            </a:pPr>
            <a:r>
              <a:rPr lang="en-GB" sz="800" dirty="0">
                <a:solidFill>
                  <a:srgbClr val="F8981D"/>
                </a:solidFill>
              </a:rPr>
              <a:t>G 234</a:t>
            </a:r>
          </a:p>
          <a:p>
            <a:pPr algn="ctr">
              <a:defRPr/>
            </a:pPr>
            <a:r>
              <a:rPr lang="en-GB" sz="800" dirty="0">
                <a:solidFill>
                  <a:srgbClr val="F8981D"/>
                </a:solidFill>
              </a:rPr>
              <a:t>B 210</a:t>
            </a:r>
          </a:p>
        </p:txBody>
      </p:sp>
      <p:sp>
        <p:nvSpPr>
          <p:cNvPr id="78" name="Rectangle 77"/>
          <p:cNvSpPr/>
          <p:nvPr userDrawn="1"/>
        </p:nvSpPr>
        <p:spPr>
          <a:xfrm>
            <a:off x="-627063" y="5516563"/>
            <a:ext cx="431800" cy="4333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11</a:t>
            </a:r>
          </a:p>
          <a:p>
            <a:pPr algn="ctr">
              <a:defRPr/>
            </a:pPr>
            <a:r>
              <a:rPr lang="en-GB" sz="800" dirty="0">
                <a:solidFill>
                  <a:srgbClr val="1B4298"/>
                </a:solidFill>
              </a:rPr>
              <a:t>G 227</a:t>
            </a:r>
          </a:p>
          <a:p>
            <a:pPr algn="ctr">
              <a:defRPr/>
            </a:pPr>
            <a:r>
              <a:rPr lang="en-GB" sz="800" dirty="0">
                <a:solidFill>
                  <a:srgbClr val="1B4298"/>
                </a:solidFill>
              </a:rPr>
              <a:t>B 237</a:t>
            </a:r>
          </a:p>
        </p:txBody>
      </p:sp>
    </p:spTree>
    <p:extLst>
      <p:ext uri="{BB962C8B-B14F-4D97-AF65-F5344CB8AC3E}">
        <p14:creationId xmlns:p14="http://schemas.microsoft.com/office/powerpoint/2010/main" val="2911101649"/>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272480" y="5512382"/>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extLst>
      <p:ext uri="{BB962C8B-B14F-4D97-AF65-F5344CB8AC3E}">
        <p14:creationId xmlns:p14="http://schemas.microsoft.com/office/powerpoint/2010/main" val="388696717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88950" y="440668"/>
            <a:ext cx="8208000" cy="630000"/>
          </a:xfrm>
        </p:spPr>
        <p:txBody>
          <a:bodyPr/>
          <a:lstStyle>
            <a:lvl1pPr>
              <a:defRPr sz="3000">
                <a:latin typeface="Corbel" panose="020B0503020204020204"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61000305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308484" y="1124744"/>
            <a:ext cx="4392613" cy="5039519"/>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hasCustomPrompt="1"/>
          </p:nvPr>
        </p:nvSpPr>
        <p:spPr>
          <a:xfrm>
            <a:off x="5024437" y="145002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31"/>
          </p:nvPr>
        </p:nvSpPr>
        <p:spPr>
          <a:xfrm>
            <a:off x="5024437" y="1448655"/>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46465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6" name="Text Placeholder 21"/>
          <p:cNvSpPr>
            <a:spLocks noGrp="1"/>
          </p:cNvSpPr>
          <p:nvPr>
            <p:ph type="body" sz="quarter" idx="42" hasCustomPrompt="1"/>
          </p:nvPr>
        </p:nvSpPr>
        <p:spPr>
          <a:xfrm>
            <a:off x="5024437" y="415032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43"/>
          </p:nvPr>
        </p:nvSpPr>
        <p:spPr>
          <a:xfrm>
            <a:off x="5024437" y="415031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hasCustomPrompt="1"/>
          </p:nvPr>
        </p:nvSpPr>
        <p:spPr>
          <a:xfrm>
            <a:off x="5024437" y="6166916"/>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232756"/>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93442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Click to edit Master text styles</a:t>
            </a:r>
          </a:p>
        </p:txBody>
      </p:sp>
    </p:spTree>
    <p:extLst>
      <p:ext uri="{BB962C8B-B14F-4D97-AF65-F5344CB8AC3E}">
        <p14:creationId xmlns:p14="http://schemas.microsoft.com/office/powerpoint/2010/main" val="232829125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tandard profile 2">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59039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206712"/>
            <a:ext cx="8208000" cy="630000"/>
          </a:xfrm>
        </p:spPr>
        <p:txBody>
          <a:bodyPr/>
          <a:lstStyle/>
          <a:p>
            <a:r>
              <a:rPr lang="en-US" smtClean="0"/>
              <a:t>Click to edit Master title style</a:t>
            </a:r>
            <a:endParaRPr lang="en-GB"/>
          </a:p>
        </p:txBody>
      </p:sp>
      <p:sp>
        <p:nvSpPr>
          <p:cNvPr id="23"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5" name="Text Placeholder 21"/>
          <p:cNvSpPr>
            <a:spLocks noGrp="1"/>
          </p:cNvSpPr>
          <p:nvPr>
            <p:ph type="body" sz="quarter" idx="35" hasCustomPrompt="1"/>
          </p:nvPr>
        </p:nvSpPr>
        <p:spPr>
          <a:xfrm>
            <a:off x="6537050"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6" name="Content Placeholder 2"/>
          <p:cNvSpPr>
            <a:spLocks noGrp="1"/>
          </p:cNvSpPr>
          <p:nvPr>
            <p:ph sz="half" idx="31"/>
          </p:nvPr>
        </p:nvSpPr>
        <p:spPr>
          <a:xfrm>
            <a:off x="6537050" y="1557338"/>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33" hasCustomPrompt="1"/>
          </p:nvPr>
        </p:nvSpPr>
        <p:spPr>
          <a:xfrm>
            <a:off x="6537050"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3" hasCustomPrompt="1"/>
          </p:nvPr>
        </p:nvSpPr>
        <p:spPr>
          <a:xfrm>
            <a:off x="6537050" y="4076700"/>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4"/>
          </p:nvPr>
        </p:nvSpPr>
        <p:spPr>
          <a:xfrm>
            <a:off x="6537050" y="4076699"/>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5" hasCustomPrompt="1"/>
          </p:nvPr>
        </p:nvSpPr>
        <p:spPr>
          <a:xfrm>
            <a:off x="653705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46"/>
          </p:nvPr>
        </p:nvSpPr>
        <p:spPr>
          <a:xfrm>
            <a:off x="6537050" y="1341438"/>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Text Placeholder 23"/>
          <p:cNvSpPr>
            <a:spLocks noGrp="1"/>
          </p:cNvSpPr>
          <p:nvPr>
            <p:ph type="body" sz="quarter" idx="47"/>
          </p:nvPr>
        </p:nvSpPr>
        <p:spPr>
          <a:xfrm>
            <a:off x="6537050" y="3860800"/>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73633441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hart above, 2 boxe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45"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46"/>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Text Placeholder 22"/>
          <p:cNvSpPr>
            <a:spLocks noGrp="1"/>
          </p:cNvSpPr>
          <p:nvPr>
            <p:ph type="body" sz="quarter" idx="47"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1"/>
          <p:cNvSpPr>
            <a:spLocks noGrp="1"/>
          </p:cNvSpPr>
          <p:nvPr>
            <p:ph type="body" sz="quarter" idx="49"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50"/>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51"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7" name="Text Placeholder 23"/>
          <p:cNvSpPr>
            <a:spLocks noGrp="1"/>
          </p:cNvSpPr>
          <p:nvPr>
            <p:ph type="body" sz="quarter" idx="53"/>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54"/>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5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950"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1557339"/>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5" hasCustomPrompt="1"/>
          </p:nvPr>
        </p:nvSpPr>
        <p:spPr>
          <a:xfrm>
            <a:off x="488950"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47"/>
          </p:nvPr>
        </p:nvSpPr>
        <p:spPr>
          <a:xfrm>
            <a:off x="488950"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6491972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ne text one box">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895660373"/>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3" name="Text Placeholder 23"/>
          <p:cNvSpPr>
            <a:spLocks noGrp="1"/>
          </p:cNvSpPr>
          <p:nvPr>
            <p:ph type="body" sz="quarter" idx="46"/>
          </p:nvPr>
        </p:nvSpPr>
        <p:spPr>
          <a:xfrm>
            <a:off x="488951" y="3860800"/>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782061831"/>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5" hasCustomPrompt="1"/>
          </p:nvPr>
        </p:nvSpPr>
        <p:spPr>
          <a:xfrm>
            <a:off x="6537324"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6537324"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6093296"/>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5" hasCustomPrompt="1"/>
          </p:nvPr>
        </p:nvSpPr>
        <p:spPr>
          <a:xfrm>
            <a:off x="3513138"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6"/>
          </p:nvPr>
        </p:nvSpPr>
        <p:spPr>
          <a:xfrm>
            <a:off x="3513138"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7" hasCustomPrompt="1"/>
          </p:nvPr>
        </p:nvSpPr>
        <p:spPr>
          <a:xfrm>
            <a:off x="3513138"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59"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0"/>
          </p:nvPr>
        </p:nvSpPr>
        <p:spPr>
          <a:xfrm>
            <a:off x="488952"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1" hasCustomPrompt="1"/>
          </p:nvPr>
        </p:nvSpPr>
        <p:spPr>
          <a:xfrm>
            <a:off x="488952"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2"/>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33932307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box above, 2 charts under">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8928100" cy="237490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7"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44"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1"/>
          <p:cNvSpPr>
            <a:spLocks noGrp="1"/>
          </p:cNvSpPr>
          <p:nvPr>
            <p:ph type="body" sz="quarter" idx="46"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7"/>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8"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23"/>
          <p:cNvSpPr>
            <a:spLocks noGrp="1"/>
          </p:cNvSpPr>
          <p:nvPr>
            <p:ph type="body" sz="quarter" idx="49"/>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50"/>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052627139"/>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ne chart above, 2 boxe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45"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46"/>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Text Placeholder 22"/>
          <p:cNvSpPr>
            <a:spLocks noGrp="1"/>
          </p:cNvSpPr>
          <p:nvPr>
            <p:ph type="body" sz="quarter" idx="47"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1"/>
          <p:cNvSpPr>
            <a:spLocks noGrp="1"/>
          </p:cNvSpPr>
          <p:nvPr>
            <p:ph type="body" sz="quarter" idx="49"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50"/>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51"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7" name="Text Placeholder 23"/>
          <p:cNvSpPr>
            <a:spLocks noGrp="1"/>
          </p:cNvSpPr>
          <p:nvPr>
            <p:ph type="body" sz="quarter" idx="53"/>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54"/>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5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72729614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3"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50"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4" name="Content Placeholder 2"/>
          <p:cNvSpPr>
            <a:spLocks noGrp="1"/>
          </p:cNvSpPr>
          <p:nvPr>
            <p:ph sz="half" idx="51"/>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5" name="Text Placeholder 22"/>
          <p:cNvSpPr>
            <a:spLocks noGrp="1"/>
          </p:cNvSpPr>
          <p:nvPr>
            <p:ph type="body" sz="quarter" idx="52"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0"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53296783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6"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1"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829864078"/>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ive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7"/>
            <a:ext cx="2879726" cy="4535957"/>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1"/>
          <p:cNvSpPr>
            <a:spLocks noGrp="1"/>
          </p:cNvSpPr>
          <p:nvPr>
            <p:ph type="body" sz="quarter" idx="65" hasCustomPrompt="1"/>
          </p:nvPr>
        </p:nvSpPr>
        <p:spPr>
          <a:xfrm>
            <a:off x="3513138" y="4076699"/>
            <a:ext cx="5903464"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3513138" y="4076699"/>
            <a:ext cx="5903464"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3513138" y="6093295"/>
            <a:ext cx="5903464"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3513138" y="3860799"/>
            <a:ext cx="5903464"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75888126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Nine charts">
    <p:spTree>
      <p:nvGrpSpPr>
        <p:cNvPr id="1" name=""/>
        <p:cNvGrpSpPr/>
        <p:nvPr/>
      </p:nvGrpSpPr>
      <p:grpSpPr>
        <a:xfrm>
          <a:off x="0" y="0"/>
          <a:ext cx="0" cy="0"/>
          <a:chOff x="0" y="0"/>
          <a:chExt cx="0" cy="0"/>
        </a:xfrm>
      </p:grpSpPr>
      <p:sp>
        <p:nvSpPr>
          <p:cNvPr id="41" name="Content Placeholder 2"/>
          <p:cNvSpPr>
            <a:spLocks noGrp="1"/>
          </p:cNvSpPr>
          <p:nvPr>
            <p:ph sz="half" idx="83"/>
          </p:nvPr>
        </p:nvSpPr>
        <p:spPr>
          <a:xfrm>
            <a:off x="482600" y="155733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2" name="Content Placeholder 2"/>
          <p:cNvSpPr>
            <a:spLocks noGrp="1"/>
          </p:cNvSpPr>
          <p:nvPr>
            <p:ph sz="half" idx="84"/>
          </p:nvPr>
        </p:nvSpPr>
        <p:spPr>
          <a:xfrm>
            <a:off x="482600" y="4742460"/>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3" name="Content Placeholder 2"/>
          <p:cNvSpPr>
            <a:spLocks noGrp="1"/>
          </p:cNvSpPr>
          <p:nvPr>
            <p:ph sz="half" idx="85"/>
          </p:nvPr>
        </p:nvSpPr>
        <p:spPr>
          <a:xfrm>
            <a:off x="482600" y="314989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6" name="Text Placeholder 21"/>
          <p:cNvSpPr>
            <a:spLocks noGrp="1"/>
          </p:cNvSpPr>
          <p:nvPr>
            <p:ph type="body" sz="quarter" idx="53" hasCustomPrompt="1"/>
          </p:nvPr>
        </p:nvSpPr>
        <p:spPr>
          <a:xfrm>
            <a:off x="6897051"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54"/>
          </p:nvPr>
        </p:nvSpPr>
        <p:spPr>
          <a:xfrm>
            <a:off x="6897051"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55" hasCustomPrompt="1"/>
          </p:nvPr>
        </p:nvSpPr>
        <p:spPr>
          <a:xfrm>
            <a:off x="6897051"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5" name="Text Placeholder 21"/>
          <p:cNvSpPr>
            <a:spLocks noGrp="1"/>
          </p:cNvSpPr>
          <p:nvPr>
            <p:ph type="body" sz="quarter" idx="56" hasCustomPrompt="1"/>
          </p:nvPr>
        </p:nvSpPr>
        <p:spPr>
          <a:xfrm>
            <a:off x="6896799"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6" name="Content Placeholder 2"/>
          <p:cNvSpPr>
            <a:spLocks noGrp="1"/>
          </p:cNvSpPr>
          <p:nvPr>
            <p:ph sz="half" idx="57"/>
          </p:nvPr>
        </p:nvSpPr>
        <p:spPr>
          <a:xfrm>
            <a:off x="6896799"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7" name="Text Placeholder 22"/>
          <p:cNvSpPr>
            <a:spLocks noGrp="1"/>
          </p:cNvSpPr>
          <p:nvPr>
            <p:ph type="body" sz="quarter" idx="58" hasCustomPrompt="1"/>
          </p:nvPr>
        </p:nvSpPr>
        <p:spPr>
          <a:xfrm>
            <a:off x="6896799"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8" name="Text Placeholder 21"/>
          <p:cNvSpPr>
            <a:spLocks noGrp="1"/>
          </p:cNvSpPr>
          <p:nvPr>
            <p:ph type="body" sz="quarter" idx="59" hasCustomPrompt="1"/>
          </p:nvPr>
        </p:nvSpPr>
        <p:spPr>
          <a:xfrm>
            <a:off x="6896547"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9" name="Content Placeholder 2"/>
          <p:cNvSpPr>
            <a:spLocks noGrp="1"/>
          </p:cNvSpPr>
          <p:nvPr>
            <p:ph sz="half" idx="60"/>
          </p:nvPr>
        </p:nvSpPr>
        <p:spPr>
          <a:xfrm>
            <a:off x="6896547"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0" name="Text Placeholder 22"/>
          <p:cNvSpPr>
            <a:spLocks noGrp="1"/>
          </p:cNvSpPr>
          <p:nvPr>
            <p:ph type="body" sz="quarter" idx="61" hasCustomPrompt="1"/>
          </p:nvPr>
        </p:nvSpPr>
        <p:spPr>
          <a:xfrm>
            <a:off x="6896547"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2" name="Text Placeholder 21"/>
          <p:cNvSpPr>
            <a:spLocks noGrp="1"/>
          </p:cNvSpPr>
          <p:nvPr>
            <p:ph type="body" sz="quarter" idx="63" hasCustomPrompt="1"/>
          </p:nvPr>
        </p:nvSpPr>
        <p:spPr>
          <a:xfrm>
            <a:off x="1617278"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1617026"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1617026"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1617278"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1617026"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1617026"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1617278"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1617026"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1617026"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2" name="Text Placeholder 21"/>
          <p:cNvSpPr>
            <a:spLocks noGrp="1"/>
          </p:cNvSpPr>
          <p:nvPr>
            <p:ph type="body" sz="quarter" idx="73" hasCustomPrompt="1"/>
          </p:nvPr>
        </p:nvSpPr>
        <p:spPr>
          <a:xfrm>
            <a:off x="4257290" y="155641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3" name="Content Placeholder 2"/>
          <p:cNvSpPr>
            <a:spLocks noGrp="1"/>
          </p:cNvSpPr>
          <p:nvPr>
            <p:ph sz="half" idx="74"/>
          </p:nvPr>
        </p:nvSpPr>
        <p:spPr>
          <a:xfrm>
            <a:off x="4257038"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4" name="Text Placeholder 22"/>
          <p:cNvSpPr>
            <a:spLocks noGrp="1"/>
          </p:cNvSpPr>
          <p:nvPr>
            <p:ph type="body" sz="quarter" idx="75" hasCustomPrompt="1"/>
          </p:nvPr>
        </p:nvSpPr>
        <p:spPr>
          <a:xfrm>
            <a:off x="4257038"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5" name="Text Placeholder 21"/>
          <p:cNvSpPr>
            <a:spLocks noGrp="1"/>
          </p:cNvSpPr>
          <p:nvPr>
            <p:ph type="body" sz="quarter" idx="76" hasCustomPrompt="1"/>
          </p:nvPr>
        </p:nvSpPr>
        <p:spPr>
          <a:xfrm>
            <a:off x="4257290"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6" name="Content Placeholder 2"/>
          <p:cNvSpPr>
            <a:spLocks noGrp="1"/>
          </p:cNvSpPr>
          <p:nvPr>
            <p:ph sz="half" idx="77"/>
          </p:nvPr>
        </p:nvSpPr>
        <p:spPr>
          <a:xfrm>
            <a:off x="4257038"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7" name="Text Placeholder 22"/>
          <p:cNvSpPr>
            <a:spLocks noGrp="1"/>
          </p:cNvSpPr>
          <p:nvPr>
            <p:ph type="body" sz="quarter" idx="78" hasCustomPrompt="1"/>
          </p:nvPr>
        </p:nvSpPr>
        <p:spPr>
          <a:xfrm>
            <a:off x="4257038"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8" name="Text Placeholder 21"/>
          <p:cNvSpPr>
            <a:spLocks noGrp="1"/>
          </p:cNvSpPr>
          <p:nvPr>
            <p:ph type="body" sz="quarter" idx="79" hasCustomPrompt="1"/>
          </p:nvPr>
        </p:nvSpPr>
        <p:spPr>
          <a:xfrm>
            <a:off x="4257290" y="315756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9" name="Content Placeholder 2"/>
          <p:cNvSpPr>
            <a:spLocks noGrp="1"/>
          </p:cNvSpPr>
          <p:nvPr>
            <p:ph sz="half" idx="80"/>
          </p:nvPr>
        </p:nvSpPr>
        <p:spPr>
          <a:xfrm>
            <a:off x="4257038"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0" name="Text Placeholder 22"/>
          <p:cNvSpPr>
            <a:spLocks noGrp="1"/>
          </p:cNvSpPr>
          <p:nvPr>
            <p:ph type="body" sz="quarter" idx="81" hasCustomPrompt="1"/>
          </p:nvPr>
        </p:nvSpPr>
        <p:spPr>
          <a:xfrm>
            <a:off x="4257038"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96546"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9" name="Text Placeholder 23"/>
          <p:cNvSpPr>
            <a:spLocks noGrp="1"/>
          </p:cNvSpPr>
          <p:nvPr>
            <p:ph type="body" sz="quarter" idx="46"/>
          </p:nvPr>
        </p:nvSpPr>
        <p:spPr>
          <a:xfrm>
            <a:off x="4256534"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82"/>
          </p:nvPr>
        </p:nvSpPr>
        <p:spPr>
          <a:xfrm>
            <a:off x="1616522"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61020284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3"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50"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4" name="Content Placeholder 2"/>
          <p:cNvSpPr>
            <a:spLocks noGrp="1"/>
          </p:cNvSpPr>
          <p:nvPr>
            <p:ph sz="half" idx="51"/>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5" name="Text Placeholder 22"/>
          <p:cNvSpPr>
            <a:spLocks noGrp="1"/>
          </p:cNvSpPr>
          <p:nvPr>
            <p:ph type="body" sz="quarter" idx="52"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0"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hart, thre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2" name="Text Placeholder 21"/>
          <p:cNvSpPr>
            <a:spLocks noGrp="1"/>
          </p:cNvSpPr>
          <p:nvPr>
            <p:ph type="body" sz="quarter" idx="63" hasCustomPrompt="1"/>
          </p:nvPr>
        </p:nvSpPr>
        <p:spPr>
          <a:xfrm>
            <a:off x="848452" y="1341985"/>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848049" y="1341438"/>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848200" y="267503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848200" y="4741814"/>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847797" y="4741913"/>
            <a:ext cx="4033363"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848200" y="6073200"/>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848200" y="3041899"/>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847797" y="3041899"/>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848200" y="437559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41" name="Text Placeholder 21"/>
          <p:cNvSpPr>
            <a:spLocks noGrp="1"/>
          </p:cNvSpPr>
          <p:nvPr>
            <p:ph type="body" sz="quarter" idx="83" hasCustomPrompt="1"/>
          </p:nvPr>
        </p:nvSpPr>
        <p:spPr>
          <a:xfrm>
            <a:off x="5025092" y="1341985"/>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84"/>
          </p:nvPr>
        </p:nvSpPr>
        <p:spPr>
          <a:xfrm>
            <a:off x="5024690" y="1341985"/>
            <a:ext cx="4392612"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3" name="Text Placeholder 22"/>
          <p:cNvSpPr>
            <a:spLocks noGrp="1"/>
          </p:cNvSpPr>
          <p:nvPr>
            <p:ph type="body" sz="quarter" idx="85" hasCustomPrompt="1"/>
          </p:nvPr>
        </p:nvSpPr>
        <p:spPr>
          <a:xfrm>
            <a:off x="5024841" y="2675680"/>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86" hasCustomPrompt="1"/>
          </p:nvPr>
        </p:nvSpPr>
        <p:spPr>
          <a:xfrm>
            <a:off x="5024840" y="4741913"/>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5" name="Content Placeholder 2"/>
          <p:cNvSpPr>
            <a:spLocks noGrp="1"/>
          </p:cNvSpPr>
          <p:nvPr>
            <p:ph sz="half" idx="87"/>
          </p:nvPr>
        </p:nvSpPr>
        <p:spPr>
          <a:xfrm>
            <a:off x="5024438" y="4741913"/>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6" name="Text Placeholder 22"/>
          <p:cNvSpPr>
            <a:spLocks noGrp="1"/>
          </p:cNvSpPr>
          <p:nvPr>
            <p:ph type="body" sz="quarter" idx="88" hasCustomPrompt="1"/>
          </p:nvPr>
        </p:nvSpPr>
        <p:spPr>
          <a:xfrm>
            <a:off x="5024841" y="6075509"/>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89" hasCustomPrompt="1"/>
          </p:nvPr>
        </p:nvSpPr>
        <p:spPr>
          <a:xfrm>
            <a:off x="5024840" y="3041899"/>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90"/>
          </p:nvPr>
        </p:nvSpPr>
        <p:spPr>
          <a:xfrm>
            <a:off x="5024438" y="3041899"/>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91" hasCustomPrompt="1"/>
          </p:nvPr>
        </p:nvSpPr>
        <p:spPr>
          <a:xfrm>
            <a:off x="5024841" y="4375594"/>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59"/>
          <p:cNvSpPr>
            <a:spLocks noGrp="1"/>
          </p:cNvSpPr>
          <p:nvPr>
            <p:ph type="body" sz="quarter" idx="94"/>
          </p:nvPr>
        </p:nvSpPr>
        <p:spPr>
          <a:xfrm rot="16200000">
            <a:off x="-141100" y="1971488"/>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1" name="Text Placeholder 59"/>
          <p:cNvSpPr>
            <a:spLocks noGrp="1"/>
          </p:cNvSpPr>
          <p:nvPr>
            <p:ph type="body" sz="quarter" idx="95"/>
          </p:nvPr>
        </p:nvSpPr>
        <p:spPr>
          <a:xfrm rot="16200000">
            <a:off x="-141100" y="5369654"/>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2" name="Text Placeholder 59"/>
          <p:cNvSpPr>
            <a:spLocks noGrp="1"/>
          </p:cNvSpPr>
          <p:nvPr>
            <p:ph type="body" sz="quarter" idx="96"/>
          </p:nvPr>
        </p:nvSpPr>
        <p:spPr>
          <a:xfrm rot="16200000">
            <a:off x="-141100" y="3670571"/>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Tree>
    <p:extLst>
      <p:ext uri="{BB962C8B-B14F-4D97-AF65-F5344CB8AC3E}">
        <p14:creationId xmlns:p14="http://schemas.microsoft.com/office/powerpoint/2010/main" val="3477970161"/>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927587613"/>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rrow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rot="5400000">
            <a:off x="842600" y="9814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4" name="Text Placeholder 22"/>
          <p:cNvSpPr>
            <a:spLocks noGrp="1"/>
          </p:cNvSpPr>
          <p:nvPr>
            <p:ph type="body" sz="quarter" idx="43"/>
          </p:nvPr>
        </p:nvSpPr>
        <p:spPr>
          <a:xfrm rot="5400000">
            <a:off x="842600" y="178061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4" name="Text Placeholder 22"/>
          <p:cNvSpPr>
            <a:spLocks noGrp="1"/>
          </p:cNvSpPr>
          <p:nvPr>
            <p:ph type="body" sz="quarter" idx="44"/>
          </p:nvPr>
        </p:nvSpPr>
        <p:spPr>
          <a:xfrm rot="5400000">
            <a:off x="842600" y="257978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5" name="Text Placeholder 22"/>
          <p:cNvSpPr>
            <a:spLocks noGrp="1"/>
          </p:cNvSpPr>
          <p:nvPr>
            <p:ph type="body" sz="quarter" idx="45"/>
          </p:nvPr>
        </p:nvSpPr>
        <p:spPr>
          <a:xfrm rot="5400000">
            <a:off x="842600" y="337896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6" name="Text Placeholder 22"/>
          <p:cNvSpPr>
            <a:spLocks noGrp="1"/>
          </p:cNvSpPr>
          <p:nvPr>
            <p:ph type="body" sz="quarter" idx="46"/>
          </p:nvPr>
        </p:nvSpPr>
        <p:spPr>
          <a:xfrm rot="5400000">
            <a:off x="842600" y="41781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4" name="Text Placeholder 22"/>
          <p:cNvSpPr>
            <a:spLocks noGrp="1"/>
          </p:cNvSpPr>
          <p:nvPr>
            <p:ph type="body" sz="quarter" idx="47"/>
          </p:nvPr>
        </p:nvSpPr>
        <p:spPr>
          <a:xfrm rot="5400000">
            <a:off x="842600" y="4977312"/>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15"/>
          <p:cNvSpPr>
            <a:spLocks noGrp="1"/>
          </p:cNvSpPr>
          <p:nvPr>
            <p:ph type="body" sz="quarter" idx="40"/>
          </p:nvPr>
        </p:nvSpPr>
        <p:spPr>
          <a:xfrm>
            <a:off x="2252663" y="13414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8"/>
          </p:nvPr>
        </p:nvSpPr>
        <p:spPr>
          <a:xfrm>
            <a:off x="2252663" y="5337312"/>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9"/>
          </p:nvPr>
        </p:nvSpPr>
        <p:spPr>
          <a:xfrm>
            <a:off x="2252663" y="214061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50"/>
          </p:nvPr>
        </p:nvSpPr>
        <p:spPr>
          <a:xfrm>
            <a:off x="2252663" y="293978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1" name="Text Placeholder 15"/>
          <p:cNvSpPr>
            <a:spLocks noGrp="1"/>
          </p:cNvSpPr>
          <p:nvPr>
            <p:ph type="body" sz="quarter" idx="51"/>
          </p:nvPr>
        </p:nvSpPr>
        <p:spPr>
          <a:xfrm>
            <a:off x="2252663" y="373896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2" name="Text Placeholder 15"/>
          <p:cNvSpPr>
            <a:spLocks noGrp="1"/>
          </p:cNvSpPr>
          <p:nvPr>
            <p:ph type="body" sz="quarter" idx="52"/>
          </p:nvPr>
        </p:nvSpPr>
        <p:spPr>
          <a:xfrm>
            <a:off x="2252663" y="45381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62491864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rrow right">
    <p:spTree>
      <p:nvGrpSpPr>
        <p:cNvPr id="1" name=""/>
        <p:cNvGrpSpPr/>
        <p:nvPr/>
      </p:nvGrpSpPr>
      <p:grpSpPr>
        <a:xfrm>
          <a:off x="0" y="0"/>
          <a:ext cx="0" cy="0"/>
          <a:chOff x="0" y="0"/>
          <a:chExt cx="0" cy="0"/>
        </a:xfrm>
      </p:grpSpPr>
      <p:sp>
        <p:nvSpPr>
          <p:cNvPr id="80" name="Text Placeholder 79"/>
          <p:cNvSpPr>
            <a:spLocks noGrp="1"/>
          </p:cNvSpPr>
          <p:nvPr>
            <p:ph type="body" sz="quarter" idx="63" hasCustomPrompt="1"/>
          </p:nvPr>
        </p:nvSpPr>
        <p:spPr>
          <a:xfrm>
            <a:off x="482600" y="199866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1" name="Text Placeholder 79"/>
          <p:cNvSpPr>
            <a:spLocks noGrp="1"/>
          </p:cNvSpPr>
          <p:nvPr>
            <p:ph type="body" sz="quarter" idx="64" hasCustomPrompt="1"/>
          </p:nvPr>
        </p:nvSpPr>
        <p:spPr>
          <a:xfrm>
            <a:off x="482600" y="308768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2" name="Text Placeholder 79"/>
          <p:cNvSpPr>
            <a:spLocks noGrp="1"/>
          </p:cNvSpPr>
          <p:nvPr>
            <p:ph type="body" sz="quarter" idx="65" hasCustomPrompt="1"/>
          </p:nvPr>
        </p:nvSpPr>
        <p:spPr>
          <a:xfrm>
            <a:off x="482600" y="417671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3" name="Text Placeholder 79"/>
          <p:cNvSpPr>
            <a:spLocks noGrp="1"/>
          </p:cNvSpPr>
          <p:nvPr>
            <p:ph type="body" sz="quarter" idx="66" hasCustomPrompt="1"/>
          </p:nvPr>
        </p:nvSpPr>
        <p:spPr>
          <a:xfrm>
            <a:off x="482600" y="526573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7" name="Text Placeholder 79"/>
          <p:cNvSpPr>
            <a:spLocks noGrp="1"/>
          </p:cNvSpPr>
          <p:nvPr>
            <p:ph type="body" sz="quarter" idx="70" hasCustomPrompt="1"/>
          </p:nvPr>
        </p:nvSpPr>
        <p:spPr>
          <a:xfrm>
            <a:off x="2284324" y="526547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6" name="Text Placeholder 79"/>
          <p:cNvSpPr>
            <a:spLocks noGrp="1"/>
          </p:cNvSpPr>
          <p:nvPr>
            <p:ph type="body" sz="quarter" idx="69" hasCustomPrompt="1"/>
          </p:nvPr>
        </p:nvSpPr>
        <p:spPr>
          <a:xfrm>
            <a:off x="2284324" y="417645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5" name="Text Placeholder 79"/>
          <p:cNvSpPr>
            <a:spLocks noGrp="1"/>
          </p:cNvSpPr>
          <p:nvPr>
            <p:ph type="body" sz="quarter" idx="68" hasCustomPrompt="1"/>
          </p:nvPr>
        </p:nvSpPr>
        <p:spPr>
          <a:xfrm>
            <a:off x="2284324" y="308742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4" name="Text Placeholder 79"/>
          <p:cNvSpPr>
            <a:spLocks noGrp="1"/>
          </p:cNvSpPr>
          <p:nvPr>
            <p:ph type="body" sz="quarter" idx="67" hasCustomPrompt="1"/>
          </p:nvPr>
        </p:nvSpPr>
        <p:spPr>
          <a:xfrm>
            <a:off x="2284324" y="199840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8" name="Text Placeholder 79"/>
          <p:cNvSpPr>
            <a:spLocks noGrp="1"/>
          </p:cNvSpPr>
          <p:nvPr>
            <p:ph type="body" sz="quarter" idx="71" hasCustomPrompt="1"/>
          </p:nvPr>
        </p:nvSpPr>
        <p:spPr>
          <a:xfrm>
            <a:off x="4086048" y="199813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9" name="Text Placeholder 79"/>
          <p:cNvSpPr>
            <a:spLocks noGrp="1"/>
          </p:cNvSpPr>
          <p:nvPr>
            <p:ph type="body" sz="quarter" idx="72" hasCustomPrompt="1"/>
          </p:nvPr>
        </p:nvSpPr>
        <p:spPr>
          <a:xfrm>
            <a:off x="4086048" y="308716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0" name="Text Placeholder 79"/>
          <p:cNvSpPr>
            <a:spLocks noGrp="1"/>
          </p:cNvSpPr>
          <p:nvPr>
            <p:ph type="body" sz="quarter" idx="73" hasCustomPrompt="1"/>
          </p:nvPr>
        </p:nvSpPr>
        <p:spPr>
          <a:xfrm>
            <a:off x="4086048" y="417618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1" name="Text Placeholder 79"/>
          <p:cNvSpPr>
            <a:spLocks noGrp="1"/>
          </p:cNvSpPr>
          <p:nvPr>
            <p:ph type="body" sz="quarter" idx="74" hasCustomPrompt="1"/>
          </p:nvPr>
        </p:nvSpPr>
        <p:spPr>
          <a:xfrm>
            <a:off x="4086048" y="526521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5" name="Text Placeholder 79"/>
          <p:cNvSpPr>
            <a:spLocks noGrp="1"/>
          </p:cNvSpPr>
          <p:nvPr>
            <p:ph type="body" sz="quarter" idx="78" hasCustomPrompt="1"/>
          </p:nvPr>
        </p:nvSpPr>
        <p:spPr>
          <a:xfrm>
            <a:off x="5887772" y="526495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4" name="Text Placeholder 79"/>
          <p:cNvSpPr>
            <a:spLocks noGrp="1"/>
          </p:cNvSpPr>
          <p:nvPr>
            <p:ph type="body" sz="quarter" idx="77" hasCustomPrompt="1"/>
          </p:nvPr>
        </p:nvSpPr>
        <p:spPr>
          <a:xfrm>
            <a:off x="5887772" y="417592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3" name="Text Placeholder 79"/>
          <p:cNvSpPr>
            <a:spLocks noGrp="1"/>
          </p:cNvSpPr>
          <p:nvPr>
            <p:ph type="body" sz="quarter" idx="76" hasCustomPrompt="1"/>
          </p:nvPr>
        </p:nvSpPr>
        <p:spPr>
          <a:xfrm>
            <a:off x="5887772" y="308690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2" name="Text Placeholder 79"/>
          <p:cNvSpPr>
            <a:spLocks noGrp="1"/>
          </p:cNvSpPr>
          <p:nvPr>
            <p:ph type="body" sz="quarter" idx="75" hasCustomPrompt="1"/>
          </p:nvPr>
        </p:nvSpPr>
        <p:spPr>
          <a:xfrm>
            <a:off x="5887772" y="199787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6" name="Text Placeholder 79"/>
          <p:cNvSpPr>
            <a:spLocks noGrp="1"/>
          </p:cNvSpPr>
          <p:nvPr>
            <p:ph type="body" sz="quarter" idx="79" hasCustomPrompt="1"/>
          </p:nvPr>
        </p:nvSpPr>
        <p:spPr>
          <a:xfrm>
            <a:off x="7689496" y="199761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7" name="Text Placeholder 79"/>
          <p:cNvSpPr>
            <a:spLocks noGrp="1"/>
          </p:cNvSpPr>
          <p:nvPr>
            <p:ph type="body" sz="quarter" idx="80" hasCustomPrompt="1"/>
          </p:nvPr>
        </p:nvSpPr>
        <p:spPr>
          <a:xfrm>
            <a:off x="7689496" y="308664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8" name="Text Placeholder 79"/>
          <p:cNvSpPr>
            <a:spLocks noGrp="1"/>
          </p:cNvSpPr>
          <p:nvPr>
            <p:ph type="body" sz="quarter" idx="81" hasCustomPrompt="1"/>
          </p:nvPr>
        </p:nvSpPr>
        <p:spPr>
          <a:xfrm>
            <a:off x="7689496" y="417566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9" name="Text Placeholder 79"/>
          <p:cNvSpPr>
            <a:spLocks noGrp="1"/>
          </p:cNvSpPr>
          <p:nvPr>
            <p:ph type="body" sz="quarter" idx="82" hasCustomPrompt="1"/>
          </p:nvPr>
        </p:nvSpPr>
        <p:spPr>
          <a:xfrm>
            <a:off x="7689496" y="526469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32" name="Content Placeholder 2"/>
          <p:cNvSpPr>
            <a:spLocks noGrp="1"/>
          </p:cNvSpPr>
          <p:nvPr>
            <p:ph sz="half" idx="53"/>
          </p:nvPr>
        </p:nvSpPr>
        <p:spPr>
          <a:xfrm>
            <a:off x="482600"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1" name="Content Placeholder 2"/>
          <p:cNvSpPr>
            <a:spLocks noGrp="1"/>
          </p:cNvSpPr>
          <p:nvPr>
            <p:ph sz="half" idx="48"/>
          </p:nvPr>
        </p:nvSpPr>
        <p:spPr>
          <a:xfrm>
            <a:off x="482600"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2"/>
          <p:cNvSpPr>
            <a:spLocks noGrp="1"/>
          </p:cNvSpPr>
          <p:nvPr>
            <p:ph sz="half" idx="24"/>
          </p:nvPr>
        </p:nvSpPr>
        <p:spPr>
          <a:xfrm>
            <a:off x="482600"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5" name="Content Placeholder 2"/>
          <p:cNvSpPr>
            <a:spLocks noGrp="1"/>
          </p:cNvSpPr>
          <p:nvPr>
            <p:ph sz="half" idx="31"/>
          </p:nvPr>
        </p:nvSpPr>
        <p:spPr>
          <a:xfrm>
            <a:off x="5889361"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7" name="Content Placeholder 2"/>
          <p:cNvSpPr>
            <a:spLocks noGrp="1"/>
          </p:cNvSpPr>
          <p:nvPr>
            <p:ph sz="half" idx="33"/>
          </p:nvPr>
        </p:nvSpPr>
        <p:spPr>
          <a:xfrm>
            <a:off x="4089224"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9" name="Content Placeholder 2"/>
          <p:cNvSpPr>
            <a:spLocks noGrp="1"/>
          </p:cNvSpPr>
          <p:nvPr>
            <p:ph sz="half" idx="35"/>
          </p:nvPr>
        </p:nvSpPr>
        <p:spPr>
          <a:xfrm>
            <a:off x="2289087"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1" name="Content Placeholder 2"/>
          <p:cNvSpPr>
            <a:spLocks noGrp="1"/>
          </p:cNvSpPr>
          <p:nvPr>
            <p:ph sz="half" idx="37"/>
          </p:nvPr>
        </p:nvSpPr>
        <p:spPr>
          <a:xfrm>
            <a:off x="7689496"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2" name="Content Placeholder 2"/>
          <p:cNvSpPr>
            <a:spLocks noGrp="1"/>
          </p:cNvSpPr>
          <p:nvPr>
            <p:ph sz="half" idx="49"/>
          </p:nvPr>
        </p:nvSpPr>
        <p:spPr>
          <a:xfrm>
            <a:off x="5889361"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6" name="Content Placeholder 2"/>
          <p:cNvSpPr>
            <a:spLocks noGrp="1"/>
          </p:cNvSpPr>
          <p:nvPr>
            <p:ph sz="half" idx="50"/>
          </p:nvPr>
        </p:nvSpPr>
        <p:spPr>
          <a:xfrm>
            <a:off x="4089224"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8" name="Content Placeholder 2"/>
          <p:cNvSpPr>
            <a:spLocks noGrp="1"/>
          </p:cNvSpPr>
          <p:nvPr>
            <p:ph sz="half" idx="51"/>
          </p:nvPr>
        </p:nvSpPr>
        <p:spPr>
          <a:xfrm>
            <a:off x="2289087"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0" name="Content Placeholder 2"/>
          <p:cNvSpPr>
            <a:spLocks noGrp="1"/>
          </p:cNvSpPr>
          <p:nvPr>
            <p:ph sz="half" idx="52"/>
          </p:nvPr>
        </p:nvSpPr>
        <p:spPr>
          <a:xfrm>
            <a:off x="7689496"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7" name="Content Placeholder 2"/>
          <p:cNvSpPr>
            <a:spLocks noGrp="1"/>
          </p:cNvSpPr>
          <p:nvPr>
            <p:ph sz="half" idx="54"/>
          </p:nvPr>
        </p:nvSpPr>
        <p:spPr>
          <a:xfrm>
            <a:off x="5889361"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8" name="Content Placeholder 2"/>
          <p:cNvSpPr>
            <a:spLocks noGrp="1"/>
          </p:cNvSpPr>
          <p:nvPr>
            <p:ph sz="half" idx="55"/>
          </p:nvPr>
        </p:nvSpPr>
        <p:spPr>
          <a:xfrm>
            <a:off x="4089224"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9" name="Content Placeholder 2"/>
          <p:cNvSpPr>
            <a:spLocks noGrp="1"/>
          </p:cNvSpPr>
          <p:nvPr>
            <p:ph sz="half" idx="56"/>
          </p:nvPr>
        </p:nvSpPr>
        <p:spPr>
          <a:xfrm>
            <a:off x="2289087"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0" name="Content Placeholder 2"/>
          <p:cNvSpPr>
            <a:spLocks noGrp="1"/>
          </p:cNvSpPr>
          <p:nvPr>
            <p:ph sz="half" idx="57"/>
          </p:nvPr>
        </p:nvSpPr>
        <p:spPr>
          <a:xfrm>
            <a:off x="7689496"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1" name="Content Placeholder 2"/>
          <p:cNvSpPr>
            <a:spLocks noGrp="1"/>
          </p:cNvSpPr>
          <p:nvPr>
            <p:ph sz="half" idx="58"/>
          </p:nvPr>
        </p:nvSpPr>
        <p:spPr>
          <a:xfrm>
            <a:off x="482600"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2" name="Content Placeholder 2"/>
          <p:cNvSpPr>
            <a:spLocks noGrp="1"/>
          </p:cNvSpPr>
          <p:nvPr>
            <p:ph sz="half" idx="59"/>
          </p:nvPr>
        </p:nvSpPr>
        <p:spPr>
          <a:xfrm>
            <a:off x="5889361"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3" name="Content Placeholder 2"/>
          <p:cNvSpPr>
            <a:spLocks noGrp="1"/>
          </p:cNvSpPr>
          <p:nvPr>
            <p:ph sz="half" idx="60"/>
          </p:nvPr>
        </p:nvSpPr>
        <p:spPr>
          <a:xfrm>
            <a:off x="4089224"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4" name="Content Placeholder 2"/>
          <p:cNvSpPr>
            <a:spLocks noGrp="1"/>
          </p:cNvSpPr>
          <p:nvPr>
            <p:ph sz="half" idx="61"/>
          </p:nvPr>
        </p:nvSpPr>
        <p:spPr>
          <a:xfrm>
            <a:off x="2289087"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5" name="Content Placeholder 2"/>
          <p:cNvSpPr>
            <a:spLocks noGrp="1"/>
          </p:cNvSpPr>
          <p:nvPr>
            <p:ph sz="half" idx="62"/>
          </p:nvPr>
        </p:nvSpPr>
        <p:spPr>
          <a:xfrm>
            <a:off x="7689496"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a:off x="482600"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6" name="Text Placeholder 22"/>
          <p:cNvSpPr>
            <a:spLocks noGrp="1"/>
          </p:cNvSpPr>
          <p:nvPr>
            <p:ph type="body" sz="quarter" idx="43"/>
          </p:nvPr>
        </p:nvSpPr>
        <p:spPr>
          <a:xfrm>
            <a:off x="2284324"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22"/>
          <p:cNvSpPr>
            <a:spLocks noGrp="1"/>
          </p:cNvSpPr>
          <p:nvPr>
            <p:ph type="body" sz="quarter" idx="44"/>
          </p:nvPr>
        </p:nvSpPr>
        <p:spPr>
          <a:xfrm>
            <a:off x="4086048"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9" name="Text Placeholder 22"/>
          <p:cNvSpPr>
            <a:spLocks noGrp="1"/>
          </p:cNvSpPr>
          <p:nvPr>
            <p:ph type="body" sz="quarter" idx="46"/>
          </p:nvPr>
        </p:nvSpPr>
        <p:spPr>
          <a:xfrm>
            <a:off x="7689496"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0" name="Text Placeholder 22"/>
          <p:cNvSpPr>
            <a:spLocks noGrp="1"/>
          </p:cNvSpPr>
          <p:nvPr>
            <p:ph type="body" sz="quarter" idx="47"/>
          </p:nvPr>
        </p:nvSpPr>
        <p:spPr>
          <a:xfrm>
            <a:off x="5887772"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50"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63960822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ross diagram">
    <p:spTree>
      <p:nvGrpSpPr>
        <p:cNvPr id="1" name=""/>
        <p:cNvGrpSpPr/>
        <p:nvPr/>
      </p:nvGrpSpPr>
      <p:grpSpPr>
        <a:xfrm>
          <a:off x="0" y="0"/>
          <a:ext cx="0" cy="0"/>
          <a:chOff x="0" y="0"/>
          <a:chExt cx="0" cy="0"/>
        </a:xfrm>
      </p:grpSpPr>
      <p:sp>
        <p:nvSpPr>
          <p:cNvPr id="39" name="Text Placeholder 38"/>
          <p:cNvSpPr>
            <a:spLocks noGrp="1"/>
          </p:cNvSpPr>
          <p:nvPr>
            <p:ph type="body" sz="quarter" idx="50" hasCustomPrompt="1"/>
          </p:nvPr>
        </p:nvSpPr>
        <p:spPr>
          <a:xfrm>
            <a:off x="4046538" y="3244850"/>
            <a:ext cx="1800225" cy="1079500"/>
          </a:xfrm>
          <a:solidFill>
            <a:schemeClr val="accent3">
              <a:lumMod val="20000"/>
              <a:lumOff val="80000"/>
            </a:schemeClr>
          </a:solidFill>
        </p:spPr>
        <p:txBody>
          <a:bodyPr/>
          <a:lstStyle>
            <a:lvl1pPr>
              <a:defRPr baseline="0"/>
            </a:lvl1pPr>
          </a:lstStyle>
          <a:p>
            <a:pPr lvl="0"/>
            <a:r>
              <a:rPr lang="en-GB" dirty="0" smtClean="0"/>
              <a:t> </a:t>
            </a:r>
            <a:endParaRPr lang="en-GB" dirty="0"/>
          </a:p>
        </p:txBody>
      </p:sp>
      <p:sp>
        <p:nvSpPr>
          <p:cNvPr id="27" name="Text Placeholder 26"/>
          <p:cNvSpPr>
            <a:spLocks noGrp="1"/>
          </p:cNvSpPr>
          <p:nvPr>
            <p:ph type="body" sz="quarter" idx="46" hasCustomPrompt="1"/>
          </p:nvPr>
        </p:nvSpPr>
        <p:spPr>
          <a:xfrm>
            <a:off x="489141"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0" name="Text Placeholder 26"/>
          <p:cNvSpPr>
            <a:spLocks noGrp="1"/>
          </p:cNvSpPr>
          <p:nvPr>
            <p:ph type="body" sz="quarter" idx="47" hasCustomPrompt="1"/>
          </p:nvPr>
        </p:nvSpPr>
        <p:spPr>
          <a:xfrm>
            <a:off x="6884350"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1" name="Text Placeholder 26"/>
          <p:cNvSpPr>
            <a:spLocks noGrp="1"/>
          </p:cNvSpPr>
          <p:nvPr>
            <p:ph type="body" sz="quarter" idx="48" hasCustomPrompt="1"/>
          </p:nvPr>
        </p:nvSpPr>
        <p:spPr>
          <a:xfrm>
            <a:off x="3687064" y="154800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6" name="Text Placeholder 26"/>
          <p:cNvSpPr>
            <a:spLocks noGrp="1"/>
          </p:cNvSpPr>
          <p:nvPr>
            <p:ph type="body" sz="quarter" idx="49" hasCustomPrompt="1"/>
          </p:nvPr>
        </p:nvSpPr>
        <p:spPr>
          <a:xfrm>
            <a:off x="3687064" y="4935015"/>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13" name="Content Placeholder 2"/>
          <p:cNvSpPr>
            <a:spLocks noGrp="1"/>
          </p:cNvSpPr>
          <p:nvPr>
            <p:ph sz="half" idx="24"/>
          </p:nvPr>
        </p:nvSpPr>
        <p:spPr>
          <a:xfrm>
            <a:off x="488504"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5" name="Content Placeholder 2"/>
          <p:cNvSpPr>
            <a:spLocks noGrp="1"/>
          </p:cNvSpPr>
          <p:nvPr>
            <p:ph sz="half" idx="31"/>
          </p:nvPr>
        </p:nvSpPr>
        <p:spPr>
          <a:xfrm>
            <a:off x="3686427" y="154800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8" name="Content Placeholder 2"/>
          <p:cNvSpPr>
            <a:spLocks noGrp="1"/>
          </p:cNvSpPr>
          <p:nvPr>
            <p:ph sz="half" idx="34"/>
          </p:nvPr>
        </p:nvSpPr>
        <p:spPr>
          <a:xfrm>
            <a:off x="6884350"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8" name="Content Placeholder 2"/>
          <p:cNvSpPr>
            <a:spLocks noGrp="1"/>
          </p:cNvSpPr>
          <p:nvPr>
            <p:ph sz="half" idx="41"/>
          </p:nvPr>
        </p:nvSpPr>
        <p:spPr>
          <a:xfrm>
            <a:off x="3686427" y="4935015"/>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7" name="Rectangle 16"/>
          <p:cNvSpPr/>
          <p:nvPr userDrawn="1"/>
        </p:nvSpPr>
        <p:spPr>
          <a:xfrm>
            <a:off x="4046427" y="3244979"/>
            <a:ext cx="1800000" cy="108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6" name="Content Placeholder 2"/>
          <p:cNvSpPr>
            <a:spLocks noGrp="1"/>
          </p:cNvSpPr>
          <p:nvPr>
            <p:ph sz="half" idx="39" hasCustomPrompt="1"/>
          </p:nvPr>
        </p:nvSpPr>
        <p:spPr>
          <a:xfrm>
            <a:off x="4046427" y="3244979"/>
            <a:ext cx="1800000" cy="1080000"/>
          </a:xfrm>
          <a:noFill/>
        </p:spPr>
        <p:txBody>
          <a:bodyPr lIns="72000" tIns="72000" rIns="72000" bIns="72000" anchor="ctr" anchorCtr="0"/>
          <a:lstStyle>
            <a:lvl1pPr algn="ct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Insert logo or text here</a:t>
            </a:r>
          </a:p>
        </p:txBody>
      </p:sp>
      <p:sp>
        <p:nvSpPr>
          <p:cNvPr id="24" name="Text Placeholder 7"/>
          <p:cNvSpPr>
            <a:spLocks noGrp="1"/>
          </p:cNvSpPr>
          <p:nvPr>
            <p:ph type="body" sz="quarter" idx="5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83713"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8" name="Text Placeholder 23"/>
          <p:cNvSpPr>
            <a:spLocks noGrp="1"/>
          </p:cNvSpPr>
          <p:nvPr>
            <p:ph type="body" sz="quarter" idx="52"/>
          </p:nvPr>
        </p:nvSpPr>
        <p:spPr>
          <a:xfrm>
            <a:off x="3686427" y="1341438"/>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76"/>
          </p:nvPr>
        </p:nvSpPr>
        <p:spPr>
          <a:xfrm>
            <a:off x="488504"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1" name="Text Placeholder 23"/>
          <p:cNvSpPr>
            <a:spLocks noGrp="1"/>
          </p:cNvSpPr>
          <p:nvPr>
            <p:ph type="body" sz="quarter" idx="77"/>
          </p:nvPr>
        </p:nvSpPr>
        <p:spPr>
          <a:xfrm>
            <a:off x="3686427" y="4719115"/>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5"/>
          <p:cNvSpPr>
            <a:spLocks noGrp="1"/>
          </p:cNvSpPr>
          <p:nvPr>
            <p:ph type="body" sz="quarter" idx="78"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44" name="Text Placeholder 25"/>
          <p:cNvSpPr>
            <a:spLocks noGrp="1"/>
          </p:cNvSpPr>
          <p:nvPr>
            <p:ph type="body" sz="quarter" idx="79"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0" name="Text Placeholder 25"/>
          <p:cNvSpPr>
            <a:spLocks noGrp="1"/>
          </p:cNvSpPr>
          <p:nvPr>
            <p:ph type="body" sz="quarter" idx="80" hasCustomPrompt="1"/>
          </p:nvPr>
        </p:nvSpPr>
        <p:spPr>
          <a:xfrm rot="16200000">
            <a:off x="4838654" y="4310935"/>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2" name="Text Placeholder 25"/>
          <p:cNvSpPr>
            <a:spLocks noGrp="1"/>
          </p:cNvSpPr>
          <p:nvPr>
            <p:ph type="body" sz="quarter" idx="81" hasCustomPrompt="1"/>
          </p:nvPr>
        </p:nvSpPr>
        <p:spPr>
          <a:xfrm>
            <a:off x="3419466"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4" name="Text Placeholder 25"/>
          <p:cNvSpPr>
            <a:spLocks noGrp="1"/>
          </p:cNvSpPr>
          <p:nvPr>
            <p:ph type="body" sz="quarter" idx="82" hasCustomPrompt="1"/>
          </p:nvPr>
        </p:nvSpPr>
        <p:spPr>
          <a:xfrm rot="10800000">
            <a:off x="6257388"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Tree>
    <p:extLst>
      <p:ext uri="{BB962C8B-B14F-4D97-AF65-F5344CB8AC3E}">
        <p14:creationId xmlns:p14="http://schemas.microsoft.com/office/powerpoint/2010/main" val="205597430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720007924"/>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8"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9"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7"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1"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2"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22"/>
          <p:cNvSpPr>
            <a:spLocks noGrp="1"/>
          </p:cNvSpPr>
          <p:nvPr>
            <p:ph type="body" sz="quarter" idx="53"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51877336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B]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0"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42" hasCustomPrompt="1"/>
          </p:nvPr>
        </p:nvSpPr>
        <p:spPr>
          <a:xfrm>
            <a:off x="5925050" y="1557338"/>
            <a:ext cx="34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31"/>
          </p:nvPr>
        </p:nvSpPr>
        <p:spPr>
          <a:xfrm>
            <a:off x="5925050" y="1557338"/>
            <a:ext cx="3492000" cy="453754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53" hasCustomPrompt="1"/>
          </p:nvPr>
        </p:nvSpPr>
        <p:spPr>
          <a:xfrm>
            <a:off x="5925050" y="609488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15"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615832371"/>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5"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1"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662"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33" hasCustomPrompt="1"/>
          </p:nvPr>
        </p:nvSpPr>
        <p:spPr>
          <a:xfrm>
            <a:off x="2252662"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3" name="Text Placeholder 21"/>
          <p:cNvSpPr>
            <a:spLocks noGrp="1"/>
          </p:cNvSpPr>
          <p:nvPr>
            <p:ph type="body" sz="quarter" idx="42" hasCustomPrompt="1"/>
          </p:nvPr>
        </p:nvSpPr>
        <p:spPr>
          <a:xfrm>
            <a:off x="2252662"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44" hasCustomPrompt="1"/>
          </p:nvPr>
        </p:nvSpPr>
        <p:spPr>
          <a:xfrm>
            <a:off x="2252662"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18521472"/>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0035" y="188640"/>
            <a:ext cx="8208000" cy="630000"/>
          </a:xfrm>
        </p:spPr>
        <p:txBody>
          <a:bodyPr/>
          <a:lstStyle/>
          <a:p>
            <a:r>
              <a:rPr lang="en-US" smtClean="0"/>
              <a:t>Click to edit Master title style</a:t>
            </a:r>
            <a:endParaRPr lang="en-GB"/>
          </a:p>
        </p:txBody>
      </p:sp>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6"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7"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55"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69" hasCustomPrompt="1"/>
          </p:nvPr>
        </p:nvSpPr>
        <p:spPr>
          <a:xfrm>
            <a:off x="2252663"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70"/>
          </p:nvPr>
        </p:nvSpPr>
        <p:spPr>
          <a:xfrm>
            <a:off x="2252663"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71" hasCustomPrompt="1"/>
          </p:nvPr>
        </p:nvSpPr>
        <p:spPr>
          <a:xfrm>
            <a:off x="2252663"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7"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8"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9"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3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42356511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6"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1"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eal sheet">
    <p:spTree>
      <p:nvGrpSpPr>
        <p:cNvPr id="1" name=""/>
        <p:cNvGrpSpPr/>
        <p:nvPr/>
      </p:nvGrpSpPr>
      <p:grpSpPr>
        <a:xfrm>
          <a:off x="0" y="0"/>
          <a:ext cx="0" cy="0"/>
          <a:chOff x="0" y="0"/>
          <a:chExt cx="0" cy="0"/>
        </a:xfrm>
      </p:grpSpPr>
      <p:sp>
        <p:nvSpPr>
          <p:cNvPr id="14" name="Rectangle 13"/>
          <p:cNvSpPr/>
          <p:nvPr userDrawn="1"/>
        </p:nvSpPr>
        <p:spPr>
          <a:xfrm>
            <a:off x="48895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11" name="Text Placeholder 10"/>
          <p:cNvSpPr>
            <a:spLocks noGrp="1"/>
          </p:cNvSpPr>
          <p:nvPr>
            <p:ph type="body" sz="quarter" idx="63"/>
          </p:nvPr>
        </p:nvSpPr>
        <p:spPr>
          <a:xfrm>
            <a:off x="2252663"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10"/>
          <p:cNvSpPr>
            <a:spLocks noGrp="1"/>
          </p:cNvSpPr>
          <p:nvPr>
            <p:ph type="body" sz="quarter" idx="64"/>
          </p:nvPr>
        </p:nvSpPr>
        <p:spPr>
          <a:xfrm>
            <a:off x="5024438"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4"/>
          <p:cNvSpPr/>
          <p:nvPr userDrawn="1"/>
        </p:nvSpPr>
        <p:spPr>
          <a:xfrm>
            <a:off x="779780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Tree>
    <p:extLst>
      <p:ext uri="{BB962C8B-B14F-4D97-AF65-F5344CB8AC3E}">
        <p14:creationId xmlns:p14="http://schemas.microsoft.com/office/powerpoint/2010/main" val="369716523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07084712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 Standard profile">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7"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6"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9"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2"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3"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Text Placeholder 22"/>
          <p:cNvSpPr>
            <a:spLocks noGrp="1"/>
          </p:cNvSpPr>
          <p:nvPr>
            <p:ph type="body" sz="quarter" idx="44"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5"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47" y="1341438"/>
            <a:ext cx="4392615"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09948179"/>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1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5"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8"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62"/>
          </p:nvPr>
        </p:nvSpPr>
        <p:spPr>
          <a:xfrm>
            <a:off x="488951" y="3860800"/>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64"/>
          </p:nvPr>
        </p:nvSpPr>
        <p:spPr>
          <a:xfrm>
            <a:off x="489564" y="1341437"/>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05616618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 Four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29"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2"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4"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5"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6"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5" name="Text Placeholder 21"/>
          <p:cNvSpPr>
            <a:spLocks noGrp="1"/>
          </p:cNvSpPr>
          <p:nvPr>
            <p:ph type="body" sz="quarter" idx="50"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6" name="Content Placeholder 2"/>
          <p:cNvSpPr>
            <a:spLocks noGrp="1"/>
          </p:cNvSpPr>
          <p:nvPr>
            <p:ph sz="half" idx="51"/>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7" name="Text Placeholder 22"/>
          <p:cNvSpPr>
            <a:spLocks noGrp="1"/>
          </p:cNvSpPr>
          <p:nvPr>
            <p:ph type="body" sz="quarter" idx="52" hasCustomPrompt="1"/>
          </p:nvPr>
        </p:nvSpPr>
        <p:spPr>
          <a:xfrm>
            <a:off x="5024437"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1"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64"/>
          </p:nvPr>
        </p:nvSpPr>
        <p:spPr>
          <a:xfrm>
            <a:off x="5024437"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60950727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 Six boxes">
    <p:spTree>
      <p:nvGrpSpPr>
        <p:cNvPr id="1" name=""/>
        <p:cNvGrpSpPr/>
        <p:nvPr/>
      </p:nvGrpSpPr>
      <p:grpSpPr>
        <a:xfrm>
          <a:off x="0" y="0"/>
          <a:ext cx="0" cy="0"/>
          <a:chOff x="0" y="0"/>
          <a:chExt cx="0" cy="0"/>
        </a:xfrm>
      </p:grpSpPr>
      <p:sp>
        <p:nvSpPr>
          <p:cNvPr id="2" name="Title 1"/>
          <p:cNvSpPr>
            <a:spLocks noGrp="1"/>
          </p:cNvSpPr>
          <p:nvPr>
            <p:ph type="title"/>
          </p:nvPr>
        </p:nvSpPr>
        <p:spPr>
          <a:xfrm>
            <a:off x="1280592" y="188640"/>
            <a:ext cx="7451904" cy="630000"/>
          </a:xfrm>
        </p:spPr>
        <p:txBody>
          <a:bodyPr/>
          <a:lstStyle/>
          <a:p>
            <a:r>
              <a:rPr lang="en-US" smtClean="0"/>
              <a:t>Click to edit Master title style</a:t>
            </a:r>
            <a:endParaRPr lang="en-GB" dirty="0"/>
          </a:p>
        </p:txBody>
      </p:sp>
      <p:sp>
        <p:nvSpPr>
          <p:cNvPr id="43"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31"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3"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7"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8"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9"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1"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5"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6"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8"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9"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0"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3"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4"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02313960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11"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0"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9"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7"/>
          <p:cNvSpPr>
            <a:spLocks noGrp="1"/>
          </p:cNvSpPr>
          <p:nvPr>
            <p:ph type="body" sz="quarter" idx="3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22418237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9" name="Content Placeholder 2"/>
          <p:cNvSpPr>
            <a:spLocks noGrp="1"/>
          </p:cNvSpPr>
          <p:nvPr>
            <p:ph idx="1"/>
          </p:nvPr>
        </p:nvSpPr>
        <p:spPr>
          <a:xfrm>
            <a:off x="2243562" y="1341438"/>
            <a:ext cx="3492001"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7"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0"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7"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8"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37740564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5"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0"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2"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215"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1"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2"/>
          <p:cNvSpPr>
            <a:spLocks noGrp="1"/>
          </p:cNvSpPr>
          <p:nvPr>
            <p:ph type="body" sz="quarter" idx="33" hasCustomPrompt="1"/>
          </p:nvPr>
        </p:nvSpPr>
        <p:spPr>
          <a:xfrm>
            <a:off x="2252215"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4" name="Text Placeholder 21"/>
          <p:cNvSpPr>
            <a:spLocks noGrp="1"/>
          </p:cNvSpPr>
          <p:nvPr>
            <p:ph type="body" sz="quarter" idx="42" hasCustomPrompt="1"/>
          </p:nvPr>
        </p:nvSpPr>
        <p:spPr>
          <a:xfrm>
            <a:off x="2252215"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5"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Text Placeholder 22"/>
          <p:cNvSpPr>
            <a:spLocks noGrp="1"/>
          </p:cNvSpPr>
          <p:nvPr>
            <p:ph type="body" sz="quarter" idx="44" hasCustomPrompt="1"/>
          </p:nvPr>
        </p:nvSpPr>
        <p:spPr>
          <a:xfrm>
            <a:off x="2252215"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3"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393883916"/>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2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5"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9"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55"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5" name="Text Placeholder 21"/>
          <p:cNvSpPr>
            <a:spLocks noGrp="1"/>
          </p:cNvSpPr>
          <p:nvPr>
            <p:ph type="body" sz="quarter" idx="69" hasCustomPrompt="1"/>
          </p:nvPr>
        </p:nvSpPr>
        <p:spPr>
          <a:xfrm>
            <a:off x="2252215"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6" name="Content Placeholder 2"/>
          <p:cNvSpPr>
            <a:spLocks noGrp="1"/>
          </p:cNvSpPr>
          <p:nvPr>
            <p:ph sz="half" idx="70"/>
          </p:nvPr>
        </p:nvSpPr>
        <p:spPr>
          <a:xfrm>
            <a:off x="2252215"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7" name="Text Placeholder 22"/>
          <p:cNvSpPr>
            <a:spLocks noGrp="1"/>
          </p:cNvSpPr>
          <p:nvPr>
            <p:ph type="body" sz="quarter" idx="71" hasCustomPrompt="1"/>
          </p:nvPr>
        </p:nvSpPr>
        <p:spPr>
          <a:xfrm>
            <a:off x="2252215"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9"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0"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1"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7"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97708507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ve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7"/>
            <a:ext cx="2879726" cy="4535957"/>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1"/>
          <p:cNvSpPr>
            <a:spLocks noGrp="1"/>
          </p:cNvSpPr>
          <p:nvPr>
            <p:ph type="body" sz="quarter" idx="65" hasCustomPrompt="1"/>
          </p:nvPr>
        </p:nvSpPr>
        <p:spPr>
          <a:xfrm>
            <a:off x="3513138" y="4076699"/>
            <a:ext cx="5903464"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3513138" y="4076699"/>
            <a:ext cx="5903464"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3513138" y="6093295"/>
            <a:ext cx="5903464"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3513138" y="3860799"/>
            <a:ext cx="5903464"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17652" y="1533439"/>
            <a:ext cx="5936836" cy="4637753"/>
          </a:xfrm>
        </p:spPr>
        <p:txBody>
          <a:bodyPr/>
          <a:lstStyle>
            <a:lvl1pPr>
              <a:buFont typeface="Wingdings" pitchFamily="2" charset="2"/>
              <a:buChar cha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6" name="Content Placeholder 2"/>
          <p:cNvSpPr>
            <a:spLocks noGrp="1"/>
          </p:cNvSpPr>
          <p:nvPr>
            <p:ph idx="15"/>
          </p:nvPr>
        </p:nvSpPr>
        <p:spPr bwMode="gray">
          <a:xfrm>
            <a:off x="882365" y="6302218"/>
            <a:ext cx="8348661" cy="274742"/>
          </a:xfrm>
        </p:spPr>
        <p:txBody>
          <a:bodyPr/>
          <a:lstStyle>
            <a:lvl1pPr marL="0" indent="0">
              <a:lnSpc>
                <a:spcPct val="100000"/>
              </a:lnSpc>
              <a:buClrTx/>
              <a:buFont typeface="Arial" pitchFamily="34" charset="0"/>
              <a:buNone/>
              <a:defRPr sz="600">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2" name="Text Placeholder 13"/>
          <p:cNvSpPr>
            <a:spLocks noGrp="1"/>
          </p:cNvSpPr>
          <p:nvPr>
            <p:ph type="body" sz="quarter" idx="18"/>
          </p:nvPr>
        </p:nvSpPr>
        <p:spPr bwMode="gray">
          <a:xfrm>
            <a:off x="6628170" y="1534880"/>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14" name="Text Placeholder 13"/>
          <p:cNvSpPr>
            <a:spLocks noGrp="1"/>
          </p:cNvSpPr>
          <p:nvPr>
            <p:ph type="body" sz="quarter" idx="23"/>
          </p:nvPr>
        </p:nvSpPr>
        <p:spPr bwMode="gray">
          <a:xfrm>
            <a:off x="6628170" y="3950943"/>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7" name="Text Placeholder 26"/>
          <p:cNvSpPr>
            <a:spLocks noGrp="1"/>
          </p:cNvSpPr>
          <p:nvPr>
            <p:ph type="body" sz="quarter" idx="32"/>
          </p:nvPr>
        </p:nvSpPr>
        <p:spPr bwMode="gray">
          <a:xfrm>
            <a:off x="6628170" y="1857807"/>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28" name="Content Placeholder 18"/>
          <p:cNvSpPr>
            <a:spLocks noGrp="1"/>
          </p:cNvSpPr>
          <p:nvPr>
            <p:ph sz="quarter" idx="33"/>
          </p:nvPr>
        </p:nvSpPr>
        <p:spPr bwMode="gray">
          <a:xfrm>
            <a:off x="6628170" y="1861397"/>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9" name="Content Placeholder 2"/>
          <p:cNvSpPr>
            <a:spLocks noGrp="1"/>
          </p:cNvSpPr>
          <p:nvPr>
            <p:ph idx="27"/>
          </p:nvPr>
        </p:nvSpPr>
        <p:spPr bwMode="gray">
          <a:xfrm>
            <a:off x="6628170" y="3534672"/>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30" name="Text Placeholder 26"/>
          <p:cNvSpPr>
            <a:spLocks noGrp="1"/>
          </p:cNvSpPr>
          <p:nvPr>
            <p:ph type="body" sz="quarter" idx="34"/>
          </p:nvPr>
        </p:nvSpPr>
        <p:spPr bwMode="gray">
          <a:xfrm>
            <a:off x="6628170" y="4274450"/>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31" name="Content Placeholder 18"/>
          <p:cNvSpPr>
            <a:spLocks noGrp="1"/>
          </p:cNvSpPr>
          <p:nvPr>
            <p:ph sz="quarter" idx="35"/>
          </p:nvPr>
        </p:nvSpPr>
        <p:spPr bwMode="gray">
          <a:xfrm>
            <a:off x="6628170" y="4278038"/>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2" name="Content Placeholder 2"/>
          <p:cNvSpPr>
            <a:spLocks noGrp="1"/>
          </p:cNvSpPr>
          <p:nvPr>
            <p:ph idx="36"/>
          </p:nvPr>
        </p:nvSpPr>
        <p:spPr bwMode="gray">
          <a:xfrm>
            <a:off x="6628170" y="5951314"/>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3"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1190807297"/>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2534845241"/>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1022190938"/>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13"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91474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6"/>
          <p:cNvSpPr>
            <a:spLocks noGrp="1"/>
          </p:cNvSpPr>
          <p:nvPr>
            <p:ph type="body" sz="quarter" idx="28"/>
          </p:nvPr>
        </p:nvSpPr>
        <p:spPr bwMode="gray">
          <a:xfrm>
            <a:off x="5086956"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3" name="Text Placeholder 16"/>
          <p:cNvSpPr>
            <a:spLocks noGrp="1"/>
          </p:cNvSpPr>
          <p:nvPr>
            <p:ph type="body" sz="quarter" idx="29"/>
          </p:nvPr>
        </p:nvSpPr>
        <p:spPr bwMode="gray">
          <a:xfrm>
            <a:off x="416180"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0" name="Content Placeholder 19"/>
          <p:cNvSpPr>
            <a:spLocks noGrp="1"/>
          </p:cNvSpPr>
          <p:nvPr>
            <p:ph sz="quarter" idx="22"/>
          </p:nvPr>
        </p:nvSpPr>
        <p:spPr bwMode="gray">
          <a:xfrm>
            <a:off x="5086992"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4" name="Content Placeholder 19"/>
          <p:cNvSpPr>
            <a:spLocks noGrp="1"/>
          </p:cNvSpPr>
          <p:nvPr>
            <p:ph sz="quarter" idx="30"/>
          </p:nvPr>
        </p:nvSpPr>
        <p:spPr bwMode="gray">
          <a:xfrm>
            <a:off x="416181"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7"/>
          </p:nvPr>
        </p:nvSpPr>
        <p:spPr bwMode="gray">
          <a:xfrm>
            <a:off x="416180"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GB" sz="1000" b="1" kern="1200" dirty="0" smtClean="0">
                <a:solidFill>
                  <a:schemeClr val="bg2"/>
                </a:solidFill>
                <a:latin typeface="Verdana" pitchFamily="34" charset="0"/>
                <a:ea typeface="+mn-ea"/>
                <a:cs typeface="+mn-cs"/>
              </a:defRPr>
            </a:lvl1pPr>
          </a:lstStyle>
          <a:p>
            <a:pPr lvl="0"/>
            <a:r>
              <a:rPr lang="en-US" noProof="0" smtClean="0"/>
              <a:t>Click to edit Master text styles</a:t>
            </a:r>
          </a:p>
        </p:txBody>
      </p:sp>
      <p:sp>
        <p:nvSpPr>
          <p:cNvPr id="14" name="Text Placeholder 13"/>
          <p:cNvSpPr>
            <a:spLocks noGrp="1"/>
          </p:cNvSpPr>
          <p:nvPr>
            <p:ph type="body" sz="quarter" idx="18"/>
          </p:nvPr>
        </p:nvSpPr>
        <p:spPr bwMode="gray">
          <a:xfrm>
            <a:off x="5087088"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US" sz="1000" b="1" kern="1200" dirty="0" smtClean="0">
                <a:solidFill>
                  <a:schemeClr val="bg2"/>
                </a:solidFill>
                <a:latin typeface="Verdana" pitchFamily="34" charset="0"/>
                <a:ea typeface="+mn-ea"/>
                <a:cs typeface="+mn-cs"/>
              </a:defRPr>
            </a:lvl1pPr>
            <a:lvl2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4042"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2" name="Content Placeholder 2"/>
          <p:cNvSpPr>
            <a:spLocks noGrp="1"/>
          </p:cNvSpPr>
          <p:nvPr>
            <p:ph idx="27"/>
          </p:nvPr>
        </p:nvSpPr>
        <p:spPr bwMode="gray">
          <a:xfrm>
            <a:off x="5086380"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25" name="Content Placeholder 2"/>
          <p:cNvSpPr>
            <a:spLocks noGrp="1"/>
          </p:cNvSpPr>
          <p:nvPr>
            <p:ph idx="31"/>
          </p:nvPr>
        </p:nvSpPr>
        <p:spPr bwMode="gray">
          <a:xfrm>
            <a:off x="416181"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5"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2830830105"/>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78311199"/>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3488970376"/>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3083375222"/>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8476476" y="5480050"/>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extLst>
      <p:ext uri="{BB962C8B-B14F-4D97-AF65-F5344CB8AC3E}">
        <p14:creationId xmlns:p14="http://schemas.microsoft.com/office/powerpoint/2010/main" val="1426499376"/>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32" hasCustomPrompt="1"/>
          </p:nvPr>
        </p:nvSpPr>
        <p:spPr>
          <a:xfrm>
            <a:off x="488951" y="6237288"/>
            <a:ext cx="8136457" cy="360064"/>
          </a:xfrm>
        </p:spPr>
        <p:txBody>
          <a:bodyPr anchor="b" anchorCtr="0"/>
          <a:lstStyle>
            <a:lvl1pPr>
              <a:lnSpc>
                <a:spcPct val="100000"/>
              </a:lnSpc>
              <a:spcBef>
                <a:spcPts val="0"/>
              </a:spcBef>
              <a:defRPr sz="600">
                <a:solidFill>
                  <a:schemeClr val="bg1">
                    <a:lumMod val="50000"/>
                  </a:schemeClr>
                </a:solidFill>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dirty="0" smtClean="0"/>
              <a:t>Notes/Sources:</a:t>
            </a:r>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00665556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1000" i="0"/>
            </a:lvl1pPr>
            <a:lvl2pPr>
              <a:defRPr sz="800"/>
            </a:lvl2pPr>
            <a:lvl3pPr>
              <a:defRPr sz="80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1" y="6237288"/>
            <a:ext cx="6264250" cy="360064"/>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77486986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ine charts">
    <p:spTree>
      <p:nvGrpSpPr>
        <p:cNvPr id="1" name=""/>
        <p:cNvGrpSpPr/>
        <p:nvPr/>
      </p:nvGrpSpPr>
      <p:grpSpPr>
        <a:xfrm>
          <a:off x="0" y="0"/>
          <a:ext cx="0" cy="0"/>
          <a:chOff x="0" y="0"/>
          <a:chExt cx="0" cy="0"/>
        </a:xfrm>
      </p:grpSpPr>
      <p:sp>
        <p:nvSpPr>
          <p:cNvPr id="41" name="Content Placeholder 2"/>
          <p:cNvSpPr>
            <a:spLocks noGrp="1"/>
          </p:cNvSpPr>
          <p:nvPr>
            <p:ph sz="half" idx="83"/>
          </p:nvPr>
        </p:nvSpPr>
        <p:spPr>
          <a:xfrm>
            <a:off x="482600" y="155733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2" name="Content Placeholder 2"/>
          <p:cNvSpPr>
            <a:spLocks noGrp="1"/>
          </p:cNvSpPr>
          <p:nvPr>
            <p:ph sz="half" idx="84"/>
          </p:nvPr>
        </p:nvSpPr>
        <p:spPr>
          <a:xfrm>
            <a:off x="482600" y="4742460"/>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3" name="Content Placeholder 2"/>
          <p:cNvSpPr>
            <a:spLocks noGrp="1"/>
          </p:cNvSpPr>
          <p:nvPr>
            <p:ph sz="half" idx="85"/>
          </p:nvPr>
        </p:nvSpPr>
        <p:spPr>
          <a:xfrm>
            <a:off x="482600" y="314989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6" name="Text Placeholder 21"/>
          <p:cNvSpPr>
            <a:spLocks noGrp="1"/>
          </p:cNvSpPr>
          <p:nvPr>
            <p:ph type="body" sz="quarter" idx="53" hasCustomPrompt="1"/>
          </p:nvPr>
        </p:nvSpPr>
        <p:spPr>
          <a:xfrm>
            <a:off x="6897051"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54"/>
          </p:nvPr>
        </p:nvSpPr>
        <p:spPr>
          <a:xfrm>
            <a:off x="6897051"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55" hasCustomPrompt="1"/>
          </p:nvPr>
        </p:nvSpPr>
        <p:spPr>
          <a:xfrm>
            <a:off x="6897051"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5" name="Text Placeholder 21"/>
          <p:cNvSpPr>
            <a:spLocks noGrp="1"/>
          </p:cNvSpPr>
          <p:nvPr>
            <p:ph type="body" sz="quarter" idx="56" hasCustomPrompt="1"/>
          </p:nvPr>
        </p:nvSpPr>
        <p:spPr>
          <a:xfrm>
            <a:off x="6896799"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6" name="Content Placeholder 2"/>
          <p:cNvSpPr>
            <a:spLocks noGrp="1"/>
          </p:cNvSpPr>
          <p:nvPr>
            <p:ph sz="half" idx="57"/>
          </p:nvPr>
        </p:nvSpPr>
        <p:spPr>
          <a:xfrm>
            <a:off x="6896799"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7" name="Text Placeholder 22"/>
          <p:cNvSpPr>
            <a:spLocks noGrp="1"/>
          </p:cNvSpPr>
          <p:nvPr>
            <p:ph type="body" sz="quarter" idx="58" hasCustomPrompt="1"/>
          </p:nvPr>
        </p:nvSpPr>
        <p:spPr>
          <a:xfrm>
            <a:off x="6896799"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8" name="Text Placeholder 21"/>
          <p:cNvSpPr>
            <a:spLocks noGrp="1"/>
          </p:cNvSpPr>
          <p:nvPr>
            <p:ph type="body" sz="quarter" idx="59" hasCustomPrompt="1"/>
          </p:nvPr>
        </p:nvSpPr>
        <p:spPr>
          <a:xfrm>
            <a:off x="6896547"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9" name="Content Placeholder 2"/>
          <p:cNvSpPr>
            <a:spLocks noGrp="1"/>
          </p:cNvSpPr>
          <p:nvPr>
            <p:ph sz="half" idx="60"/>
          </p:nvPr>
        </p:nvSpPr>
        <p:spPr>
          <a:xfrm>
            <a:off x="6896547"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0" name="Text Placeholder 22"/>
          <p:cNvSpPr>
            <a:spLocks noGrp="1"/>
          </p:cNvSpPr>
          <p:nvPr>
            <p:ph type="body" sz="quarter" idx="61" hasCustomPrompt="1"/>
          </p:nvPr>
        </p:nvSpPr>
        <p:spPr>
          <a:xfrm>
            <a:off x="6896547"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2" name="Text Placeholder 21"/>
          <p:cNvSpPr>
            <a:spLocks noGrp="1"/>
          </p:cNvSpPr>
          <p:nvPr>
            <p:ph type="body" sz="quarter" idx="63" hasCustomPrompt="1"/>
          </p:nvPr>
        </p:nvSpPr>
        <p:spPr>
          <a:xfrm>
            <a:off x="1617278"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1617026"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1617026"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1617278"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1617026"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1617026"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1617278"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1617026"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1617026"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2" name="Text Placeholder 21"/>
          <p:cNvSpPr>
            <a:spLocks noGrp="1"/>
          </p:cNvSpPr>
          <p:nvPr>
            <p:ph type="body" sz="quarter" idx="73" hasCustomPrompt="1"/>
          </p:nvPr>
        </p:nvSpPr>
        <p:spPr>
          <a:xfrm>
            <a:off x="4257290" y="155641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3" name="Content Placeholder 2"/>
          <p:cNvSpPr>
            <a:spLocks noGrp="1"/>
          </p:cNvSpPr>
          <p:nvPr>
            <p:ph sz="half" idx="74"/>
          </p:nvPr>
        </p:nvSpPr>
        <p:spPr>
          <a:xfrm>
            <a:off x="4257038"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4" name="Text Placeholder 22"/>
          <p:cNvSpPr>
            <a:spLocks noGrp="1"/>
          </p:cNvSpPr>
          <p:nvPr>
            <p:ph type="body" sz="quarter" idx="75" hasCustomPrompt="1"/>
          </p:nvPr>
        </p:nvSpPr>
        <p:spPr>
          <a:xfrm>
            <a:off x="4257038"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5" name="Text Placeholder 21"/>
          <p:cNvSpPr>
            <a:spLocks noGrp="1"/>
          </p:cNvSpPr>
          <p:nvPr>
            <p:ph type="body" sz="quarter" idx="76" hasCustomPrompt="1"/>
          </p:nvPr>
        </p:nvSpPr>
        <p:spPr>
          <a:xfrm>
            <a:off x="4257290"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6" name="Content Placeholder 2"/>
          <p:cNvSpPr>
            <a:spLocks noGrp="1"/>
          </p:cNvSpPr>
          <p:nvPr>
            <p:ph sz="half" idx="77"/>
          </p:nvPr>
        </p:nvSpPr>
        <p:spPr>
          <a:xfrm>
            <a:off x="4257038"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7" name="Text Placeholder 22"/>
          <p:cNvSpPr>
            <a:spLocks noGrp="1"/>
          </p:cNvSpPr>
          <p:nvPr>
            <p:ph type="body" sz="quarter" idx="78" hasCustomPrompt="1"/>
          </p:nvPr>
        </p:nvSpPr>
        <p:spPr>
          <a:xfrm>
            <a:off x="4257038"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8" name="Text Placeholder 21"/>
          <p:cNvSpPr>
            <a:spLocks noGrp="1"/>
          </p:cNvSpPr>
          <p:nvPr>
            <p:ph type="body" sz="quarter" idx="79" hasCustomPrompt="1"/>
          </p:nvPr>
        </p:nvSpPr>
        <p:spPr>
          <a:xfrm>
            <a:off x="4257290" y="315756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9" name="Content Placeholder 2"/>
          <p:cNvSpPr>
            <a:spLocks noGrp="1"/>
          </p:cNvSpPr>
          <p:nvPr>
            <p:ph sz="half" idx="80"/>
          </p:nvPr>
        </p:nvSpPr>
        <p:spPr>
          <a:xfrm>
            <a:off x="4257038"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0" name="Text Placeholder 22"/>
          <p:cNvSpPr>
            <a:spLocks noGrp="1"/>
          </p:cNvSpPr>
          <p:nvPr>
            <p:ph type="body" sz="quarter" idx="81" hasCustomPrompt="1"/>
          </p:nvPr>
        </p:nvSpPr>
        <p:spPr>
          <a:xfrm>
            <a:off x="4257038"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96546"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9" name="Text Placeholder 23"/>
          <p:cNvSpPr>
            <a:spLocks noGrp="1"/>
          </p:cNvSpPr>
          <p:nvPr>
            <p:ph type="body" sz="quarter" idx="46"/>
          </p:nvPr>
        </p:nvSpPr>
        <p:spPr>
          <a:xfrm>
            <a:off x="4256534"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82"/>
          </p:nvPr>
        </p:nvSpPr>
        <p:spPr>
          <a:xfrm>
            <a:off x="1616522"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3415833531"/>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75" name="Picture Placeholder 74"/>
          <p:cNvSpPr>
            <a:spLocks noGrp="1"/>
          </p:cNvSpPr>
          <p:nvPr>
            <p:ph type="pic" sz="quarter" idx="11"/>
          </p:nvPr>
        </p:nvSpPr>
        <p:spPr>
          <a:xfrm>
            <a:off x="488950" y="182813"/>
            <a:ext cx="8928000" cy="3786187"/>
          </a:xfrm>
        </p:spPr>
        <p:txBody>
          <a:bodyPr/>
          <a:lstStyle/>
          <a:p>
            <a:r>
              <a:rPr lang="en-US" dirty="0" smtClean="0"/>
              <a:t>Click icon to add picture</a:t>
            </a:r>
            <a:endParaRPr lang="en-GB" dirty="0"/>
          </a:p>
        </p:txBody>
      </p:sp>
      <p:sp>
        <p:nvSpPr>
          <p:cNvPr id="79" name="ClipArt Placeholder 78"/>
          <p:cNvSpPr>
            <a:spLocks noGrp="1"/>
          </p:cNvSpPr>
          <p:nvPr>
            <p:ph type="clipArt" sz="quarter" idx="12" hasCustomPrompt="1"/>
          </p:nvPr>
        </p:nvSpPr>
        <p:spPr>
          <a:xfrm>
            <a:off x="2962275" y="2824164"/>
            <a:ext cx="6049963" cy="1844746"/>
          </a:xfrm>
          <a:solidFill>
            <a:schemeClr val="bg1"/>
          </a:solidFill>
        </p:spPr>
        <p:txBody>
          <a:bodyPr/>
          <a:lstStyle>
            <a:lvl1pPr>
              <a:defRPr baseline="0"/>
            </a:lvl1pPr>
          </a:lstStyle>
          <a:p>
            <a:r>
              <a:rPr lang="en-GB" dirty="0" smtClean="0"/>
              <a:t> </a:t>
            </a:r>
            <a:endParaRPr lang="en-GB" dirty="0"/>
          </a:p>
        </p:txBody>
      </p:sp>
      <p:sp>
        <p:nvSpPr>
          <p:cNvPr id="2" name="Title 1"/>
          <p:cNvSpPr>
            <a:spLocks noGrp="1"/>
          </p:cNvSpPr>
          <p:nvPr>
            <p:ph type="ctrTitle"/>
          </p:nvPr>
        </p:nvSpPr>
        <p:spPr>
          <a:xfrm>
            <a:off x="3026256" y="2889000"/>
            <a:ext cx="5922000" cy="1080000"/>
          </a:xfrm>
          <a:solidFill>
            <a:schemeClr val="tx2"/>
          </a:solidFill>
          <a:ln w="9525" algn="ctr">
            <a:noFill/>
            <a:miter lim="800000"/>
            <a:headEnd/>
            <a:tailEnd/>
          </a:ln>
        </p:spPr>
        <p:txBody>
          <a:bodyPr vert="horz" wrap="square" lIns="180000" tIns="72000" rIns="180000" bIns="72000" numCol="1" anchor="b" anchorCtr="0" compatLnSpc="1">
            <a:prstTxWarp prst="textNoShape">
              <a:avLst/>
            </a:prstTxWarp>
          </a:bodyPr>
          <a:lstStyle>
            <a:lvl1pPr>
              <a:defRPr kumimoji="0" lang="en-GB" sz="3200" b="0" i="1" u="none" strike="noStrike" kern="1200" cap="none" spc="0" normalizeH="0" baseline="0" noProof="0">
                <a:ln>
                  <a:noFill/>
                </a:ln>
                <a:solidFill>
                  <a:schemeClr val="bg1"/>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Master title style</a:t>
            </a:r>
            <a:endParaRPr lang="en-GB" dirty="0"/>
          </a:p>
        </p:txBody>
      </p:sp>
      <p:sp>
        <p:nvSpPr>
          <p:cNvPr id="3" name="Subtitle 2"/>
          <p:cNvSpPr>
            <a:spLocks noGrp="1"/>
          </p:cNvSpPr>
          <p:nvPr>
            <p:ph type="subTitle" idx="1"/>
          </p:nvPr>
        </p:nvSpPr>
        <p:spPr>
          <a:xfrm>
            <a:off x="3026256" y="4041128"/>
            <a:ext cx="5922000" cy="540000"/>
          </a:xfrm>
          <a:solidFill>
            <a:schemeClr val="bg2"/>
          </a:solidFill>
          <a:ln w="9525">
            <a:noFill/>
            <a:miter lim="800000"/>
            <a:headEnd/>
            <a:tailEnd/>
          </a:ln>
        </p:spPr>
        <p:txBody>
          <a:bodyPr vert="horz" wrap="square" lIns="180000" tIns="72000" rIns="180000" bIns="72000" numCol="1" anchor="ctr" anchorCtr="0" compatLnSpc="1">
            <a:prstTxWarp prst="textNoShape">
              <a:avLst/>
            </a:prstTxWarp>
          </a:bodyPr>
          <a:lstStyle>
            <a:lvl1pPr marL="0" indent="0" algn="r">
              <a:buNone/>
              <a:defRPr kumimoji="0" lang="en-GB" sz="1600" b="0" i="1" u="none" strike="noStrike" kern="1200" cap="none" spc="0" normalizeH="0" baseline="0" noProof="0">
                <a:ln>
                  <a:noFill/>
                </a:ln>
                <a:solidFill>
                  <a:schemeClr val="bg1"/>
                </a:solidFill>
                <a:effectLst/>
                <a:uLnTx/>
                <a:uFillTx/>
                <a:latin typeface="Myriad-Italic" pitchFamily="2" charset="0"/>
                <a:ea typeface="+mj-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r" defTabSz="995363" rtl="0" eaLnBrk="1" fontAlgn="base" latinLnBrk="0" hangingPunct="1">
              <a:lnSpc>
                <a:spcPct val="110000"/>
              </a:lnSpc>
              <a:spcBef>
                <a:spcPct val="0"/>
              </a:spcBef>
              <a:spcAft>
                <a:spcPct val="0"/>
              </a:spcAft>
              <a:buClrTx/>
              <a:buSzTx/>
              <a:buFontTx/>
              <a:buNone/>
              <a:tabLst/>
              <a:defRPr/>
            </a:pPr>
            <a:r>
              <a:rPr lang="en-US" dirty="0" smtClean="0"/>
              <a:t>Click to edit Master subtitle style</a:t>
            </a:r>
            <a:endParaRPr lang="en-GB" dirty="0"/>
          </a:p>
        </p:txBody>
      </p:sp>
      <p:sp>
        <p:nvSpPr>
          <p:cNvPr id="18" name="Text Placeholder 17"/>
          <p:cNvSpPr>
            <a:spLocks noGrp="1"/>
          </p:cNvSpPr>
          <p:nvPr>
            <p:ph type="body" sz="quarter" idx="10"/>
          </p:nvPr>
        </p:nvSpPr>
        <p:spPr>
          <a:xfrm>
            <a:off x="3025775" y="5373688"/>
            <a:ext cx="3871913" cy="1223962"/>
          </a:xfrm>
          <a:noFill/>
          <a:ln w="9525" algn="ctr">
            <a:noFill/>
            <a:miter lim="800000"/>
            <a:headEnd/>
            <a:tailEnd/>
          </a:ln>
          <a:effectLst/>
        </p:spPr>
        <p:txBody>
          <a:bodyPr vert="horz" wrap="square" lIns="180000" tIns="0" rIns="0" bIns="0" numCol="1" anchor="b" anchorCtr="0" compatLnSpc="1">
            <a:prstTxWarp prst="textNoShape">
              <a:avLst/>
            </a:prstTxWarp>
            <a:noAutofit/>
          </a:bodyPr>
          <a:lstStyle>
            <a:lvl1pPr>
              <a:defRPr lang="en-GB" sz="1400" b="0" i="1" kern="1200" noProof="0" dirty="0" smtClean="0">
                <a:solidFill>
                  <a:schemeClr val="bg1">
                    <a:lumMod val="50000"/>
                  </a:schemeClr>
                </a:solidFill>
                <a:latin typeface="Myriad Light" pitchFamily="2" charset="0"/>
                <a:ea typeface="+mn-ea"/>
                <a:cs typeface="+mn-cs"/>
              </a:defRPr>
            </a:lvl1pPr>
          </a:lstStyle>
          <a:p>
            <a:pPr marL="0" marR="0" lvl="0" indent="0" algn="l" defTabSz="995363" rtl="0" eaLnBrk="1" fontAlgn="base" latinLnBrk="0" hangingPunct="1">
              <a:lnSpc>
                <a:spcPct val="150000"/>
              </a:lnSpc>
              <a:spcBef>
                <a:spcPct val="50000"/>
              </a:spcBef>
              <a:spcAft>
                <a:spcPct val="0"/>
              </a:spcAft>
              <a:buClrTx/>
              <a:buSzTx/>
              <a:buFont typeface="Times" pitchFamily="-112" charset="0"/>
              <a:buNone/>
              <a:tabLst/>
            </a:pPr>
            <a:r>
              <a:rPr lang="en-US" smtClean="0"/>
              <a:t>Click to edit Master text styles</a:t>
            </a:r>
          </a:p>
        </p:txBody>
      </p:sp>
      <p:grpSp>
        <p:nvGrpSpPr>
          <p:cNvPr id="4" name="Group 8"/>
          <p:cNvGrpSpPr/>
          <p:nvPr userDrawn="1"/>
        </p:nvGrpSpPr>
        <p:grpSpPr>
          <a:xfrm>
            <a:off x="150981" y="-818892"/>
            <a:ext cx="648072" cy="719500"/>
            <a:chOff x="160506" y="-818892"/>
            <a:chExt cx="648072" cy="719500"/>
          </a:xfrm>
        </p:grpSpPr>
        <p:cxnSp>
          <p:nvCxnSpPr>
            <p:cNvPr id="11" name="Straight Arrow Connector 10"/>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5" name="Group 12"/>
          <p:cNvGrpSpPr/>
          <p:nvPr userDrawn="1"/>
        </p:nvGrpSpPr>
        <p:grpSpPr>
          <a:xfrm>
            <a:off x="-1432624" y="1009303"/>
            <a:ext cx="1338744" cy="215444"/>
            <a:chOff x="-1563724" y="81191"/>
            <a:chExt cx="1338744" cy="215444"/>
          </a:xfrm>
        </p:grpSpPr>
        <p:cxnSp>
          <p:nvCxnSpPr>
            <p:cNvPr id="14" name="Straight Arrow Connector 1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6.40</a:t>
              </a:r>
            </a:p>
          </p:txBody>
        </p:sp>
      </p:grpSp>
      <p:grpSp>
        <p:nvGrpSpPr>
          <p:cNvPr id="6" name="Group 16"/>
          <p:cNvGrpSpPr/>
          <p:nvPr userDrawn="1"/>
        </p:nvGrpSpPr>
        <p:grpSpPr>
          <a:xfrm>
            <a:off x="10065568" y="858808"/>
            <a:ext cx="1382640" cy="215444"/>
            <a:chOff x="10065568" y="797397"/>
            <a:chExt cx="1382640" cy="215444"/>
          </a:xfrm>
        </p:grpSpPr>
        <p:cxnSp>
          <p:nvCxnSpPr>
            <p:cNvPr id="19" name="Straight Arrow Connector 18"/>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6.80</a:t>
              </a:r>
            </a:p>
          </p:txBody>
        </p:sp>
      </p:grpSp>
      <p:grpSp>
        <p:nvGrpSpPr>
          <p:cNvPr id="7" name="Group 20"/>
          <p:cNvGrpSpPr/>
          <p:nvPr userDrawn="1"/>
        </p:nvGrpSpPr>
        <p:grpSpPr>
          <a:xfrm>
            <a:off x="10065568" y="1218268"/>
            <a:ext cx="1382640" cy="215444"/>
            <a:chOff x="10065568" y="797397"/>
            <a:chExt cx="1382640" cy="215444"/>
          </a:xfrm>
        </p:grpSpPr>
        <p:cxnSp>
          <p:nvCxnSpPr>
            <p:cNvPr id="22" name="Straight Arrow Connector 21"/>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5.80</a:t>
              </a:r>
            </a:p>
          </p:txBody>
        </p:sp>
      </p:grpSp>
      <p:grpSp>
        <p:nvGrpSpPr>
          <p:cNvPr id="8" name="Group 23"/>
          <p:cNvGrpSpPr/>
          <p:nvPr userDrawn="1"/>
        </p:nvGrpSpPr>
        <p:grpSpPr>
          <a:xfrm>
            <a:off x="-1432624" y="3597859"/>
            <a:ext cx="1338744" cy="215444"/>
            <a:chOff x="-1563724" y="81191"/>
            <a:chExt cx="1338744" cy="215444"/>
          </a:xfrm>
        </p:grpSpPr>
        <p:cxnSp>
          <p:nvCxnSpPr>
            <p:cNvPr id="25" name="Straight Arrow Connector 24"/>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0.80</a:t>
              </a:r>
            </a:p>
          </p:txBody>
        </p:sp>
      </p:grpSp>
      <p:grpSp>
        <p:nvGrpSpPr>
          <p:cNvPr id="9" name="Group 26"/>
          <p:cNvGrpSpPr/>
          <p:nvPr userDrawn="1"/>
        </p:nvGrpSpPr>
        <p:grpSpPr>
          <a:xfrm>
            <a:off x="10108816" y="3738548"/>
            <a:ext cx="1382640" cy="215444"/>
            <a:chOff x="10065568" y="797397"/>
            <a:chExt cx="1382640" cy="215444"/>
          </a:xfrm>
        </p:grpSpPr>
        <p:cxnSp>
          <p:nvCxnSpPr>
            <p:cNvPr id="28" name="Straight Arrow Connector 27"/>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1.20</a:t>
              </a:r>
            </a:p>
          </p:txBody>
        </p:sp>
      </p:grpSp>
      <p:grpSp>
        <p:nvGrpSpPr>
          <p:cNvPr id="10" name="Group 29"/>
          <p:cNvGrpSpPr/>
          <p:nvPr userDrawn="1"/>
        </p:nvGrpSpPr>
        <p:grpSpPr>
          <a:xfrm>
            <a:off x="-1432624" y="6118808"/>
            <a:ext cx="1338744" cy="215444"/>
            <a:chOff x="-1563724" y="81191"/>
            <a:chExt cx="1338744" cy="215444"/>
          </a:xfrm>
        </p:grpSpPr>
        <p:cxnSp>
          <p:nvCxnSpPr>
            <p:cNvPr id="31" name="Straight Arrow Connector 30"/>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7.80</a:t>
              </a:r>
            </a:p>
          </p:txBody>
        </p:sp>
      </p:grpSp>
      <p:grpSp>
        <p:nvGrpSpPr>
          <p:cNvPr id="13" name="Group 32"/>
          <p:cNvGrpSpPr/>
          <p:nvPr userDrawn="1"/>
        </p:nvGrpSpPr>
        <p:grpSpPr>
          <a:xfrm>
            <a:off x="-1432624" y="6481659"/>
            <a:ext cx="1338744" cy="215444"/>
            <a:chOff x="-1563724" y="81191"/>
            <a:chExt cx="1338744" cy="215444"/>
          </a:xfrm>
        </p:grpSpPr>
        <p:cxnSp>
          <p:nvCxnSpPr>
            <p:cNvPr id="34" name="Straight Arrow Connector 3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80</a:t>
              </a:r>
            </a:p>
          </p:txBody>
        </p:sp>
      </p:grpSp>
      <p:grpSp>
        <p:nvGrpSpPr>
          <p:cNvPr id="17" name="Group 35"/>
          <p:cNvGrpSpPr/>
          <p:nvPr userDrawn="1"/>
        </p:nvGrpSpPr>
        <p:grpSpPr>
          <a:xfrm>
            <a:off x="-1432624" y="74180"/>
            <a:ext cx="1338744" cy="215444"/>
            <a:chOff x="-1563724" y="81191"/>
            <a:chExt cx="1338744" cy="215444"/>
          </a:xfrm>
        </p:grpSpPr>
        <p:cxnSp>
          <p:nvCxnSpPr>
            <p:cNvPr id="37" name="Straight Arrow Connector 3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9.00</a:t>
              </a:r>
            </a:p>
          </p:txBody>
        </p:sp>
      </p:grpSp>
      <p:grpSp>
        <p:nvGrpSpPr>
          <p:cNvPr id="21" name="Group 38"/>
          <p:cNvGrpSpPr/>
          <p:nvPr userDrawn="1"/>
        </p:nvGrpSpPr>
        <p:grpSpPr>
          <a:xfrm>
            <a:off x="4557994" y="-818892"/>
            <a:ext cx="648072" cy="719500"/>
            <a:chOff x="312906" y="-666492"/>
            <a:chExt cx="648072" cy="719500"/>
          </a:xfrm>
        </p:grpSpPr>
        <p:cxnSp>
          <p:nvCxnSpPr>
            <p:cNvPr id="40" name="Straight Arrow Connector 39"/>
            <p:cNvCxnSpPr/>
            <p:nvPr userDrawn="1"/>
          </p:nvCxnSpPr>
          <p:spPr>
            <a:xfrm>
              <a:off x="635000" y="-4510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312906" y="-666492"/>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4" name="Group 84"/>
          <p:cNvGrpSpPr/>
          <p:nvPr userDrawn="1"/>
        </p:nvGrpSpPr>
        <p:grpSpPr>
          <a:xfrm>
            <a:off x="4691529" y="6957392"/>
            <a:ext cx="648072" cy="719501"/>
            <a:chOff x="4691529" y="6957392"/>
            <a:chExt cx="648072" cy="719501"/>
          </a:xfrm>
        </p:grpSpPr>
        <p:cxnSp>
          <p:nvCxnSpPr>
            <p:cNvPr id="43" name="Straight Arrow Connector 42"/>
            <p:cNvCxnSpPr/>
            <p:nvPr userDrawn="1"/>
          </p:nvCxnSpPr>
          <p:spPr>
            <a:xfrm rot="10800000">
              <a:off x="5015565" y="6957392"/>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a:xfrm>
              <a:off x="4691529" y="7461449"/>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7" name="Group 44"/>
          <p:cNvGrpSpPr/>
          <p:nvPr userDrawn="1"/>
        </p:nvGrpSpPr>
        <p:grpSpPr>
          <a:xfrm>
            <a:off x="9085514" y="-808714"/>
            <a:ext cx="648072" cy="719500"/>
            <a:chOff x="160506" y="-818892"/>
            <a:chExt cx="648072" cy="719500"/>
          </a:xfrm>
        </p:grpSpPr>
        <p:cxnSp>
          <p:nvCxnSpPr>
            <p:cNvPr id="46" name="Straight Arrow Connector 45"/>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30" name="Group 47"/>
          <p:cNvGrpSpPr/>
          <p:nvPr userDrawn="1"/>
        </p:nvGrpSpPr>
        <p:grpSpPr>
          <a:xfrm>
            <a:off x="1773406" y="-818892"/>
            <a:ext cx="648072" cy="719500"/>
            <a:chOff x="160506" y="-818892"/>
            <a:chExt cx="648072" cy="719500"/>
          </a:xfrm>
        </p:grpSpPr>
        <p:cxnSp>
          <p:nvCxnSpPr>
            <p:cNvPr id="49" name="Straight Arrow Connector 48"/>
            <p:cNvCxnSpPr/>
            <p:nvPr userDrawn="1"/>
          </p:nvCxnSpPr>
          <p:spPr>
            <a:xfrm>
              <a:off x="482600" y="-603448"/>
              <a:ext cx="0" cy="50405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0000"/>
                  </a:solidFill>
                  <a:cs typeface="Arial" charset="0"/>
                </a:rPr>
                <a:t>7.90</a:t>
              </a:r>
            </a:p>
          </p:txBody>
        </p:sp>
      </p:grpSp>
      <p:grpSp>
        <p:nvGrpSpPr>
          <p:cNvPr id="57345" name="Group 88"/>
          <p:cNvGrpSpPr/>
          <p:nvPr userDrawn="1"/>
        </p:nvGrpSpPr>
        <p:grpSpPr>
          <a:xfrm>
            <a:off x="1938189" y="-602868"/>
            <a:ext cx="648072" cy="502896"/>
            <a:chOff x="1938189" y="-602868"/>
            <a:chExt cx="648072" cy="502896"/>
          </a:xfrm>
        </p:grpSpPr>
        <p:cxnSp>
          <p:nvCxnSpPr>
            <p:cNvPr id="52" name="Straight Arrow Connector 51"/>
            <p:cNvCxnSpPr/>
            <p:nvPr userDrawn="1"/>
          </p:nvCxnSpPr>
          <p:spPr>
            <a:xfrm>
              <a:off x="2249525" y="-387424"/>
              <a:ext cx="0" cy="28745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userDrawn="1"/>
          </p:nvSpPr>
          <p:spPr>
            <a:xfrm>
              <a:off x="1938189" y="-602868"/>
              <a:ext cx="648072" cy="215444"/>
            </a:xfrm>
            <a:prstGeom prst="rect">
              <a:avLst/>
            </a:prstGeom>
            <a:noFill/>
          </p:spPr>
          <p:txBody>
            <a:bodyPr wrap="square" rtlCol="0">
              <a:spAutoFit/>
            </a:bodyPr>
            <a:lstStyle/>
            <a:p>
              <a:pPr algn="ctr"/>
              <a:r>
                <a:rPr lang="en-GB" sz="800" dirty="0">
                  <a:solidFill>
                    <a:srgbClr val="FF0000"/>
                  </a:solidFill>
                  <a:cs typeface="Arial" charset="0"/>
                </a:rPr>
                <a:t>7.50</a:t>
              </a:r>
            </a:p>
          </p:txBody>
        </p:sp>
      </p:grpSp>
      <p:sp>
        <p:nvSpPr>
          <p:cNvPr id="55" name="TextBox 54"/>
          <p:cNvSpPr txBox="1"/>
          <p:nvPr userDrawn="1"/>
        </p:nvSpPr>
        <p:spPr>
          <a:xfrm>
            <a:off x="1647659" y="-981347"/>
            <a:ext cx="1028661" cy="195814"/>
          </a:xfrm>
          <a:prstGeom prst="rect">
            <a:avLst/>
          </a:prstGeom>
          <a:noFill/>
        </p:spPr>
        <p:txBody>
          <a:bodyPr wrap="square" lIns="72000" tIns="36000" rIns="72000" bIns="36000" rtlCol="0" anchor="ctr" anchorCtr="0">
            <a:spAutoFit/>
          </a:bodyPr>
          <a:lstStyle/>
          <a:p>
            <a:r>
              <a:rPr lang="en-GB" sz="800" dirty="0">
                <a:solidFill>
                  <a:srgbClr val="FF0000"/>
                </a:solidFill>
                <a:latin typeface="Verdana" pitchFamily="34" charset="0"/>
                <a:cs typeface="Arial" charset="0"/>
              </a:rPr>
              <a:t>Guides for gutter</a:t>
            </a:r>
          </a:p>
        </p:txBody>
      </p:sp>
      <p:sp>
        <p:nvSpPr>
          <p:cNvPr id="56" name="Rectangle 55"/>
          <p:cNvSpPr/>
          <p:nvPr userDrawn="1"/>
        </p:nvSpPr>
        <p:spPr>
          <a:xfrm>
            <a:off x="-2211796" y="3828970"/>
            <a:ext cx="2117916" cy="839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Text colours</a:t>
            </a:r>
          </a:p>
        </p:txBody>
      </p:sp>
      <p:sp>
        <p:nvSpPr>
          <p:cNvPr id="57" name="Rectangle 56"/>
          <p:cNvSpPr/>
          <p:nvPr userDrawn="1"/>
        </p:nvSpPr>
        <p:spPr>
          <a:xfrm>
            <a:off x="-2103784" y="4128849"/>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GB" sz="800" dirty="0">
                <a:solidFill>
                  <a:srgbClr val="FFFFFF"/>
                </a:solidFill>
              </a:rPr>
              <a:t>G 66</a:t>
            </a:r>
          </a:p>
          <a:p>
            <a:pPr algn="ctr"/>
            <a:r>
              <a:rPr lang="en-GB" sz="800" dirty="0">
                <a:solidFill>
                  <a:srgbClr val="FFFFFF"/>
                </a:solidFill>
              </a:rPr>
              <a:t>B 152</a:t>
            </a:r>
          </a:p>
        </p:txBody>
      </p:sp>
      <p:sp>
        <p:nvSpPr>
          <p:cNvPr id="60" name="Rectangle 59"/>
          <p:cNvSpPr/>
          <p:nvPr userDrawn="1"/>
        </p:nvSpPr>
        <p:spPr>
          <a:xfrm>
            <a:off x="-1365702" y="4128849"/>
            <a:ext cx="432048"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0</a:t>
            </a:r>
          </a:p>
          <a:p>
            <a:pPr algn="ctr"/>
            <a:r>
              <a:rPr lang="en-GB" sz="800" dirty="0">
                <a:solidFill>
                  <a:srgbClr val="FFFFFF"/>
                </a:solidFill>
              </a:rPr>
              <a:t>G 0</a:t>
            </a:r>
          </a:p>
          <a:p>
            <a:pPr algn="ctr"/>
            <a:r>
              <a:rPr lang="en-GB" sz="800" dirty="0">
                <a:solidFill>
                  <a:srgbClr val="FFFFFF"/>
                </a:solidFill>
              </a:rPr>
              <a:t>B 0</a:t>
            </a:r>
          </a:p>
        </p:txBody>
      </p:sp>
      <p:sp>
        <p:nvSpPr>
          <p:cNvPr id="61" name="Rectangle 60"/>
          <p:cNvSpPr/>
          <p:nvPr userDrawn="1"/>
        </p:nvSpPr>
        <p:spPr>
          <a:xfrm>
            <a:off x="-627620" y="4128849"/>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27</a:t>
            </a:r>
          </a:p>
          <a:p>
            <a:pPr algn="ctr"/>
            <a:r>
              <a:rPr lang="en-GB" sz="800" dirty="0">
                <a:solidFill>
                  <a:srgbClr val="FFFFFF"/>
                </a:solidFill>
              </a:rPr>
              <a:t>G 127</a:t>
            </a:r>
          </a:p>
          <a:p>
            <a:pPr algn="ctr"/>
            <a:r>
              <a:rPr lang="en-GB" sz="800" dirty="0">
                <a:solidFill>
                  <a:srgbClr val="FFFFFF"/>
                </a:solidFill>
              </a:rPr>
              <a:t>B 127</a:t>
            </a:r>
          </a:p>
        </p:txBody>
      </p:sp>
      <p:sp>
        <p:nvSpPr>
          <p:cNvPr id="62" name="Rectangle 61"/>
          <p:cNvSpPr/>
          <p:nvPr userDrawn="1"/>
        </p:nvSpPr>
        <p:spPr>
          <a:xfrm>
            <a:off x="-2211796" y="4821309"/>
            <a:ext cx="2117916" cy="1297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Background shading</a:t>
            </a:r>
          </a:p>
        </p:txBody>
      </p:sp>
      <p:sp>
        <p:nvSpPr>
          <p:cNvPr id="63" name="Rectangle 62"/>
          <p:cNvSpPr/>
          <p:nvPr userDrawn="1"/>
        </p:nvSpPr>
        <p:spPr>
          <a:xfrm>
            <a:off x="-2103784" y="5013176"/>
            <a:ext cx="43204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lumMod val="50000"/>
                  </a:srgbClr>
                </a:solidFill>
              </a:rPr>
              <a:t>R 242</a:t>
            </a:r>
          </a:p>
          <a:p>
            <a:pPr algn="ctr"/>
            <a:r>
              <a:rPr lang="en-GB" sz="800" dirty="0">
                <a:solidFill>
                  <a:srgbClr val="FFFFFF">
                    <a:lumMod val="50000"/>
                  </a:srgbClr>
                </a:solidFill>
              </a:rPr>
              <a:t>G 242</a:t>
            </a:r>
          </a:p>
          <a:p>
            <a:pPr algn="ctr"/>
            <a:r>
              <a:rPr lang="en-GB" sz="800" dirty="0">
                <a:solidFill>
                  <a:srgbClr val="FFFFFF">
                    <a:lumMod val="50000"/>
                  </a:srgbClr>
                </a:solidFill>
              </a:rPr>
              <a:t>B 242</a:t>
            </a:r>
          </a:p>
        </p:txBody>
      </p:sp>
      <p:sp>
        <p:nvSpPr>
          <p:cNvPr id="64" name="Rectangle 63"/>
          <p:cNvSpPr/>
          <p:nvPr userDrawn="1"/>
        </p:nvSpPr>
        <p:spPr>
          <a:xfrm>
            <a:off x="-1365702" y="5013176"/>
            <a:ext cx="432048" cy="4320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25</a:t>
            </a:r>
          </a:p>
          <a:p>
            <a:pPr algn="ctr"/>
            <a:r>
              <a:rPr lang="en-GB" sz="800" dirty="0">
                <a:solidFill>
                  <a:srgbClr val="1B4298"/>
                </a:solidFill>
              </a:rPr>
              <a:t>G 235</a:t>
            </a:r>
          </a:p>
          <a:p>
            <a:pPr algn="ctr"/>
            <a:r>
              <a:rPr lang="en-GB" sz="800" dirty="0">
                <a:solidFill>
                  <a:srgbClr val="1B4298"/>
                </a:solidFill>
              </a:rPr>
              <a:t>B 244</a:t>
            </a:r>
          </a:p>
        </p:txBody>
      </p:sp>
      <p:sp>
        <p:nvSpPr>
          <p:cNvPr id="65" name="Rectangle 64"/>
          <p:cNvSpPr/>
          <p:nvPr userDrawn="1"/>
        </p:nvSpPr>
        <p:spPr>
          <a:xfrm>
            <a:off x="-627620" y="5013176"/>
            <a:ext cx="432048" cy="432048"/>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73C6A1"/>
                </a:solidFill>
              </a:rPr>
              <a:t>R 227</a:t>
            </a:r>
          </a:p>
          <a:p>
            <a:pPr algn="ctr"/>
            <a:r>
              <a:rPr lang="en-GB" sz="800" dirty="0">
                <a:solidFill>
                  <a:srgbClr val="73C6A1"/>
                </a:solidFill>
              </a:rPr>
              <a:t>G 244</a:t>
            </a:r>
          </a:p>
          <a:p>
            <a:pPr algn="ctr"/>
            <a:r>
              <a:rPr lang="en-GB" sz="800" dirty="0">
                <a:solidFill>
                  <a:srgbClr val="73C6A1"/>
                </a:solidFill>
              </a:rPr>
              <a:t>B 236</a:t>
            </a:r>
          </a:p>
        </p:txBody>
      </p:sp>
      <p:grpSp>
        <p:nvGrpSpPr>
          <p:cNvPr id="57346" name="Group 65"/>
          <p:cNvGrpSpPr/>
          <p:nvPr userDrawn="1"/>
        </p:nvGrpSpPr>
        <p:grpSpPr>
          <a:xfrm>
            <a:off x="-1432624" y="295999"/>
            <a:ext cx="1338744" cy="215444"/>
            <a:chOff x="-1563724" y="81191"/>
            <a:chExt cx="1338744" cy="215444"/>
          </a:xfrm>
        </p:grpSpPr>
        <p:cxnSp>
          <p:nvCxnSpPr>
            <p:cNvPr id="67" name="Straight Arrow Connector 6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40</a:t>
              </a:r>
            </a:p>
          </p:txBody>
        </p:sp>
      </p:grpSp>
      <p:sp>
        <p:nvSpPr>
          <p:cNvPr id="71" name="Rectangle 70"/>
          <p:cNvSpPr/>
          <p:nvPr userDrawn="1"/>
        </p:nvSpPr>
        <p:spPr>
          <a:xfrm>
            <a:off x="-2211796" y="1341437"/>
            <a:ext cx="2117916" cy="2256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Colour order </a:t>
            </a:r>
            <a:r>
              <a:rPr lang="en-GB" sz="700" i="1" dirty="0">
                <a:solidFill>
                  <a:srgbClr val="1B4298"/>
                </a:solidFill>
              </a:rPr>
              <a:t>(left to right, top to bottom)</a:t>
            </a:r>
          </a:p>
        </p:txBody>
      </p:sp>
      <p:sp>
        <p:nvSpPr>
          <p:cNvPr id="72" name="Rectangle 71"/>
          <p:cNvSpPr/>
          <p:nvPr userDrawn="1"/>
        </p:nvSpPr>
        <p:spPr>
          <a:xfrm>
            <a:off x="-2103784" y="1533305"/>
            <a:ext cx="4320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59</a:t>
            </a:r>
          </a:p>
          <a:p>
            <a:pPr algn="ctr"/>
            <a:r>
              <a:rPr lang="en-US" sz="800" dirty="0">
                <a:solidFill>
                  <a:srgbClr val="FFFFFF"/>
                </a:solidFill>
              </a:rPr>
              <a:t>G 110</a:t>
            </a:r>
          </a:p>
          <a:p>
            <a:pPr algn="ctr"/>
            <a:r>
              <a:rPr lang="en-US" sz="800" dirty="0">
                <a:solidFill>
                  <a:srgbClr val="FFFFFF"/>
                </a:solidFill>
              </a:rPr>
              <a:t>B 143</a:t>
            </a:r>
            <a:endParaRPr lang="en-GB" sz="800" dirty="0">
              <a:solidFill>
                <a:srgbClr val="FFFFFF"/>
              </a:solidFill>
            </a:endParaRPr>
          </a:p>
        </p:txBody>
      </p:sp>
      <p:sp>
        <p:nvSpPr>
          <p:cNvPr id="73" name="Rectangle 72"/>
          <p:cNvSpPr/>
          <p:nvPr userDrawn="1"/>
        </p:nvSpPr>
        <p:spPr>
          <a:xfrm>
            <a:off x="-1365702" y="1533305"/>
            <a:ext cx="432048" cy="432048"/>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51</a:t>
            </a:r>
          </a:p>
          <a:p>
            <a:pPr algn="ctr"/>
            <a:r>
              <a:rPr lang="en-US" sz="800" dirty="0">
                <a:solidFill>
                  <a:srgbClr val="FFFFFF"/>
                </a:solidFill>
              </a:rPr>
              <a:t>G 193</a:t>
            </a:r>
          </a:p>
          <a:p>
            <a:pPr algn="ctr"/>
            <a:r>
              <a:rPr lang="en-US" sz="800" dirty="0">
                <a:solidFill>
                  <a:srgbClr val="FFFFFF"/>
                </a:solidFill>
              </a:rPr>
              <a:t>B 119</a:t>
            </a:r>
            <a:endParaRPr lang="en-GB" sz="800" dirty="0">
              <a:solidFill>
                <a:srgbClr val="FFFFFF"/>
              </a:solidFill>
            </a:endParaRPr>
          </a:p>
        </p:txBody>
      </p:sp>
      <p:sp>
        <p:nvSpPr>
          <p:cNvPr id="74" name="Rectangle 73"/>
          <p:cNvSpPr/>
          <p:nvPr userDrawn="1"/>
        </p:nvSpPr>
        <p:spPr>
          <a:xfrm>
            <a:off x="-627620" y="1533305"/>
            <a:ext cx="432048"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15</a:t>
            </a:r>
          </a:p>
          <a:p>
            <a:pPr algn="ctr"/>
            <a:r>
              <a:rPr lang="en-US" sz="800" dirty="0">
                <a:solidFill>
                  <a:srgbClr val="FFFFFF"/>
                </a:solidFill>
              </a:rPr>
              <a:t>G 198</a:t>
            </a:r>
          </a:p>
          <a:p>
            <a:pPr algn="ctr"/>
            <a:r>
              <a:rPr lang="en-US" sz="800" dirty="0">
                <a:solidFill>
                  <a:srgbClr val="FFFFFF"/>
                </a:solidFill>
              </a:rPr>
              <a:t>B 161</a:t>
            </a:r>
            <a:endParaRPr lang="en-GB" sz="800" dirty="0">
              <a:solidFill>
                <a:srgbClr val="FFFFFF"/>
              </a:solidFill>
            </a:endParaRPr>
          </a:p>
        </p:txBody>
      </p:sp>
      <p:sp>
        <p:nvSpPr>
          <p:cNvPr id="76" name="Rectangle 75"/>
          <p:cNvSpPr/>
          <p:nvPr userDrawn="1"/>
        </p:nvSpPr>
        <p:spPr>
          <a:xfrm>
            <a:off x="-2103784" y="2029016"/>
            <a:ext cx="432048"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03</a:t>
            </a:r>
          </a:p>
          <a:p>
            <a:pPr algn="ctr"/>
            <a:r>
              <a:rPr lang="en-US" sz="800" dirty="0">
                <a:solidFill>
                  <a:srgbClr val="FFFFFF"/>
                </a:solidFill>
              </a:rPr>
              <a:t>G 153</a:t>
            </a:r>
          </a:p>
          <a:p>
            <a:pPr algn="ctr"/>
            <a:r>
              <a:rPr lang="en-US" sz="800" dirty="0">
                <a:solidFill>
                  <a:srgbClr val="FFFFFF"/>
                </a:solidFill>
              </a:rPr>
              <a:t>B 200</a:t>
            </a:r>
            <a:endParaRPr lang="en-GB" sz="800" dirty="0">
              <a:solidFill>
                <a:srgbClr val="FFFFFF"/>
              </a:solidFill>
            </a:endParaRPr>
          </a:p>
        </p:txBody>
      </p:sp>
      <p:sp>
        <p:nvSpPr>
          <p:cNvPr id="77" name="Rectangle 76"/>
          <p:cNvSpPr/>
          <p:nvPr userDrawn="1"/>
        </p:nvSpPr>
        <p:spPr>
          <a:xfrm>
            <a:off x="-627620" y="2029016"/>
            <a:ext cx="432048" cy="432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86</a:t>
            </a:r>
          </a:p>
          <a:p>
            <a:pPr algn="ctr"/>
            <a:r>
              <a:rPr lang="en-US" sz="800" dirty="0">
                <a:solidFill>
                  <a:srgbClr val="1B4298"/>
                </a:solidFill>
              </a:rPr>
              <a:t>G 163</a:t>
            </a:r>
          </a:p>
          <a:p>
            <a:pPr algn="ctr"/>
            <a:r>
              <a:rPr lang="en-US" sz="800" dirty="0">
                <a:solidFill>
                  <a:srgbClr val="1B4298"/>
                </a:solidFill>
              </a:rPr>
              <a:t>B 171</a:t>
            </a:r>
            <a:endParaRPr lang="en-GB" sz="800" dirty="0">
              <a:solidFill>
                <a:srgbClr val="1B4298"/>
              </a:solidFill>
            </a:endParaRPr>
          </a:p>
        </p:txBody>
      </p:sp>
      <p:sp>
        <p:nvSpPr>
          <p:cNvPr id="78" name="Rectangle 77"/>
          <p:cNvSpPr/>
          <p:nvPr userDrawn="1"/>
        </p:nvSpPr>
        <p:spPr>
          <a:xfrm>
            <a:off x="-1365702" y="2029016"/>
            <a:ext cx="432048" cy="43204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91</a:t>
            </a:r>
          </a:p>
          <a:p>
            <a:pPr algn="ctr"/>
            <a:r>
              <a:rPr lang="en-US" sz="800" dirty="0">
                <a:solidFill>
                  <a:srgbClr val="1B4298"/>
                </a:solidFill>
              </a:rPr>
              <a:t>G 191</a:t>
            </a:r>
          </a:p>
          <a:p>
            <a:pPr algn="ctr"/>
            <a:r>
              <a:rPr lang="en-US" sz="800" dirty="0">
                <a:solidFill>
                  <a:srgbClr val="1B4298"/>
                </a:solidFill>
              </a:rPr>
              <a:t>B 191</a:t>
            </a:r>
            <a:endParaRPr lang="en-GB" sz="800" dirty="0">
              <a:solidFill>
                <a:srgbClr val="1B4298"/>
              </a:solidFill>
            </a:endParaRPr>
          </a:p>
        </p:txBody>
      </p:sp>
      <p:sp>
        <p:nvSpPr>
          <p:cNvPr id="80" name="Rectangle 79"/>
          <p:cNvSpPr/>
          <p:nvPr userDrawn="1"/>
        </p:nvSpPr>
        <p:spPr>
          <a:xfrm>
            <a:off x="-2103784" y="2524727"/>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127</a:t>
            </a:r>
          </a:p>
          <a:p>
            <a:pPr algn="ctr"/>
            <a:r>
              <a:rPr lang="en-US" sz="800" dirty="0">
                <a:solidFill>
                  <a:srgbClr val="FFFFFF"/>
                </a:solidFill>
              </a:rPr>
              <a:t>G 127</a:t>
            </a:r>
          </a:p>
          <a:p>
            <a:pPr algn="ctr"/>
            <a:r>
              <a:rPr lang="en-US" sz="800" dirty="0">
                <a:solidFill>
                  <a:srgbClr val="FFFFFF"/>
                </a:solidFill>
              </a:rPr>
              <a:t>B 127</a:t>
            </a:r>
            <a:endParaRPr lang="en-GB" sz="800" dirty="0">
              <a:solidFill>
                <a:srgbClr val="FFFFFF"/>
              </a:solidFill>
            </a:endParaRPr>
          </a:p>
        </p:txBody>
      </p:sp>
      <p:sp>
        <p:nvSpPr>
          <p:cNvPr id="81" name="Rectangle 80"/>
          <p:cNvSpPr/>
          <p:nvPr userDrawn="1"/>
        </p:nvSpPr>
        <p:spPr>
          <a:xfrm>
            <a:off x="-1365702" y="2524727"/>
            <a:ext cx="432048" cy="432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01</a:t>
            </a:r>
          </a:p>
          <a:p>
            <a:pPr algn="ctr"/>
            <a:r>
              <a:rPr lang="en-US" sz="800" dirty="0">
                <a:solidFill>
                  <a:srgbClr val="FFFFFF"/>
                </a:solidFill>
              </a:rPr>
              <a:t>G 48</a:t>
            </a:r>
          </a:p>
          <a:p>
            <a:pPr algn="ctr"/>
            <a:r>
              <a:rPr lang="en-US" sz="800" dirty="0">
                <a:solidFill>
                  <a:srgbClr val="FFFFFF"/>
                </a:solidFill>
              </a:rPr>
              <a:t>B 146</a:t>
            </a:r>
            <a:endParaRPr lang="en-GB" sz="800" dirty="0">
              <a:solidFill>
                <a:srgbClr val="FFFFFF"/>
              </a:solidFill>
            </a:endParaRPr>
          </a:p>
        </p:txBody>
      </p:sp>
      <p:sp>
        <p:nvSpPr>
          <p:cNvPr id="82" name="Rectangle 81"/>
          <p:cNvSpPr/>
          <p:nvPr userDrawn="1"/>
        </p:nvSpPr>
        <p:spPr>
          <a:xfrm>
            <a:off x="-627620" y="2524727"/>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US" sz="800" dirty="0">
                <a:solidFill>
                  <a:srgbClr val="FFFFFF"/>
                </a:solidFill>
              </a:rPr>
              <a:t>G 66</a:t>
            </a:r>
          </a:p>
          <a:p>
            <a:pPr algn="ctr"/>
            <a:r>
              <a:rPr lang="en-US" sz="800" dirty="0">
                <a:solidFill>
                  <a:srgbClr val="FFFFFF"/>
                </a:solidFill>
              </a:rPr>
              <a:t>B 152</a:t>
            </a:r>
            <a:endParaRPr lang="en-GB" sz="800" dirty="0">
              <a:solidFill>
                <a:srgbClr val="FFFFFF"/>
              </a:solidFill>
            </a:endParaRPr>
          </a:p>
        </p:txBody>
      </p:sp>
      <p:sp>
        <p:nvSpPr>
          <p:cNvPr id="83" name="Rectangle 82"/>
          <p:cNvSpPr/>
          <p:nvPr userDrawn="1"/>
        </p:nvSpPr>
        <p:spPr>
          <a:xfrm>
            <a:off x="-2103784" y="3020439"/>
            <a:ext cx="432048" cy="432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84</a:t>
            </a:r>
          </a:p>
          <a:p>
            <a:pPr algn="ctr"/>
            <a:r>
              <a:rPr lang="en-US" sz="800" dirty="0">
                <a:solidFill>
                  <a:srgbClr val="FFFFFF"/>
                </a:solidFill>
              </a:rPr>
              <a:t>G 7</a:t>
            </a:r>
          </a:p>
          <a:p>
            <a:pPr algn="ctr"/>
            <a:r>
              <a:rPr lang="en-US" sz="800" dirty="0">
                <a:solidFill>
                  <a:srgbClr val="FFFFFF"/>
                </a:solidFill>
              </a:rPr>
              <a:t>B 91</a:t>
            </a:r>
            <a:endParaRPr lang="en-GB" sz="800" dirty="0">
              <a:solidFill>
                <a:srgbClr val="FFFFFF"/>
              </a:solidFill>
            </a:endParaRPr>
          </a:p>
        </p:txBody>
      </p:sp>
      <p:sp>
        <p:nvSpPr>
          <p:cNvPr id="84" name="Rectangle 83"/>
          <p:cNvSpPr/>
          <p:nvPr userDrawn="1"/>
        </p:nvSpPr>
        <p:spPr>
          <a:xfrm>
            <a:off x="-1365702" y="3020439"/>
            <a:ext cx="432048" cy="432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48</a:t>
            </a:r>
          </a:p>
          <a:p>
            <a:pPr algn="ctr"/>
            <a:r>
              <a:rPr lang="en-US" sz="800" dirty="0">
                <a:solidFill>
                  <a:srgbClr val="1B4298"/>
                </a:solidFill>
              </a:rPr>
              <a:t>G 152</a:t>
            </a:r>
          </a:p>
          <a:p>
            <a:pPr algn="ctr"/>
            <a:r>
              <a:rPr lang="en-US" sz="800" dirty="0">
                <a:solidFill>
                  <a:srgbClr val="1B4298"/>
                </a:solidFill>
              </a:rPr>
              <a:t>B 29</a:t>
            </a:r>
            <a:endParaRPr lang="en-GB" sz="800" dirty="0">
              <a:solidFill>
                <a:srgbClr val="1B4298"/>
              </a:solidFill>
            </a:endParaRPr>
          </a:p>
        </p:txBody>
      </p:sp>
      <p:sp>
        <p:nvSpPr>
          <p:cNvPr id="86" name="Rectangle 85"/>
          <p:cNvSpPr/>
          <p:nvPr userDrawn="1"/>
        </p:nvSpPr>
        <p:spPr>
          <a:xfrm>
            <a:off x="-2103784" y="5517232"/>
            <a:ext cx="432048" cy="4320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BAA3AB"/>
                </a:solidFill>
              </a:rPr>
              <a:t>R 241</a:t>
            </a:r>
          </a:p>
          <a:p>
            <a:pPr algn="ctr"/>
            <a:r>
              <a:rPr lang="en-GB" sz="800" dirty="0">
                <a:solidFill>
                  <a:srgbClr val="BAA3AB"/>
                </a:solidFill>
              </a:rPr>
              <a:t>G 237</a:t>
            </a:r>
          </a:p>
          <a:p>
            <a:pPr algn="ctr"/>
            <a:r>
              <a:rPr lang="en-GB" sz="800" dirty="0">
                <a:solidFill>
                  <a:srgbClr val="BAA3AB"/>
                </a:solidFill>
              </a:rPr>
              <a:t>B 238</a:t>
            </a:r>
          </a:p>
        </p:txBody>
      </p:sp>
      <p:sp>
        <p:nvSpPr>
          <p:cNvPr id="87" name="Rectangle 86"/>
          <p:cNvSpPr/>
          <p:nvPr userDrawn="1"/>
        </p:nvSpPr>
        <p:spPr>
          <a:xfrm>
            <a:off x="-1365702" y="5517232"/>
            <a:ext cx="432048" cy="4320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8981D"/>
                </a:solidFill>
              </a:rPr>
              <a:t>R 254</a:t>
            </a:r>
          </a:p>
          <a:p>
            <a:pPr algn="ctr"/>
            <a:r>
              <a:rPr lang="en-GB" sz="800" dirty="0">
                <a:solidFill>
                  <a:srgbClr val="F8981D"/>
                </a:solidFill>
              </a:rPr>
              <a:t>G 234</a:t>
            </a:r>
          </a:p>
          <a:p>
            <a:pPr algn="ctr"/>
            <a:r>
              <a:rPr lang="en-GB" sz="800" dirty="0">
                <a:solidFill>
                  <a:srgbClr val="F8981D"/>
                </a:solidFill>
              </a:rPr>
              <a:t>B 210</a:t>
            </a:r>
          </a:p>
        </p:txBody>
      </p:sp>
      <p:sp>
        <p:nvSpPr>
          <p:cNvPr id="88" name="Rectangle 87"/>
          <p:cNvSpPr/>
          <p:nvPr userDrawn="1"/>
        </p:nvSpPr>
        <p:spPr>
          <a:xfrm>
            <a:off x="-627620" y="5517232"/>
            <a:ext cx="432048"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11</a:t>
            </a:r>
          </a:p>
          <a:p>
            <a:pPr algn="ctr"/>
            <a:r>
              <a:rPr lang="en-GB" sz="800" dirty="0">
                <a:solidFill>
                  <a:srgbClr val="1B4298"/>
                </a:solidFill>
              </a:rPr>
              <a:t>G 227</a:t>
            </a:r>
          </a:p>
          <a:p>
            <a:pPr algn="ctr"/>
            <a:r>
              <a:rPr lang="en-GB" sz="800" dirty="0">
                <a:solidFill>
                  <a:srgbClr val="1B4298"/>
                </a:solidFill>
              </a:rPr>
              <a:t>B 237</a:t>
            </a:r>
          </a:p>
        </p:txBody>
      </p:sp>
    </p:spTree>
    <p:extLst>
      <p:ext uri="{BB962C8B-B14F-4D97-AF65-F5344CB8AC3E}">
        <p14:creationId xmlns:p14="http://schemas.microsoft.com/office/powerpoint/2010/main" val="113524891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Title">
    <p:spTree>
      <p:nvGrpSpPr>
        <p:cNvPr id="1" name=""/>
        <p:cNvGrpSpPr/>
        <p:nvPr/>
      </p:nvGrpSpPr>
      <p:grpSpPr>
        <a:xfrm>
          <a:off x="0" y="0"/>
          <a:ext cx="0" cy="0"/>
          <a:chOff x="0" y="0"/>
          <a:chExt cx="0" cy="0"/>
        </a:xfrm>
      </p:grpSpPr>
      <p:sp>
        <p:nvSpPr>
          <p:cNvPr id="75" name="Picture Placeholder 74"/>
          <p:cNvSpPr>
            <a:spLocks noGrp="1"/>
          </p:cNvSpPr>
          <p:nvPr>
            <p:ph type="pic" sz="quarter" idx="11"/>
          </p:nvPr>
        </p:nvSpPr>
        <p:spPr>
          <a:xfrm>
            <a:off x="0" y="0"/>
            <a:ext cx="9906000" cy="4718813"/>
          </a:xfrm>
        </p:spPr>
        <p:txBody>
          <a:bodyPr anchor="ctr"/>
          <a:lstStyle>
            <a:lvl1pPr algn="ctr">
              <a:defRPr/>
            </a:lvl1pPr>
          </a:lstStyle>
          <a:p>
            <a:r>
              <a:rPr lang="en-US" dirty="0" smtClean="0"/>
              <a:t>Click icon to add picture</a:t>
            </a:r>
            <a:endParaRPr lang="en-GB" dirty="0"/>
          </a:p>
        </p:txBody>
      </p:sp>
      <p:sp>
        <p:nvSpPr>
          <p:cNvPr id="96" name="Text Placeholder 95"/>
          <p:cNvSpPr>
            <a:spLocks noGrp="1"/>
          </p:cNvSpPr>
          <p:nvPr>
            <p:ph type="body" sz="quarter" idx="12"/>
          </p:nvPr>
        </p:nvSpPr>
        <p:spPr bwMode="auto">
          <a:xfrm>
            <a:off x="2117344" y="4726857"/>
            <a:ext cx="4011800" cy="792000"/>
          </a:xfrm>
          <a:custGeom>
            <a:avLst/>
            <a:gdLst>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3974895 w 4011800"/>
              <a:gd name="connsiteY4" fmla="*/ 36906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 name="connsiteX0" fmla="*/ 0 w 4012795"/>
              <a:gd name="connsiteY0" fmla="*/ 129866 h 759863"/>
              <a:gd name="connsiteX1" fmla="*/ 36906 w 4012795"/>
              <a:gd name="connsiteY1" fmla="*/ 40768 h 759863"/>
              <a:gd name="connsiteX2" fmla="*/ 126004 w 4012795"/>
              <a:gd name="connsiteY2" fmla="*/ 3863 h 759863"/>
              <a:gd name="connsiteX3" fmla="*/ 3885797 w 4012795"/>
              <a:gd name="connsiteY3" fmla="*/ 3863 h 759863"/>
              <a:gd name="connsiteX4" fmla="*/ 4011799 w 4012795"/>
              <a:gd name="connsiteY4" fmla="*/ 3863 h 759863"/>
              <a:gd name="connsiteX5" fmla="*/ 4011800 w 4012795"/>
              <a:gd name="connsiteY5" fmla="*/ 129867 h 759863"/>
              <a:gd name="connsiteX6" fmla="*/ 4011800 w 4012795"/>
              <a:gd name="connsiteY6" fmla="*/ 633860 h 759863"/>
              <a:gd name="connsiteX7" fmla="*/ 3974895 w 4012795"/>
              <a:gd name="connsiteY7" fmla="*/ 722958 h 759863"/>
              <a:gd name="connsiteX8" fmla="*/ 3885797 w 4012795"/>
              <a:gd name="connsiteY8" fmla="*/ 759863 h 759863"/>
              <a:gd name="connsiteX9" fmla="*/ 126003 w 4012795"/>
              <a:gd name="connsiteY9" fmla="*/ 759863 h 759863"/>
              <a:gd name="connsiteX10" fmla="*/ 36905 w 4012795"/>
              <a:gd name="connsiteY10" fmla="*/ 722957 h 759863"/>
              <a:gd name="connsiteX11" fmla="*/ 0 w 4012795"/>
              <a:gd name="connsiteY11" fmla="*/ 633859 h 759863"/>
              <a:gd name="connsiteX12" fmla="*/ 0 w 4012795"/>
              <a:gd name="connsiteY12" fmla="*/ 129866 h 759863"/>
              <a:gd name="connsiteX0" fmla="*/ 0 w 4012795"/>
              <a:gd name="connsiteY0" fmla="*/ 127665 h 757662"/>
              <a:gd name="connsiteX1" fmla="*/ 36906 w 4012795"/>
              <a:gd name="connsiteY1" fmla="*/ 38567 h 757662"/>
              <a:gd name="connsiteX2" fmla="*/ 126004 w 4012795"/>
              <a:gd name="connsiteY2" fmla="*/ 1662 h 757662"/>
              <a:gd name="connsiteX3" fmla="*/ 3885797 w 4012795"/>
              <a:gd name="connsiteY3" fmla="*/ 1662 h 757662"/>
              <a:gd name="connsiteX4" fmla="*/ 4011799 w 4012795"/>
              <a:gd name="connsiteY4" fmla="*/ 1662 h 757662"/>
              <a:gd name="connsiteX5" fmla="*/ 4011800 w 4012795"/>
              <a:gd name="connsiteY5" fmla="*/ 127666 h 757662"/>
              <a:gd name="connsiteX6" fmla="*/ 4011800 w 4012795"/>
              <a:gd name="connsiteY6" fmla="*/ 631659 h 757662"/>
              <a:gd name="connsiteX7" fmla="*/ 3974895 w 4012795"/>
              <a:gd name="connsiteY7" fmla="*/ 720757 h 757662"/>
              <a:gd name="connsiteX8" fmla="*/ 3885797 w 4012795"/>
              <a:gd name="connsiteY8" fmla="*/ 757662 h 757662"/>
              <a:gd name="connsiteX9" fmla="*/ 126003 w 4012795"/>
              <a:gd name="connsiteY9" fmla="*/ 757662 h 757662"/>
              <a:gd name="connsiteX10" fmla="*/ 36905 w 4012795"/>
              <a:gd name="connsiteY10" fmla="*/ 720756 h 757662"/>
              <a:gd name="connsiteX11" fmla="*/ 0 w 4012795"/>
              <a:gd name="connsiteY11" fmla="*/ 631658 h 757662"/>
              <a:gd name="connsiteX12" fmla="*/ 0 w 4012795"/>
              <a:gd name="connsiteY12" fmla="*/ 127665 h 757662"/>
              <a:gd name="connsiteX0" fmla="*/ 0 w 4012795"/>
              <a:gd name="connsiteY0" fmla="*/ 126003 h 756000"/>
              <a:gd name="connsiteX1" fmla="*/ 36906 w 4012795"/>
              <a:gd name="connsiteY1" fmla="*/ 36905 h 756000"/>
              <a:gd name="connsiteX2" fmla="*/ 126004 w 4012795"/>
              <a:gd name="connsiteY2" fmla="*/ 0 h 756000"/>
              <a:gd name="connsiteX3" fmla="*/ 3885797 w 4012795"/>
              <a:gd name="connsiteY3" fmla="*/ 0 h 756000"/>
              <a:gd name="connsiteX4" fmla="*/ 4011799 w 4012795"/>
              <a:gd name="connsiteY4" fmla="*/ 0 h 756000"/>
              <a:gd name="connsiteX5" fmla="*/ 4011800 w 4012795"/>
              <a:gd name="connsiteY5" fmla="*/ 126004 h 756000"/>
              <a:gd name="connsiteX6" fmla="*/ 4011800 w 4012795"/>
              <a:gd name="connsiteY6" fmla="*/ 629997 h 756000"/>
              <a:gd name="connsiteX7" fmla="*/ 3974895 w 4012795"/>
              <a:gd name="connsiteY7" fmla="*/ 719095 h 756000"/>
              <a:gd name="connsiteX8" fmla="*/ 3885797 w 4012795"/>
              <a:gd name="connsiteY8" fmla="*/ 756000 h 756000"/>
              <a:gd name="connsiteX9" fmla="*/ 126003 w 4012795"/>
              <a:gd name="connsiteY9" fmla="*/ 756000 h 756000"/>
              <a:gd name="connsiteX10" fmla="*/ 36905 w 4012795"/>
              <a:gd name="connsiteY10" fmla="*/ 719094 h 756000"/>
              <a:gd name="connsiteX11" fmla="*/ 0 w 4012795"/>
              <a:gd name="connsiteY11" fmla="*/ 629996 h 756000"/>
              <a:gd name="connsiteX12" fmla="*/ 0 w 4012795"/>
              <a:gd name="connsiteY12" fmla="*/ 126003 h 756000"/>
              <a:gd name="connsiteX0" fmla="*/ 0 w 4012795"/>
              <a:gd name="connsiteY0" fmla="*/ 126003 h 756000"/>
              <a:gd name="connsiteX1" fmla="*/ 36906 w 4012795"/>
              <a:gd name="connsiteY1" fmla="*/ 36905 h 756000"/>
              <a:gd name="connsiteX2" fmla="*/ 126004 w 4012795"/>
              <a:gd name="connsiteY2" fmla="*/ 0 h 756000"/>
              <a:gd name="connsiteX3" fmla="*/ 3885797 w 4012795"/>
              <a:gd name="connsiteY3" fmla="*/ 0 h 756000"/>
              <a:gd name="connsiteX4" fmla="*/ 4011799 w 4012795"/>
              <a:gd name="connsiteY4" fmla="*/ 0 h 756000"/>
              <a:gd name="connsiteX5" fmla="*/ 4011800 w 4012795"/>
              <a:gd name="connsiteY5" fmla="*/ 126004 h 756000"/>
              <a:gd name="connsiteX6" fmla="*/ 4011800 w 4012795"/>
              <a:gd name="connsiteY6" fmla="*/ 629997 h 756000"/>
              <a:gd name="connsiteX7" fmla="*/ 3974895 w 4012795"/>
              <a:gd name="connsiteY7" fmla="*/ 719095 h 756000"/>
              <a:gd name="connsiteX8" fmla="*/ 3885797 w 4012795"/>
              <a:gd name="connsiteY8" fmla="*/ 756000 h 756000"/>
              <a:gd name="connsiteX9" fmla="*/ 126003 w 4012795"/>
              <a:gd name="connsiteY9" fmla="*/ 756000 h 756000"/>
              <a:gd name="connsiteX10" fmla="*/ 36905 w 4012795"/>
              <a:gd name="connsiteY10" fmla="*/ 719094 h 756000"/>
              <a:gd name="connsiteX11" fmla="*/ 0 w 4012795"/>
              <a:gd name="connsiteY11" fmla="*/ 629996 h 756000"/>
              <a:gd name="connsiteX12" fmla="*/ 0 w 4012795"/>
              <a:gd name="connsiteY12" fmla="*/ 126003 h 756000"/>
              <a:gd name="connsiteX0" fmla="*/ 0 w 4011800"/>
              <a:gd name="connsiteY0" fmla="*/ 126003 h 756000"/>
              <a:gd name="connsiteX1" fmla="*/ 36906 w 4011800"/>
              <a:gd name="connsiteY1" fmla="*/ 36905 h 756000"/>
              <a:gd name="connsiteX2" fmla="*/ 126004 w 4011800"/>
              <a:gd name="connsiteY2" fmla="*/ 0 h 756000"/>
              <a:gd name="connsiteX3" fmla="*/ 3885797 w 4011800"/>
              <a:gd name="connsiteY3" fmla="*/ 0 h 756000"/>
              <a:gd name="connsiteX4" fmla="*/ 4011799 w 4011800"/>
              <a:gd name="connsiteY4" fmla="*/ 0 h 756000"/>
              <a:gd name="connsiteX5" fmla="*/ 4011800 w 4011800"/>
              <a:gd name="connsiteY5" fmla="*/ 126004 h 756000"/>
              <a:gd name="connsiteX6" fmla="*/ 4011800 w 4011800"/>
              <a:gd name="connsiteY6" fmla="*/ 629997 h 756000"/>
              <a:gd name="connsiteX7" fmla="*/ 3974895 w 4011800"/>
              <a:gd name="connsiteY7" fmla="*/ 719095 h 756000"/>
              <a:gd name="connsiteX8" fmla="*/ 3885797 w 4011800"/>
              <a:gd name="connsiteY8" fmla="*/ 756000 h 756000"/>
              <a:gd name="connsiteX9" fmla="*/ 126003 w 4011800"/>
              <a:gd name="connsiteY9" fmla="*/ 756000 h 756000"/>
              <a:gd name="connsiteX10" fmla="*/ 36905 w 4011800"/>
              <a:gd name="connsiteY10" fmla="*/ 719094 h 756000"/>
              <a:gd name="connsiteX11" fmla="*/ 0 w 4011800"/>
              <a:gd name="connsiteY11" fmla="*/ 629996 h 756000"/>
              <a:gd name="connsiteX12" fmla="*/ 0 w 4011800"/>
              <a:gd name="connsiteY12" fmla="*/ 126003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11800" h="756000">
                <a:moveTo>
                  <a:pt x="0" y="126003"/>
                </a:moveTo>
                <a:cubicBezTo>
                  <a:pt x="0" y="92585"/>
                  <a:pt x="13275" y="60536"/>
                  <a:pt x="36906" y="36905"/>
                </a:cubicBezTo>
                <a:cubicBezTo>
                  <a:pt x="60536" y="13275"/>
                  <a:pt x="92586" y="0"/>
                  <a:pt x="126004" y="0"/>
                </a:cubicBezTo>
                <a:lnTo>
                  <a:pt x="3885797" y="0"/>
                </a:lnTo>
                <a:cubicBezTo>
                  <a:pt x="3919215" y="0"/>
                  <a:pt x="3790203" y="1785"/>
                  <a:pt x="4011799" y="0"/>
                </a:cubicBezTo>
                <a:cubicBezTo>
                  <a:pt x="4010227" y="88768"/>
                  <a:pt x="4011800" y="92586"/>
                  <a:pt x="4011800" y="126004"/>
                </a:cubicBezTo>
                <a:lnTo>
                  <a:pt x="4011800" y="629997"/>
                </a:lnTo>
                <a:cubicBezTo>
                  <a:pt x="4011800" y="663415"/>
                  <a:pt x="3998525" y="695464"/>
                  <a:pt x="3974895" y="719095"/>
                </a:cubicBezTo>
                <a:cubicBezTo>
                  <a:pt x="3951265" y="742725"/>
                  <a:pt x="3919215" y="756000"/>
                  <a:pt x="3885797" y="756000"/>
                </a:cubicBezTo>
                <a:lnTo>
                  <a:pt x="126003" y="756000"/>
                </a:lnTo>
                <a:cubicBezTo>
                  <a:pt x="92585" y="756000"/>
                  <a:pt x="60536" y="742725"/>
                  <a:pt x="36905" y="719094"/>
                </a:cubicBezTo>
                <a:cubicBezTo>
                  <a:pt x="13275" y="695464"/>
                  <a:pt x="0" y="663414"/>
                  <a:pt x="0" y="629996"/>
                </a:cubicBezTo>
                <a:lnTo>
                  <a:pt x="0" y="126003"/>
                </a:lnTo>
                <a:close/>
              </a:path>
            </a:pathLst>
          </a:custGeom>
          <a:gradFill>
            <a:gsLst>
              <a:gs pos="0">
                <a:schemeClr val="bg2"/>
              </a:gs>
              <a:gs pos="60000">
                <a:srgbClr val="FF6600"/>
              </a:gs>
            </a:gsLst>
            <a:lin ang="18660000" scaled="0"/>
          </a:gradFill>
          <a:ln w="19050">
            <a:solidFill>
              <a:schemeClr val="bg1"/>
            </a:solidFill>
            <a:miter lim="800000"/>
            <a:headEnd/>
            <a:tailEnd/>
          </a:ln>
        </p:spPr>
        <p:txBody>
          <a:bodyPr vert="horz" wrap="square" lIns="180000" tIns="72000" rIns="180000" bIns="72000" numCol="1" anchor="ctr" anchorCtr="0" compatLnSpc="1">
            <a:prstTxWarp prst="textNoShape">
              <a:avLst/>
            </a:prstTxWarp>
          </a:bodyPr>
          <a:lstStyle>
            <a:lvl1pPr algn="l">
              <a:defRPr kumimoji="0" lang="nl-NL" sz="2000" b="0" i="1" u="none" strike="noStrike" kern="1200" cap="none" spc="0" normalizeH="0" baseline="0" noProof="0" dirty="0" smtClean="0">
                <a:ln>
                  <a:noFill/>
                </a:ln>
                <a:solidFill>
                  <a:schemeClr val="bg1"/>
                </a:solidFill>
                <a:effectLst/>
                <a:uLnTx/>
                <a:uFillTx/>
                <a:latin typeface="Myriad-BoldItalic" pitchFamily="2" charset="0"/>
                <a:ea typeface="+mj-ea"/>
                <a:cs typeface="+mj-cs"/>
              </a:defRPr>
            </a:lvl1pPr>
          </a:lstStyle>
          <a:p>
            <a:pPr marL="0" marR="0" lvl="0" indent="0" algn="r" defTabSz="995363" rtl="0" eaLnBrk="1" fontAlgn="base" latinLnBrk="0" hangingPunct="1">
              <a:lnSpc>
                <a:spcPct val="110000"/>
              </a:lnSpc>
              <a:spcBef>
                <a:spcPct val="0"/>
              </a:spcBef>
              <a:spcAft>
                <a:spcPct val="0"/>
              </a:spcAft>
              <a:buClrTx/>
              <a:buSzTx/>
              <a:buFontTx/>
              <a:buNone/>
              <a:tabLst/>
              <a:defRPr/>
            </a:pPr>
            <a:r>
              <a:rPr lang="en-US" smtClean="0"/>
              <a:t>Click to edit Master text styles</a:t>
            </a:r>
          </a:p>
        </p:txBody>
      </p:sp>
      <p:sp>
        <p:nvSpPr>
          <p:cNvPr id="18" name="Text Placeholder 17"/>
          <p:cNvSpPr>
            <a:spLocks noGrp="1"/>
          </p:cNvSpPr>
          <p:nvPr>
            <p:ph type="body" sz="quarter" idx="10"/>
          </p:nvPr>
        </p:nvSpPr>
        <p:spPr>
          <a:xfrm>
            <a:off x="2117347" y="5518862"/>
            <a:ext cx="4011799" cy="1078793"/>
          </a:xfrm>
          <a:noFill/>
          <a:ln w="9525" algn="ctr">
            <a:noFill/>
            <a:miter lim="800000"/>
            <a:headEnd/>
            <a:tailEnd/>
          </a:ln>
          <a:effectLst/>
        </p:spPr>
        <p:txBody>
          <a:bodyPr vert="horz" wrap="square" lIns="180000" tIns="0" rIns="0" bIns="0" numCol="1" anchor="b" anchorCtr="0" compatLnSpc="1">
            <a:prstTxWarp prst="textNoShape">
              <a:avLst/>
            </a:prstTxWarp>
            <a:noAutofit/>
          </a:bodyPr>
          <a:lstStyle>
            <a:lvl1pPr>
              <a:defRPr lang="en-GB" sz="1400" b="0" i="0" kern="1200" noProof="0" dirty="0" smtClean="0">
                <a:solidFill>
                  <a:schemeClr val="bg1">
                    <a:lumMod val="50000"/>
                  </a:schemeClr>
                </a:solidFill>
                <a:latin typeface="+mn-lt"/>
                <a:ea typeface="+mn-ea"/>
                <a:cs typeface="+mn-cs"/>
              </a:defRPr>
            </a:lvl1pPr>
          </a:lstStyle>
          <a:p>
            <a:pPr marL="0" marR="0" lvl="0" indent="0" algn="l" defTabSz="995363" rtl="0" eaLnBrk="1" fontAlgn="base" latinLnBrk="0" hangingPunct="1">
              <a:lnSpc>
                <a:spcPct val="150000"/>
              </a:lnSpc>
              <a:spcBef>
                <a:spcPct val="50000"/>
              </a:spcBef>
              <a:spcAft>
                <a:spcPct val="0"/>
              </a:spcAft>
              <a:buClrTx/>
              <a:buSzTx/>
              <a:buFont typeface="Times" pitchFamily="-112" charset="0"/>
              <a:buNone/>
              <a:tabLst/>
            </a:pPr>
            <a:r>
              <a:rPr lang="en-US" smtClean="0"/>
              <a:t>Click to edit Master text styles</a:t>
            </a:r>
          </a:p>
        </p:txBody>
      </p:sp>
      <p:sp>
        <p:nvSpPr>
          <p:cNvPr id="2" name="Title 1"/>
          <p:cNvSpPr>
            <a:spLocks noGrp="1"/>
          </p:cNvSpPr>
          <p:nvPr>
            <p:ph type="ctrTitle"/>
          </p:nvPr>
        </p:nvSpPr>
        <p:spPr>
          <a:xfrm>
            <a:off x="-36573" y="3612621"/>
            <a:ext cx="6165719" cy="1116000"/>
          </a:xfrm>
          <a:prstGeom prst="round1Rect">
            <a:avLst>
              <a:gd name="adj" fmla="val 12603"/>
            </a:avLst>
          </a:prstGeom>
          <a:solidFill>
            <a:schemeClr val="tx2"/>
          </a:solidFill>
          <a:ln w="19050" algn="ctr">
            <a:solidFill>
              <a:schemeClr val="bg1"/>
            </a:solidFill>
            <a:miter lim="800000"/>
            <a:headEnd/>
            <a:tailEnd/>
          </a:ln>
        </p:spPr>
        <p:txBody>
          <a:bodyPr vert="horz" wrap="square" lIns="504000" tIns="72000" rIns="180000" bIns="72000" numCol="1" anchor="b" anchorCtr="0" compatLnSpc="1">
            <a:prstTxWarp prst="textNoShape">
              <a:avLst/>
            </a:prstTxWarp>
          </a:bodyPr>
          <a:lstStyle>
            <a:lvl1pPr>
              <a:defRPr kumimoji="0" lang="en-GB" sz="3200" b="0" i="0" u="none" strike="noStrike" kern="1200" cap="none" spc="0" normalizeH="0" baseline="0" noProof="0">
                <a:ln>
                  <a:noFill/>
                </a:ln>
                <a:solidFill>
                  <a:schemeClr val="bg1"/>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smtClean="0"/>
              <a:t>Click to edit Master title style</a:t>
            </a:r>
            <a:endParaRPr lang="en-GB" dirty="0"/>
          </a:p>
        </p:txBody>
      </p:sp>
    </p:spTree>
    <p:extLst>
      <p:ext uri="{BB962C8B-B14F-4D97-AF65-F5344CB8AC3E}">
        <p14:creationId xmlns:p14="http://schemas.microsoft.com/office/powerpoint/2010/main" val="35455716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en-US" noProof="0" smtClean="0"/>
              <a:t>Click to edit Master title style</a:t>
            </a:r>
            <a:endParaRPr lang="en-GB" noProof="0"/>
          </a:p>
        </p:txBody>
      </p:sp>
      <p:sp>
        <p:nvSpPr>
          <p:cNvPr id="5" name="Tijdelijke aanduiding voor inhoud 4"/>
          <p:cNvSpPr>
            <a:spLocks noGrp="1"/>
          </p:cNvSpPr>
          <p:nvPr>
            <p:ph sz="quarter" idx="11"/>
          </p:nvPr>
        </p:nvSpPr>
        <p:spPr>
          <a:xfrm>
            <a:off x="515465" y="1781594"/>
            <a:ext cx="8454968" cy="4572000"/>
          </a:xfrm>
        </p:spPr>
        <p:txBody>
          <a:bodyPr/>
          <a:lstStyle>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ijdelijke aanduiding voor voettekst 3"/>
          <p:cNvSpPr>
            <a:spLocks noGrp="1"/>
          </p:cNvSpPr>
          <p:nvPr>
            <p:ph type="ftr" sz="quarter" idx="12"/>
          </p:nvPr>
        </p:nvSpPr>
        <p:spPr>
          <a:xfrm>
            <a:off x="515938" y="6483350"/>
            <a:ext cx="7757981" cy="273050"/>
          </a:xfrm>
          <a:prstGeom prst="rect">
            <a:avLst/>
          </a:prstGeom>
        </p:spPr>
        <p:txBody>
          <a:bodyPr/>
          <a:lstStyle>
            <a:lvl1pPr algn="l">
              <a:defRPr sz="1200">
                <a:solidFill>
                  <a:schemeClr val="tx1">
                    <a:tint val="75000"/>
                  </a:schemeClr>
                </a:solidFill>
              </a:defRPr>
            </a:lvl1pPr>
          </a:lstStyle>
          <a:p>
            <a:pPr>
              <a:defRPr/>
            </a:pPr>
            <a:endParaRPr lang="en-GB" dirty="0"/>
          </a:p>
        </p:txBody>
      </p:sp>
    </p:spTree>
    <p:extLst>
      <p:ext uri="{BB962C8B-B14F-4D97-AF65-F5344CB8AC3E}">
        <p14:creationId xmlns:p14="http://schemas.microsoft.com/office/powerpoint/2010/main" val="177374516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a:xfrm>
            <a:off x="488953" y="405607"/>
            <a:ext cx="8208000" cy="630000"/>
          </a:xfrm>
          <a:prstGeom prst="rect">
            <a:avLst/>
          </a:prstGeom>
        </p:spPr>
        <p:txBody>
          <a:bodyPr/>
          <a:lstStyle/>
          <a:p>
            <a:r>
              <a:rPr lang="en-US"/>
              <a:t>Click to edit Master title style</a:t>
            </a:r>
            <a:endParaRPr lang="en-GB" noProof="0" dirty="0"/>
          </a:p>
        </p:txBody>
      </p:sp>
      <p:sp>
        <p:nvSpPr>
          <p:cNvPr id="4" name="Tijdelijke aanduiding voor voettekst 3"/>
          <p:cNvSpPr>
            <a:spLocks noGrp="1"/>
          </p:cNvSpPr>
          <p:nvPr>
            <p:ph type="ftr" sz="quarter" idx="3"/>
          </p:nvPr>
        </p:nvSpPr>
        <p:spPr>
          <a:xfrm>
            <a:off x="515465" y="6483356"/>
            <a:ext cx="7758455" cy="273050"/>
          </a:xfrm>
          <a:prstGeom prst="rect">
            <a:avLst/>
          </a:prstGeom>
        </p:spPr>
        <p:txBody>
          <a:bodyPr vert="horz" lIns="0" tIns="45720" rIns="0" bIns="45720" rtlCol="0" anchor="ctr"/>
          <a:lstStyle>
            <a:lvl1pPr algn="l">
              <a:defRPr sz="1200">
                <a:solidFill>
                  <a:srgbClr val="5E6A71"/>
                </a:solidFill>
              </a:defRPr>
            </a:lvl1pPr>
          </a:lstStyle>
          <a:p>
            <a:endParaRPr lang="en-GB" dirty="0"/>
          </a:p>
        </p:txBody>
      </p:sp>
      <p:sp>
        <p:nvSpPr>
          <p:cNvPr id="5" name="Tijdelijke aanduiding voor dianummer 6"/>
          <p:cNvSpPr>
            <a:spLocks noGrp="1"/>
          </p:cNvSpPr>
          <p:nvPr>
            <p:ph type="sldNum" sz="quarter" idx="4"/>
          </p:nvPr>
        </p:nvSpPr>
        <p:spPr>
          <a:xfrm>
            <a:off x="8641391" y="6483356"/>
            <a:ext cx="696515" cy="273050"/>
          </a:xfrm>
          <a:prstGeom prst="rect">
            <a:avLst/>
          </a:prstGeom>
        </p:spPr>
        <p:txBody>
          <a:bodyPr vert="horz" lIns="91440" tIns="45720" rIns="0" bIns="45720" rtlCol="0" anchor="ctr"/>
          <a:lstStyle>
            <a:lvl1pPr algn="r">
              <a:defRPr sz="1200">
                <a:solidFill>
                  <a:srgbClr val="5E6A71"/>
                </a:solidFill>
              </a:defRPr>
            </a:lvl1pPr>
          </a:lstStyle>
          <a:p>
            <a:pPr defTabSz="456999" fontAlgn="auto">
              <a:spcBef>
                <a:spcPts val="0"/>
              </a:spcBef>
              <a:spcAft>
                <a:spcPts val="0"/>
              </a:spcAft>
            </a:pPr>
            <a:fld id="{4821C4A5-98F2-7545-875B-39B2F4500447}" type="slidenum">
              <a:rPr lang="en-GB" smtClean="0">
                <a:latin typeface="Corbel"/>
              </a:rPr>
              <a:pPr defTabSz="456999" fontAlgn="auto">
                <a:spcBef>
                  <a:spcPts val="0"/>
                </a:spcBef>
                <a:spcAft>
                  <a:spcPts val="0"/>
                </a:spcAft>
              </a:pPr>
              <a:t>‹#›</a:t>
            </a:fld>
            <a:endParaRPr lang="en-GB" dirty="0">
              <a:latin typeface="Corbel"/>
            </a:endParaRPr>
          </a:p>
        </p:txBody>
      </p:sp>
      <p:sp>
        <p:nvSpPr>
          <p:cNvPr id="3" name="Rectangle 2"/>
          <p:cNvSpPr/>
          <p:nvPr userDrawn="1"/>
        </p:nvSpPr>
        <p:spPr>
          <a:xfrm>
            <a:off x="0" y="0"/>
            <a:ext cx="9906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smtClean="0"/>
          </a:p>
        </p:txBody>
      </p:sp>
    </p:spTree>
    <p:extLst>
      <p:ext uri="{BB962C8B-B14F-4D97-AF65-F5344CB8AC3E}">
        <p14:creationId xmlns:p14="http://schemas.microsoft.com/office/powerpoint/2010/main" val="1161771930"/>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8_Bas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atin typeface="Corbel" panose="020B0503020204020204"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40550482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hart, thre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2" name="Text Placeholder 21"/>
          <p:cNvSpPr>
            <a:spLocks noGrp="1"/>
          </p:cNvSpPr>
          <p:nvPr>
            <p:ph type="body" sz="quarter" idx="63" hasCustomPrompt="1"/>
          </p:nvPr>
        </p:nvSpPr>
        <p:spPr>
          <a:xfrm>
            <a:off x="848452" y="1341985"/>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848049" y="1341438"/>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848200" y="267503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848200" y="4741814"/>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847797" y="4741913"/>
            <a:ext cx="4033363"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848200" y="6073200"/>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848200" y="3041899"/>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847797" y="3041899"/>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848200" y="437559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41" name="Text Placeholder 21"/>
          <p:cNvSpPr>
            <a:spLocks noGrp="1"/>
          </p:cNvSpPr>
          <p:nvPr>
            <p:ph type="body" sz="quarter" idx="83" hasCustomPrompt="1"/>
          </p:nvPr>
        </p:nvSpPr>
        <p:spPr>
          <a:xfrm>
            <a:off x="5025092" y="1341985"/>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84"/>
          </p:nvPr>
        </p:nvSpPr>
        <p:spPr>
          <a:xfrm>
            <a:off x="5024690" y="1341985"/>
            <a:ext cx="4392612"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3" name="Text Placeholder 22"/>
          <p:cNvSpPr>
            <a:spLocks noGrp="1"/>
          </p:cNvSpPr>
          <p:nvPr>
            <p:ph type="body" sz="quarter" idx="85" hasCustomPrompt="1"/>
          </p:nvPr>
        </p:nvSpPr>
        <p:spPr>
          <a:xfrm>
            <a:off x="5024841" y="2675680"/>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86" hasCustomPrompt="1"/>
          </p:nvPr>
        </p:nvSpPr>
        <p:spPr>
          <a:xfrm>
            <a:off x="5024840" y="4741913"/>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5" name="Content Placeholder 2"/>
          <p:cNvSpPr>
            <a:spLocks noGrp="1"/>
          </p:cNvSpPr>
          <p:nvPr>
            <p:ph sz="half" idx="87"/>
          </p:nvPr>
        </p:nvSpPr>
        <p:spPr>
          <a:xfrm>
            <a:off x="5024438" y="4741913"/>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6" name="Text Placeholder 22"/>
          <p:cNvSpPr>
            <a:spLocks noGrp="1"/>
          </p:cNvSpPr>
          <p:nvPr>
            <p:ph type="body" sz="quarter" idx="88" hasCustomPrompt="1"/>
          </p:nvPr>
        </p:nvSpPr>
        <p:spPr>
          <a:xfrm>
            <a:off x="5024841" y="6075509"/>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89" hasCustomPrompt="1"/>
          </p:nvPr>
        </p:nvSpPr>
        <p:spPr>
          <a:xfrm>
            <a:off x="5024840" y="3041899"/>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90"/>
          </p:nvPr>
        </p:nvSpPr>
        <p:spPr>
          <a:xfrm>
            <a:off x="5024438" y="3041899"/>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91" hasCustomPrompt="1"/>
          </p:nvPr>
        </p:nvSpPr>
        <p:spPr>
          <a:xfrm>
            <a:off x="5024841" y="4375594"/>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59"/>
          <p:cNvSpPr>
            <a:spLocks noGrp="1"/>
          </p:cNvSpPr>
          <p:nvPr>
            <p:ph type="body" sz="quarter" idx="94"/>
          </p:nvPr>
        </p:nvSpPr>
        <p:spPr>
          <a:xfrm rot="16200000">
            <a:off x="-141100" y="1971488"/>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1" name="Text Placeholder 59"/>
          <p:cNvSpPr>
            <a:spLocks noGrp="1"/>
          </p:cNvSpPr>
          <p:nvPr>
            <p:ph type="body" sz="quarter" idx="95"/>
          </p:nvPr>
        </p:nvSpPr>
        <p:spPr>
          <a:xfrm rot="16200000">
            <a:off x="-141100" y="5369654"/>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2" name="Text Placeholder 59"/>
          <p:cNvSpPr>
            <a:spLocks noGrp="1"/>
          </p:cNvSpPr>
          <p:nvPr>
            <p:ph type="body" sz="quarter" idx="96"/>
          </p:nvPr>
        </p:nvSpPr>
        <p:spPr>
          <a:xfrm rot="16200000">
            <a:off x="-141100" y="3670571"/>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rrow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rot="5400000">
            <a:off x="842600" y="9814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4" name="Text Placeholder 22"/>
          <p:cNvSpPr>
            <a:spLocks noGrp="1"/>
          </p:cNvSpPr>
          <p:nvPr>
            <p:ph type="body" sz="quarter" idx="43"/>
          </p:nvPr>
        </p:nvSpPr>
        <p:spPr>
          <a:xfrm rot="5400000">
            <a:off x="842600" y="178061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4" name="Text Placeholder 22"/>
          <p:cNvSpPr>
            <a:spLocks noGrp="1"/>
          </p:cNvSpPr>
          <p:nvPr>
            <p:ph type="body" sz="quarter" idx="44"/>
          </p:nvPr>
        </p:nvSpPr>
        <p:spPr>
          <a:xfrm rot="5400000">
            <a:off x="842600" y="257978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5" name="Text Placeholder 22"/>
          <p:cNvSpPr>
            <a:spLocks noGrp="1"/>
          </p:cNvSpPr>
          <p:nvPr>
            <p:ph type="body" sz="quarter" idx="45"/>
          </p:nvPr>
        </p:nvSpPr>
        <p:spPr>
          <a:xfrm rot="5400000">
            <a:off x="842600" y="337896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6" name="Text Placeholder 22"/>
          <p:cNvSpPr>
            <a:spLocks noGrp="1"/>
          </p:cNvSpPr>
          <p:nvPr>
            <p:ph type="body" sz="quarter" idx="46"/>
          </p:nvPr>
        </p:nvSpPr>
        <p:spPr>
          <a:xfrm rot="5400000">
            <a:off x="842600" y="41781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4" name="Text Placeholder 22"/>
          <p:cNvSpPr>
            <a:spLocks noGrp="1"/>
          </p:cNvSpPr>
          <p:nvPr>
            <p:ph type="body" sz="quarter" idx="47"/>
          </p:nvPr>
        </p:nvSpPr>
        <p:spPr>
          <a:xfrm rot="5400000">
            <a:off x="842600" y="4977312"/>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15"/>
          <p:cNvSpPr>
            <a:spLocks noGrp="1"/>
          </p:cNvSpPr>
          <p:nvPr>
            <p:ph type="body" sz="quarter" idx="40"/>
          </p:nvPr>
        </p:nvSpPr>
        <p:spPr>
          <a:xfrm>
            <a:off x="2252663" y="13414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8"/>
          </p:nvPr>
        </p:nvSpPr>
        <p:spPr>
          <a:xfrm>
            <a:off x="2252663" y="5337312"/>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9"/>
          </p:nvPr>
        </p:nvSpPr>
        <p:spPr>
          <a:xfrm>
            <a:off x="2252663" y="214061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50"/>
          </p:nvPr>
        </p:nvSpPr>
        <p:spPr>
          <a:xfrm>
            <a:off x="2252663" y="293978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1" name="Text Placeholder 15"/>
          <p:cNvSpPr>
            <a:spLocks noGrp="1"/>
          </p:cNvSpPr>
          <p:nvPr>
            <p:ph type="body" sz="quarter" idx="51"/>
          </p:nvPr>
        </p:nvSpPr>
        <p:spPr>
          <a:xfrm>
            <a:off x="2252663" y="373896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2" name="Text Placeholder 15"/>
          <p:cNvSpPr>
            <a:spLocks noGrp="1"/>
          </p:cNvSpPr>
          <p:nvPr>
            <p:ph type="body" sz="quarter" idx="52"/>
          </p:nvPr>
        </p:nvSpPr>
        <p:spPr>
          <a:xfrm>
            <a:off x="2252663" y="45381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rrow right">
    <p:spTree>
      <p:nvGrpSpPr>
        <p:cNvPr id="1" name=""/>
        <p:cNvGrpSpPr/>
        <p:nvPr/>
      </p:nvGrpSpPr>
      <p:grpSpPr>
        <a:xfrm>
          <a:off x="0" y="0"/>
          <a:ext cx="0" cy="0"/>
          <a:chOff x="0" y="0"/>
          <a:chExt cx="0" cy="0"/>
        </a:xfrm>
      </p:grpSpPr>
      <p:sp>
        <p:nvSpPr>
          <p:cNvPr id="80" name="Text Placeholder 79"/>
          <p:cNvSpPr>
            <a:spLocks noGrp="1"/>
          </p:cNvSpPr>
          <p:nvPr>
            <p:ph type="body" sz="quarter" idx="63" hasCustomPrompt="1"/>
          </p:nvPr>
        </p:nvSpPr>
        <p:spPr>
          <a:xfrm>
            <a:off x="482600" y="199866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1" name="Text Placeholder 79"/>
          <p:cNvSpPr>
            <a:spLocks noGrp="1"/>
          </p:cNvSpPr>
          <p:nvPr>
            <p:ph type="body" sz="quarter" idx="64" hasCustomPrompt="1"/>
          </p:nvPr>
        </p:nvSpPr>
        <p:spPr>
          <a:xfrm>
            <a:off x="482600" y="308768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2" name="Text Placeholder 79"/>
          <p:cNvSpPr>
            <a:spLocks noGrp="1"/>
          </p:cNvSpPr>
          <p:nvPr>
            <p:ph type="body" sz="quarter" idx="65" hasCustomPrompt="1"/>
          </p:nvPr>
        </p:nvSpPr>
        <p:spPr>
          <a:xfrm>
            <a:off x="482600" y="417671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3" name="Text Placeholder 79"/>
          <p:cNvSpPr>
            <a:spLocks noGrp="1"/>
          </p:cNvSpPr>
          <p:nvPr>
            <p:ph type="body" sz="quarter" idx="66" hasCustomPrompt="1"/>
          </p:nvPr>
        </p:nvSpPr>
        <p:spPr>
          <a:xfrm>
            <a:off x="482600" y="526573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7" name="Text Placeholder 79"/>
          <p:cNvSpPr>
            <a:spLocks noGrp="1"/>
          </p:cNvSpPr>
          <p:nvPr>
            <p:ph type="body" sz="quarter" idx="70" hasCustomPrompt="1"/>
          </p:nvPr>
        </p:nvSpPr>
        <p:spPr>
          <a:xfrm>
            <a:off x="2284324" y="526547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6" name="Text Placeholder 79"/>
          <p:cNvSpPr>
            <a:spLocks noGrp="1"/>
          </p:cNvSpPr>
          <p:nvPr>
            <p:ph type="body" sz="quarter" idx="69" hasCustomPrompt="1"/>
          </p:nvPr>
        </p:nvSpPr>
        <p:spPr>
          <a:xfrm>
            <a:off x="2284324" y="417645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5" name="Text Placeholder 79"/>
          <p:cNvSpPr>
            <a:spLocks noGrp="1"/>
          </p:cNvSpPr>
          <p:nvPr>
            <p:ph type="body" sz="quarter" idx="68" hasCustomPrompt="1"/>
          </p:nvPr>
        </p:nvSpPr>
        <p:spPr>
          <a:xfrm>
            <a:off x="2284324" y="308742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4" name="Text Placeholder 79"/>
          <p:cNvSpPr>
            <a:spLocks noGrp="1"/>
          </p:cNvSpPr>
          <p:nvPr>
            <p:ph type="body" sz="quarter" idx="67" hasCustomPrompt="1"/>
          </p:nvPr>
        </p:nvSpPr>
        <p:spPr>
          <a:xfrm>
            <a:off x="2284324" y="199840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8" name="Text Placeholder 79"/>
          <p:cNvSpPr>
            <a:spLocks noGrp="1"/>
          </p:cNvSpPr>
          <p:nvPr>
            <p:ph type="body" sz="quarter" idx="71" hasCustomPrompt="1"/>
          </p:nvPr>
        </p:nvSpPr>
        <p:spPr>
          <a:xfrm>
            <a:off x="4086048" y="199813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9" name="Text Placeholder 79"/>
          <p:cNvSpPr>
            <a:spLocks noGrp="1"/>
          </p:cNvSpPr>
          <p:nvPr>
            <p:ph type="body" sz="quarter" idx="72" hasCustomPrompt="1"/>
          </p:nvPr>
        </p:nvSpPr>
        <p:spPr>
          <a:xfrm>
            <a:off x="4086048" y="308716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0" name="Text Placeholder 79"/>
          <p:cNvSpPr>
            <a:spLocks noGrp="1"/>
          </p:cNvSpPr>
          <p:nvPr>
            <p:ph type="body" sz="quarter" idx="73" hasCustomPrompt="1"/>
          </p:nvPr>
        </p:nvSpPr>
        <p:spPr>
          <a:xfrm>
            <a:off x="4086048" y="417618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1" name="Text Placeholder 79"/>
          <p:cNvSpPr>
            <a:spLocks noGrp="1"/>
          </p:cNvSpPr>
          <p:nvPr>
            <p:ph type="body" sz="quarter" idx="74" hasCustomPrompt="1"/>
          </p:nvPr>
        </p:nvSpPr>
        <p:spPr>
          <a:xfrm>
            <a:off x="4086048" y="526521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5" name="Text Placeholder 79"/>
          <p:cNvSpPr>
            <a:spLocks noGrp="1"/>
          </p:cNvSpPr>
          <p:nvPr>
            <p:ph type="body" sz="quarter" idx="78" hasCustomPrompt="1"/>
          </p:nvPr>
        </p:nvSpPr>
        <p:spPr>
          <a:xfrm>
            <a:off x="5887772" y="526495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4" name="Text Placeholder 79"/>
          <p:cNvSpPr>
            <a:spLocks noGrp="1"/>
          </p:cNvSpPr>
          <p:nvPr>
            <p:ph type="body" sz="quarter" idx="77" hasCustomPrompt="1"/>
          </p:nvPr>
        </p:nvSpPr>
        <p:spPr>
          <a:xfrm>
            <a:off x="5887772" y="417592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3" name="Text Placeholder 79"/>
          <p:cNvSpPr>
            <a:spLocks noGrp="1"/>
          </p:cNvSpPr>
          <p:nvPr>
            <p:ph type="body" sz="quarter" idx="76" hasCustomPrompt="1"/>
          </p:nvPr>
        </p:nvSpPr>
        <p:spPr>
          <a:xfrm>
            <a:off x="5887772" y="308690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2" name="Text Placeholder 79"/>
          <p:cNvSpPr>
            <a:spLocks noGrp="1"/>
          </p:cNvSpPr>
          <p:nvPr>
            <p:ph type="body" sz="quarter" idx="75" hasCustomPrompt="1"/>
          </p:nvPr>
        </p:nvSpPr>
        <p:spPr>
          <a:xfrm>
            <a:off x="5887772" y="199787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6" name="Text Placeholder 79"/>
          <p:cNvSpPr>
            <a:spLocks noGrp="1"/>
          </p:cNvSpPr>
          <p:nvPr>
            <p:ph type="body" sz="quarter" idx="79" hasCustomPrompt="1"/>
          </p:nvPr>
        </p:nvSpPr>
        <p:spPr>
          <a:xfrm>
            <a:off x="7689496" y="199761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7" name="Text Placeholder 79"/>
          <p:cNvSpPr>
            <a:spLocks noGrp="1"/>
          </p:cNvSpPr>
          <p:nvPr>
            <p:ph type="body" sz="quarter" idx="80" hasCustomPrompt="1"/>
          </p:nvPr>
        </p:nvSpPr>
        <p:spPr>
          <a:xfrm>
            <a:off x="7689496" y="308664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8" name="Text Placeholder 79"/>
          <p:cNvSpPr>
            <a:spLocks noGrp="1"/>
          </p:cNvSpPr>
          <p:nvPr>
            <p:ph type="body" sz="quarter" idx="81" hasCustomPrompt="1"/>
          </p:nvPr>
        </p:nvSpPr>
        <p:spPr>
          <a:xfrm>
            <a:off x="7689496" y="417566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9" name="Text Placeholder 79"/>
          <p:cNvSpPr>
            <a:spLocks noGrp="1"/>
          </p:cNvSpPr>
          <p:nvPr>
            <p:ph type="body" sz="quarter" idx="82" hasCustomPrompt="1"/>
          </p:nvPr>
        </p:nvSpPr>
        <p:spPr>
          <a:xfrm>
            <a:off x="7689496" y="526469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32" name="Content Placeholder 2"/>
          <p:cNvSpPr>
            <a:spLocks noGrp="1"/>
          </p:cNvSpPr>
          <p:nvPr>
            <p:ph sz="half" idx="53"/>
          </p:nvPr>
        </p:nvSpPr>
        <p:spPr>
          <a:xfrm>
            <a:off x="482600"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1" name="Content Placeholder 2"/>
          <p:cNvSpPr>
            <a:spLocks noGrp="1"/>
          </p:cNvSpPr>
          <p:nvPr>
            <p:ph sz="half" idx="48"/>
          </p:nvPr>
        </p:nvSpPr>
        <p:spPr>
          <a:xfrm>
            <a:off x="482600"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2"/>
          <p:cNvSpPr>
            <a:spLocks noGrp="1"/>
          </p:cNvSpPr>
          <p:nvPr>
            <p:ph sz="half" idx="24"/>
          </p:nvPr>
        </p:nvSpPr>
        <p:spPr>
          <a:xfrm>
            <a:off x="482600"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5" name="Content Placeholder 2"/>
          <p:cNvSpPr>
            <a:spLocks noGrp="1"/>
          </p:cNvSpPr>
          <p:nvPr>
            <p:ph sz="half" idx="31"/>
          </p:nvPr>
        </p:nvSpPr>
        <p:spPr>
          <a:xfrm>
            <a:off x="5889361"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7" name="Content Placeholder 2"/>
          <p:cNvSpPr>
            <a:spLocks noGrp="1"/>
          </p:cNvSpPr>
          <p:nvPr>
            <p:ph sz="half" idx="33"/>
          </p:nvPr>
        </p:nvSpPr>
        <p:spPr>
          <a:xfrm>
            <a:off x="4089224"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9" name="Content Placeholder 2"/>
          <p:cNvSpPr>
            <a:spLocks noGrp="1"/>
          </p:cNvSpPr>
          <p:nvPr>
            <p:ph sz="half" idx="35"/>
          </p:nvPr>
        </p:nvSpPr>
        <p:spPr>
          <a:xfrm>
            <a:off x="2289087"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1" name="Content Placeholder 2"/>
          <p:cNvSpPr>
            <a:spLocks noGrp="1"/>
          </p:cNvSpPr>
          <p:nvPr>
            <p:ph sz="half" idx="37"/>
          </p:nvPr>
        </p:nvSpPr>
        <p:spPr>
          <a:xfrm>
            <a:off x="7689496"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2" name="Content Placeholder 2"/>
          <p:cNvSpPr>
            <a:spLocks noGrp="1"/>
          </p:cNvSpPr>
          <p:nvPr>
            <p:ph sz="half" idx="49"/>
          </p:nvPr>
        </p:nvSpPr>
        <p:spPr>
          <a:xfrm>
            <a:off x="5889361"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6" name="Content Placeholder 2"/>
          <p:cNvSpPr>
            <a:spLocks noGrp="1"/>
          </p:cNvSpPr>
          <p:nvPr>
            <p:ph sz="half" idx="50"/>
          </p:nvPr>
        </p:nvSpPr>
        <p:spPr>
          <a:xfrm>
            <a:off x="4089224"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8" name="Content Placeholder 2"/>
          <p:cNvSpPr>
            <a:spLocks noGrp="1"/>
          </p:cNvSpPr>
          <p:nvPr>
            <p:ph sz="half" idx="51"/>
          </p:nvPr>
        </p:nvSpPr>
        <p:spPr>
          <a:xfrm>
            <a:off x="2289087"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0" name="Content Placeholder 2"/>
          <p:cNvSpPr>
            <a:spLocks noGrp="1"/>
          </p:cNvSpPr>
          <p:nvPr>
            <p:ph sz="half" idx="52"/>
          </p:nvPr>
        </p:nvSpPr>
        <p:spPr>
          <a:xfrm>
            <a:off x="7689496"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7" name="Content Placeholder 2"/>
          <p:cNvSpPr>
            <a:spLocks noGrp="1"/>
          </p:cNvSpPr>
          <p:nvPr>
            <p:ph sz="half" idx="54"/>
          </p:nvPr>
        </p:nvSpPr>
        <p:spPr>
          <a:xfrm>
            <a:off x="5889361"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8" name="Content Placeholder 2"/>
          <p:cNvSpPr>
            <a:spLocks noGrp="1"/>
          </p:cNvSpPr>
          <p:nvPr>
            <p:ph sz="half" idx="55"/>
          </p:nvPr>
        </p:nvSpPr>
        <p:spPr>
          <a:xfrm>
            <a:off x="4089224"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9" name="Content Placeholder 2"/>
          <p:cNvSpPr>
            <a:spLocks noGrp="1"/>
          </p:cNvSpPr>
          <p:nvPr>
            <p:ph sz="half" idx="56"/>
          </p:nvPr>
        </p:nvSpPr>
        <p:spPr>
          <a:xfrm>
            <a:off x="2289087"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0" name="Content Placeholder 2"/>
          <p:cNvSpPr>
            <a:spLocks noGrp="1"/>
          </p:cNvSpPr>
          <p:nvPr>
            <p:ph sz="half" idx="57"/>
          </p:nvPr>
        </p:nvSpPr>
        <p:spPr>
          <a:xfrm>
            <a:off x="7689496"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1" name="Content Placeholder 2"/>
          <p:cNvSpPr>
            <a:spLocks noGrp="1"/>
          </p:cNvSpPr>
          <p:nvPr>
            <p:ph sz="half" idx="58"/>
          </p:nvPr>
        </p:nvSpPr>
        <p:spPr>
          <a:xfrm>
            <a:off x="482600"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2" name="Content Placeholder 2"/>
          <p:cNvSpPr>
            <a:spLocks noGrp="1"/>
          </p:cNvSpPr>
          <p:nvPr>
            <p:ph sz="half" idx="59"/>
          </p:nvPr>
        </p:nvSpPr>
        <p:spPr>
          <a:xfrm>
            <a:off x="5889361"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3" name="Content Placeholder 2"/>
          <p:cNvSpPr>
            <a:spLocks noGrp="1"/>
          </p:cNvSpPr>
          <p:nvPr>
            <p:ph sz="half" idx="60"/>
          </p:nvPr>
        </p:nvSpPr>
        <p:spPr>
          <a:xfrm>
            <a:off x="4089224"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4" name="Content Placeholder 2"/>
          <p:cNvSpPr>
            <a:spLocks noGrp="1"/>
          </p:cNvSpPr>
          <p:nvPr>
            <p:ph sz="half" idx="61"/>
          </p:nvPr>
        </p:nvSpPr>
        <p:spPr>
          <a:xfrm>
            <a:off x="2289087"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5" name="Content Placeholder 2"/>
          <p:cNvSpPr>
            <a:spLocks noGrp="1"/>
          </p:cNvSpPr>
          <p:nvPr>
            <p:ph sz="half" idx="62"/>
          </p:nvPr>
        </p:nvSpPr>
        <p:spPr>
          <a:xfrm>
            <a:off x="7689496"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a:off x="482600"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6" name="Text Placeholder 22"/>
          <p:cNvSpPr>
            <a:spLocks noGrp="1"/>
          </p:cNvSpPr>
          <p:nvPr>
            <p:ph type="body" sz="quarter" idx="43"/>
          </p:nvPr>
        </p:nvSpPr>
        <p:spPr>
          <a:xfrm>
            <a:off x="2284324"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22"/>
          <p:cNvSpPr>
            <a:spLocks noGrp="1"/>
          </p:cNvSpPr>
          <p:nvPr>
            <p:ph type="body" sz="quarter" idx="44"/>
          </p:nvPr>
        </p:nvSpPr>
        <p:spPr>
          <a:xfrm>
            <a:off x="4086048"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9" name="Text Placeholder 22"/>
          <p:cNvSpPr>
            <a:spLocks noGrp="1"/>
          </p:cNvSpPr>
          <p:nvPr>
            <p:ph type="body" sz="quarter" idx="46"/>
          </p:nvPr>
        </p:nvSpPr>
        <p:spPr>
          <a:xfrm>
            <a:off x="7689496"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0" name="Text Placeholder 22"/>
          <p:cNvSpPr>
            <a:spLocks noGrp="1"/>
          </p:cNvSpPr>
          <p:nvPr>
            <p:ph type="body" sz="quarter" idx="47"/>
          </p:nvPr>
        </p:nvSpPr>
        <p:spPr>
          <a:xfrm>
            <a:off x="5887772"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50"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272480" y="5512382"/>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ross diagram">
    <p:spTree>
      <p:nvGrpSpPr>
        <p:cNvPr id="1" name=""/>
        <p:cNvGrpSpPr/>
        <p:nvPr/>
      </p:nvGrpSpPr>
      <p:grpSpPr>
        <a:xfrm>
          <a:off x="0" y="0"/>
          <a:ext cx="0" cy="0"/>
          <a:chOff x="0" y="0"/>
          <a:chExt cx="0" cy="0"/>
        </a:xfrm>
      </p:grpSpPr>
      <p:sp>
        <p:nvSpPr>
          <p:cNvPr id="39" name="Text Placeholder 38"/>
          <p:cNvSpPr>
            <a:spLocks noGrp="1"/>
          </p:cNvSpPr>
          <p:nvPr>
            <p:ph type="body" sz="quarter" idx="50" hasCustomPrompt="1"/>
          </p:nvPr>
        </p:nvSpPr>
        <p:spPr>
          <a:xfrm>
            <a:off x="4046538" y="3244850"/>
            <a:ext cx="1800225" cy="1079500"/>
          </a:xfrm>
          <a:solidFill>
            <a:schemeClr val="accent3">
              <a:lumMod val="20000"/>
              <a:lumOff val="80000"/>
            </a:schemeClr>
          </a:solidFill>
        </p:spPr>
        <p:txBody>
          <a:bodyPr/>
          <a:lstStyle>
            <a:lvl1pPr>
              <a:defRPr baseline="0"/>
            </a:lvl1pPr>
          </a:lstStyle>
          <a:p>
            <a:pPr lvl="0"/>
            <a:r>
              <a:rPr lang="en-GB" dirty="0" smtClean="0"/>
              <a:t> </a:t>
            </a:r>
            <a:endParaRPr lang="en-GB" dirty="0"/>
          </a:p>
        </p:txBody>
      </p:sp>
      <p:sp>
        <p:nvSpPr>
          <p:cNvPr id="27" name="Text Placeholder 26"/>
          <p:cNvSpPr>
            <a:spLocks noGrp="1"/>
          </p:cNvSpPr>
          <p:nvPr>
            <p:ph type="body" sz="quarter" idx="46" hasCustomPrompt="1"/>
          </p:nvPr>
        </p:nvSpPr>
        <p:spPr>
          <a:xfrm>
            <a:off x="489141"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0" name="Text Placeholder 26"/>
          <p:cNvSpPr>
            <a:spLocks noGrp="1"/>
          </p:cNvSpPr>
          <p:nvPr>
            <p:ph type="body" sz="quarter" idx="47" hasCustomPrompt="1"/>
          </p:nvPr>
        </p:nvSpPr>
        <p:spPr>
          <a:xfrm>
            <a:off x="6884350"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1" name="Text Placeholder 26"/>
          <p:cNvSpPr>
            <a:spLocks noGrp="1"/>
          </p:cNvSpPr>
          <p:nvPr>
            <p:ph type="body" sz="quarter" idx="48" hasCustomPrompt="1"/>
          </p:nvPr>
        </p:nvSpPr>
        <p:spPr>
          <a:xfrm>
            <a:off x="3687064" y="154800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6" name="Text Placeholder 26"/>
          <p:cNvSpPr>
            <a:spLocks noGrp="1"/>
          </p:cNvSpPr>
          <p:nvPr>
            <p:ph type="body" sz="quarter" idx="49" hasCustomPrompt="1"/>
          </p:nvPr>
        </p:nvSpPr>
        <p:spPr>
          <a:xfrm>
            <a:off x="3687064" y="4935015"/>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13" name="Content Placeholder 2"/>
          <p:cNvSpPr>
            <a:spLocks noGrp="1"/>
          </p:cNvSpPr>
          <p:nvPr>
            <p:ph sz="half" idx="24"/>
          </p:nvPr>
        </p:nvSpPr>
        <p:spPr>
          <a:xfrm>
            <a:off x="488504"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5" name="Content Placeholder 2"/>
          <p:cNvSpPr>
            <a:spLocks noGrp="1"/>
          </p:cNvSpPr>
          <p:nvPr>
            <p:ph sz="half" idx="31"/>
          </p:nvPr>
        </p:nvSpPr>
        <p:spPr>
          <a:xfrm>
            <a:off x="3686427" y="154800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8" name="Content Placeholder 2"/>
          <p:cNvSpPr>
            <a:spLocks noGrp="1"/>
          </p:cNvSpPr>
          <p:nvPr>
            <p:ph sz="half" idx="34"/>
          </p:nvPr>
        </p:nvSpPr>
        <p:spPr>
          <a:xfrm>
            <a:off x="6884350"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8" name="Content Placeholder 2"/>
          <p:cNvSpPr>
            <a:spLocks noGrp="1"/>
          </p:cNvSpPr>
          <p:nvPr>
            <p:ph sz="half" idx="41"/>
          </p:nvPr>
        </p:nvSpPr>
        <p:spPr>
          <a:xfrm>
            <a:off x="3686427" y="4935015"/>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7" name="Rectangle 16"/>
          <p:cNvSpPr/>
          <p:nvPr userDrawn="1"/>
        </p:nvSpPr>
        <p:spPr>
          <a:xfrm>
            <a:off x="4046427" y="3244979"/>
            <a:ext cx="1800000" cy="108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6" name="Content Placeholder 2"/>
          <p:cNvSpPr>
            <a:spLocks noGrp="1"/>
          </p:cNvSpPr>
          <p:nvPr>
            <p:ph sz="half" idx="39" hasCustomPrompt="1"/>
          </p:nvPr>
        </p:nvSpPr>
        <p:spPr>
          <a:xfrm>
            <a:off x="4046427" y="3244979"/>
            <a:ext cx="1800000" cy="1080000"/>
          </a:xfrm>
          <a:noFill/>
        </p:spPr>
        <p:txBody>
          <a:bodyPr lIns="72000" tIns="72000" rIns="72000" bIns="72000" anchor="ctr" anchorCtr="0"/>
          <a:lstStyle>
            <a:lvl1pPr algn="ct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Insert logo or text here</a:t>
            </a:r>
          </a:p>
        </p:txBody>
      </p:sp>
      <p:sp>
        <p:nvSpPr>
          <p:cNvPr id="24" name="Text Placeholder 7"/>
          <p:cNvSpPr>
            <a:spLocks noGrp="1"/>
          </p:cNvSpPr>
          <p:nvPr>
            <p:ph type="body" sz="quarter" idx="5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83713"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8" name="Text Placeholder 23"/>
          <p:cNvSpPr>
            <a:spLocks noGrp="1"/>
          </p:cNvSpPr>
          <p:nvPr>
            <p:ph type="body" sz="quarter" idx="52"/>
          </p:nvPr>
        </p:nvSpPr>
        <p:spPr>
          <a:xfrm>
            <a:off x="3686427" y="1341438"/>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76"/>
          </p:nvPr>
        </p:nvSpPr>
        <p:spPr>
          <a:xfrm>
            <a:off x="488504"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1" name="Text Placeholder 23"/>
          <p:cNvSpPr>
            <a:spLocks noGrp="1"/>
          </p:cNvSpPr>
          <p:nvPr>
            <p:ph type="body" sz="quarter" idx="77"/>
          </p:nvPr>
        </p:nvSpPr>
        <p:spPr>
          <a:xfrm>
            <a:off x="3686427" y="4719115"/>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5"/>
          <p:cNvSpPr>
            <a:spLocks noGrp="1"/>
          </p:cNvSpPr>
          <p:nvPr>
            <p:ph type="body" sz="quarter" idx="78"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44" name="Text Placeholder 25"/>
          <p:cNvSpPr>
            <a:spLocks noGrp="1"/>
          </p:cNvSpPr>
          <p:nvPr>
            <p:ph type="body" sz="quarter" idx="79"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0" name="Text Placeholder 25"/>
          <p:cNvSpPr>
            <a:spLocks noGrp="1"/>
          </p:cNvSpPr>
          <p:nvPr>
            <p:ph type="body" sz="quarter" idx="80" hasCustomPrompt="1"/>
          </p:nvPr>
        </p:nvSpPr>
        <p:spPr>
          <a:xfrm rot="16200000">
            <a:off x="4838654" y="4310935"/>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2" name="Text Placeholder 25"/>
          <p:cNvSpPr>
            <a:spLocks noGrp="1"/>
          </p:cNvSpPr>
          <p:nvPr>
            <p:ph type="body" sz="quarter" idx="81" hasCustomPrompt="1"/>
          </p:nvPr>
        </p:nvSpPr>
        <p:spPr>
          <a:xfrm>
            <a:off x="3419466"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4" name="Text Placeholder 25"/>
          <p:cNvSpPr>
            <a:spLocks noGrp="1"/>
          </p:cNvSpPr>
          <p:nvPr>
            <p:ph type="body" sz="quarter" idx="82" hasCustomPrompt="1"/>
          </p:nvPr>
        </p:nvSpPr>
        <p:spPr>
          <a:xfrm rot="10800000">
            <a:off x="6257388"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8"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9"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7"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1"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2"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22"/>
          <p:cNvSpPr>
            <a:spLocks noGrp="1"/>
          </p:cNvSpPr>
          <p:nvPr>
            <p:ph type="body" sz="quarter" idx="53"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B]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0"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42" hasCustomPrompt="1"/>
          </p:nvPr>
        </p:nvSpPr>
        <p:spPr>
          <a:xfrm>
            <a:off x="5925050" y="1557338"/>
            <a:ext cx="34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31"/>
          </p:nvPr>
        </p:nvSpPr>
        <p:spPr>
          <a:xfrm>
            <a:off x="5925050" y="1557338"/>
            <a:ext cx="3492000" cy="453754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53" hasCustomPrompt="1"/>
          </p:nvPr>
        </p:nvSpPr>
        <p:spPr>
          <a:xfrm>
            <a:off x="5925050" y="609488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15"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5"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1"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662"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33" hasCustomPrompt="1"/>
          </p:nvPr>
        </p:nvSpPr>
        <p:spPr>
          <a:xfrm>
            <a:off x="2252662"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3" name="Text Placeholder 21"/>
          <p:cNvSpPr>
            <a:spLocks noGrp="1"/>
          </p:cNvSpPr>
          <p:nvPr>
            <p:ph type="body" sz="quarter" idx="42" hasCustomPrompt="1"/>
          </p:nvPr>
        </p:nvSpPr>
        <p:spPr>
          <a:xfrm>
            <a:off x="2252662"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44" hasCustomPrompt="1"/>
          </p:nvPr>
        </p:nvSpPr>
        <p:spPr>
          <a:xfrm>
            <a:off x="2252662"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0035" y="188640"/>
            <a:ext cx="8208000" cy="630000"/>
          </a:xfrm>
        </p:spPr>
        <p:txBody>
          <a:bodyPr/>
          <a:lstStyle/>
          <a:p>
            <a:r>
              <a:rPr lang="en-US" smtClean="0"/>
              <a:t>Click to edit Master title style</a:t>
            </a:r>
            <a:endParaRPr lang="en-GB"/>
          </a:p>
        </p:txBody>
      </p:sp>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6"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7"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55"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69" hasCustomPrompt="1"/>
          </p:nvPr>
        </p:nvSpPr>
        <p:spPr>
          <a:xfrm>
            <a:off x="2252663"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70"/>
          </p:nvPr>
        </p:nvSpPr>
        <p:spPr>
          <a:xfrm>
            <a:off x="2252663"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71" hasCustomPrompt="1"/>
          </p:nvPr>
        </p:nvSpPr>
        <p:spPr>
          <a:xfrm>
            <a:off x="2252663"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7"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8"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9"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3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al sheet">
    <p:spTree>
      <p:nvGrpSpPr>
        <p:cNvPr id="1" name=""/>
        <p:cNvGrpSpPr/>
        <p:nvPr/>
      </p:nvGrpSpPr>
      <p:grpSpPr>
        <a:xfrm>
          <a:off x="0" y="0"/>
          <a:ext cx="0" cy="0"/>
          <a:chOff x="0" y="0"/>
          <a:chExt cx="0" cy="0"/>
        </a:xfrm>
      </p:grpSpPr>
      <p:sp>
        <p:nvSpPr>
          <p:cNvPr id="14" name="Rectangle 13"/>
          <p:cNvSpPr/>
          <p:nvPr userDrawn="1"/>
        </p:nvSpPr>
        <p:spPr>
          <a:xfrm>
            <a:off x="48895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11" name="Text Placeholder 10"/>
          <p:cNvSpPr>
            <a:spLocks noGrp="1"/>
          </p:cNvSpPr>
          <p:nvPr>
            <p:ph type="body" sz="quarter" idx="63"/>
          </p:nvPr>
        </p:nvSpPr>
        <p:spPr>
          <a:xfrm>
            <a:off x="2252663"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10"/>
          <p:cNvSpPr>
            <a:spLocks noGrp="1"/>
          </p:cNvSpPr>
          <p:nvPr>
            <p:ph type="body" sz="quarter" idx="64"/>
          </p:nvPr>
        </p:nvSpPr>
        <p:spPr>
          <a:xfrm>
            <a:off x="5024438"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4"/>
          <p:cNvSpPr/>
          <p:nvPr userDrawn="1"/>
        </p:nvSpPr>
        <p:spPr>
          <a:xfrm>
            <a:off x="779780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Standard profile">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7"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6"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9"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2"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3"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Text Placeholder 22"/>
          <p:cNvSpPr>
            <a:spLocks noGrp="1"/>
          </p:cNvSpPr>
          <p:nvPr>
            <p:ph type="body" sz="quarter" idx="44"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5"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47" y="1341438"/>
            <a:ext cx="4392615"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1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5"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8"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62"/>
          </p:nvPr>
        </p:nvSpPr>
        <p:spPr>
          <a:xfrm>
            <a:off x="488951" y="3860800"/>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64"/>
          </p:nvPr>
        </p:nvSpPr>
        <p:spPr>
          <a:xfrm>
            <a:off x="489564" y="1341437"/>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88950" y="440668"/>
            <a:ext cx="8208000" cy="630000"/>
          </a:xfrm>
        </p:spPr>
        <p:txBody>
          <a:bodyPr/>
          <a:lstStyle>
            <a:lvl1pPr>
              <a:defRPr sz="3000">
                <a:latin typeface="Corbel" panose="020B0503020204020204"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Four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29"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2"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4"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5"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6"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5" name="Text Placeholder 21"/>
          <p:cNvSpPr>
            <a:spLocks noGrp="1"/>
          </p:cNvSpPr>
          <p:nvPr>
            <p:ph type="body" sz="quarter" idx="50"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6" name="Content Placeholder 2"/>
          <p:cNvSpPr>
            <a:spLocks noGrp="1"/>
          </p:cNvSpPr>
          <p:nvPr>
            <p:ph sz="half" idx="51"/>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7" name="Text Placeholder 22"/>
          <p:cNvSpPr>
            <a:spLocks noGrp="1"/>
          </p:cNvSpPr>
          <p:nvPr>
            <p:ph type="body" sz="quarter" idx="52" hasCustomPrompt="1"/>
          </p:nvPr>
        </p:nvSpPr>
        <p:spPr>
          <a:xfrm>
            <a:off x="5024437"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1"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64"/>
          </p:nvPr>
        </p:nvSpPr>
        <p:spPr>
          <a:xfrm>
            <a:off x="5024437"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Six boxes">
    <p:spTree>
      <p:nvGrpSpPr>
        <p:cNvPr id="1" name=""/>
        <p:cNvGrpSpPr/>
        <p:nvPr/>
      </p:nvGrpSpPr>
      <p:grpSpPr>
        <a:xfrm>
          <a:off x="0" y="0"/>
          <a:ext cx="0" cy="0"/>
          <a:chOff x="0" y="0"/>
          <a:chExt cx="0" cy="0"/>
        </a:xfrm>
      </p:grpSpPr>
      <p:sp>
        <p:nvSpPr>
          <p:cNvPr id="2" name="Title 1"/>
          <p:cNvSpPr>
            <a:spLocks noGrp="1"/>
          </p:cNvSpPr>
          <p:nvPr>
            <p:ph type="title"/>
          </p:nvPr>
        </p:nvSpPr>
        <p:spPr>
          <a:xfrm>
            <a:off x="1280592" y="188640"/>
            <a:ext cx="7451904" cy="630000"/>
          </a:xfrm>
        </p:spPr>
        <p:txBody>
          <a:bodyPr/>
          <a:lstStyle/>
          <a:p>
            <a:r>
              <a:rPr lang="en-US" smtClean="0"/>
              <a:t>Click to edit Master title style</a:t>
            </a:r>
            <a:endParaRPr lang="en-GB" dirty="0"/>
          </a:p>
        </p:txBody>
      </p:sp>
      <p:sp>
        <p:nvSpPr>
          <p:cNvPr id="43"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31"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3"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7"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8"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9"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1"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5"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6"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8"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9"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0"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3"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4"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11"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0"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9"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7"/>
          <p:cNvSpPr>
            <a:spLocks noGrp="1"/>
          </p:cNvSpPr>
          <p:nvPr>
            <p:ph type="body" sz="quarter" idx="3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9" name="Content Placeholder 2"/>
          <p:cNvSpPr>
            <a:spLocks noGrp="1"/>
          </p:cNvSpPr>
          <p:nvPr>
            <p:ph idx="1"/>
          </p:nvPr>
        </p:nvSpPr>
        <p:spPr>
          <a:xfrm>
            <a:off x="2243562" y="1341438"/>
            <a:ext cx="3492001"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7"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0"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7"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8"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5"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0"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2"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215"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1"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2"/>
          <p:cNvSpPr>
            <a:spLocks noGrp="1"/>
          </p:cNvSpPr>
          <p:nvPr>
            <p:ph type="body" sz="quarter" idx="33" hasCustomPrompt="1"/>
          </p:nvPr>
        </p:nvSpPr>
        <p:spPr>
          <a:xfrm>
            <a:off x="2252215"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4" name="Text Placeholder 21"/>
          <p:cNvSpPr>
            <a:spLocks noGrp="1"/>
          </p:cNvSpPr>
          <p:nvPr>
            <p:ph type="body" sz="quarter" idx="42" hasCustomPrompt="1"/>
          </p:nvPr>
        </p:nvSpPr>
        <p:spPr>
          <a:xfrm>
            <a:off x="2252215"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5"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Text Placeholder 22"/>
          <p:cNvSpPr>
            <a:spLocks noGrp="1"/>
          </p:cNvSpPr>
          <p:nvPr>
            <p:ph type="body" sz="quarter" idx="44" hasCustomPrompt="1"/>
          </p:nvPr>
        </p:nvSpPr>
        <p:spPr>
          <a:xfrm>
            <a:off x="2252215"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3"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2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5"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9"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55"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5" name="Text Placeholder 21"/>
          <p:cNvSpPr>
            <a:spLocks noGrp="1"/>
          </p:cNvSpPr>
          <p:nvPr>
            <p:ph type="body" sz="quarter" idx="69" hasCustomPrompt="1"/>
          </p:nvPr>
        </p:nvSpPr>
        <p:spPr>
          <a:xfrm>
            <a:off x="2252215"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6" name="Content Placeholder 2"/>
          <p:cNvSpPr>
            <a:spLocks noGrp="1"/>
          </p:cNvSpPr>
          <p:nvPr>
            <p:ph sz="half" idx="70"/>
          </p:nvPr>
        </p:nvSpPr>
        <p:spPr>
          <a:xfrm>
            <a:off x="2252215"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7" name="Text Placeholder 22"/>
          <p:cNvSpPr>
            <a:spLocks noGrp="1"/>
          </p:cNvSpPr>
          <p:nvPr>
            <p:ph type="body" sz="quarter" idx="71" hasCustomPrompt="1"/>
          </p:nvPr>
        </p:nvSpPr>
        <p:spPr>
          <a:xfrm>
            <a:off x="2252215"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9"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0"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1"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7"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17652" y="1533439"/>
            <a:ext cx="5936836" cy="4637753"/>
          </a:xfrm>
        </p:spPr>
        <p:txBody>
          <a:bodyPr/>
          <a:lstStyle>
            <a:lvl1pPr>
              <a:buFont typeface="Wingdings" pitchFamily="2" charset="2"/>
              <a:buChar cha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6" name="Content Placeholder 2"/>
          <p:cNvSpPr>
            <a:spLocks noGrp="1"/>
          </p:cNvSpPr>
          <p:nvPr>
            <p:ph idx="15"/>
          </p:nvPr>
        </p:nvSpPr>
        <p:spPr bwMode="gray">
          <a:xfrm>
            <a:off x="882365" y="6302218"/>
            <a:ext cx="8348661" cy="274742"/>
          </a:xfrm>
        </p:spPr>
        <p:txBody>
          <a:bodyPr/>
          <a:lstStyle>
            <a:lvl1pPr marL="0" indent="0">
              <a:lnSpc>
                <a:spcPct val="100000"/>
              </a:lnSpc>
              <a:buClrTx/>
              <a:buFont typeface="Arial" pitchFamily="34" charset="0"/>
              <a:buNone/>
              <a:defRPr sz="600">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2" name="Text Placeholder 13"/>
          <p:cNvSpPr>
            <a:spLocks noGrp="1"/>
          </p:cNvSpPr>
          <p:nvPr>
            <p:ph type="body" sz="quarter" idx="18"/>
          </p:nvPr>
        </p:nvSpPr>
        <p:spPr bwMode="gray">
          <a:xfrm>
            <a:off x="6628170" y="1534880"/>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14" name="Text Placeholder 13"/>
          <p:cNvSpPr>
            <a:spLocks noGrp="1"/>
          </p:cNvSpPr>
          <p:nvPr>
            <p:ph type="body" sz="quarter" idx="23"/>
          </p:nvPr>
        </p:nvSpPr>
        <p:spPr bwMode="gray">
          <a:xfrm>
            <a:off x="6628170" y="3950943"/>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7" name="Text Placeholder 26"/>
          <p:cNvSpPr>
            <a:spLocks noGrp="1"/>
          </p:cNvSpPr>
          <p:nvPr>
            <p:ph type="body" sz="quarter" idx="32"/>
          </p:nvPr>
        </p:nvSpPr>
        <p:spPr bwMode="gray">
          <a:xfrm>
            <a:off x="6628170" y="1857807"/>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28" name="Content Placeholder 18"/>
          <p:cNvSpPr>
            <a:spLocks noGrp="1"/>
          </p:cNvSpPr>
          <p:nvPr>
            <p:ph sz="quarter" idx="33"/>
          </p:nvPr>
        </p:nvSpPr>
        <p:spPr bwMode="gray">
          <a:xfrm>
            <a:off x="6628170" y="1861397"/>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9" name="Content Placeholder 2"/>
          <p:cNvSpPr>
            <a:spLocks noGrp="1"/>
          </p:cNvSpPr>
          <p:nvPr>
            <p:ph idx="27"/>
          </p:nvPr>
        </p:nvSpPr>
        <p:spPr bwMode="gray">
          <a:xfrm>
            <a:off x="6628170" y="3534672"/>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30" name="Text Placeholder 26"/>
          <p:cNvSpPr>
            <a:spLocks noGrp="1"/>
          </p:cNvSpPr>
          <p:nvPr>
            <p:ph type="body" sz="quarter" idx="34"/>
          </p:nvPr>
        </p:nvSpPr>
        <p:spPr bwMode="gray">
          <a:xfrm>
            <a:off x="6628170" y="4274450"/>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31" name="Content Placeholder 18"/>
          <p:cNvSpPr>
            <a:spLocks noGrp="1"/>
          </p:cNvSpPr>
          <p:nvPr>
            <p:ph sz="quarter" idx="35"/>
          </p:nvPr>
        </p:nvSpPr>
        <p:spPr bwMode="gray">
          <a:xfrm>
            <a:off x="6628170" y="4278038"/>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2" name="Content Placeholder 2"/>
          <p:cNvSpPr>
            <a:spLocks noGrp="1"/>
          </p:cNvSpPr>
          <p:nvPr>
            <p:ph idx="36"/>
          </p:nvPr>
        </p:nvSpPr>
        <p:spPr bwMode="gray">
          <a:xfrm>
            <a:off x="6628170" y="5951314"/>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3"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290282281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13"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918626" name="think-cell Slide" r:id="rId4" imgW="270" imgH="270" progId="">
                  <p:embed/>
                </p:oleObj>
              </mc:Choice>
              <mc:Fallback>
                <p:oleObj name="think-cell Slide" r:id="rId4" imgW="270" imgH="270" progId="">
                  <p:embed/>
                  <p:pic>
                    <p:nvPicPr>
                      <p:cNvPr id="0" name="Picture 153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6"/>
          <p:cNvSpPr>
            <a:spLocks noGrp="1"/>
          </p:cNvSpPr>
          <p:nvPr>
            <p:ph type="body" sz="quarter" idx="28"/>
          </p:nvPr>
        </p:nvSpPr>
        <p:spPr bwMode="gray">
          <a:xfrm>
            <a:off x="5086956"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3" name="Text Placeholder 16"/>
          <p:cNvSpPr>
            <a:spLocks noGrp="1"/>
          </p:cNvSpPr>
          <p:nvPr>
            <p:ph type="body" sz="quarter" idx="29"/>
          </p:nvPr>
        </p:nvSpPr>
        <p:spPr bwMode="gray">
          <a:xfrm>
            <a:off x="416180"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0" name="Content Placeholder 19"/>
          <p:cNvSpPr>
            <a:spLocks noGrp="1"/>
          </p:cNvSpPr>
          <p:nvPr>
            <p:ph sz="quarter" idx="22"/>
          </p:nvPr>
        </p:nvSpPr>
        <p:spPr bwMode="gray">
          <a:xfrm>
            <a:off x="5086992"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4" name="Content Placeholder 19"/>
          <p:cNvSpPr>
            <a:spLocks noGrp="1"/>
          </p:cNvSpPr>
          <p:nvPr>
            <p:ph sz="quarter" idx="30"/>
          </p:nvPr>
        </p:nvSpPr>
        <p:spPr bwMode="gray">
          <a:xfrm>
            <a:off x="416181"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7"/>
          </p:nvPr>
        </p:nvSpPr>
        <p:spPr bwMode="gray">
          <a:xfrm>
            <a:off x="416180"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GB" sz="1000" b="1" kern="1200" dirty="0" smtClean="0">
                <a:solidFill>
                  <a:schemeClr val="bg2"/>
                </a:solidFill>
                <a:latin typeface="Verdana" pitchFamily="34" charset="0"/>
                <a:ea typeface="+mn-ea"/>
                <a:cs typeface="+mn-cs"/>
              </a:defRPr>
            </a:lvl1pPr>
          </a:lstStyle>
          <a:p>
            <a:pPr lvl="0"/>
            <a:r>
              <a:rPr lang="en-US" noProof="0" smtClean="0"/>
              <a:t>Click to edit Master text styles</a:t>
            </a:r>
          </a:p>
        </p:txBody>
      </p:sp>
      <p:sp>
        <p:nvSpPr>
          <p:cNvPr id="14" name="Text Placeholder 13"/>
          <p:cNvSpPr>
            <a:spLocks noGrp="1"/>
          </p:cNvSpPr>
          <p:nvPr>
            <p:ph type="body" sz="quarter" idx="18"/>
          </p:nvPr>
        </p:nvSpPr>
        <p:spPr bwMode="gray">
          <a:xfrm>
            <a:off x="5087088"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US" sz="1000" b="1" kern="1200" dirty="0" smtClean="0">
                <a:solidFill>
                  <a:schemeClr val="bg2"/>
                </a:solidFill>
                <a:latin typeface="Verdana" pitchFamily="34" charset="0"/>
                <a:ea typeface="+mn-ea"/>
                <a:cs typeface="+mn-cs"/>
              </a:defRPr>
            </a:lvl1pPr>
            <a:lvl2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4042"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2" name="Content Placeholder 2"/>
          <p:cNvSpPr>
            <a:spLocks noGrp="1"/>
          </p:cNvSpPr>
          <p:nvPr>
            <p:ph idx="27"/>
          </p:nvPr>
        </p:nvSpPr>
        <p:spPr bwMode="gray">
          <a:xfrm>
            <a:off x="5086380"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25" name="Content Placeholder 2"/>
          <p:cNvSpPr>
            <a:spLocks noGrp="1"/>
          </p:cNvSpPr>
          <p:nvPr>
            <p:ph idx="31"/>
          </p:nvPr>
        </p:nvSpPr>
        <p:spPr bwMode="gray">
          <a:xfrm>
            <a:off x="416181"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5"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14603516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308484" y="1124744"/>
            <a:ext cx="4392613" cy="5039519"/>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hasCustomPrompt="1"/>
          </p:nvPr>
        </p:nvSpPr>
        <p:spPr>
          <a:xfrm>
            <a:off x="5024437" y="145002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31"/>
          </p:nvPr>
        </p:nvSpPr>
        <p:spPr>
          <a:xfrm>
            <a:off x="5024437" y="1448655"/>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46465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6" name="Text Placeholder 21"/>
          <p:cNvSpPr>
            <a:spLocks noGrp="1"/>
          </p:cNvSpPr>
          <p:nvPr>
            <p:ph type="body" sz="quarter" idx="42" hasCustomPrompt="1"/>
          </p:nvPr>
        </p:nvSpPr>
        <p:spPr>
          <a:xfrm>
            <a:off x="5024437" y="415032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43"/>
          </p:nvPr>
        </p:nvSpPr>
        <p:spPr>
          <a:xfrm>
            <a:off x="5024437" y="415031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hasCustomPrompt="1"/>
          </p:nvPr>
        </p:nvSpPr>
        <p:spPr>
          <a:xfrm>
            <a:off x="5024437" y="6166916"/>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232756"/>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93442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8476476" y="5480050"/>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32" hasCustomPrompt="1"/>
          </p:nvPr>
        </p:nvSpPr>
        <p:spPr>
          <a:xfrm>
            <a:off x="488951" y="6237288"/>
            <a:ext cx="8136457" cy="360064"/>
          </a:xfrm>
        </p:spPr>
        <p:txBody>
          <a:bodyPr anchor="b" anchorCtr="0"/>
          <a:lstStyle>
            <a:lvl1pPr>
              <a:lnSpc>
                <a:spcPct val="100000"/>
              </a:lnSpc>
              <a:spcBef>
                <a:spcPts val="0"/>
              </a:spcBef>
              <a:defRPr sz="600">
                <a:solidFill>
                  <a:schemeClr val="bg1">
                    <a:lumMod val="50000"/>
                  </a:schemeClr>
                </a:solidFill>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dirty="0" smtClean="0"/>
              <a:t>Notes/Sources:</a:t>
            </a:r>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1000" i="0"/>
            </a:lvl1pPr>
            <a:lvl2pPr>
              <a:defRPr sz="800"/>
            </a:lvl2pPr>
            <a:lvl3pPr>
              <a:defRPr sz="80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1" y="6237288"/>
            <a:ext cx="6264250" cy="360064"/>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75" name="Picture Placeholder 74"/>
          <p:cNvSpPr>
            <a:spLocks noGrp="1"/>
          </p:cNvSpPr>
          <p:nvPr>
            <p:ph type="pic" sz="quarter" idx="11"/>
          </p:nvPr>
        </p:nvSpPr>
        <p:spPr>
          <a:xfrm>
            <a:off x="488950" y="182813"/>
            <a:ext cx="8928000" cy="3786187"/>
          </a:xfrm>
        </p:spPr>
        <p:txBody>
          <a:bodyPr/>
          <a:lstStyle/>
          <a:p>
            <a:r>
              <a:rPr lang="en-US" dirty="0" smtClean="0"/>
              <a:t>Click icon to add picture</a:t>
            </a:r>
            <a:endParaRPr lang="en-GB" dirty="0"/>
          </a:p>
        </p:txBody>
      </p:sp>
      <p:sp>
        <p:nvSpPr>
          <p:cNvPr id="79" name="ClipArt Placeholder 78"/>
          <p:cNvSpPr>
            <a:spLocks noGrp="1"/>
          </p:cNvSpPr>
          <p:nvPr>
            <p:ph type="clipArt" sz="quarter" idx="12" hasCustomPrompt="1"/>
          </p:nvPr>
        </p:nvSpPr>
        <p:spPr>
          <a:xfrm>
            <a:off x="2962275" y="2824164"/>
            <a:ext cx="6049963" cy="1844746"/>
          </a:xfrm>
          <a:solidFill>
            <a:schemeClr val="bg1"/>
          </a:solidFill>
        </p:spPr>
        <p:txBody>
          <a:bodyPr/>
          <a:lstStyle>
            <a:lvl1pPr>
              <a:defRPr baseline="0"/>
            </a:lvl1pPr>
          </a:lstStyle>
          <a:p>
            <a:r>
              <a:rPr lang="en-GB" dirty="0" smtClean="0"/>
              <a:t> </a:t>
            </a:r>
            <a:endParaRPr lang="en-GB" dirty="0"/>
          </a:p>
        </p:txBody>
      </p:sp>
      <p:sp>
        <p:nvSpPr>
          <p:cNvPr id="2" name="Title 1"/>
          <p:cNvSpPr>
            <a:spLocks noGrp="1"/>
          </p:cNvSpPr>
          <p:nvPr>
            <p:ph type="ctrTitle"/>
          </p:nvPr>
        </p:nvSpPr>
        <p:spPr>
          <a:xfrm>
            <a:off x="3026256" y="2889000"/>
            <a:ext cx="5922000" cy="1080000"/>
          </a:xfrm>
          <a:solidFill>
            <a:schemeClr val="tx2"/>
          </a:solidFill>
          <a:ln w="9525" algn="ctr">
            <a:noFill/>
            <a:miter lim="800000"/>
            <a:headEnd/>
            <a:tailEnd/>
          </a:ln>
        </p:spPr>
        <p:txBody>
          <a:bodyPr vert="horz" wrap="square" lIns="180000" tIns="72000" rIns="180000" bIns="72000" numCol="1" anchor="b" anchorCtr="0" compatLnSpc="1">
            <a:prstTxWarp prst="textNoShape">
              <a:avLst/>
            </a:prstTxWarp>
          </a:bodyPr>
          <a:lstStyle>
            <a:lvl1pPr>
              <a:defRPr kumimoji="0" lang="en-GB" sz="3200" b="0" i="1" u="none" strike="noStrike" kern="1200" cap="none" spc="0" normalizeH="0" baseline="0" noProof="0">
                <a:ln>
                  <a:noFill/>
                </a:ln>
                <a:solidFill>
                  <a:schemeClr val="bg1"/>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Master title style</a:t>
            </a:r>
            <a:endParaRPr lang="en-GB" dirty="0"/>
          </a:p>
        </p:txBody>
      </p:sp>
      <p:sp>
        <p:nvSpPr>
          <p:cNvPr id="3" name="Subtitle 2"/>
          <p:cNvSpPr>
            <a:spLocks noGrp="1"/>
          </p:cNvSpPr>
          <p:nvPr>
            <p:ph type="subTitle" idx="1"/>
          </p:nvPr>
        </p:nvSpPr>
        <p:spPr>
          <a:xfrm>
            <a:off x="3026256" y="4041128"/>
            <a:ext cx="5922000" cy="540000"/>
          </a:xfrm>
          <a:solidFill>
            <a:schemeClr val="bg2"/>
          </a:solidFill>
          <a:ln w="9525">
            <a:noFill/>
            <a:miter lim="800000"/>
            <a:headEnd/>
            <a:tailEnd/>
          </a:ln>
        </p:spPr>
        <p:txBody>
          <a:bodyPr vert="horz" wrap="square" lIns="180000" tIns="72000" rIns="180000" bIns="72000" numCol="1" anchor="ctr" anchorCtr="0" compatLnSpc="1">
            <a:prstTxWarp prst="textNoShape">
              <a:avLst/>
            </a:prstTxWarp>
          </a:bodyPr>
          <a:lstStyle>
            <a:lvl1pPr marL="0" indent="0" algn="r">
              <a:buNone/>
              <a:defRPr kumimoji="0" lang="en-GB" sz="1600" b="0" i="1" u="none" strike="noStrike" kern="1200" cap="none" spc="0" normalizeH="0" baseline="0" noProof="0">
                <a:ln>
                  <a:noFill/>
                </a:ln>
                <a:solidFill>
                  <a:schemeClr val="bg1"/>
                </a:solidFill>
                <a:effectLst/>
                <a:uLnTx/>
                <a:uFillTx/>
                <a:latin typeface="Myriad-Italic" pitchFamily="2" charset="0"/>
                <a:ea typeface="+mj-ea"/>
                <a:cs typeface="+mj-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r" defTabSz="995363" rtl="0" eaLnBrk="1" fontAlgn="base" latinLnBrk="0" hangingPunct="1">
              <a:lnSpc>
                <a:spcPct val="110000"/>
              </a:lnSpc>
              <a:spcBef>
                <a:spcPct val="0"/>
              </a:spcBef>
              <a:spcAft>
                <a:spcPct val="0"/>
              </a:spcAft>
              <a:buClrTx/>
              <a:buSzTx/>
              <a:buFontTx/>
              <a:buNone/>
              <a:tabLst/>
              <a:defRPr/>
            </a:pPr>
            <a:r>
              <a:rPr lang="en-US" dirty="0" smtClean="0"/>
              <a:t>Click to edit Master subtitle style</a:t>
            </a:r>
            <a:endParaRPr lang="en-GB" dirty="0"/>
          </a:p>
        </p:txBody>
      </p:sp>
      <p:sp>
        <p:nvSpPr>
          <p:cNvPr id="18" name="Text Placeholder 17"/>
          <p:cNvSpPr>
            <a:spLocks noGrp="1"/>
          </p:cNvSpPr>
          <p:nvPr>
            <p:ph type="body" sz="quarter" idx="10"/>
          </p:nvPr>
        </p:nvSpPr>
        <p:spPr>
          <a:xfrm>
            <a:off x="3025775" y="5373688"/>
            <a:ext cx="3871913" cy="1223962"/>
          </a:xfrm>
          <a:noFill/>
          <a:ln w="9525" algn="ctr">
            <a:noFill/>
            <a:miter lim="800000"/>
            <a:headEnd/>
            <a:tailEnd/>
          </a:ln>
          <a:effectLst/>
        </p:spPr>
        <p:txBody>
          <a:bodyPr vert="horz" wrap="square" lIns="180000" tIns="0" rIns="0" bIns="0" numCol="1" anchor="b" anchorCtr="0" compatLnSpc="1">
            <a:prstTxWarp prst="textNoShape">
              <a:avLst/>
            </a:prstTxWarp>
            <a:noAutofit/>
          </a:bodyPr>
          <a:lstStyle>
            <a:lvl1pPr>
              <a:defRPr lang="en-GB" sz="1400" b="0" i="1" kern="1200" noProof="0" dirty="0" smtClean="0">
                <a:solidFill>
                  <a:schemeClr val="bg1">
                    <a:lumMod val="50000"/>
                  </a:schemeClr>
                </a:solidFill>
                <a:latin typeface="Myriad Light" pitchFamily="2" charset="0"/>
                <a:ea typeface="+mn-ea"/>
                <a:cs typeface="+mn-cs"/>
              </a:defRPr>
            </a:lvl1pPr>
          </a:lstStyle>
          <a:p>
            <a:pPr marL="0" marR="0" lvl="0" indent="0" algn="l" defTabSz="995363" rtl="0" eaLnBrk="1" fontAlgn="base" latinLnBrk="0" hangingPunct="1">
              <a:lnSpc>
                <a:spcPct val="150000"/>
              </a:lnSpc>
              <a:spcBef>
                <a:spcPct val="50000"/>
              </a:spcBef>
              <a:spcAft>
                <a:spcPct val="0"/>
              </a:spcAft>
              <a:buClrTx/>
              <a:buSzTx/>
              <a:buFont typeface="Times" pitchFamily="-112" charset="0"/>
              <a:buNone/>
              <a:tabLst/>
            </a:pPr>
            <a:r>
              <a:rPr lang="en-US" smtClean="0"/>
              <a:t>Click to edit Master text styles</a:t>
            </a:r>
          </a:p>
        </p:txBody>
      </p:sp>
      <p:grpSp>
        <p:nvGrpSpPr>
          <p:cNvPr id="4" name="Group 8"/>
          <p:cNvGrpSpPr/>
          <p:nvPr userDrawn="1"/>
        </p:nvGrpSpPr>
        <p:grpSpPr>
          <a:xfrm>
            <a:off x="150981" y="-818892"/>
            <a:ext cx="648072" cy="719500"/>
            <a:chOff x="160506" y="-818892"/>
            <a:chExt cx="648072" cy="719500"/>
          </a:xfrm>
        </p:grpSpPr>
        <p:cxnSp>
          <p:nvCxnSpPr>
            <p:cNvPr id="11" name="Straight Arrow Connector 10"/>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5" name="Group 12"/>
          <p:cNvGrpSpPr/>
          <p:nvPr userDrawn="1"/>
        </p:nvGrpSpPr>
        <p:grpSpPr>
          <a:xfrm>
            <a:off x="-1432624" y="1009303"/>
            <a:ext cx="1338744" cy="215444"/>
            <a:chOff x="-1563724" y="81191"/>
            <a:chExt cx="1338744" cy="215444"/>
          </a:xfrm>
        </p:grpSpPr>
        <p:cxnSp>
          <p:nvCxnSpPr>
            <p:cNvPr id="14" name="Straight Arrow Connector 1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6.40</a:t>
              </a:r>
            </a:p>
          </p:txBody>
        </p:sp>
      </p:grpSp>
      <p:grpSp>
        <p:nvGrpSpPr>
          <p:cNvPr id="6" name="Group 16"/>
          <p:cNvGrpSpPr/>
          <p:nvPr userDrawn="1"/>
        </p:nvGrpSpPr>
        <p:grpSpPr>
          <a:xfrm>
            <a:off x="10065568" y="858808"/>
            <a:ext cx="1382640" cy="215444"/>
            <a:chOff x="10065568" y="797397"/>
            <a:chExt cx="1382640" cy="215444"/>
          </a:xfrm>
        </p:grpSpPr>
        <p:cxnSp>
          <p:nvCxnSpPr>
            <p:cNvPr id="19" name="Straight Arrow Connector 18"/>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6.80</a:t>
              </a:r>
            </a:p>
          </p:txBody>
        </p:sp>
      </p:grpSp>
      <p:grpSp>
        <p:nvGrpSpPr>
          <p:cNvPr id="7" name="Group 20"/>
          <p:cNvGrpSpPr/>
          <p:nvPr userDrawn="1"/>
        </p:nvGrpSpPr>
        <p:grpSpPr>
          <a:xfrm>
            <a:off x="10065568" y="1218268"/>
            <a:ext cx="1382640" cy="215444"/>
            <a:chOff x="10065568" y="797397"/>
            <a:chExt cx="1382640" cy="215444"/>
          </a:xfrm>
        </p:grpSpPr>
        <p:cxnSp>
          <p:nvCxnSpPr>
            <p:cNvPr id="22" name="Straight Arrow Connector 21"/>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5.80</a:t>
              </a:r>
            </a:p>
          </p:txBody>
        </p:sp>
      </p:grpSp>
      <p:grpSp>
        <p:nvGrpSpPr>
          <p:cNvPr id="8" name="Group 23"/>
          <p:cNvGrpSpPr/>
          <p:nvPr userDrawn="1"/>
        </p:nvGrpSpPr>
        <p:grpSpPr>
          <a:xfrm>
            <a:off x="-1432624" y="3597859"/>
            <a:ext cx="1338744" cy="215444"/>
            <a:chOff x="-1563724" y="81191"/>
            <a:chExt cx="1338744" cy="215444"/>
          </a:xfrm>
        </p:grpSpPr>
        <p:cxnSp>
          <p:nvCxnSpPr>
            <p:cNvPr id="25" name="Straight Arrow Connector 24"/>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0.80</a:t>
              </a:r>
            </a:p>
          </p:txBody>
        </p:sp>
      </p:grpSp>
      <p:grpSp>
        <p:nvGrpSpPr>
          <p:cNvPr id="9" name="Group 26"/>
          <p:cNvGrpSpPr/>
          <p:nvPr userDrawn="1"/>
        </p:nvGrpSpPr>
        <p:grpSpPr>
          <a:xfrm>
            <a:off x="10108816" y="3738548"/>
            <a:ext cx="1382640" cy="215444"/>
            <a:chOff x="10065568" y="797397"/>
            <a:chExt cx="1382640" cy="215444"/>
          </a:xfrm>
        </p:grpSpPr>
        <p:cxnSp>
          <p:nvCxnSpPr>
            <p:cNvPr id="28" name="Straight Arrow Connector 27"/>
            <p:cNvCxnSpPr/>
            <p:nvPr userDrawn="1"/>
          </p:nvCxnSpPr>
          <p:spPr>
            <a:xfrm flipH="1">
              <a:off x="10065568" y="908050"/>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0800136" y="797397"/>
              <a:ext cx="648072" cy="215444"/>
            </a:xfrm>
            <a:prstGeom prst="rect">
              <a:avLst/>
            </a:prstGeom>
            <a:noFill/>
          </p:spPr>
          <p:txBody>
            <a:bodyPr wrap="square" rtlCol="0">
              <a:spAutoFit/>
            </a:bodyPr>
            <a:lstStyle/>
            <a:p>
              <a:r>
                <a:rPr lang="en-GB" sz="800" dirty="0">
                  <a:solidFill>
                    <a:srgbClr val="FFFFFF"/>
                  </a:solidFill>
                  <a:cs typeface="Arial" charset="0"/>
                </a:rPr>
                <a:t>1.20</a:t>
              </a:r>
            </a:p>
          </p:txBody>
        </p:sp>
      </p:grpSp>
      <p:grpSp>
        <p:nvGrpSpPr>
          <p:cNvPr id="10" name="Group 29"/>
          <p:cNvGrpSpPr/>
          <p:nvPr userDrawn="1"/>
        </p:nvGrpSpPr>
        <p:grpSpPr>
          <a:xfrm>
            <a:off x="-1432624" y="6118808"/>
            <a:ext cx="1338744" cy="215444"/>
            <a:chOff x="-1563724" y="81191"/>
            <a:chExt cx="1338744" cy="215444"/>
          </a:xfrm>
        </p:grpSpPr>
        <p:cxnSp>
          <p:nvCxnSpPr>
            <p:cNvPr id="31" name="Straight Arrow Connector 30"/>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7.80</a:t>
              </a:r>
            </a:p>
          </p:txBody>
        </p:sp>
      </p:grpSp>
      <p:grpSp>
        <p:nvGrpSpPr>
          <p:cNvPr id="13" name="Group 32"/>
          <p:cNvGrpSpPr/>
          <p:nvPr userDrawn="1"/>
        </p:nvGrpSpPr>
        <p:grpSpPr>
          <a:xfrm>
            <a:off x="-1432624" y="6481659"/>
            <a:ext cx="1338744" cy="215444"/>
            <a:chOff x="-1563724" y="81191"/>
            <a:chExt cx="1338744" cy="215444"/>
          </a:xfrm>
        </p:grpSpPr>
        <p:cxnSp>
          <p:nvCxnSpPr>
            <p:cNvPr id="34" name="Straight Arrow Connector 33"/>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80</a:t>
              </a:r>
            </a:p>
          </p:txBody>
        </p:sp>
      </p:grpSp>
      <p:grpSp>
        <p:nvGrpSpPr>
          <p:cNvPr id="17" name="Group 35"/>
          <p:cNvGrpSpPr/>
          <p:nvPr userDrawn="1"/>
        </p:nvGrpSpPr>
        <p:grpSpPr>
          <a:xfrm>
            <a:off x="-1432624" y="74180"/>
            <a:ext cx="1338744" cy="215444"/>
            <a:chOff x="-1563724" y="81191"/>
            <a:chExt cx="1338744" cy="215444"/>
          </a:xfrm>
        </p:grpSpPr>
        <p:cxnSp>
          <p:nvCxnSpPr>
            <p:cNvPr id="37" name="Straight Arrow Connector 3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9.00</a:t>
              </a:r>
            </a:p>
          </p:txBody>
        </p:sp>
      </p:grpSp>
      <p:grpSp>
        <p:nvGrpSpPr>
          <p:cNvPr id="21" name="Group 38"/>
          <p:cNvGrpSpPr/>
          <p:nvPr userDrawn="1"/>
        </p:nvGrpSpPr>
        <p:grpSpPr>
          <a:xfrm>
            <a:off x="4557994" y="-818892"/>
            <a:ext cx="648072" cy="719500"/>
            <a:chOff x="312906" y="-666492"/>
            <a:chExt cx="648072" cy="719500"/>
          </a:xfrm>
        </p:grpSpPr>
        <p:cxnSp>
          <p:nvCxnSpPr>
            <p:cNvPr id="40" name="Straight Arrow Connector 39"/>
            <p:cNvCxnSpPr/>
            <p:nvPr userDrawn="1"/>
          </p:nvCxnSpPr>
          <p:spPr>
            <a:xfrm>
              <a:off x="635000" y="-4510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userDrawn="1"/>
          </p:nvSpPr>
          <p:spPr>
            <a:xfrm>
              <a:off x="312906" y="-666492"/>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4" name="Group 84"/>
          <p:cNvGrpSpPr/>
          <p:nvPr userDrawn="1"/>
        </p:nvGrpSpPr>
        <p:grpSpPr>
          <a:xfrm>
            <a:off x="4691529" y="6957392"/>
            <a:ext cx="648072" cy="719501"/>
            <a:chOff x="4691529" y="6957392"/>
            <a:chExt cx="648072" cy="719501"/>
          </a:xfrm>
        </p:grpSpPr>
        <p:cxnSp>
          <p:nvCxnSpPr>
            <p:cNvPr id="43" name="Straight Arrow Connector 42"/>
            <p:cNvCxnSpPr/>
            <p:nvPr userDrawn="1"/>
          </p:nvCxnSpPr>
          <p:spPr>
            <a:xfrm rot="10800000">
              <a:off x="5015565" y="6957392"/>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a:xfrm>
              <a:off x="4691529" y="7461449"/>
              <a:ext cx="648072" cy="215444"/>
            </a:xfrm>
            <a:prstGeom prst="rect">
              <a:avLst/>
            </a:prstGeom>
            <a:noFill/>
          </p:spPr>
          <p:txBody>
            <a:bodyPr wrap="square" rtlCol="0">
              <a:spAutoFit/>
            </a:bodyPr>
            <a:lstStyle/>
            <a:p>
              <a:pPr algn="ctr"/>
              <a:r>
                <a:rPr lang="en-GB" sz="800" dirty="0">
                  <a:solidFill>
                    <a:srgbClr val="FFFFFF"/>
                  </a:solidFill>
                  <a:cs typeface="Arial" charset="0"/>
                </a:rPr>
                <a:t>0.20</a:t>
              </a:r>
            </a:p>
          </p:txBody>
        </p:sp>
      </p:grpSp>
      <p:grpSp>
        <p:nvGrpSpPr>
          <p:cNvPr id="27" name="Group 44"/>
          <p:cNvGrpSpPr/>
          <p:nvPr userDrawn="1"/>
        </p:nvGrpSpPr>
        <p:grpSpPr>
          <a:xfrm>
            <a:off x="9085514" y="-808714"/>
            <a:ext cx="648072" cy="719500"/>
            <a:chOff x="160506" y="-818892"/>
            <a:chExt cx="648072" cy="719500"/>
          </a:xfrm>
        </p:grpSpPr>
        <p:cxnSp>
          <p:nvCxnSpPr>
            <p:cNvPr id="46" name="Straight Arrow Connector 45"/>
            <p:cNvCxnSpPr/>
            <p:nvPr userDrawn="1"/>
          </p:nvCxnSpPr>
          <p:spPr>
            <a:xfrm>
              <a:off x="482600" y="-603448"/>
              <a:ext cx="0" cy="5040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FFFF"/>
                  </a:solidFill>
                  <a:cs typeface="Arial" charset="0"/>
                </a:rPr>
                <a:t>12.40</a:t>
              </a:r>
            </a:p>
          </p:txBody>
        </p:sp>
      </p:grpSp>
      <p:grpSp>
        <p:nvGrpSpPr>
          <p:cNvPr id="30" name="Group 47"/>
          <p:cNvGrpSpPr/>
          <p:nvPr userDrawn="1"/>
        </p:nvGrpSpPr>
        <p:grpSpPr>
          <a:xfrm>
            <a:off x="1773406" y="-818892"/>
            <a:ext cx="648072" cy="719500"/>
            <a:chOff x="160506" y="-818892"/>
            <a:chExt cx="648072" cy="719500"/>
          </a:xfrm>
        </p:grpSpPr>
        <p:cxnSp>
          <p:nvCxnSpPr>
            <p:cNvPr id="49" name="Straight Arrow Connector 48"/>
            <p:cNvCxnSpPr/>
            <p:nvPr userDrawn="1"/>
          </p:nvCxnSpPr>
          <p:spPr>
            <a:xfrm>
              <a:off x="482600" y="-603448"/>
              <a:ext cx="0" cy="50405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160506" y="-818892"/>
              <a:ext cx="648072" cy="215444"/>
            </a:xfrm>
            <a:prstGeom prst="rect">
              <a:avLst/>
            </a:prstGeom>
            <a:noFill/>
          </p:spPr>
          <p:txBody>
            <a:bodyPr wrap="square" rtlCol="0">
              <a:spAutoFit/>
            </a:bodyPr>
            <a:lstStyle/>
            <a:p>
              <a:pPr algn="ctr"/>
              <a:r>
                <a:rPr lang="en-GB" sz="800" dirty="0">
                  <a:solidFill>
                    <a:srgbClr val="FF0000"/>
                  </a:solidFill>
                  <a:cs typeface="Arial" charset="0"/>
                </a:rPr>
                <a:t>7.90</a:t>
              </a:r>
            </a:p>
          </p:txBody>
        </p:sp>
      </p:grpSp>
      <p:grpSp>
        <p:nvGrpSpPr>
          <p:cNvPr id="57345" name="Group 88"/>
          <p:cNvGrpSpPr/>
          <p:nvPr userDrawn="1"/>
        </p:nvGrpSpPr>
        <p:grpSpPr>
          <a:xfrm>
            <a:off x="1938189" y="-602868"/>
            <a:ext cx="648072" cy="502896"/>
            <a:chOff x="1938189" y="-602868"/>
            <a:chExt cx="648072" cy="502896"/>
          </a:xfrm>
        </p:grpSpPr>
        <p:cxnSp>
          <p:nvCxnSpPr>
            <p:cNvPr id="52" name="Straight Arrow Connector 51"/>
            <p:cNvCxnSpPr/>
            <p:nvPr userDrawn="1"/>
          </p:nvCxnSpPr>
          <p:spPr>
            <a:xfrm>
              <a:off x="2249525" y="-387424"/>
              <a:ext cx="0" cy="28745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userDrawn="1"/>
          </p:nvSpPr>
          <p:spPr>
            <a:xfrm>
              <a:off x="1938189" y="-602868"/>
              <a:ext cx="648072" cy="215444"/>
            </a:xfrm>
            <a:prstGeom prst="rect">
              <a:avLst/>
            </a:prstGeom>
            <a:noFill/>
          </p:spPr>
          <p:txBody>
            <a:bodyPr wrap="square" rtlCol="0">
              <a:spAutoFit/>
            </a:bodyPr>
            <a:lstStyle/>
            <a:p>
              <a:pPr algn="ctr"/>
              <a:r>
                <a:rPr lang="en-GB" sz="800" dirty="0">
                  <a:solidFill>
                    <a:srgbClr val="FF0000"/>
                  </a:solidFill>
                  <a:cs typeface="Arial" charset="0"/>
                </a:rPr>
                <a:t>7.50</a:t>
              </a:r>
            </a:p>
          </p:txBody>
        </p:sp>
      </p:grpSp>
      <p:sp>
        <p:nvSpPr>
          <p:cNvPr id="55" name="TextBox 54"/>
          <p:cNvSpPr txBox="1"/>
          <p:nvPr userDrawn="1"/>
        </p:nvSpPr>
        <p:spPr>
          <a:xfrm>
            <a:off x="1647659" y="-981347"/>
            <a:ext cx="1028661" cy="195814"/>
          </a:xfrm>
          <a:prstGeom prst="rect">
            <a:avLst/>
          </a:prstGeom>
          <a:noFill/>
        </p:spPr>
        <p:txBody>
          <a:bodyPr wrap="square" lIns="72000" tIns="36000" rIns="72000" bIns="36000" rtlCol="0" anchor="ctr" anchorCtr="0">
            <a:spAutoFit/>
          </a:bodyPr>
          <a:lstStyle/>
          <a:p>
            <a:r>
              <a:rPr lang="en-GB" sz="800" dirty="0">
                <a:solidFill>
                  <a:srgbClr val="FF0000"/>
                </a:solidFill>
                <a:latin typeface="Verdana" pitchFamily="34" charset="0"/>
                <a:cs typeface="Arial" charset="0"/>
              </a:rPr>
              <a:t>Guides for gutter</a:t>
            </a:r>
          </a:p>
        </p:txBody>
      </p:sp>
      <p:sp>
        <p:nvSpPr>
          <p:cNvPr id="56" name="Rectangle 55"/>
          <p:cNvSpPr/>
          <p:nvPr userDrawn="1"/>
        </p:nvSpPr>
        <p:spPr>
          <a:xfrm>
            <a:off x="-2211796" y="3828970"/>
            <a:ext cx="2117916" cy="839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Text colours</a:t>
            </a:r>
          </a:p>
        </p:txBody>
      </p:sp>
      <p:sp>
        <p:nvSpPr>
          <p:cNvPr id="57" name="Rectangle 56"/>
          <p:cNvSpPr/>
          <p:nvPr userDrawn="1"/>
        </p:nvSpPr>
        <p:spPr>
          <a:xfrm>
            <a:off x="-2103784" y="4128849"/>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GB" sz="800" dirty="0">
                <a:solidFill>
                  <a:srgbClr val="FFFFFF"/>
                </a:solidFill>
              </a:rPr>
              <a:t>G 66</a:t>
            </a:r>
          </a:p>
          <a:p>
            <a:pPr algn="ctr"/>
            <a:r>
              <a:rPr lang="en-GB" sz="800" dirty="0">
                <a:solidFill>
                  <a:srgbClr val="FFFFFF"/>
                </a:solidFill>
              </a:rPr>
              <a:t>B 152</a:t>
            </a:r>
          </a:p>
        </p:txBody>
      </p:sp>
      <p:sp>
        <p:nvSpPr>
          <p:cNvPr id="60" name="Rectangle 59"/>
          <p:cNvSpPr/>
          <p:nvPr userDrawn="1"/>
        </p:nvSpPr>
        <p:spPr>
          <a:xfrm>
            <a:off x="-1365702" y="4128849"/>
            <a:ext cx="432048" cy="4320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0</a:t>
            </a:r>
          </a:p>
          <a:p>
            <a:pPr algn="ctr"/>
            <a:r>
              <a:rPr lang="en-GB" sz="800" dirty="0">
                <a:solidFill>
                  <a:srgbClr val="FFFFFF"/>
                </a:solidFill>
              </a:rPr>
              <a:t>G 0</a:t>
            </a:r>
          </a:p>
          <a:p>
            <a:pPr algn="ctr"/>
            <a:r>
              <a:rPr lang="en-GB" sz="800" dirty="0">
                <a:solidFill>
                  <a:srgbClr val="FFFFFF"/>
                </a:solidFill>
              </a:rPr>
              <a:t>B 0</a:t>
            </a:r>
          </a:p>
        </p:txBody>
      </p:sp>
      <p:sp>
        <p:nvSpPr>
          <p:cNvPr id="61" name="Rectangle 60"/>
          <p:cNvSpPr/>
          <p:nvPr userDrawn="1"/>
        </p:nvSpPr>
        <p:spPr>
          <a:xfrm>
            <a:off x="-627620" y="4128849"/>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27</a:t>
            </a:r>
          </a:p>
          <a:p>
            <a:pPr algn="ctr"/>
            <a:r>
              <a:rPr lang="en-GB" sz="800" dirty="0">
                <a:solidFill>
                  <a:srgbClr val="FFFFFF"/>
                </a:solidFill>
              </a:rPr>
              <a:t>G 127</a:t>
            </a:r>
          </a:p>
          <a:p>
            <a:pPr algn="ctr"/>
            <a:r>
              <a:rPr lang="en-GB" sz="800" dirty="0">
                <a:solidFill>
                  <a:srgbClr val="FFFFFF"/>
                </a:solidFill>
              </a:rPr>
              <a:t>B 127</a:t>
            </a:r>
          </a:p>
        </p:txBody>
      </p:sp>
      <p:sp>
        <p:nvSpPr>
          <p:cNvPr id="62" name="Rectangle 61"/>
          <p:cNvSpPr/>
          <p:nvPr userDrawn="1"/>
        </p:nvSpPr>
        <p:spPr>
          <a:xfrm>
            <a:off x="-2211796" y="4821309"/>
            <a:ext cx="2117916" cy="1297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Background shading</a:t>
            </a:r>
          </a:p>
        </p:txBody>
      </p:sp>
      <p:sp>
        <p:nvSpPr>
          <p:cNvPr id="63" name="Rectangle 62"/>
          <p:cNvSpPr/>
          <p:nvPr userDrawn="1"/>
        </p:nvSpPr>
        <p:spPr>
          <a:xfrm>
            <a:off x="-2103784" y="5013176"/>
            <a:ext cx="43204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lumMod val="50000"/>
                  </a:srgbClr>
                </a:solidFill>
              </a:rPr>
              <a:t>R 242</a:t>
            </a:r>
          </a:p>
          <a:p>
            <a:pPr algn="ctr"/>
            <a:r>
              <a:rPr lang="en-GB" sz="800" dirty="0">
                <a:solidFill>
                  <a:srgbClr val="FFFFFF">
                    <a:lumMod val="50000"/>
                  </a:srgbClr>
                </a:solidFill>
              </a:rPr>
              <a:t>G 242</a:t>
            </a:r>
          </a:p>
          <a:p>
            <a:pPr algn="ctr"/>
            <a:r>
              <a:rPr lang="en-GB" sz="800" dirty="0">
                <a:solidFill>
                  <a:srgbClr val="FFFFFF">
                    <a:lumMod val="50000"/>
                  </a:srgbClr>
                </a:solidFill>
              </a:rPr>
              <a:t>B 242</a:t>
            </a:r>
          </a:p>
        </p:txBody>
      </p:sp>
      <p:sp>
        <p:nvSpPr>
          <p:cNvPr id="64" name="Rectangle 63"/>
          <p:cNvSpPr/>
          <p:nvPr userDrawn="1"/>
        </p:nvSpPr>
        <p:spPr>
          <a:xfrm>
            <a:off x="-1365702" y="5013176"/>
            <a:ext cx="432048" cy="43204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25</a:t>
            </a:r>
          </a:p>
          <a:p>
            <a:pPr algn="ctr"/>
            <a:r>
              <a:rPr lang="en-GB" sz="800" dirty="0">
                <a:solidFill>
                  <a:srgbClr val="1B4298"/>
                </a:solidFill>
              </a:rPr>
              <a:t>G 235</a:t>
            </a:r>
          </a:p>
          <a:p>
            <a:pPr algn="ctr"/>
            <a:r>
              <a:rPr lang="en-GB" sz="800" dirty="0">
                <a:solidFill>
                  <a:srgbClr val="1B4298"/>
                </a:solidFill>
              </a:rPr>
              <a:t>B 244</a:t>
            </a:r>
          </a:p>
        </p:txBody>
      </p:sp>
      <p:sp>
        <p:nvSpPr>
          <p:cNvPr id="65" name="Rectangle 64"/>
          <p:cNvSpPr/>
          <p:nvPr userDrawn="1"/>
        </p:nvSpPr>
        <p:spPr>
          <a:xfrm>
            <a:off x="-627620" y="5013176"/>
            <a:ext cx="432048" cy="432048"/>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73C6A1"/>
                </a:solidFill>
              </a:rPr>
              <a:t>R 227</a:t>
            </a:r>
          </a:p>
          <a:p>
            <a:pPr algn="ctr"/>
            <a:r>
              <a:rPr lang="en-GB" sz="800" dirty="0">
                <a:solidFill>
                  <a:srgbClr val="73C6A1"/>
                </a:solidFill>
              </a:rPr>
              <a:t>G 244</a:t>
            </a:r>
          </a:p>
          <a:p>
            <a:pPr algn="ctr"/>
            <a:r>
              <a:rPr lang="en-GB" sz="800" dirty="0">
                <a:solidFill>
                  <a:srgbClr val="73C6A1"/>
                </a:solidFill>
              </a:rPr>
              <a:t>B 236</a:t>
            </a:r>
          </a:p>
        </p:txBody>
      </p:sp>
      <p:grpSp>
        <p:nvGrpSpPr>
          <p:cNvPr id="57346" name="Group 65"/>
          <p:cNvGrpSpPr/>
          <p:nvPr userDrawn="1"/>
        </p:nvGrpSpPr>
        <p:grpSpPr>
          <a:xfrm>
            <a:off x="-1432624" y="295999"/>
            <a:ext cx="1338744" cy="215444"/>
            <a:chOff x="-1563724" y="81191"/>
            <a:chExt cx="1338744" cy="215444"/>
          </a:xfrm>
        </p:grpSpPr>
        <p:cxnSp>
          <p:nvCxnSpPr>
            <p:cNvPr id="67" name="Straight Arrow Connector 66"/>
            <p:cNvCxnSpPr/>
            <p:nvPr userDrawn="1"/>
          </p:nvCxnSpPr>
          <p:spPr>
            <a:xfrm>
              <a:off x="-873052" y="188913"/>
              <a:ext cx="64807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userDrawn="1"/>
          </p:nvSpPr>
          <p:spPr>
            <a:xfrm>
              <a:off x="-1563724" y="81191"/>
              <a:ext cx="648072" cy="215444"/>
            </a:xfrm>
            <a:prstGeom prst="rect">
              <a:avLst/>
            </a:prstGeom>
            <a:noFill/>
          </p:spPr>
          <p:txBody>
            <a:bodyPr wrap="square" rtlCol="0">
              <a:spAutoFit/>
            </a:bodyPr>
            <a:lstStyle/>
            <a:p>
              <a:pPr algn="r"/>
              <a:r>
                <a:rPr lang="en-GB" sz="800" dirty="0">
                  <a:solidFill>
                    <a:srgbClr val="FFFFFF"/>
                  </a:solidFill>
                  <a:cs typeface="Arial" charset="0"/>
                </a:rPr>
                <a:t>8.40</a:t>
              </a:r>
            </a:p>
          </p:txBody>
        </p:sp>
      </p:grpSp>
      <p:sp>
        <p:nvSpPr>
          <p:cNvPr id="71" name="Rectangle 70"/>
          <p:cNvSpPr/>
          <p:nvPr userDrawn="1"/>
        </p:nvSpPr>
        <p:spPr>
          <a:xfrm>
            <a:off x="-2211796" y="1341437"/>
            <a:ext cx="2117916" cy="2256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chorCtr="0"/>
          <a:lstStyle/>
          <a:p>
            <a:pPr algn="ctr"/>
            <a:r>
              <a:rPr lang="en-GB" sz="800" dirty="0">
                <a:solidFill>
                  <a:srgbClr val="1B4298"/>
                </a:solidFill>
              </a:rPr>
              <a:t>Colour order </a:t>
            </a:r>
            <a:r>
              <a:rPr lang="en-GB" sz="700" i="1" dirty="0">
                <a:solidFill>
                  <a:srgbClr val="1B4298"/>
                </a:solidFill>
              </a:rPr>
              <a:t>(left to right, top to bottom)</a:t>
            </a:r>
          </a:p>
        </p:txBody>
      </p:sp>
      <p:sp>
        <p:nvSpPr>
          <p:cNvPr id="72" name="Rectangle 71"/>
          <p:cNvSpPr/>
          <p:nvPr userDrawn="1"/>
        </p:nvSpPr>
        <p:spPr>
          <a:xfrm>
            <a:off x="-2103784" y="1533305"/>
            <a:ext cx="4320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59</a:t>
            </a:r>
          </a:p>
          <a:p>
            <a:pPr algn="ctr"/>
            <a:r>
              <a:rPr lang="en-US" sz="800" dirty="0">
                <a:solidFill>
                  <a:srgbClr val="FFFFFF"/>
                </a:solidFill>
              </a:rPr>
              <a:t>G 110</a:t>
            </a:r>
          </a:p>
          <a:p>
            <a:pPr algn="ctr"/>
            <a:r>
              <a:rPr lang="en-US" sz="800" dirty="0">
                <a:solidFill>
                  <a:srgbClr val="FFFFFF"/>
                </a:solidFill>
              </a:rPr>
              <a:t>B 143</a:t>
            </a:r>
            <a:endParaRPr lang="en-GB" sz="800" dirty="0">
              <a:solidFill>
                <a:srgbClr val="FFFFFF"/>
              </a:solidFill>
            </a:endParaRPr>
          </a:p>
        </p:txBody>
      </p:sp>
      <p:sp>
        <p:nvSpPr>
          <p:cNvPr id="73" name="Rectangle 72"/>
          <p:cNvSpPr/>
          <p:nvPr userDrawn="1"/>
        </p:nvSpPr>
        <p:spPr>
          <a:xfrm>
            <a:off x="-1365702" y="1533305"/>
            <a:ext cx="432048" cy="432048"/>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51</a:t>
            </a:r>
          </a:p>
          <a:p>
            <a:pPr algn="ctr"/>
            <a:r>
              <a:rPr lang="en-US" sz="800" dirty="0">
                <a:solidFill>
                  <a:srgbClr val="FFFFFF"/>
                </a:solidFill>
              </a:rPr>
              <a:t>G 193</a:t>
            </a:r>
          </a:p>
          <a:p>
            <a:pPr algn="ctr"/>
            <a:r>
              <a:rPr lang="en-US" sz="800" dirty="0">
                <a:solidFill>
                  <a:srgbClr val="FFFFFF"/>
                </a:solidFill>
              </a:rPr>
              <a:t>B 119</a:t>
            </a:r>
            <a:endParaRPr lang="en-GB" sz="800" dirty="0">
              <a:solidFill>
                <a:srgbClr val="FFFFFF"/>
              </a:solidFill>
            </a:endParaRPr>
          </a:p>
        </p:txBody>
      </p:sp>
      <p:sp>
        <p:nvSpPr>
          <p:cNvPr id="74" name="Rectangle 73"/>
          <p:cNvSpPr/>
          <p:nvPr userDrawn="1"/>
        </p:nvSpPr>
        <p:spPr>
          <a:xfrm>
            <a:off x="-627620" y="1533305"/>
            <a:ext cx="432048" cy="4320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15</a:t>
            </a:r>
          </a:p>
          <a:p>
            <a:pPr algn="ctr"/>
            <a:r>
              <a:rPr lang="en-US" sz="800" dirty="0">
                <a:solidFill>
                  <a:srgbClr val="FFFFFF"/>
                </a:solidFill>
              </a:rPr>
              <a:t>G 198</a:t>
            </a:r>
          </a:p>
          <a:p>
            <a:pPr algn="ctr"/>
            <a:r>
              <a:rPr lang="en-US" sz="800" dirty="0">
                <a:solidFill>
                  <a:srgbClr val="FFFFFF"/>
                </a:solidFill>
              </a:rPr>
              <a:t>B 161</a:t>
            </a:r>
            <a:endParaRPr lang="en-GB" sz="800" dirty="0">
              <a:solidFill>
                <a:srgbClr val="FFFFFF"/>
              </a:solidFill>
            </a:endParaRPr>
          </a:p>
        </p:txBody>
      </p:sp>
      <p:sp>
        <p:nvSpPr>
          <p:cNvPr id="76" name="Rectangle 75"/>
          <p:cNvSpPr/>
          <p:nvPr userDrawn="1"/>
        </p:nvSpPr>
        <p:spPr>
          <a:xfrm>
            <a:off x="-2103784" y="2029016"/>
            <a:ext cx="432048" cy="4320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103</a:t>
            </a:r>
          </a:p>
          <a:p>
            <a:pPr algn="ctr"/>
            <a:r>
              <a:rPr lang="en-US" sz="800" dirty="0">
                <a:solidFill>
                  <a:srgbClr val="FFFFFF"/>
                </a:solidFill>
              </a:rPr>
              <a:t>G 153</a:t>
            </a:r>
          </a:p>
          <a:p>
            <a:pPr algn="ctr"/>
            <a:r>
              <a:rPr lang="en-US" sz="800" dirty="0">
                <a:solidFill>
                  <a:srgbClr val="FFFFFF"/>
                </a:solidFill>
              </a:rPr>
              <a:t>B 200</a:t>
            </a:r>
            <a:endParaRPr lang="en-GB" sz="800" dirty="0">
              <a:solidFill>
                <a:srgbClr val="FFFFFF"/>
              </a:solidFill>
            </a:endParaRPr>
          </a:p>
        </p:txBody>
      </p:sp>
      <p:sp>
        <p:nvSpPr>
          <p:cNvPr id="77" name="Rectangle 76"/>
          <p:cNvSpPr/>
          <p:nvPr userDrawn="1"/>
        </p:nvSpPr>
        <p:spPr>
          <a:xfrm>
            <a:off x="-627620" y="2029016"/>
            <a:ext cx="432048" cy="4320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86</a:t>
            </a:r>
          </a:p>
          <a:p>
            <a:pPr algn="ctr"/>
            <a:r>
              <a:rPr lang="en-US" sz="800" dirty="0">
                <a:solidFill>
                  <a:srgbClr val="1B4298"/>
                </a:solidFill>
              </a:rPr>
              <a:t>G 163</a:t>
            </a:r>
          </a:p>
          <a:p>
            <a:pPr algn="ctr"/>
            <a:r>
              <a:rPr lang="en-US" sz="800" dirty="0">
                <a:solidFill>
                  <a:srgbClr val="1B4298"/>
                </a:solidFill>
              </a:rPr>
              <a:t>B 171</a:t>
            </a:r>
            <a:endParaRPr lang="en-GB" sz="800" dirty="0">
              <a:solidFill>
                <a:srgbClr val="1B4298"/>
              </a:solidFill>
            </a:endParaRPr>
          </a:p>
        </p:txBody>
      </p:sp>
      <p:sp>
        <p:nvSpPr>
          <p:cNvPr id="78" name="Rectangle 77"/>
          <p:cNvSpPr/>
          <p:nvPr userDrawn="1"/>
        </p:nvSpPr>
        <p:spPr>
          <a:xfrm>
            <a:off x="-1365702" y="2029016"/>
            <a:ext cx="432048" cy="43204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191</a:t>
            </a:r>
          </a:p>
          <a:p>
            <a:pPr algn="ctr"/>
            <a:r>
              <a:rPr lang="en-US" sz="800" dirty="0">
                <a:solidFill>
                  <a:srgbClr val="1B4298"/>
                </a:solidFill>
              </a:rPr>
              <a:t>G 191</a:t>
            </a:r>
          </a:p>
          <a:p>
            <a:pPr algn="ctr"/>
            <a:r>
              <a:rPr lang="en-US" sz="800" dirty="0">
                <a:solidFill>
                  <a:srgbClr val="1B4298"/>
                </a:solidFill>
              </a:rPr>
              <a:t>B 191</a:t>
            </a:r>
            <a:endParaRPr lang="en-GB" sz="800" dirty="0">
              <a:solidFill>
                <a:srgbClr val="1B4298"/>
              </a:solidFill>
            </a:endParaRPr>
          </a:p>
        </p:txBody>
      </p:sp>
      <p:sp>
        <p:nvSpPr>
          <p:cNvPr id="80" name="Rectangle 79"/>
          <p:cNvSpPr/>
          <p:nvPr userDrawn="1"/>
        </p:nvSpPr>
        <p:spPr>
          <a:xfrm>
            <a:off x="-2103784" y="2524727"/>
            <a:ext cx="432048" cy="43204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US" sz="800" dirty="0">
                <a:solidFill>
                  <a:srgbClr val="FFFFFF"/>
                </a:solidFill>
              </a:rPr>
              <a:t>R 127</a:t>
            </a:r>
          </a:p>
          <a:p>
            <a:pPr algn="ctr"/>
            <a:r>
              <a:rPr lang="en-US" sz="800" dirty="0">
                <a:solidFill>
                  <a:srgbClr val="FFFFFF"/>
                </a:solidFill>
              </a:rPr>
              <a:t>G 127</a:t>
            </a:r>
          </a:p>
          <a:p>
            <a:pPr algn="ctr"/>
            <a:r>
              <a:rPr lang="en-US" sz="800" dirty="0">
                <a:solidFill>
                  <a:srgbClr val="FFFFFF"/>
                </a:solidFill>
              </a:rPr>
              <a:t>B 127</a:t>
            </a:r>
            <a:endParaRPr lang="en-GB" sz="800" dirty="0">
              <a:solidFill>
                <a:srgbClr val="FFFFFF"/>
              </a:solidFill>
            </a:endParaRPr>
          </a:p>
        </p:txBody>
      </p:sp>
      <p:sp>
        <p:nvSpPr>
          <p:cNvPr id="81" name="Rectangle 80"/>
          <p:cNvSpPr/>
          <p:nvPr userDrawn="1"/>
        </p:nvSpPr>
        <p:spPr>
          <a:xfrm>
            <a:off x="-1365702" y="2524727"/>
            <a:ext cx="432048" cy="4320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01</a:t>
            </a:r>
          </a:p>
          <a:p>
            <a:pPr algn="ctr"/>
            <a:r>
              <a:rPr lang="en-US" sz="800" dirty="0">
                <a:solidFill>
                  <a:srgbClr val="FFFFFF"/>
                </a:solidFill>
              </a:rPr>
              <a:t>G 48</a:t>
            </a:r>
          </a:p>
          <a:p>
            <a:pPr algn="ctr"/>
            <a:r>
              <a:rPr lang="en-US" sz="800" dirty="0">
                <a:solidFill>
                  <a:srgbClr val="FFFFFF"/>
                </a:solidFill>
              </a:rPr>
              <a:t>B 146</a:t>
            </a:r>
            <a:endParaRPr lang="en-GB" sz="800" dirty="0">
              <a:solidFill>
                <a:srgbClr val="FFFFFF"/>
              </a:solidFill>
            </a:endParaRPr>
          </a:p>
        </p:txBody>
      </p:sp>
      <p:sp>
        <p:nvSpPr>
          <p:cNvPr id="82" name="Rectangle 81"/>
          <p:cNvSpPr/>
          <p:nvPr userDrawn="1"/>
        </p:nvSpPr>
        <p:spPr>
          <a:xfrm>
            <a:off x="-627620" y="2524727"/>
            <a:ext cx="432048" cy="432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27</a:t>
            </a:r>
          </a:p>
          <a:p>
            <a:pPr algn="ctr"/>
            <a:r>
              <a:rPr lang="en-US" sz="800" dirty="0">
                <a:solidFill>
                  <a:srgbClr val="FFFFFF"/>
                </a:solidFill>
              </a:rPr>
              <a:t>G 66</a:t>
            </a:r>
          </a:p>
          <a:p>
            <a:pPr algn="ctr"/>
            <a:r>
              <a:rPr lang="en-US" sz="800" dirty="0">
                <a:solidFill>
                  <a:srgbClr val="FFFFFF"/>
                </a:solidFill>
              </a:rPr>
              <a:t>B 152</a:t>
            </a:r>
            <a:endParaRPr lang="en-GB" sz="800" dirty="0">
              <a:solidFill>
                <a:srgbClr val="FFFFFF"/>
              </a:solidFill>
            </a:endParaRPr>
          </a:p>
        </p:txBody>
      </p:sp>
      <p:sp>
        <p:nvSpPr>
          <p:cNvPr id="83" name="Rectangle 82"/>
          <p:cNvSpPr/>
          <p:nvPr userDrawn="1"/>
        </p:nvSpPr>
        <p:spPr>
          <a:xfrm>
            <a:off x="-2103784" y="3020439"/>
            <a:ext cx="432048" cy="432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FFFFF"/>
                </a:solidFill>
              </a:rPr>
              <a:t>R 84</a:t>
            </a:r>
          </a:p>
          <a:p>
            <a:pPr algn="ctr"/>
            <a:r>
              <a:rPr lang="en-US" sz="800" dirty="0">
                <a:solidFill>
                  <a:srgbClr val="FFFFFF"/>
                </a:solidFill>
              </a:rPr>
              <a:t>G 7</a:t>
            </a:r>
          </a:p>
          <a:p>
            <a:pPr algn="ctr"/>
            <a:r>
              <a:rPr lang="en-US" sz="800" dirty="0">
                <a:solidFill>
                  <a:srgbClr val="FFFFFF"/>
                </a:solidFill>
              </a:rPr>
              <a:t>B 91</a:t>
            </a:r>
            <a:endParaRPr lang="en-GB" sz="800" dirty="0">
              <a:solidFill>
                <a:srgbClr val="FFFFFF"/>
              </a:solidFill>
            </a:endParaRPr>
          </a:p>
        </p:txBody>
      </p:sp>
      <p:sp>
        <p:nvSpPr>
          <p:cNvPr id="84" name="Rectangle 83"/>
          <p:cNvSpPr/>
          <p:nvPr userDrawn="1"/>
        </p:nvSpPr>
        <p:spPr>
          <a:xfrm>
            <a:off x="-1365702" y="3020439"/>
            <a:ext cx="432048" cy="4320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48</a:t>
            </a:r>
          </a:p>
          <a:p>
            <a:pPr algn="ctr"/>
            <a:r>
              <a:rPr lang="en-US" sz="800" dirty="0">
                <a:solidFill>
                  <a:srgbClr val="1B4298"/>
                </a:solidFill>
              </a:rPr>
              <a:t>G 152</a:t>
            </a:r>
          </a:p>
          <a:p>
            <a:pPr algn="ctr"/>
            <a:r>
              <a:rPr lang="en-US" sz="800" dirty="0">
                <a:solidFill>
                  <a:srgbClr val="1B4298"/>
                </a:solidFill>
              </a:rPr>
              <a:t>B 29</a:t>
            </a:r>
            <a:endParaRPr lang="en-GB" sz="800" dirty="0">
              <a:solidFill>
                <a:srgbClr val="1B4298"/>
              </a:solidFill>
            </a:endParaRPr>
          </a:p>
        </p:txBody>
      </p:sp>
      <p:sp>
        <p:nvSpPr>
          <p:cNvPr id="86" name="Rectangle 85"/>
          <p:cNvSpPr/>
          <p:nvPr userDrawn="1"/>
        </p:nvSpPr>
        <p:spPr>
          <a:xfrm>
            <a:off x="-2103784" y="5517232"/>
            <a:ext cx="432048" cy="43204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BAA3AB"/>
                </a:solidFill>
              </a:rPr>
              <a:t>R 241</a:t>
            </a:r>
          </a:p>
          <a:p>
            <a:pPr algn="ctr"/>
            <a:r>
              <a:rPr lang="en-GB" sz="800" dirty="0">
                <a:solidFill>
                  <a:srgbClr val="BAA3AB"/>
                </a:solidFill>
              </a:rPr>
              <a:t>G 237</a:t>
            </a:r>
          </a:p>
          <a:p>
            <a:pPr algn="ctr"/>
            <a:r>
              <a:rPr lang="en-GB" sz="800" dirty="0">
                <a:solidFill>
                  <a:srgbClr val="BAA3AB"/>
                </a:solidFill>
              </a:rPr>
              <a:t>B 238</a:t>
            </a:r>
          </a:p>
        </p:txBody>
      </p:sp>
      <p:sp>
        <p:nvSpPr>
          <p:cNvPr id="87" name="Rectangle 86"/>
          <p:cNvSpPr/>
          <p:nvPr userDrawn="1"/>
        </p:nvSpPr>
        <p:spPr>
          <a:xfrm>
            <a:off x="-1365702" y="5517232"/>
            <a:ext cx="432048" cy="4320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F8981D"/>
                </a:solidFill>
              </a:rPr>
              <a:t>R 254</a:t>
            </a:r>
          </a:p>
          <a:p>
            <a:pPr algn="ctr"/>
            <a:r>
              <a:rPr lang="en-GB" sz="800" dirty="0">
                <a:solidFill>
                  <a:srgbClr val="F8981D"/>
                </a:solidFill>
              </a:rPr>
              <a:t>G 234</a:t>
            </a:r>
          </a:p>
          <a:p>
            <a:pPr algn="ctr"/>
            <a:r>
              <a:rPr lang="en-GB" sz="800" dirty="0">
                <a:solidFill>
                  <a:srgbClr val="F8981D"/>
                </a:solidFill>
              </a:rPr>
              <a:t>B 210</a:t>
            </a:r>
          </a:p>
        </p:txBody>
      </p:sp>
      <p:sp>
        <p:nvSpPr>
          <p:cNvPr id="88" name="Rectangle 87"/>
          <p:cNvSpPr/>
          <p:nvPr userDrawn="1"/>
        </p:nvSpPr>
        <p:spPr>
          <a:xfrm>
            <a:off x="-627620" y="5517232"/>
            <a:ext cx="432048" cy="43204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800" dirty="0">
                <a:solidFill>
                  <a:srgbClr val="1B4298"/>
                </a:solidFill>
              </a:rPr>
              <a:t>R 211</a:t>
            </a:r>
          </a:p>
          <a:p>
            <a:pPr algn="ctr"/>
            <a:r>
              <a:rPr lang="en-GB" sz="800" dirty="0">
                <a:solidFill>
                  <a:srgbClr val="1B4298"/>
                </a:solidFill>
              </a:rPr>
              <a:t>G 227</a:t>
            </a:r>
          </a:p>
          <a:p>
            <a:pPr algn="ctr"/>
            <a:r>
              <a:rPr lang="en-GB" sz="800" dirty="0">
                <a:solidFill>
                  <a:srgbClr val="1B4298"/>
                </a:solidFill>
              </a:rPr>
              <a:t>B 237</a:t>
            </a:r>
          </a:p>
        </p:txBody>
      </p:sp>
    </p:spTree>
    <p:extLst>
      <p:ext uri="{BB962C8B-B14F-4D97-AF65-F5344CB8AC3E}">
        <p14:creationId xmlns:p14="http://schemas.microsoft.com/office/powerpoint/2010/main" val="153357480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3"/>
            <a:ext cx="2311400" cy="365125"/>
          </a:xfrm>
          <a:prstGeom prst="rect">
            <a:avLst/>
          </a:prstGeom>
        </p:spPr>
        <p:txBody>
          <a:bodyPr/>
          <a:lstStyle/>
          <a:p>
            <a:pPr>
              <a:defRPr/>
            </a:pPr>
            <a:fld id="{A85B3055-E825-41AD-B904-73E34919E035}" type="datetime1">
              <a:rPr lang="en-US" smtClean="0"/>
              <a:pPr>
                <a:defRPr/>
              </a:pPr>
              <a:t>2/20/2019</a:t>
            </a:fld>
            <a:endParaRPr lang="en-US" dirty="0"/>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pPr>
              <a:defRPr/>
            </a:pPr>
            <a:r>
              <a:rPr lang="en-US" dirty="0" smtClean="0"/>
              <a:t>1010</a:t>
            </a:r>
            <a:endParaRPr lang="en-US" dirty="0"/>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pPr>
              <a:defRPr/>
            </a:pPr>
            <a:fld id="{BB5069CE-5128-4D52-9F71-68322AA61092}"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en-US" noProof="0" smtClean="0"/>
              <a:t>Click to edit Master title style</a:t>
            </a:r>
            <a:endParaRPr lang="en-GB" noProof="0"/>
          </a:p>
        </p:txBody>
      </p:sp>
      <p:sp>
        <p:nvSpPr>
          <p:cNvPr id="5" name="Tijdelijke aanduiding voor inhoud 4"/>
          <p:cNvSpPr>
            <a:spLocks noGrp="1"/>
          </p:cNvSpPr>
          <p:nvPr>
            <p:ph sz="quarter" idx="11"/>
          </p:nvPr>
        </p:nvSpPr>
        <p:spPr>
          <a:xfrm>
            <a:off x="515465" y="1781594"/>
            <a:ext cx="8454968" cy="4572000"/>
          </a:xfrm>
        </p:spPr>
        <p:txBody>
          <a:bodyPr/>
          <a:lstStyle>
            <a:lvl2pPr>
              <a:lnSpc>
                <a:spcPct val="100000"/>
              </a:lnSpc>
              <a:defRPr/>
            </a:lvl2pPr>
            <a:lvl3pPr>
              <a:lnSpc>
                <a:spcPct val="100000"/>
              </a:lnSpc>
              <a:defRPr/>
            </a:lvl3pPr>
            <a:lvl4pPr>
              <a:lnSpc>
                <a:spcPct val="100000"/>
              </a:lnSpc>
              <a:defRPr/>
            </a:lvl4pPr>
            <a:lvl5pPr>
              <a:lnSpc>
                <a:spcPct val="100000"/>
              </a:lnSpc>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ijdelijke aanduiding voor voettekst 3"/>
          <p:cNvSpPr>
            <a:spLocks noGrp="1"/>
          </p:cNvSpPr>
          <p:nvPr>
            <p:ph type="ftr" sz="quarter" idx="12"/>
          </p:nvPr>
        </p:nvSpPr>
        <p:spPr>
          <a:xfrm>
            <a:off x="515938" y="6483350"/>
            <a:ext cx="7757981" cy="273050"/>
          </a:xfrm>
          <a:prstGeom prst="rect">
            <a:avLst/>
          </a:prstGeom>
        </p:spPr>
        <p:txBody>
          <a:bodyPr/>
          <a:lstStyle>
            <a:lvl1pPr algn="l">
              <a:defRPr sz="1200">
                <a:solidFill>
                  <a:schemeClr val="tx1">
                    <a:tint val="75000"/>
                  </a:schemeClr>
                </a:solidFill>
              </a:defRPr>
            </a:lvl1pPr>
          </a:lstStyle>
          <a:p>
            <a:pPr>
              <a:defRPr/>
            </a:pPr>
            <a:endParaRPr lang="en-GB"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profile 2">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59039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206712"/>
            <a:ext cx="8208000" cy="630000"/>
          </a:xfrm>
        </p:spPr>
        <p:txBody>
          <a:bodyPr/>
          <a:lstStyle/>
          <a:p>
            <a:r>
              <a:rPr lang="en-US" smtClean="0"/>
              <a:t>Click to edit Master title style</a:t>
            </a:r>
            <a:endParaRPr lang="en-GB"/>
          </a:p>
        </p:txBody>
      </p:sp>
      <p:sp>
        <p:nvSpPr>
          <p:cNvPr id="23"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5" name="Text Placeholder 21"/>
          <p:cNvSpPr>
            <a:spLocks noGrp="1"/>
          </p:cNvSpPr>
          <p:nvPr>
            <p:ph type="body" sz="quarter" idx="35" hasCustomPrompt="1"/>
          </p:nvPr>
        </p:nvSpPr>
        <p:spPr>
          <a:xfrm>
            <a:off x="6537050"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6" name="Content Placeholder 2"/>
          <p:cNvSpPr>
            <a:spLocks noGrp="1"/>
          </p:cNvSpPr>
          <p:nvPr>
            <p:ph sz="half" idx="31"/>
          </p:nvPr>
        </p:nvSpPr>
        <p:spPr>
          <a:xfrm>
            <a:off x="6537050" y="1557338"/>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33" hasCustomPrompt="1"/>
          </p:nvPr>
        </p:nvSpPr>
        <p:spPr>
          <a:xfrm>
            <a:off x="6537050"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3" hasCustomPrompt="1"/>
          </p:nvPr>
        </p:nvSpPr>
        <p:spPr>
          <a:xfrm>
            <a:off x="6537050" y="4076700"/>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4"/>
          </p:nvPr>
        </p:nvSpPr>
        <p:spPr>
          <a:xfrm>
            <a:off x="6537050" y="4076699"/>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5" hasCustomPrompt="1"/>
          </p:nvPr>
        </p:nvSpPr>
        <p:spPr>
          <a:xfrm>
            <a:off x="653705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46"/>
          </p:nvPr>
        </p:nvSpPr>
        <p:spPr>
          <a:xfrm>
            <a:off x="6537050" y="1341438"/>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Text Placeholder 23"/>
          <p:cNvSpPr>
            <a:spLocks noGrp="1"/>
          </p:cNvSpPr>
          <p:nvPr>
            <p:ph type="body" sz="quarter" idx="47"/>
          </p:nvPr>
        </p:nvSpPr>
        <p:spPr>
          <a:xfrm>
            <a:off x="6537050" y="3860800"/>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Title">
    <p:spTree>
      <p:nvGrpSpPr>
        <p:cNvPr id="1" name=""/>
        <p:cNvGrpSpPr/>
        <p:nvPr/>
      </p:nvGrpSpPr>
      <p:grpSpPr>
        <a:xfrm>
          <a:off x="0" y="0"/>
          <a:ext cx="0" cy="0"/>
          <a:chOff x="0" y="0"/>
          <a:chExt cx="0" cy="0"/>
        </a:xfrm>
      </p:grpSpPr>
      <p:grpSp>
        <p:nvGrpSpPr>
          <p:cNvPr id="8" name="Group 8"/>
          <p:cNvGrpSpPr>
            <a:grpSpLocks/>
          </p:cNvGrpSpPr>
          <p:nvPr userDrawn="1"/>
        </p:nvGrpSpPr>
        <p:grpSpPr bwMode="auto">
          <a:xfrm>
            <a:off x="150813" y="-819150"/>
            <a:ext cx="647700" cy="719137"/>
            <a:chOff x="160506" y="-818892"/>
            <a:chExt cx="648072" cy="719500"/>
          </a:xfrm>
        </p:grpSpPr>
        <p:cxnSp>
          <p:nvCxnSpPr>
            <p:cNvPr id="9" name="Straight Arrow Connector 8"/>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11"/>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11" name="Group 12"/>
          <p:cNvGrpSpPr>
            <a:grpSpLocks/>
          </p:cNvGrpSpPr>
          <p:nvPr userDrawn="1"/>
        </p:nvGrpSpPr>
        <p:grpSpPr bwMode="auto">
          <a:xfrm>
            <a:off x="-1431925" y="1009650"/>
            <a:ext cx="1338262" cy="214313"/>
            <a:chOff x="-1563724" y="81191"/>
            <a:chExt cx="1338744" cy="215444"/>
          </a:xfrm>
        </p:grpSpPr>
        <p:cxnSp>
          <p:nvCxnSpPr>
            <p:cNvPr id="12" name="Straight Arrow Connector 11"/>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4"/>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6.40</a:t>
              </a:r>
            </a:p>
          </p:txBody>
        </p:sp>
      </p:grpSp>
      <p:grpSp>
        <p:nvGrpSpPr>
          <p:cNvPr id="14" name="Group 16"/>
          <p:cNvGrpSpPr>
            <a:grpSpLocks/>
          </p:cNvGrpSpPr>
          <p:nvPr userDrawn="1"/>
        </p:nvGrpSpPr>
        <p:grpSpPr bwMode="auto">
          <a:xfrm>
            <a:off x="10066338" y="858838"/>
            <a:ext cx="1381125" cy="215900"/>
            <a:chOff x="10065568" y="797397"/>
            <a:chExt cx="1382640" cy="215444"/>
          </a:xfrm>
        </p:grpSpPr>
        <p:cxnSp>
          <p:nvCxnSpPr>
            <p:cNvPr id="15" name="Straight Arrow Connector 14"/>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7"/>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6.80</a:t>
              </a:r>
            </a:p>
          </p:txBody>
        </p:sp>
      </p:grpSp>
      <p:grpSp>
        <p:nvGrpSpPr>
          <p:cNvPr id="17" name="Group 20"/>
          <p:cNvGrpSpPr>
            <a:grpSpLocks/>
          </p:cNvGrpSpPr>
          <p:nvPr userDrawn="1"/>
        </p:nvGrpSpPr>
        <p:grpSpPr bwMode="auto">
          <a:xfrm>
            <a:off x="10066338" y="1217613"/>
            <a:ext cx="1381125" cy="215900"/>
            <a:chOff x="10065568" y="797397"/>
            <a:chExt cx="1382640" cy="215444"/>
          </a:xfrm>
        </p:grpSpPr>
        <p:cxnSp>
          <p:nvCxnSpPr>
            <p:cNvPr id="19" name="Straight Arrow Connector 18"/>
            <p:cNvCxnSpPr/>
            <p:nvPr userDrawn="1"/>
          </p:nvCxnSpPr>
          <p:spPr>
            <a:xfrm flipH="1">
              <a:off x="10065568" y="908287"/>
              <a:ext cx="64841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20"/>
            <p:cNvSpPr txBox="1">
              <a:spLocks noChangeArrowheads="1"/>
            </p:cNvSpPr>
            <p:nvPr userDrawn="1"/>
          </p:nvSpPr>
          <p:spPr bwMode="auto">
            <a:xfrm>
              <a:off x="10799798" y="797397"/>
              <a:ext cx="64841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5.80</a:t>
              </a:r>
            </a:p>
          </p:txBody>
        </p:sp>
      </p:grpSp>
      <p:grpSp>
        <p:nvGrpSpPr>
          <p:cNvPr id="21" name="Group 23"/>
          <p:cNvGrpSpPr>
            <a:grpSpLocks/>
          </p:cNvGrpSpPr>
          <p:nvPr userDrawn="1"/>
        </p:nvGrpSpPr>
        <p:grpSpPr bwMode="auto">
          <a:xfrm>
            <a:off x="-1431925" y="3597275"/>
            <a:ext cx="1338262" cy="215900"/>
            <a:chOff x="-1563724" y="81191"/>
            <a:chExt cx="1338744" cy="215444"/>
          </a:xfrm>
        </p:grpSpPr>
        <p:cxnSp>
          <p:nvCxnSpPr>
            <p:cNvPr id="22" name="Straight Arrow Connector 21"/>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3"/>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0.80</a:t>
              </a:r>
            </a:p>
          </p:txBody>
        </p:sp>
      </p:grpSp>
      <p:grpSp>
        <p:nvGrpSpPr>
          <p:cNvPr id="24" name="Group 26"/>
          <p:cNvGrpSpPr>
            <a:grpSpLocks/>
          </p:cNvGrpSpPr>
          <p:nvPr userDrawn="1"/>
        </p:nvGrpSpPr>
        <p:grpSpPr bwMode="auto">
          <a:xfrm>
            <a:off x="10109200" y="3738563"/>
            <a:ext cx="1382713" cy="215900"/>
            <a:chOff x="10065568" y="797397"/>
            <a:chExt cx="1382640" cy="215444"/>
          </a:xfrm>
        </p:grpSpPr>
        <p:cxnSp>
          <p:nvCxnSpPr>
            <p:cNvPr id="25" name="Straight Arrow Connector 24"/>
            <p:cNvCxnSpPr/>
            <p:nvPr userDrawn="1"/>
          </p:nvCxnSpPr>
          <p:spPr>
            <a:xfrm flipH="1">
              <a:off x="10065568" y="908287"/>
              <a:ext cx="647666"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6"/>
            <p:cNvSpPr txBox="1">
              <a:spLocks noChangeArrowheads="1"/>
            </p:cNvSpPr>
            <p:nvPr userDrawn="1"/>
          </p:nvSpPr>
          <p:spPr bwMode="auto">
            <a:xfrm>
              <a:off x="10800542" y="797397"/>
              <a:ext cx="6476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FFFF"/>
                  </a:solidFill>
                </a:rPr>
                <a:t>1.20</a:t>
              </a:r>
            </a:p>
          </p:txBody>
        </p:sp>
      </p:grpSp>
      <p:grpSp>
        <p:nvGrpSpPr>
          <p:cNvPr id="27" name="Group 29"/>
          <p:cNvGrpSpPr>
            <a:grpSpLocks/>
          </p:cNvGrpSpPr>
          <p:nvPr userDrawn="1"/>
        </p:nvGrpSpPr>
        <p:grpSpPr bwMode="auto">
          <a:xfrm>
            <a:off x="-1431925" y="6118225"/>
            <a:ext cx="1338262" cy="215900"/>
            <a:chOff x="-1563724" y="81191"/>
            <a:chExt cx="1338744" cy="215444"/>
          </a:xfrm>
        </p:grpSpPr>
        <p:cxnSp>
          <p:nvCxnSpPr>
            <p:cNvPr id="28" name="Straight Arrow Connector 27"/>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9"/>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7.80</a:t>
              </a:r>
            </a:p>
          </p:txBody>
        </p:sp>
      </p:grpSp>
      <p:grpSp>
        <p:nvGrpSpPr>
          <p:cNvPr id="30" name="Group 32"/>
          <p:cNvGrpSpPr>
            <a:grpSpLocks/>
          </p:cNvGrpSpPr>
          <p:nvPr userDrawn="1"/>
        </p:nvGrpSpPr>
        <p:grpSpPr bwMode="auto">
          <a:xfrm>
            <a:off x="-1431925" y="6481763"/>
            <a:ext cx="1338262" cy="215900"/>
            <a:chOff x="-1563724" y="81191"/>
            <a:chExt cx="1338744" cy="215444"/>
          </a:xfrm>
        </p:grpSpPr>
        <p:cxnSp>
          <p:nvCxnSpPr>
            <p:cNvPr id="31" name="Straight Arrow Connector 3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80</a:t>
              </a:r>
            </a:p>
          </p:txBody>
        </p:sp>
      </p:grpSp>
      <p:grpSp>
        <p:nvGrpSpPr>
          <p:cNvPr id="33" name="Group 35"/>
          <p:cNvGrpSpPr>
            <a:grpSpLocks/>
          </p:cNvGrpSpPr>
          <p:nvPr userDrawn="1"/>
        </p:nvGrpSpPr>
        <p:grpSpPr bwMode="auto">
          <a:xfrm>
            <a:off x="-1431925" y="74613"/>
            <a:ext cx="1338262" cy="214312"/>
            <a:chOff x="-1563724" y="81191"/>
            <a:chExt cx="1338744" cy="215444"/>
          </a:xfrm>
        </p:grpSpPr>
        <p:cxnSp>
          <p:nvCxnSpPr>
            <p:cNvPr id="34" name="Straight Arrow Connector 33"/>
            <p:cNvCxnSpPr/>
            <p:nvPr userDrawn="1"/>
          </p:nvCxnSpPr>
          <p:spPr>
            <a:xfrm>
              <a:off x="-872913" y="189711"/>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5"/>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9.00</a:t>
              </a:r>
            </a:p>
          </p:txBody>
        </p:sp>
      </p:grpSp>
      <p:grpSp>
        <p:nvGrpSpPr>
          <p:cNvPr id="36" name="Group 38"/>
          <p:cNvGrpSpPr>
            <a:grpSpLocks/>
          </p:cNvGrpSpPr>
          <p:nvPr userDrawn="1"/>
        </p:nvGrpSpPr>
        <p:grpSpPr bwMode="auto">
          <a:xfrm>
            <a:off x="4557713" y="-819150"/>
            <a:ext cx="647700" cy="719137"/>
            <a:chOff x="312906" y="-666492"/>
            <a:chExt cx="648072" cy="719500"/>
          </a:xfrm>
        </p:grpSpPr>
        <p:cxnSp>
          <p:nvCxnSpPr>
            <p:cNvPr id="37" name="Straight Arrow Connector 36"/>
            <p:cNvCxnSpPr/>
            <p:nvPr userDrawn="1"/>
          </p:nvCxnSpPr>
          <p:spPr>
            <a:xfrm>
              <a:off x="635353" y="-4504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8"/>
            <p:cNvSpPr txBox="1">
              <a:spLocks noChangeArrowheads="1"/>
            </p:cNvSpPr>
            <p:nvPr userDrawn="1"/>
          </p:nvSpPr>
          <p:spPr bwMode="auto">
            <a:xfrm>
              <a:off x="312906" y="-6664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39" name="Group 84"/>
          <p:cNvGrpSpPr>
            <a:grpSpLocks/>
          </p:cNvGrpSpPr>
          <p:nvPr userDrawn="1"/>
        </p:nvGrpSpPr>
        <p:grpSpPr bwMode="auto">
          <a:xfrm>
            <a:off x="4691063" y="6958013"/>
            <a:ext cx="649287" cy="719137"/>
            <a:chOff x="4691529" y="6957392"/>
            <a:chExt cx="648072" cy="719501"/>
          </a:xfrm>
        </p:grpSpPr>
        <p:cxnSp>
          <p:nvCxnSpPr>
            <p:cNvPr id="40" name="Straight Arrow Connector 39"/>
            <p:cNvCxnSpPr/>
            <p:nvPr userDrawn="1"/>
          </p:nvCxnSpPr>
          <p:spPr>
            <a:xfrm rot="10800000">
              <a:off x="5016357" y="6957392"/>
              <a:ext cx="0" cy="50349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1"/>
            <p:cNvSpPr txBox="1">
              <a:spLocks noChangeArrowheads="1"/>
            </p:cNvSpPr>
            <p:nvPr userDrawn="1"/>
          </p:nvSpPr>
          <p:spPr bwMode="auto">
            <a:xfrm>
              <a:off x="4691529" y="7460884"/>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0.20</a:t>
              </a:r>
            </a:p>
          </p:txBody>
        </p:sp>
      </p:grpSp>
      <p:grpSp>
        <p:nvGrpSpPr>
          <p:cNvPr id="42" name="Group 44"/>
          <p:cNvGrpSpPr>
            <a:grpSpLocks/>
          </p:cNvGrpSpPr>
          <p:nvPr userDrawn="1"/>
        </p:nvGrpSpPr>
        <p:grpSpPr bwMode="auto">
          <a:xfrm>
            <a:off x="9085263" y="-808038"/>
            <a:ext cx="647700" cy="719138"/>
            <a:chOff x="160506" y="-818892"/>
            <a:chExt cx="648072" cy="719500"/>
          </a:xfrm>
        </p:grpSpPr>
        <p:cxnSp>
          <p:nvCxnSpPr>
            <p:cNvPr id="43" name="Straight Arrow Connector 42"/>
            <p:cNvCxnSpPr/>
            <p:nvPr userDrawn="1"/>
          </p:nvCxnSpPr>
          <p:spPr>
            <a:xfrm>
              <a:off x="482953" y="-602883"/>
              <a:ext cx="0" cy="503491"/>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4"/>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FFFF"/>
                  </a:solidFill>
                </a:rPr>
                <a:t>12.40</a:t>
              </a:r>
            </a:p>
          </p:txBody>
        </p:sp>
      </p:grpSp>
      <p:grpSp>
        <p:nvGrpSpPr>
          <p:cNvPr id="45" name="Group 47"/>
          <p:cNvGrpSpPr>
            <a:grpSpLocks/>
          </p:cNvGrpSpPr>
          <p:nvPr userDrawn="1"/>
        </p:nvGrpSpPr>
        <p:grpSpPr bwMode="auto">
          <a:xfrm>
            <a:off x="1773238" y="-819150"/>
            <a:ext cx="647700" cy="719137"/>
            <a:chOff x="160506" y="-818892"/>
            <a:chExt cx="648072" cy="719500"/>
          </a:xfrm>
        </p:grpSpPr>
        <p:cxnSp>
          <p:nvCxnSpPr>
            <p:cNvPr id="46" name="Straight Arrow Connector 45"/>
            <p:cNvCxnSpPr/>
            <p:nvPr userDrawn="1"/>
          </p:nvCxnSpPr>
          <p:spPr>
            <a:xfrm>
              <a:off x="482953" y="-602883"/>
              <a:ext cx="0" cy="50349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7"/>
            <p:cNvSpPr txBox="1">
              <a:spLocks noChangeArrowheads="1"/>
            </p:cNvSpPr>
            <p:nvPr userDrawn="1"/>
          </p:nvSpPr>
          <p:spPr bwMode="auto">
            <a:xfrm>
              <a:off x="160506" y="-818892"/>
              <a:ext cx="648072" cy="21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90</a:t>
              </a:r>
            </a:p>
          </p:txBody>
        </p:sp>
      </p:grpSp>
      <p:grpSp>
        <p:nvGrpSpPr>
          <p:cNvPr id="48" name="Group 88"/>
          <p:cNvGrpSpPr>
            <a:grpSpLocks/>
          </p:cNvGrpSpPr>
          <p:nvPr userDrawn="1"/>
        </p:nvGrpSpPr>
        <p:grpSpPr bwMode="auto">
          <a:xfrm>
            <a:off x="1938338" y="-603250"/>
            <a:ext cx="647700" cy="503237"/>
            <a:chOff x="1938189" y="-602868"/>
            <a:chExt cx="648072" cy="502896"/>
          </a:xfrm>
        </p:grpSpPr>
        <p:cxnSp>
          <p:nvCxnSpPr>
            <p:cNvPr id="49" name="Straight Arrow Connector 48"/>
            <p:cNvCxnSpPr/>
            <p:nvPr userDrawn="1"/>
          </p:nvCxnSpPr>
          <p:spPr>
            <a:xfrm>
              <a:off x="2249518" y="-387114"/>
              <a:ext cx="0" cy="28714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50"/>
            <p:cNvSpPr txBox="1">
              <a:spLocks noChangeArrowheads="1"/>
            </p:cNvSpPr>
            <p:nvPr userDrawn="1"/>
          </p:nvSpPr>
          <p:spPr bwMode="auto">
            <a:xfrm>
              <a:off x="1938189" y="-602868"/>
              <a:ext cx="648072" cy="21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800" dirty="0" smtClean="0">
                  <a:solidFill>
                    <a:srgbClr val="FF0000"/>
                  </a:solidFill>
                </a:rPr>
                <a:t>7.50</a:t>
              </a:r>
            </a:p>
          </p:txBody>
        </p:sp>
      </p:grpSp>
      <p:sp>
        <p:nvSpPr>
          <p:cNvPr id="51" name="TextBox 51"/>
          <p:cNvSpPr txBox="1">
            <a:spLocks noChangeArrowheads="1"/>
          </p:cNvSpPr>
          <p:nvPr userDrawn="1"/>
        </p:nvSpPr>
        <p:spPr bwMode="auto">
          <a:xfrm>
            <a:off x="1647825" y="-981075"/>
            <a:ext cx="10287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36000" rIns="72000" bIns="3600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altLang="en-US" sz="800" dirty="0" smtClean="0">
                <a:solidFill>
                  <a:srgbClr val="FF0000"/>
                </a:solidFill>
                <a:latin typeface="Verdana" pitchFamily="34" charset="0"/>
              </a:rPr>
              <a:t>Guides for gutter</a:t>
            </a:r>
          </a:p>
        </p:txBody>
      </p:sp>
      <p:sp>
        <p:nvSpPr>
          <p:cNvPr id="52" name="Rectangle 51"/>
          <p:cNvSpPr/>
          <p:nvPr userDrawn="1"/>
        </p:nvSpPr>
        <p:spPr>
          <a:xfrm>
            <a:off x="-2211388" y="3829050"/>
            <a:ext cx="2117725" cy="8397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Text colours</a:t>
            </a:r>
          </a:p>
        </p:txBody>
      </p:sp>
      <p:sp>
        <p:nvSpPr>
          <p:cNvPr id="53" name="Rectangle 52"/>
          <p:cNvSpPr/>
          <p:nvPr userDrawn="1"/>
        </p:nvSpPr>
        <p:spPr>
          <a:xfrm>
            <a:off x="-2103438" y="4129088"/>
            <a:ext cx="431800" cy="431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GB" sz="800" dirty="0">
                <a:solidFill>
                  <a:srgbClr val="FFFFFF"/>
                </a:solidFill>
              </a:rPr>
              <a:t>G 66</a:t>
            </a:r>
          </a:p>
          <a:p>
            <a:pPr algn="ctr">
              <a:defRPr/>
            </a:pPr>
            <a:r>
              <a:rPr lang="en-GB" sz="800" dirty="0">
                <a:solidFill>
                  <a:srgbClr val="FFFFFF"/>
                </a:solidFill>
              </a:rPr>
              <a:t>B 152</a:t>
            </a:r>
          </a:p>
        </p:txBody>
      </p:sp>
      <p:sp>
        <p:nvSpPr>
          <p:cNvPr id="54" name="Rectangle 53"/>
          <p:cNvSpPr/>
          <p:nvPr userDrawn="1"/>
        </p:nvSpPr>
        <p:spPr>
          <a:xfrm>
            <a:off x="-1365250" y="4129088"/>
            <a:ext cx="431800" cy="431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0</a:t>
            </a:r>
          </a:p>
          <a:p>
            <a:pPr algn="ctr">
              <a:defRPr/>
            </a:pPr>
            <a:r>
              <a:rPr lang="en-GB" sz="800" dirty="0">
                <a:solidFill>
                  <a:srgbClr val="FFFFFF"/>
                </a:solidFill>
              </a:rPr>
              <a:t>G 0</a:t>
            </a:r>
          </a:p>
          <a:p>
            <a:pPr algn="ctr">
              <a:defRPr/>
            </a:pPr>
            <a:r>
              <a:rPr lang="en-GB" sz="800" dirty="0">
                <a:solidFill>
                  <a:srgbClr val="FFFFFF"/>
                </a:solidFill>
              </a:rPr>
              <a:t>B 0</a:t>
            </a:r>
          </a:p>
        </p:txBody>
      </p:sp>
      <p:sp>
        <p:nvSpPr>
          <p:cNvPr id="55" name="Rectangle 54"/>
          <p:cNvSpPr/>
          <p:nvPr userDrawn="1"/>
        </p:nvSpPr>
        <p:spPr>
          <a:xfrm>
            <a:off x="-627063" y="4129088"/>
            <a:ext cx="431800" cy="4318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27</a:t>
            </a:r>
          </a:p>
          <a:p>
            <a:pPr algn="ctr">
              <a:defRPr/>
            </a:pPr>
            <a:r>
              <a:rPr lang="en-GB" sz="800" dirty="0">
                <a:solidFill>
                  <a:srgbClr val="FFFFFF"/>
                </a:solidFill>
              </a:rPr>
              <a:t>G 127</a:t>
            </a:r>
          </a:p>
          <a:p>
            <a:pPr algn="ctr">
              <a:defRPr/>
            </a:pPr>
            <a:r>
              <a:rPr lang="en-GB" sz="800" dirty="0">
                <a:solidFill>
                  <a:srgbClr val="FFFFFF"/>
                </a:solidFill>
              </a:rPr>
              <a:t>B 127</a:t>
            </a:r>
          </a:p>
        </p:txBody>
      </p:sp>
      <p:sp>
        <p:nvSpPr>
          <p:cNvPr id="56" name="Rectangle 55"/>
          <p:cNvSpPr/>
          <p:nvPr userDrawn="1"/>
        </p:nvSpPr>
        <p:spPr>
          <a:xfrm>
            <a:off x="-2211388" y="4821238"/>
            <a:ext cx="2117725" cy="12969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Background shading</a:t>
            </a:r>
          </a:p>
        </p:txBody>
      </p:sp>
      <p:sp>
        <p:nvSpPr>
          <p:cNvPr id="57" name="Rectangle 56"/>
          <p:cNvSpPr/>
          <p:nvPr userDrawn="1"/>
        </p:nvSpPr>
        <p:spPr>
          <a:xfrm>
            <a:off x="-2103438" y="5013325"/>
            <a:ext cx="431800" cy="431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lumMod val="50000"/>
                  </a:srgbClr>
                </a:solidFill>
              </a:rPr>
              <a:t>R 242</a:t>
            </a:r>
          </a:p>
          <a:p>
            <a:pPr algn="ctr">
              <a:defRPr/>
            </a:pPr>
            <a:r>
              <a:rPr lang="en-GB" sz="800" dirty="0">
                <a:solidFill>
                  <a:srgbClr val="FFFFFF">
                    <a:lumMod val="50000"/>
                  </a:srgbClr>
                </a:solidFill>
              </a:rPr>
              <a:t>G 242</a:t>
            </a:r>
          </a:p>
          <a:p>
            <a:pPr algn="ctr">
              <a:defRPr/>
            </a:pPr>
            <a:r>
              <a:rPr lang="en-GB" sz="800" dirty="0">
                <a:solidFill>
                  <a:srgbClr val="FFFFFF">
                    <a:lumMod val="50000"/>
                  </a:srgbClr>
                </a:solidFill>
              </a:rPr>
              <a:t>B 242</a:t>
            </a:r>
          </a:p>
        </p:txBody>
      </p:sp>
      <p:sp>
        <p:nvSpPr>
          <p:cNvPr id="58" name="Rectangle 57"/>
          <p:cNvSpPr/>
          <p:nvPr userDrawn="1"/>
        </p:nvSpPr>
        <p:spPr>
          <a:xfrm>
            <a:off x="-1365250" y="5013325"/>
            <a:ext cx="431800" cy="4318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25</a:t>
            </a:r>
          </a:p>
          <a:p>
            <a:pPr algn="ctr">
              <a:defRPr/>
            </a:pPr>
            <a:r>
              <a:rPr lang="en-GB" sz="800" dirty="0">
                <a:solidFill>
                  <a:srgbClr val="1B4298"/>
                </a:solidFill>
              </a:rPr>
              <a:t>G 235</a:t>
            </a:r>
          </a:p>
          <a:p>
            <a:pPr algn="ctr">
              <a:defRPr/>
            </a:pPr>
            <a:r>
              <a:rPr lang="en-GB" sz="800" dirty="0">
                <a:solidFill>
                  <a:srgbClr val="1B4298"/>
                </a:solidFill>
              </a:rPr>
              <a:t>B 244</a:t>
            </a:r>
          </a:p>
        </p:txBody>
      </p:sp>
      <p:sp>
        <p:nvSpPr>
          <p:cNvPr id="59" name="Rectangle 58"/>
          <p:cNvSpPr/>
          <p:nvPr userDrawn="1"/>
        </p:nvSpPr>
        <p:spPr>
          <a:xfrm>
            <a:off x="-627063" y="5013325"/>
            <a:ext cx="431800" cy="431800"/>
          </a:xfrm>
          <a:prstGeom prst="rect">
            <a:avLst/>
          </a:prstGeom>
          <a:solidFill>
            <a:srgbClr val="E3F4E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73C6A1"/>
                </a:solidFill>
              </a:rPr>
              <a:t>R 227</a:t>
            </a:r>
          </a:p>
          <a:p>
            <a:pPr algn="ctr">
              <a:defRPr/>
            </a:pPr>
            <a:r>
              <a:rPr lang="en-GB" sz="800" dirty="0">
                <a:solidFill>
                  <a:srgbClr val="73C6A1"/>
                </a:solidFill>
              </a:rPr>
              <a:t>G 244</a:t>
            </a:r>
          </a:p>
          <a:p>
            <a:pPr algn="ctr">
              <a:defRPr/>
            </a:pPr>
            <a:r>
              <a:rPr lang="en-GB" sz="800" dirty="0">
                <a:solidFill>
                  <a:srgbClr val="73C6A1"/>
                </a:solidFill>
              </a:rPr>
              <a:t>B 236</a:t>
            </a:r>
          </a:p>
        </p:txBody>
      </p:sp>
      <p:grpSp>
        <p:nvGrpSpPr>
          <p:cNvPr id="60" name="Group 65"/>
          <p:cNvGrpSpPr>
            <a:grpSpLocks/>
          </p:cNvGrpSpPr>
          <p:nvPr userDrawn="1"/>
        </p:nvGrpSpPr>
        <p:grpSpPr bwMode="auto">
          <a:xfrm>
            <a:off x="-1431925" y="295275"/>
            <a:ext cx="1338262" cy="215900"/>
            <a:chOff x="-1563724" y="81191"/>
            <a:chExt cx="1338744" cy="215444"/>
          </a:xfrm>
        </p:grpSpPr>
        <p:cxnSp>
          <p:nvCxnSpPr>
            <p:cNvPr id="61" name="Straight Arrow Connector 60"/>
            <p:cNvCxnSpPr/>
            <p:nvPr userDrawn="1"/>
          </p:nvCxnSpPr>
          <p:spPr>
            <a:xfrm>
              <a:off x="-872913" y="188913"/>
              <a:ext cx="64793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2"/>
            <p:cNvSpPr txBox="1">
              <a:spLocks noChangeArrowheads="1"/>
            </p:cNvSpPr>
            <p:nvPr userDrawn="1"/>
          </p:nvSpPr>
          <p:spPr bwMode="auto">
            <a:xfrm>
              <a:off x="-1563724" y="81191"/>
              <a:ext cx="64793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r>
                <a:rPr lang="en-GB" altLang="en-US" sz="800" dirty="0" smtClean="0">
                  <a:solidFill>
                    <a:srgbClr val="FFFFFF"/>
                  </a:solidFill>
                </a:rPr>
                <a:t>8.40</a:t>
              </a:r>
            </a:p>
          </p:txBody>
        </p:sp>
      </p:grpSp>
      <p:sp>
        <p:nvSpPr>
          <p:cNvPr id="63" name="Rectangle 62"/>
          <p:cNvSpPr/>
          <p:nvPr userDrawn="1"/>
        </p:nvSpPr>
        <p:spPr>
          <a:xfrm>
            <a:off x="-2211388" y="1341438"/>
            <a:ext cx="2117725" cy="2255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lstStyle/>
          <a:p>
            <a:pPr algn="ctr">
              <a:defRPr/>
            </a:pPr>
            <a:r>
              <a:rPr lang="en-GB" sz="800" dirty="0">
                <a:solidFill>
                  <a:srgbClr val="1B4298"/>
                </a:solidFill>
              </a:rPr>
              <a:t>Colour order </a:t>
            </a:r>
            <a:r>
              <a:rPr lang="en-GB" sz="700" i="1" dirty="0">
                <a:solidFill>
                  <a:srgbClr val="1B4298"/>
                </a:solidFill>
              </a:rPr>
              <a:t>(left to right, top to bottom)</a:t>
            </a:r>
          </a:p>
        </p:txBody>
      </p:sp>
      <p:sp>
        <p:nvSpPr>
          <p:cNvPr id="64" name="Rectangle 63"/>
          <p:cNvSpPr/>
          <p:nvPr userDrawn="1"/>
        </p:nvSpPr>
        <p:spPr>
          <a:xfrm>
            <a:off x="-2103438" y="1533525"/>
            <a:ext cx="431800" cy="431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59</a:t>
            </a:r>
          </a:p>
          <a:p>
            <a:pPr algn="ctr">
              <a:defRPr/>
            </a:pPr>
            <a:r>
              <a:rPr lang="en-US" sz="800" dirty="0">
                <a:solidFill>
                  <a:srgbClr val="FFFFFF"/>
                </a:solidFill>
              </a:rPr>
              <a:t>G 110</a:t>
            </a:r>
          </a:p>
          <a:p>
            <a:pPr algn="ctr">
              <a:defRPr/>
            </a:pPr>
            <a:r>
              <a:rPr lang="en-US" sz="800" dirty="0">
                <a:solidFill>
                  <a:srgbClr val="FFFFFF"/>
                </a:solidFill>
              </a:rPr>
              <a:t>B 143</a:t>
            </a:r>
            <a:endParaRPr lang="en-GB" sz="800" dirty="0">
              <a:solidFill>
                <a:srgbClr val="FFFFFF"/>
              </a:solidFill>
            </a:endParaRPr>
          </a:p>
        </p:txBody>
      </p:sp>
      <p:sp>
        <p:nvSpPr>
          <p:cNvPr id="65" name="Rectangle 64"/>
          <p:cNvSpPr/>
          <p:nvPr userDrawn="1"/>
        </p:nvSpPr>
        <p:spPr>
          <a:xfrm>
            <a:off x="-1365250" y="1533525"/>
            <a:ext cx="431800" cy="4318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51</a:t>
            </a:r>
          </a:p>
          <a:p>
            <a:pPr algn="ctr">
              <a:defRPr/>
            </a:pPr>
            <a:r>
              <a:rPr lang="en-US" sz="800" dirty="0">
                <a:solidFill>
                  <a:srgbClr val="FFFFFF"/>
                </a:solidFill>
              </a:rPr>
              <a:t>G 193</a:t>
            </a:r>
          </a:p>
          <a:p>
            <a:pPr algn="ctr">
              <a:defRPr/>
            </a:pPr>
            <a:r>
              <a:rPr lang="en-US" sz="800" dirty="0">
                <a:solidFill>
                  <a:srgbClr val="FFFFFF"/>
                </a:solidFill>
              </a:rPr>
              <a:t>B 119</a:t>
            </a:r>
            <a:endParaRPr lang="en-GB" sz="800" dirty="0">
              <a:solidFill>
                <a:srgbClr val="FFFFFF"/>
              </a:solidFill>
            </a:endParaRPr>
          </a:p>
        </p:txBody>
      </p:sp>
      <p:sp>
        <p:nvSpPr>
          <p:cNvPr id="66" name="Rectangle 65"/>
          <p:cNvSpPr/>
          <p:nvPr userDrawn="1"/>
        </p:nvSpPr>
        <p:spPr>
          <a:xfrm>
            <a:off x="-627063" y="1533525"/>
            <a:ext cx="431800" cy="431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15</a:t>
            </a:r>
          </a:p>
          <a:p>
            <a:pPr algn="ctr">
              <a:defRPr/>
            </a:pPr>
            <a:r>
              <a:rPr lang="en-US" sz="800" dirty="0">
                <a:solidFill>
                  <a:srgbClr val="FFFFFF"/>
                </a:solidFill>
              </a:rPr>
              <a:t>G 198</a:t>
            </a:r>
          </a:p>
          <a:p>
            <a:pPr algn="ctr">
              <a:defRPr/>
            </a:pPr>
            <a:r>
              <a:rPr lang="en-US" sz="800" dirty="0">
                <a:solidFill>
                  <a:srgbClr val="FFFFFF"/>
                </a:solidFill>
              </a:rPr>
              <a:t>B 161</a:t>
            </a:r>
            <a:endParaRPr lang="en-GB" sz="800" dirty="0">
              <a:solidFill>
                <a:srgbClr val="FFFFFF"/>
              </a:solidFill>
            </a:endParaRPr>
          </a:p>
        </p:txBody>
      </p:sp>
      <p:sp>
        <p:nvSpPr>
          <p:cNvPr id="67" name="Rectangle 66"/>
          <p:cNvSpPr/>
          <p:nvPr userDrawn="1"/>
        </p:nvSpPr>
        <p:spPr>
          <a:xfrm>
            <a:off x="-2103438" y="2028825"/>
            <a:ext cx="431800" cy="431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103</a:t>
            </a:r>
          </a:p>
          <a:p>
            <a:pPr algn="ctr">
              <a:defRPr/>
            </a:pPr>
            <a:r>
              <a:rPr lang="en-US" sz="800" dirty="0">
                <a:solidFill>
                  <a:srgbClr val="FFFFFF"/>
                </a:solidFill>
              </a:rPr>
              <a:t>G 153</a:t>
            </a:r>
          </a:p>
          <a:p>
            <a:pPr algn="ctr">
              <a:defRPr/>
            </a:pPr>
            <a:r>
              <a:rPr lang="en-US" sz="800" dirty="0">
                <a:solidFill>
                  <a:srgbClr val="FFFFFF"/>
                </a:solidFill>
              </a:rPr>
              <a:t>B 200</a:t>
            </a:r>
            <a:endParaRPr lang="en-GB" sz="800" dirty="0">
              <a:solidFill>
                <a:srgbClr val="FFFFFF"/>
              </a:solidFill>
            </a:endParaRPr>
          </a:p>
        </p:txBody>
      </p:sp>
      <p:sp>
        <p:nvSpPr>
          <p:cNvPr id="68" name="Rectangle 67"/>
          <p:cNvSpPr/>
          <p:nvPr userDrawn="1"/>
        </p:nvSpPr>
        <p:spPr>
          <a:xfrm>
            <a:off x="-627063" y="2028825"/>
            <a:ext cx="431800" cy="431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86</a:t>
            </a:r>
          </a:p>
          <a:p>
            <a:pPr algn="ctr">
              <a:defRPr/>
            </a:pPr>
            <a:r>
              <a:rPr lang="en-US" sz="800" dirty="0">
                <a:solidFill>
                  <a:srgbClr val="1B4298"/>
                </a:solidFill>
              </a:rPr>
              <a:t>G 163</a:t>
            </a:r>
          </a:p>
          <a:p>
            <a:pPr algn="ctr">
              <a:defRPr/>
            </a:pPr>
            <a:r>
              <a:rPr lang="en-US" sz="800" dirty="0">
                <a:solidFill>
                  <a:srgbClr val="1B4298"/>
                </a:solidFill>
              </a:rPr>
              <a:t>B 171</a:t>
            </a:r>
            <a:endParaRPr lang="en-GB" sz="800" dirty="0">
              <a:solidFill>
                <a:srgbClr val="1B4298"/>
              </a:solidFill>
            </a:endParaRPr>
          </a:p>
        </p:txBody>
      </p:sp>
      <p:sp>
        <p:nvSpPr>
          <p:cNvPr id="69" name="Rectangle 68"/>
          <p:cNvSpPr/>
          <p:nvPr userDrawn="1"/>
        </p:nvSpPr>
        <p:spPr>
          <a:xfrm>
            <a:off x="-1365250" y="2028825"/>
            <a:ext cx="431800" cy="4318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191</a:t>
            </a:r>
          </a:p>
          <a:p>
            <a:pPr algn="ctr">
              <a:defRPr/>
            </a:pPr>
            <a:r>
              <a:rPr lang="en-US" sz="800" dirty="0">
                <a:solidFill>
                  <a:srgbClr val="1B4298"/>
                </a:solidFill>
              </a:rPr>
              <a:t>G 191</a:t>
            </a:r>
          </a:p>
          <a:p>
            <a:pPr algn="ctr">
              <a:defRPr/>
            </a:pPr>
            <a:r>
              <a:rPr lang="en-US" sz="800" dirty="0">
                <a:solidFill>
                  <a:srgbClr val="1B4298"/>
                </a:solidFill>
              </a:rPr>
              <a:t>B 191</a:t>
            </a:r>
            <a:endParaRPr lang="en-GB" sz="800" dirty="0">
              <a:solidFill>
                <a:srgbClr val="1B4298"/>
              </a:solidFill>
            </a:endParaRPr>
          </a:p>
        </p:txBody>
      </p:sp>
      <p:sp>
        <p:nvSpPr>
          <p:cNvPr id="70" name="Rectangle 69"/>
          <p:cNvSpPr/>
          <p:nvPr userDrawn="1"/>
        </p:nvSpPr>
        <p:spPr>
          <a:xfrm>
            <a:off x="-2103438" y="2524125"/>
            <a:ext cx="431800" cy="43338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US" sz="800" dirty="0">
                <a:solidFill>
                  <a:srgbClr val="FFFFFF"/>
                </a:solidFill>
              </a:rPr>
              <a:t>R 127</a:t>
            </a:r>
          </a:p>
          <a:p>
            <a:pPr algn="ctr">
              <a:defRPr/>
            </a:pPr>
            <a:r>
              <a:rPr lang="en-US" sz="800" dirty="0">
                <a:solidFill>
                  <a:srgbClr val="FFFFFF"/>
                </a:solidFill>
              </a:rPr>
              <a:t>G 127</a:t>
            </a:r>
          </a:p>
          <a:p>
            <a:pPr algn="ctr">
              <a:defRPr/>
            </a:pPr>
            <a:r>
              <a:rPr lang="en-US" sz="800" dirty="0">
                <a:solidFill>
                  <a:srgbClr val="FFFFFF"/>
                </a:solidFill>
              </a:rPr>
              <a:t>B 127</a:t>
            </a:r>
            <a:endParaRPr lang="en-GB" sz="800" dirty="0">
              <a:solidFill>
                <a:srgbClr val="FFFFFF"/>
              </a:solidFill>
            </a:endParaRPr>
          </a:p>
        </p:txBody>
      </p:sp>
      <p:sp>
        <p:nvSpPr>
          <p:cNvPr id="71" name="Rectangle 70"/>
          <p:cNvSpPr/>
          <p:nvPr userDrawn="1"/>
        </p:nvSpPr>
        <p:spPr>
          <a:xfrm>
            <a:off x="-1365250" y="2524125"/>
            <a:ext cx="431800" cy="4333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01</a:t>
            </a:r>
          </a:p>
          <a:p>
            <a:pPr algn="ctr">
              <a:defRPr/>
            </a:pPr>
            <a:r>
              <a:rPr lang="en-US" sz="800" dirty="0">
                <a:solidFill>
                  <a:srgbClr val="FFFFFF"/>
                </a:solidFill>
              </a:rPr>
              <a:t>G 48</a:t>
            </a:r>
          </a:p>
          <a:p>
            <a:pPr algn="ctr">
              <a:defRPr/>
            </a:pPr>
            <a:r>
              <a:rPr lang="en-US" sz="800" dirty="0">
                <a:solidFill>
                  <a:srgbClr val="FFFFFF"/>
                </a:solidFill>
              </a:rPr>
              <a:t>B 146</a:t>
            </a:r>
            <a:endParaRPr lang="en-GB" sz="800" dirty="0">
              <a:solidFill>
                <a:srgbClr val="FFFFFF"/>
              </a:solidFill>
            </a:endParaRPr>
          </a:p>
        </p:txBody>
      </p:sp>
      <p:sp>
        <p:nvSpPr>
          <p:cNvPr id="72" name="Rectangle 71"/>
          <p:cNvSpPr/>
          <p:nvPr userDrawn="1"/>
        </p:nvSpPr>
        <p:spPr>
          <a:xfrm>
            <a:off x="-627063" y="2524125"/>
            <a:ext cx="431800" cy="4333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27</a:t>
            </a:r>
          </a:p>
          <a:p>
            <a:pPr algn="ctr">
              <a:defRPr/>
            </a:pPr>
            <a:r>
              <a:rPr lang="en-US" sz="800" dirty="0">
                <a:solidFill>
                  <a:srgbClr val="FFFFFF"/>
                </a:solidFill>
              </a:rPr>
              <a:t>G 66</a:t>
            </a:r>
          </a:p>
          <a:p>
            <a:pPr algn="ctr">
              <a:defRPr/>
            </a:pPr>
            <a:r>
              <a:rPr lang="en-US" sz="800" dirty="0">
                <a:solidFill>
                  <a:srgbClr val="FFFFFF"/>
                </a:solidFill>
              </a:rPr>
              <a:t>B 152</a:t>
            </a:r>
            <a:endParaRPr lang="en-GB" sz="800" dirty="0">
              <a:solidFill>
                <a:srgbClr val="FFFFFF"/>
              </a:solidFill>
            </a:endParaRPr>
          </a:p>
        </p:txBody>
      </p:sp>
      <p:sp>
        <p:nvSpPr>
          <p:cNvPr id="73" name="Rectangle 72"/>
          <p:cNvSpPr/>
          <p:nvPr userDrawn="1"/>
        </p:nvSpPr>
        <p:spPr>
          <a:xfrm>
            <a:off x="-2103438" y="3021013"/>
            <a:ext cx="431800" cy="431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FFFFF"/>
                </a:solidFill>
              </a:rPr>
              <a:t>R 84</a:t>
            </a:r>
          </a:p>
          <a:p>
            <a:pPr algn="ctr">
              <a:defRPr/>
            </a:pPr>
            <a:r>
              <a:rPr lang="en-US" sz="800" dirty="0">
                <a:solidFill>
                  <a:srgbClr val="FFFFFF"/>
                </a:solidFill>
              </a:rPr>
              <a:t>G 7</a:t>
            </a:r>
          </a:p>
          <a:p>
            <a:pPr algn="ctr">
              <a:defRPr/>
            </a:pPr>
            <a:r>
              <a:rPr lang="en-US" sz="800" dirty="0">
                <a:solidFill>
                  <a:srgbClr val="FFFFFF"/>
                </a:solidFill>
              </a:rPr>
              <a:t>B 91</a:t>
            </a:r>
            <a:endParaRPr lang="en-GB" sz="800" dirty="0">
              <a:solidFill>
                <a:srgbClr val="FFFFFF"/>
              </a:solidFill>
            </a:endParaRPr>
          </a:p>
        </p:txBody>
      </p:sp>
      <p:sp>
        <p:nvSpPr>
          <p:cNvPr id="74" name="Rectangle 73"/>
          <p:cNvSpPr/>
          <p:nvPr userDrawn="1"/>
        </p:nvSpPr>
        <p:spPr>
          <a:xfrm>
            <a:off x="-1365250" y="3021013"/>
            <a:ext cx="431800" cy="431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48</a:t>
            </a:r>
          </a:p>
          <a:p>
            <a:pPr algn="ctr">
              <a:defRPr/>
            </a:pPr>
            <a:r>
              <a:rPr lang="en-US" sz="800" dirty="0">
                <a:solidFill>
                  <a:srgbClr val="1B4298"/>
                </a:solidFill>
              </a:rPr>
              <a:t>G 152</a:t>
            </a:r>
          </a:p>
          <a:p>
            <a:pPr algn="ctr">
              <a:defRPr/>
            </a:pPr>
            <a:r>
              <a:rPr lang="en-US" sz="800" dirty="0">
                <a:solidFill>
                  <a:srgbClr val="1B4298"/>
                </a:solidFill>
              </a:rPr>
              <a:t>B 29</a:t>
            </a:r>
            <a:endParaRPr lang="en-GB" sz="800" dirty="0">
              <a:solidFill>
                <a:srgbClr val="1B4298"/>
              </a:solidFill>
            </a:endParaRPr>
          </a:p>
        </p:txBody>
      </p:sp>
      <p:sp>
        <p:nvSpPr>
          <p:cNvPr id="76" name="Rectangle 75"/>
          <p:cNvSpPr/>
          <p:nvPr userDrawn="1"/>
        </p:nvSpPr>
        <p:spPr>
          <a:xfrm>
            <a:off x="-2103438" y="5516563"/>
            <a:ext cx="431800" cy="43338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BAA3AB"/>
                </a:solidFill>
              </a:rPr>
              <a:t>R 241</a:t>
            </a:r>
          </a:p>
          <a:p>
            <a:pPr algn="ctr">
              <a:defRPr/>
            </a:pPr>
            <a:r>
              <a:rPr lang="en-GB" sz="800" dirty="0">
                <a:solidFill>
                  <a:srgbClr val="BAA3AB"/>
                </a:solidFill>
              </a:rPr>
              <a:t>G 237</a:t>
            </a:r>
          </a:p>
          <a:p>
            <a:pPr algn="ctr">
              <a:defRPr/>
            </a:pPr>
            <a:r>
              <a:rPr lang="en-GB" sz="800" dirty="0">
                <a:solidFill>
                  <a:srgbClr val="BAA3AB"/>
                </a:solidFill>
              </a:rPr>
              <a:t>B 238</a:t>
            </a:r>
          </a:p>
        </p:txBody>
      </p:sp>
      <p:sp>
        <p:nvSpPr>
          <p:cNvPr id="77" name="Rectangle 76"/>
          <p:cNvSpPr/>
          <p:nvPr userDrawn="1"/>
        </p:nvSpPr>
        <p:spPr>
          <a:xfrm>
            <a:off x="-1365250" y="5516563"/>
            <a:ext cx="431800" cy="43338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F8981D"/>
                </a:solidFill>
              </a:rPr>
              <a:t>R 254</a:t>
            </a:r>
          </a:p>
          <a:p>
            <a:pPr algn="ctr">
              <a:defRPr/>
            </a:pPr>
            <a:r>
              <a:rPr lang="en-GB" sz="800" dirty="0">
                <a:solidFill>
                  <a:srgbClr val="F8981D"/>
                </a:solidFill>
              </a:rPr>
              <a:t>G 234</a:t>
            </a:r>
          </a:p>
          <a:p>
            <a:pPr algn="ctr">
              <a:defRPr/>
            </a:pPr>
            <a:r>
              <a:rPr lang="en-GB" sz="800" dirty="0">
                <a:solidFill>
                  <a:srgbClr val="F8981D"/>
                </a:solidFill>
              </a:rPr>
              <a:t>B 210</a:t>
            </a:r>
          </a:p>
        </p:txBody>
      </p:sp>
      <p:sp>
        <p:nvSpPr>
          <p:cNvPr id="78" name="Rectangle 77"/>
          <p:cNvSpPr/>
          <p:nvPr userDrawn="1"/>
        </p:nvSpPr>
        <p:spPr>
          <a:xfrm>
            <a:off x="-627063" y="5516563"/>
            <a:ext cx="431800" cy="4333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anchor="ctr"/>
          <a:lstStyle/>
          <a:p>
            <a:pPr algn="ctr">
              <a:defRPr/>
            </a:pPr>
            <a:r>
              <a:rPr lang="en-GB" sz="800" dirty="0">
                <a:solidFill>
                  <a:srgbClr val="1B4298"/>
                </a:solidFill>
              </a:rPr>
              <a:t>R 211</a:t>
            </a:r>
          </a:p>
          <a:p>
            <a:pPr algn="ctr">
              <a:defRPr/>
            </a:pPr>
            <a:r>
              <a:rPr lang="en-GB" sz="800" dirty="0">
                <a:solidFill>
                  <a:srgbClr val="1B4298"/>
                </a:solidFill>
              </a:rPr>
              <a:t>G 227</a:t>
            </a:r>
          </a:p>
          <a:p>
            <a:pPr algn="ctr">
              <a:defRPr/>
            </a:pPr>
            <a:r>
              <a:rPr lang="en-GB" sz="800" dirty="0">
                <a:solidFill>
                  <a:srgbClr val="1B4298"/>
                </a:solidFill>
              </a:rPr>
              <a:t>B 237</a:t>
            </a:r>
          </a:p>
        </p:txBody>
      </p:sp>
    </p:spTree>
    <p:extLst>
      <p:ext uri="{BB962C8B-B14F-4D97-AF65-F5344CB8AC3E}">
        <p14:creationId xmlns:p14="http://schemas.microsoft.com/office/powerpoint/2010/main" val="159184786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272480" y="5512382"/>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extLst>
      <p:ext uri="{BB962C8B-B14F-4D97-AF65-F5344CB8AC3E}">
        <p14:creationId xmlns:p14="http://schemas.microsoft.com/office/powerpoint/2010/main" val="96428984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atin typeface="Corbel" panose="020B0503020204020204" pitchFamily="34" charset="0"/>
              </a:defRPr>
            </a:lvl1pPr>
          </a:lstStyle>
          <a:p>
            <a:r>
              <a:rPr lang="en-US" dirty="0" smtClean="0"/>
              <a:t>Click to edit Master title style</a:t>
            </a:r>
            <a:endParaRPr lang="en-GB" dirty="0"/>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6286226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6" name="Text Placeholder 21"/>
          <p:cNvSpPr>
            <a:spLocks noGrp="1"/>
          </p:cNvSpPr>
          <p:nvPr>
            <p:ph type="body" sz="quarter" idx="42"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43"/>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hasCustomPrompt="1"/>
          </p:nvPr>
        </p:nvSpPr>
        <p:spPr>
          <a:xfrm>
            <a:off x="5024437" y="6093295"/>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82375135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andard profile 2">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59039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206712"/>
            <a:ext cx="8208000" cy="630000"/>
          </a:xfrm>
        </p:spPr>
        <p:txBody>
          <a:bodyPr/>
          <a:lstStyle/>
          <a:p>
            <a:r>
              <a:rPr lang="en-US" smtClean="0"/>
              <a:t>Click to edit Master title style</a:t>
            </a:r>
            <a:endParaRPr lang="en-GB"/>
          </a:p>
        </p:txBody>
      </p:sp>
      <p:sp>
        <p:nvSpPr>
          <p:cNvPr id="23"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5" name="Text Placeholder 21"/>
          <p:cNvSpPr>
            <a:spLocks noGrp="1"/>
          </p:cNvSpPr>
          <p:nvPr>
            <p:ph type="body" sz="quarter" idx="35" hasCustomPrompt="1"/>
          </p:nvPr>
        </p:nvSpPr>
        <p:spPr>
          <a:xfrm>
            <a:off x="6537050"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6" name="Content Placeholder 2"/>
          <p:cNvSpPr>
            <a:spLocks noGrp="1"/>
          </p:cNvSpPr>
          <p:nvPr>
            <p:ph sz="half" idx="31"/>
          </p:nvPr>
        </p:nvSpPr>
        <p:spPr>
          <a:xfrm>
            <a:off x="6537050" y="1557338"/>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33" hasCustomPrompt="1"/>
          </p:nvPr>
        </p:nvSpPr>
        <p:spPr>
          <a:xfrm>
            <a:off x="6537050"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3" hasCustomPrompt="1"/>
          </p:nvPr>
        </p:nvSpPr>
        <p:spPr>
          <a:xfrm>
            <a:off x="6537050" y="4076700"/>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4"/>
          </p:nvPr>
        </p:nvSpPr>
        <p:spPr>
          <a:xfrm>
            <a:off x="6537050" y="4076699"/>
            <a:ext cx="2879726"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5" hasCustomPrompt="1"/>
          </p:nvPr>
        </p:nvSpPr>
        <p:spPr>
          <a:xfrm>
            <a:off x="653705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46"/>
          </p:nvPr>
        </p:nvSpPr>
        <p:spPr>
          <a:xfrm>
            <a:off x="6537050" y="1341438"/>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Text Placeholder 23"/>
          <p:cNvSpPr>
            <a:spLocks noGrp="1"/>
          </p:cNvSpPr>
          <p:nvPr>
            <p:ph type="body" sz="quarter" idx="47"/>
          </p:nvPr>
        </p:nvSpPr>
        <p:spPr>
          <a:xfrm>
            <a:off x="6537050" y="3860800"/>
            <a:ext cx="288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3111084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950"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1557339"/>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5" hasCustomPrompt="1"/>
          </p:nvPr>
        </p:nvSpPr>
        <p:spPr>
          <a:xfrm>
            <a:off x="488950"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47"/>
          </p:nvPr>
        </p:nvSpPr>
        <p:spPr>
          <a:xfrm>
            <a:off x="488950"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47896934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text one box">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50312594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3" name="Text Placeholder 23"/>
          <p:cNvSpPr>
            <a:spLocks noGrp="1"/>
          </p:cNvSpPr>
          <p:nvPr>
            <p:ph type="body" sz="quarter" idx="46"/>
          </p:nvPr>
        </p:nvSpPr>
        <p:spPr>
          <a:xfrm>
            <a:off x="488951" y="3860800"/>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07190324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5" hasCustomPrompt="1"/>
          </p:nvPr>
        </p:nvSpPr>
        <p:spPr>
          <a:xfrm>
            <a:off x="6537324"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6537324"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6093296"/>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5" hasCustomPrompt="1"/>
          </p:nvPr>
        </p:nvSpPr>
        <p:spPr>
          <a:xfrm>
            <a:off x="3513138"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6"/>
          </p:nvPr>
        </p:nvSpPr>
        <p:spPr>
          <a:xfrm>
            <a:off x="3513138"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7" hasCustomPrompt="1"/>
          </p:nvPr>
        </p:nvSpPr>
        <p:spPr>
          <a:xfrm>
            <a:off x="3513138"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59"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0"/>
          </p:nvPr>
        </p:nvSpPr>
        <p:spPr>
          <a:xfrm>
            <a:off x="488952"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1" hasCustomPrompt="1"/>
          </p:nvPr>
        </p:nvSpPr>
        <p:spPr>
          <a:xfrm>
            <a:off x="488952"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2"/>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40524712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box above, 2 charts under">
    <p:spTree>
      <p:nvGrpSpPr>
        <p:cNvPr id="1" name=""/>
        <p:cNvGrpSpPr/>
        <p:nvPr/>
      </p:nvGrpSpPr>
      <p:grpSpPr>
        <a:xfrm>
          <a:off x="0" y="0"/>
          <a:ext cx="0" cy="0"/>
          <a:chOff x="0" y="0"/>
          <a:chExt cx="0" cy="0"/>
        </a:xfrm>
      </p:grpSpPr>
      <p:sp>
        <p:nvSpPr>
          <p:cNvPr id="15" name="Content Placeholder 2"/>
          <p:cNvSpPr>
            <a:spLocks noGrp="1"/>
          </p:cNvSpPr>
          <p:nvPr>
            <p:ph idx="1"/>
          </p:nvPr>
        </p:nvSpPr>
        <p:spPr>
          <a:xfrm>
            <a:off x="488950" y="1341438"/>
            <a:ext cx="8928100" cy="237490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7"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18"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44"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1"/>
          <p:cNvSpPr>
            <a:spLocks noGrp="1"/>
          </p:cNvSpPr>
          <p:nvPr>
            <p:ph type="body" sz="quarter" idx="46"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7"/>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8"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23"/>
          <p:cNvSpPr>
            <a:spLocks noGrp="1"/>
          </p:cNvSpPr>
          <p:nvPr>
            <p:ph type="body" sz="quarter" idx="49"/>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50"/>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350280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950"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1557339"/>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5" hasCustomPrompt="1"/>
          </p:nvPr>
        </p:nvSpPr>
        <p:spPr>
          <a:xfrm>
            <a:off x="488950"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23"/>
          <p:cNvSpPr>
            <a:spLocks noGrp="1"/>
          </p:cNvSpPr>
          <p:nvPr>
            <p:ph type="body" sz="quarter" idx="47"/>
          </p:nvPr>
        </p:nvSpPr>
        <p:spPr>
          <a:xfrm>
            <a:off x="488950"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 chart above, 2 boxe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45"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46"/>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Text Placeholder 22"/>
          <p:cNvSpPr>
            <a:spLocks noGrp="1"/>
          </p:cNvSpPr>
          <p:nvPr>
            <p:ph type="body" sz="quarter" idx="47" hasCustomPrompt="1"/>
          </p:nvPr>
        </p:nvSpPr>
        <p:spPr>
          <a:xfrm>
            <a:off x="50250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1"/>
          <p:cNvSpPr>
            <a:spLocks noGrp="1"/>
          </p:cNvSpPr>
          <p:nvPr>
            <p:ph type="body" sz="quarter" idx="49"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50"/>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51"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7" name="Text Placeholder 23"/>
          <p:cNvSpPr>
            <a:spLocks noGrp="1"/>
          </p:cNvSpPr>
          <p:nvPr>
            <p:ph type="body" sz="quarter" idx="53"/>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54"/>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5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3889651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3"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50"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4" name="Content Placeholder 2"/>
          <p:cNvSpPr>
            <a:spLocks noGrp="1"/>
          </p:cNvSpPr>
          <p:nvPr>
            <p:ph sz="half" idx="51"/>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5" name="Text Placeholder 22"/>
          <p:cNvSpPr>
            <a:spLocks noGrp="1"/>
          </p:cNvSpPr>
          <p:nvPr>
            <p:ph type="body" sz="quarter" idx="52"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0"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22039132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6"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1"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103936246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ive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9"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61"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2"/>
          </p:nvPr>
        </p:nvSpPr>
        <p:spPr>
          <a:xfrm>
            <a:off x="488952" y="1557337"/>
            <a:ext cx="2879726" cy="4535957"/>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1"/>
          <p:cNvSpPr>
            <a:spLocks noGrp="1"/>
          </p:cNvSpPr>
          <p:nvPr>
            <p:ph type="body" sz="quarter" idx="65" hasCustomPrompt="1"/>
          </p:nvPr>
        </p:nvSpPr>
        <p:spPr>
          <a:xfrm>
            <a:off x="3513138" y="4076699"/>
            <a:ext cx="5903464"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3" name="Content Placeholder 2"/>
          <p:cNvSpPr>
            <a:spLocks noGrp="1"/>
          </p:cNvSpPr>
          <p:nvPr>
            <p:ph sz="half" idx="66"/>
          </p:nvPr>
        </p:nvSpPr>
        <p:spPr>
          <a:xfrm>
            <a:off x="3513138" y="4076699"/>
            <a:ext cx="5903464"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4" name="Text Placeholder 22"/>
          <p:cNvSpPr>
            <a:spLocks noGrp="1"/>
          </p:cNvSpPr>
          <p:nvPr>
            <p:ph type="body" sz="quarter" idx="67" hasCustomPrompt="1"/>
          </p:nvPr>
        </p:nvSpPr>
        <p:spPr>
          <a:xfrm>
            <a:off x="3513138" y="6093295"/>
            <a:ext cx="5903464"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8"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3513138" y="3860799"/>
            <a:ext cx="5903464"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79328507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ine charts">
    <p:spTree>
      <p:nvGrpSpPr>
        <p:cNvPr id="1" name=""/>
        <p:cNvGrpSpPr/>
        <p:nvPr/>
      </p:nvGrpSpPr>
      <p:grpSpPr>
        <a:xfrm>
          <a:off x="0" y="0"/>
          <a:ext cx="0" cy="0"/>
          <a:chOff x="0" y="0"/>
          <a:chExt cx="0" cy="0"/>
        </a:xfrm>
      </p:grpSpPr>
      <p:sp>
        <p:nvSpPr>
          <p:cNvPr id="41" name="Content Placeholder 2"/>
          <p:cNvSpPr>
            <a:spLocks noGrp="1"/>
          </p:cNvSpPr>
          <p:nvPr>
            <p:ph sz="half" idx="83"/>
          </p:nvPr>
        </p:nvSpPr>
        <p:spPr>
          <a:xfrm>
            <a:off x="482600" y="155733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2" name="Content Placeholder 2"/>
          <p:cNvSpPr>
            <a:spLocks noGrp="1"/>
          </p:cNvSpPr>
          <p:nvPr>
            <p:ph sz="half" idx="84"/>
          </p:nvPr>
        </p:nvSpPr>
        <p:spPr>
          <a:xfrm>
            <a:off x="482600" y="4742460"/>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3" name="Content Placeholder 2"/>
          <p:cNvSpPr>
            <a:spLocks noGrp="1"/>
          </p:cNvSpPr>
          <p:nvPr>
            <p:ph sz="half" idx="85"/>
          </p:nvPr>
        </p:nvSpPr>
        <p:spPr>
          <a:xfrm>
            <a:off x="482600" y="3149899"/>
            <a:ext cx="1014413" cy="1475453"/>
          </a:xfrm>
          <a:noFill/>
        </p:spPr>
        <p:txBody>
          <a:bodyPr lIns="72000" tIns="72000" rIns="72000" bIns="72000"/>
          <a:lstStyle>
            <a:lvl1pP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6" name="Text Placeholder 21"/>
          <p:cNvSpPr>
            <a:spLocks noGrp="1"/>
          </p:cNvSpPr>
          <p:nvPr>
            <p:ph type="body" sz="quarter" idx="53" hasCustomPrompt="1"/>
          </p:nvPr>
        </p:nvSpPr>
        <p:spPr>
          <a:xfrm>
            <a:off x="6897051"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7" name="Content Placeholder 2"/>
          <p:cNvSpPr>
            <a:spLocks noGrp="1"/>
          </p:cNvSpPr>
          <p:nvPr>
            <p:ph sz="half" idx="54"/>
          </p:nvPr>
        </p:nvSpPr>
        <p:spPr>
          <a:xfrm>
            <a:off x="6897051"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8" name="Text Placeholder 22"/>
          <p:cNvSpPr>
            <a:spLocks noGrp="1"/>
          </p:cNvSpPr>
          <p:nvPr>
            <p:ph type="body" sz="quarter" idx="55" hasCustomPrompt="1"/>
          </p:nvPr>
        </p:nvSpPr>
        <p:spPr>
          <a:xfrm>
            <a:off x="6897051"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5" name="Text Placeholder 21"/>
          <p:cNvSpPr>
            <a:spLocks noGrp="1"/>
          </p:cNvSpPr>
          <p:nvPr>
            <p:ph type="body" sz="quarter" idx="56" hasCustomPrompt="1"/>
          </p:nvPr>
        </p:nvSpPr>
        <p:spPr>
          <a:xfrm>
            <a:off x="6896799"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6" name="Content Placeholder 2"/>
          <p:cNvSpPr>
            <a:spLocks noGrp="1"/>
          </p:cNvSpPr>
          <p:nvPr>
            <p:ph sz="half" idx="57"/>
          </p:nvPr>
        </p:nvSpPr>
        <p:spPr>
          <a:xfrm>
            <a:off x="6896799"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7" name="Text Placeholder 22"/>
          <p:cNvSpPr>
            <a:spLocks noGrp="1"/>
          </p:cNvSpPr>
          <p:nvPr>
            <p:ph type="body" sz="quarter" idx="58" hasCustomPrompt="1"/>
          </p:nvPr>
        </p:nvSpPr>
        <p:spPr>
          <a:xfrm>
            <a:off x="6896799"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8" name="Text Placeholder 21"/>
          <p:cNvSpPr>
            <a:spLocks noGrp="1"/>
          </p:cNvSpPr>
          <p:nvPr>
            <p:ph type="body" sz="quarter" idx="59" hasCustomPrompt="1"/>
          </p:nvPr>
        </p:nvSpPr>
        <p:spPr>
          <a:xfrm>
            <a:off x="6896547"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9" name="Content Placeholder 2"/>
          <p:cNvSpPr>
            <a:spLocks noGrp="1"/>
          </p:cNvSpPr>
          <p:nvPr>
            <p:ph sz="half" idx="60"/>
          </p:nvPr>
        </p:nvSpPr>
        <p:spPr>
          <a:xfrm>
            <a:off x="6896547"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0" name="Text Placeholder 22"/>
          <p:cNvSpPr>
            <a:spLocks noGrp="1"/>
          </p:cNvSpPr>
          <p:nvPr>
            <p:ph type="body" sz="quarter" idx="61" hasCustomPrompt="1"/>
          </p:nvPr>
        </p:nvSpPr>
        <p:spPr>
          <a:xfrm>
            <a:off x="6896547"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2" name="Text Placeholder 21"/>
          <p:cNvSpPr>
            <a:spLocks noGrp="1"/>
          </p:cNvSpPr>
          <p:nvPr>
            <p:ph type="body" sz="quarter" idx="63" hasCustomPrompt="1"/>
          </p:nvPr>
        </p:nvSpPr>
        <p:spPr>
          <a:xfrm>
            <a:off x="1617278" y="155733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1617026"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1617026"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1617278"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1617026"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1617026"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1617278" y="315848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1617026"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1617026"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2" name="Text Placeholder 21"/>
          <p:cNvSpPr>
            <a:spLocks noGrp="1"/>
          </p:cNvSpPr>
          <p:nvPr>
            <p:ph type="body" sz="quarter" idx="73" hasCustomPrompt="1"/>
          </p:nvPr>
        </p:nvSpPr>
        <p:spPr>
          <a:xfrm>
            <a:off x="4257290" y="1556419"/>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3" name="Content Placeholder 2"/>
          <p:cNvSpPr>
            <a:spLocks noGrp="1"/>
          </p:cNvSpPr>
          <p:nvPr>
            <p:ph sz="half" idx="74"/>
          </p:nvPr>
        </p:nvSpPr>
        <p:spPr>
          <a:xfrm>
            <a:off x="4257038" y="155679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4" name="Text Placeholder 22"/>
          <p:cNvSpPr>
            <a:spLocks noGrp="1"/>
          </p:cNvSpPr>
          <p:nvPr>
            <p:ph type="body" sz="quarter" idx="75" hasCustomPrompt="1"/>
          </p:nvPr>
        </p:nvSpPr>
        <p:spPr>
          <a:xfrm>
            <a:off x="4257038" y="2890388"/>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5" name="Text Placeholder 21"/>
          <p:cNvSpPr>
            <a:spLocks noGrp="1"/>
          </p:cNvSpPr>
          <p:nvPr>
            <p:ph type="body" sz="quarter" idx="76" hasCustomPrompt="1"/>
          </p:nvPr>
        </p:nvSpPr>
        <p:spPr>
          <a:xfrm>
            <a:off x="4257290" y="4741814"/>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6" name="Content Placeholder 2"/>
          <p:cNvSpPr>
            <a:spLocks noGrp="1"/>
          </p:cNvSpPr>
          <p:nvPr>
            <p:ph sz="half" idx="77"/>
          </p:nvPr>
        </p:nvSpPr>
        <p:spPr>
          <a:xfrm>
            <a:off x="4257038" y="4741913"/>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7" name="Text Placeholder 22"/>
          <p:cNvSpPr>
            <a:spLocks noGrp="1"/>
          </p:cNvSpPr>
          <p:nvPr>
            <p:ph type="body" sz="quarter" idx="78" hasCustomPrompt="1"/>
          </p:nvPr>
        </p:nvSpPr>
        <p:spPr>
          <a:xfrm>
            <a:off x="4257038" y="6073200"/>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88" name="Text Placeholder 21"/>
          <p:cNvSpPr>
            <a:spLocks noGrp="1"/>
          </p:cNvSpPr>
          <p:nvPr>
            <p:ph type="body" sz="quarter" idx="79" hasCustomPrompt="1"/>
          </p:nvPr>
        </p:nvSpPr>
        <p:spPr>
          <a:xfrm>
            <a:off x="4257290" y="3157561"/>
            <a:ext cx="2519747"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89" name="Content Placeholder 2"/>
          <p:cNvSpPr>
            <a:spLocks noGrp="1"/>
          </p:cNvSpPr>
          <p:nvPr>
            <p:ph sz="half" idx="80"/>
          </p:nvPr>
        </p:nvSpPr>
        <p:spPr>
          <a:xfrm>
            <a:off x="4257038" y="3149352"/>
            <a:ext cx="2519999"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0" name="Text Placeholder 22"/>
          <p:cNvSpPr>
            <a:spLocks noGrp="1"/>
          </p:cNvSpPr>
          <p:nvPr>
            <p:ph type="body" sz="quarter" idx="81" hasCustomPrompt="1"/>
          </p:nvPr>
        </p:nvSpPr>
        <p:spPr>
          <a:xfrm>
            <a:off x="4257038" y="4492176"/>
            <a:ext cx="2519999"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96546"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9" name="Text Placeholder 23"/>
          <p:cNvSpPr>
            <a:spLocks noGrp="1"/>
          </p:cNvSpPr>
          <p:nvPr>
            <p:ph type="body" sz="quarter" idx="46"/>
          </p:nvPr>
        </p:nvSpPr>
        <p:spPr>
          <a:xfrm>
            <a:off x="4256534"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82"/>
          </p:nvPr>
        </p:nvSpPr>
        <p:spPr>
          <a:xfrm>
            <a:off x="1616522" y="1341437"/>
            <a:ext cx="2520503" cy="215901"/>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58597262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hart, thre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2" name="Text Placeholder 21"/>
          <p:cNvSpPr>
            <a:spLocks noGrp="1"/>
          </p:cNvSpPr>
          <p:nvPr>
            <p:ph type="body" sz="quarter" idx="63" hasCustomPrompt="1"/>
          </p:nvPr>
        </p:nvSpPr>
        <p:spPr>
          <a:xfrm>
            <a:off x="848452" y="1341985"/>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3" name="Content Placeholder 2"/>
          <p:cNvSpPr>
            <a:spLocks noGrp="1"/>
          </p:cNvSpPr>
          <p:nvPr>
            <p:ph sz="half" idx="64"/>
          </p:nvPr>
        </p:nvSpPr>
        <p:spPr>
          <a:xfrm>
            <a:off x="848049" y="1341438"/>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4" name="Text Placeholder 22"/>
          <p:cNvSpPr>
            <a:spLocks noGrp="1"/>
          </p:cNvSpPr>
          <p:nvPr>
            <p:ph type="body" sz="quarter" idx="65" hasCustomPrompt="1"/>
          </p:nvPr>
        </p:nvSpPr>
        <p:spPr>
          <a:xfrm>
            <a:off x="848200" y="267503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5" name="Text Placeholder 21"/>
          <p:cNvSpPr>
            <a:spLocks noGrp="1"/>
          </p:cNvSpPr>
          <p:nvPr>
            <p:ph type="body" sz="quarter" idx="66" hasCustomPrompt="1"/>
          </p:nvPr>
        </p:nvSpPr>
        <p:spPr>
          <a:xfrm>
            <a:off x="848200" y="4741814"/>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6" name="Content Placeholder 2"/>
          <p:cNvSpPr>
            <a:spLocks noGrp="1"/>
          </p:cNvSpPr>
          <p:nvPr>
            <p:ph sz="half" idx="67"/>
          </p:nvPr>
        </p:nvSpPr>
        <p:spPr>
          <a:xfrm>
            <a:off x="847797" y="4741913"/>
            <a:ext cx="4033363"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7" name="Text Placeholder 22"/>
          <p:cNvSpPr>
            <a:spLocks noGrp="1"/>
          </p:cNvSpPr>
          <p:nvPr>
            <p:ph type="body" sz="quarter" idx="68" hasCustomPrompt="1"/>
          </p:nvPr>
        </p:nvSpPr>
        <p:spPr>
          <a:xfrm>
            <a:off x="848200" y="6073200"/>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78" name="Text Placeholder 21"/>
          <p:cNvSpPr>
            <a:spLocks noGrp="1"/>
          </p:cNvSpPr>
          <p:nvPr>
            <p:ph type="body" sz="quarter" idx="69" hasCustomPrompt="1"/>
          </p:nvPr>
        </p:nvSpPr>
        <p:spPr>
          <a:xfrm>
            <a:off x="848200" y="3041899"/>
            <a:ext cx="4032960"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79" name="Content Placeholder 2"/>
          <p:cNvSpPr>
            <a:spLocks noGrp="1"/>
          </p:cNvSpPr>
          <p:nvPr>
            <p:ph sz="half" idx="70"/>
          </p:nvPr>
        </p:nvSpPr>
        <p:spPr>
          <a:xfrm>
            <a:off x="847797" y="3041899"/>
            <a:ext cx="4033363"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0" name="Text Placeholder 22"/>
          <p:cNvSpPr>
            <a:spLocks noGrp="1"/>
          </p:cNvSpPr>
          <p:nvPr>
            <p:ph type="body" sz="quarter" idx="71" hasCustomPrompt="1"/>
          </p:nvPr>
        </p:nvSpPr>
        <p:spPr>
          <a:xfrm>
            <a:off x="848200" y="4375594"/>
            <a:ext cx="4033363"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8"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41" name="Text Placeholder 21"/>
          <p:cNvSpPr>
            <a:spLocks noGrp="1"/>
          </p:cNvSpPr>
          <p:nvPr>
            <p:ph type="body" sz="quarter" idx="83" hasCustomPrompt="1"/>
          </p:nvPr>
        </p:nvSpPr>
        <p:spPr>
          <a:xfrm>
            <a:off x="5025092" y="1341985"/>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84"/>
          </p:nvPr>
        </p:nvSpPr>
        <p:spPr>
          <a:xfrm>
            <a:off x="5024690" y="1341985"/>
            <a:ext cx="4392612" cy="1352151"/>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3" name="Text Placeholder 22"/>
          <p:cNvSpPr>
            <a:spLocks noGrp="1"/>
          </p:cNvSpPr>
          <p:nvPr>
            <p:ph type="body" sz="quarter" idx="85" hasCustomPrompt="1"/>
          </p:nvPr>
        </p:nvSpPr>
        <p:spPr>
          <a:xfrm>
            <a:off x="5024841" y="2675680"/>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4" name="Text Placeholder 21"/>
          <p:cNvSpPr>
            <a:spLocks noGrp="1"/>
          </p:cNvSpPr>
          <p:nvPr>
            <p:ph type="body" sz="quarter" idx="86" hasCustomPrompt="1"/>
          </p:nvPr>
        </p:nvSpPr>
        <p:spPr>
          <a:xfrm>
            <a:off x="5024840" y="4741913"/>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5" name="Content Placeholder 2"/>
          <p:cNvSpPr>
            <a:spLocks noGrp="1"/>
          </p:cNvSpPr>
          <p:nvPr>
            <p:ph sz="half" idx="87"/>
          </p:nvPr>
        </p:nvSpPr>
        <p:spPr>
          <a:xfrm>
            <a:off x="5024438" y="4741913"/>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6" name="Text Placeholder 22"/>
          <p:cNvSpPr>
            <a:spLocks noGrp="1"/>
          </p:cNvSpPr>
          <p:nvPr>
            <p:ph type="body" sz="quarter" idx="88" hasCustomPrompt="1"/>
          </p:nvPr>
        </p:nvSpPr>
        <p:spPr>
          <a:xfrm>
            <a:off x="5024841" y="6075509"/>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7" name="Text Placeholder 21"/>
          <p:cNvSpPr>
            <a:spLocks noGrp="1"/>
          </p:cNvSpPr>
          <p:nvPr>
            <p:ph type="body" sz="quarter" idx="89" hasCustomPrompt="1"/>
          </p:nvPr>
        </p:nvSpPr>
        <p:spPr>
          <a:xfrm>
            <a:off x="5024840" y="3041899"/>
            <a:ext cx="4392173" cy="1476099"/>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8" name="Content Placeholder 2"/>
          <p:cNvSpPr>
            <a:spLocks noGrp="1"/>
          </p:cNvSpPr>
          <p:nvPr>
            <p:ph sz="half" idx="90"/>
          </p:nvPr>
        </p:nvSpPr>
        <p:spPr>
          <a:xfrm>
            <a:off x="5024438" y="3041899"/>
            <a:ext cx="4392612" cy="1352151"/>
          </a:xfrm>
          <a:noFill/>
        </p:spPr>
        <p:txBody>
          <a:bodyPr lIns="72000" tIns="72000" rIns="72000" bIns="72000"/>
          <a:lstStyle>
            <a:lvl1pPr>
              <a:defRPr sz="800" i="1"/>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9" name="Text Placeholder 22"/>
          <p:cNvSpPr>
            <a:spLocks noGrp="1"/>
          </p:cNvSpPr>
          <p:nvPr>
            <p:ph type="body" sz="quarter" idx="91" hasCustomPrompt="1"/>
          </p:nvPr>
        </p:nvSpPr>
        <p:spPr>
          <a:xfrm>
            <a:off x="5024841" y="4375594"/>
            <a:ext cx="4392612"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0" name="Text Placeholder 59"/>
          <p:cNvSpPr>
            <a:spLocks noGrp="1"/>
          </p:cNvSpPr>
          <p:nvPr>
            <p:ph type="body" sz="quarter" idx="94"/>
          </p:nvPr>
        </p:nvSpPr>
        <p:spPr>
          <a:xfrm rot="16200000">
            <a:off x="-141100" y="1971488"/>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1" name="Text Placeholder 59"/>
          <p:cNvSpPr>
            <a:spLocks noGrp="1"/>
          </p:cNvSpPr>
          <p:nvPr>
            <p:ph type="body" sz="quarter" idx="95"/>
          </p:nvPr>
        </p:nvSpPr>
        <p:spPr>
          <a:xfrm rot="16200000">
            <a:off x="-141100" y="5369654"/>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
        <p:nvSpPr>
          <p:cNvPr id="62" name="Text Placeholder 59"/>
          <p:cNvSpPr>
            <a:spLocks noGrp="1"/>
          </p:cNvSpPr>
          <p:nvPr>
            <p:ph type="body" sz="quarter" idx="96"/>
          </p:nvPr>
        </p:nvSpPr>
        <p:spPr>
          <a:xfrm rot="16200000">
            <a:off x="-141100" y="3670571"/>
            <a:ext cx="1476000" cy="215900"/>
          </a:xfrm>
        </p:spPr>
        <p:txBody>
          <a:bodyPr/>
          <a:lstStyle>
            <a:lvl1pPr algn="ctr">
              <a:defRPr/>
            </a:lvl1pPr>
            <a:lvl2pPr algn="ctr">
              <a:defRPr/>
            </a:lvl2pPr>
            <a:lvl3pPr algn="ctr">
              <a:defRPr/>
            </a:lvl3pPr>
            <a:lvl4pPr algn="ctr">
              <a:defRPr/>
            </a:lvl4pPr>
            <a:lvl5pPr algn="ctr">
              <a:defRPr/>
            </a:lvl5pPr>
          </a:lstStyle>
          <a:p>
            <a:pPr lvl="0"/>
            <a:r>
              <a:rPr lang="en-US" smtClean="0"/>
              <a:t>Click to edit Master text styles</a:t>
            </a:r>
          </a:p>
        </p:txBody>
      </p:sp>
    </p:spTree>
    <p:extLst>
      <p:ext uri="{BB962C8B-B14F-4D97-AF65-F5344CB8AC3E}">
        <p14:creationId xmlns:p14="http://schemas.microsoft.com/office/powerpoint/2010/main" val="80272883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84353250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rrow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rot="5400000">
            <a:off x="842600" y="9814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4" name="Text Placeholder 22"/>
          <p:cNvSpPr>
            <a:spLocks noGrp="1"/>
          </p:cNvSpPr>
          <p:nvPr>
            <p:ph type="body" sz="quarter" idx="43"/>
          </p:nvPr>
        </p:nvSpPr>
        <p:spPr>
          <a:xfrm rot="5400000">
            <a:off x="842600" y="178061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4" name="Text Placeholder 22"/>
          <p:cNvSpPr>
            <a:spLocks noGrp="1"/>
          </p:cNvSpPr>
          <p:nvPr>
            <p:ph type="body" sz="quarter" idx="44"/>
          </p:nvPr>
        </p:nvSpPr>
        <p:spPr>
          <a:xfrm rot="5400000">
            <a:off x="842600" y="257978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5" name="Text Placeholder 22"/>
          <p:cNvSpPr>
            <a:spLocks noGrp="1"/>
          </p:cNvSpPr>
          <p:nvPr>
            <p:ph type="body" sz="quarter" idx="45"/>
          </p:nvPr>
        </p:nvSpPr>
        <p:spPr>
          <a:xfrm rot="5400000">
            <a:off x="842600" y="3378963"/>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36" name="Text Placeholder 22"/>
          <p:cNvSpPr>
            <a:spLocks noGrp="1"/>
          </p:cNvSpPr>
          <p:nvPr>
            <p:ph type="body" sz="quarter" idx="46"/>
          </p:nvPr>
        </p:nvSpPr>
        <p:spPr>
          <a:xfrm rot="5400000">
            <a:off x="842600" y="4178138"/>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4" name="Text Placeholder 22"/>
          <p:cNvSpPr>
            <a:spLocks noGrp="1"/>
          </p:cNvSpPr>
          <p:nvPr>
            <p:ph type="body" sz="quarter" idx="47"/>
          </p:nvPr>
        </p:nvSpPr>
        <p:spPr>
          <a:xfrm rot="5400000">
            <a:off x="842600" y="4977312"/>
            <a:ext cx="900000" cy="1620000"/>
          </a:xfrm>
          <a:prstGeom prst="chevron">
            <a:avLst>
              <a:gd name="adj" fmla="val 22508"/>
            </a:avLst>
          </a:prstGeom>
          <a:solidFill>
            <a:schemeClr val="accent3"/>
          </a:solidFill>
        </p:spPr>
        <p:txBody>
          <a:bodyPr vert="vert270"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15"/>
          <p:cNvSpPr>
            <a:spLocks noGrp="1"/>
          </p:cNvSpPr>
          <p:nvPr>
            <p:ph type="body" sz="quarter" idx="40"/>
          </p:nvPr>
        </p:nvSpPr>
        <p:spPr>
          <a:xfrm>
            <a:off x="2252663" y="13414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8"/>
          </p:nvPr>
        </p:nvSpPr>
        <p:spPr>
          <a:xfrm>
            <a:off x="2252663" y="5337312"/>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9"/>
          </p:nvPr>
        </p:nvSpPr>
        <p:spPr>
          <a:xfrm>
            <a:off x="2252663" y="214061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50"/>
          </p:nvPr>
        </p:nvSpPr>
        <p:spPr>
          <a:xfrm>
            <a:off x="2252663" y="293978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1" name="Text Placeholder 15"/>
          <p:cNvSpPr>
            <a:spLocks noGrp="1"/>
          </p:cNvSpPr>
          <p:nvPr>
            <p:ph type="body" sz="quarter" idx="51"/>
          </p:nvPr>
        </p:nvSpPr>
        <p:spPr>
          <a:xfrm>
            <a:off x="2252663" y="3738963"/>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2" name="Text Placeholder 15"/>
          <p:cNvSpPr>
            <a:spLocks noGrp="1"/>
          </p:cNvSpPr>
          <p:nvPr>
            <p:ph type="body" sz="quarter" idx="52"/>
          </p:nvPr>
        </p:nvSpPr>
        <p:spPr>
          <a:xfrm>
            <a:off x="2252663" y="4538138"/>
            <a:ext cx="7164387" cy="684000"/>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918644427"/>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rrow right">
    <p:spTree>
      <p:nvGrpSpPr>
        <p:cNvPr id="1" name=""/>
        <p:cNvGrpSpPr/>
        <p:nvPr/>
      </p:nvGrpSpPr>
      <p:grpSpPr>
        <a:xfrm>
          <a:off x="0" y="0"/>
          <a:ext cx="0" cy="0"/>
          <a:chOff x="0" y="0"/>
          <a:chExt cx="0" cy="0"/>
        </a:xfrm>
      </p:grpSpPr>
      <p:sp>
        <p:nvSpPr>
          <p:cNvPr id="80" name="Text Placeholder 79"/>
          <p:cNvSpPr>
            <a:spLocks noGrp="1"/>
          </p:cNvSpPr>
          <p:nvPr>
            <p:ph type="body" sz="quarter" idx="63" hasCustomPrompt="1"/>
          </p:nvPr>
        </p:nvSpPr>
        <p:spPr>
          <a:xfrm>
            <a:off x="482600" y="199866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1" name="Text Placeholder 79"/>
          <p:cNvSpPr>
            <a:spLocks noGrp="1"/>
          </p:cNvSpPr>
          <p:nvPr>
            <p:ph type="body" sz="quarter" idx="64" hasCustomPrompt="1"/>
          </p:nvPr>
        </p:nvSpPr>
        <p:spPr>
          <a:xfrm>
            <a:off x="482600" y="308768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2" name="Text Placeholder 79"/>
          <p:cNvSpPr>
            <a:spLocks noGrp="1"/>
          </p:cNvSpPr>
          <p:nvPr>
            <p:ph type="body" sz="quarter" idx="65" hasCustomPrompt="1"/>
          </p:nvPr>
        </p:nvSpPr>
        <p:spPr>
          <a:xfrm>
            <a:off x="482600" y="4176713"/>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3" name="Text Placeholder 79"/>
          <p:cNvSpPr>
            <a:spLocks noGrp="1"/>
          </p:cNvSpPr>
          <p:nvPr>
            <p:ph type="body" sz="quarter" idx="66" hasCustomPrompt="1"/>
          </p:nvPr>
        </p:nvSpPr>
        <p:spPr>
          <a:xfrm>
            <a:off x="482600" y="5265738"/>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7" name="Text Placeholder 79"/>
          <p:cNvSpPr>
            <a:spLocks noGrp="1"/>
          </p:cNvSpPr>
          <p:nvPr>
            <p:ph type="body" sz="quarter" idx="70" hasCustomPrompt="1"/>
          </p:nvPr>
        </p:nvSpPr>
        <p:spPr>
          <a:xfrm>
            <a:off x="2284324" y="526547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6" name="Text Placeholder 79"/>
          <p:cNvSpPr>
            <a:spLocks noGrp="1"/>
          </p:cNvSpPr>
          <p:nvPr>
            <p:ph type="body" sz="quarter" idx="69" hasCustomPrompt="1"/>
          </p:nvPr>
        </p:nvSpPr>
        <p:spPr>
          <a:xfrm>
            <a:off x="2284324" y="417645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5" name="Text Placeholder 79"/>
          <p:cNvSpPr>
            <a:spLocks noGrp="1"/>
          </p:cNvSpPr>
          <p:nvPr>
            <p:ph type="body" sz="quarter" idx="68" hasCustomPrompt="1"/>
          </p:nvPr>
        </p:nvSpPr>
        <p:spPr>
          <a:xfrm>
            <a:off x="2284324" y="3087426"/>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4" name="Text Placeholder 79"/>
          <p:cNvSpPr>
            <a:spLocks noGrp="1"/>
          </p:cNvSpPr>
          <p:nvPr>
            <p:ph type="body" sz="quarter" idx="67" hasCustomPrompt="1"/>
          </p:nvPr>
        </p:nvSpPr>
        <p:spPr>
          <a:xfrm>
            <a:off x="2284324" y="1998401"/>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8" name="Text Placeholder 79"/>
          <p:cNvSpPr>
            <a:spLocks noGrp="1"/>
          </p:cNvSpPr>
          <p:nvPr>
            <p:ph type="body" sz="quarter" idx="71" hasCustomPrompt="1"/>
          </p:nvPr>
        </p:nvSpPr>
        <p:spPr>
          <a:xfrm>
            <a:off x="4086048" y="199813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89" name="Text Placeholder 79"/>
          <p:cNvSpPr>
            <a:spLocks noGrp="1"/>
          </p:cNvSpPr>
          <p:nvPr>
            <p:ph type="body" sz="quarter" idx="72" hasCustomPrompt="1"/>
          </p:nvPr>
        </p:nvSpPr>
        <p:spPr>
          <a:xfrm>
            <a:off x="4086048" y="308716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0" name="Text Placeholder 79"/>
          <p:cNvSpPr>
            <a:spLocks noGrp="1"/>
          </p:cNvSpPr>
          <p:nvPr>
            <p:ph type="body" sz="quarter" idx="73" hasCustomPrompt="1"/>
          </p:nvPr>
        </p:nvSpPr>
        <p:spPr>
          <a:xfrm>
            <a:off x="4086048" y="4176189"/>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1" name="Text Placeholder 79"/>
          <p:cNvSpPr>
            <a:spLocks noGrp="1"/>
          </p:cNvSpPr>
          <p:nvPr>
            <p:ph type="body" sz="quarter" idx="74" hasCustomPrompt="1"/>
          </p:nvPr>
        </p:nvSpPr>
        <p:spPr>
          <a:xfrm>
            <a:off x="4086048" y="5265214"/>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5" name="Text Placeholder 79"/>
          <p:cNvSpPr>
            <a:spLocks noGrp="1"/>
          </p:cNvSpPr>
          <p:nvPr>
            <p:ph type="body" sz="quarter" idx="78" hasCustomPrompt="1"/>
          </p:nvPr>
        </p:nvSpPr>
        <p:spPr>
          <a:xfrm>
            <a:off x="5887772" y="526495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4" name="Text Placeholder 79"/>
          <p:cNvSpPr>
            <a:spLocks noGrp="1"/>
          </p:cNvSpPr>
          <p:nvPr>
            <p:ph type="body" sz="quarter" idx="77" hasCustomPrompt="1"/>
          </p:nvPr>
        </p:nvSpPr>
        <p:spPr>
          <a:xfrm>
            <a:off x="5887772" y="417592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3" name="Text Placeholder 79"/>
          <p:cNvSpPr>
            <a:spLocks noGrp="1"/>
          </p:cNvSpPr>
          <p:nvPr>
            <p:ph type="body" sz="quarter" idx="76" hasCustomPrompt="1"/>
          </p:nvPr>
        </p:nvSpPr>
        <p:spPr>
          <a:xfrm>
            <a:off x="5887772" y="3086902"/>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2" name="Text Placeholder 79"/>
          <p:cNvSpPr>
            <a:spLocks noGrp="1"/>
          </p:cNvSpPr>
          <p:nvPr>
            <p:ph type="body" sz="quarter" idx="75" hasCustomPrompt="1"/>
          </p:nvPr>
        </p:nvSpPr>
        <p:spPr>
          <a:xfrm>
            <a:off x="5887772" y="1997877"/>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6" name="Text Placeholder 79"/>
          <p:cNvSpPr>
            <a:spLocks noGrp="1"/>
          </p:cNvSpPr>
          <p:nvPr>
            <p:ph type="body" sz="quarter" idx="79" hasCustomPrompt="1"/>
          </p:nvPr>
        </p:nvSpPr>
        <p:spPr>
          <a:xfrm>
            <a:off x="7689496" y="199761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7" name="Text Placeholder 79"/>
          <p:cNvSpPr>
            <a:spLocks noGrp="1"/>
          </p:cNvSpPr>
          <p:nvPr>
            <p:ph type="body" sz="quarter" idx="80" hasCustomPrompt="1"/>
          </p:nvPr>
        </p:nvSpPr>
        <p:spPr>
          <a:xfrm>
            <a:off x="7689496" y="308664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8" name="Text Placeholder 79"/>
          <p:cNvSpPr>
            <a:spLocks noGrp="1"/>
          </p:cNvSpPr>
          <p:nvPr>
            <p:ph type="body" sz="quarter" idx="81" hasCustomPrompt="1"/>
          </p:nvPr>
        </p:nvSpPr>
        <p:spPr>
          <a:xfrm>
            <a:off x="7689496" y="4175665"/>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99" name="Text Placeholder 79"/>
          <p:cNvSpPr>
            <a:spLocks noGrp="1"/>
          </p:cNvSpPr>
          <p:nvPr>
            <p:ph type="body" sz="quarter" idx="82" hasCustomPrompt="1"/>
          </p:nvPr>
        </p:nvSpPr>
        <p:spPr>
          <a:xfrm>
            <a:off x="7689496" y="5264690"/>
            <a:ext cx="1619250" cy="971550"/>
          </a:xfrm>
          <a:solidFill>
            <a:schemeClr val="bg1">
              <a:lumMod val="95000"/>
            </a:schemeClr>
          </a:solidFill>
        </p:spPr>
        <p:txBody>
          <a:bodyPr anchor="t"/>
          <a:lstStyle>
            <a:lvl1pPr>
              <a:defRPr/>
            </a:lvl1pPr>
          </a:lstStyle>
          <a:p>
            <a:pPr lvl="0"/>
            <a:r>
              <a:rPr lang="en-GB" dirty="0" smtClean="0"/>
              <a:t> </a:t>
            </a:r>
            <a:endParaRPr lang="en-GB" dirty="0"/>
          </a:p>
        </p:txBody>
      </p:sp>
      <p:sp>
        <p:nvSpPr>
          <p:cNvPr id="32" name="Content Placeholder 2"/>
          <p:cNvSpPr>
            <a:spLocks noGrp="1"/>
          </p:cNvSpPr>
          <p:nvPr>
            <p:ph sz="half" idx="53"/>
          </p:nvPr>
        </p:nvSpPr>
        <p:spPr>
          <a:xfrm>
            <a:off x="482600"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1" name="Content Placeholder 2"/>
          <p:cNvSpPr>
            <a:spLocks noGrp="1"/>
          </p:cNvSpPr>
          <p:nvPr>
            <p:ph sz="half" idx="48"/>
          </p:nvPr>
        </p:nvSpPr>
        <p:spPr>
          <a:xfrm>
            <a:off x="482600"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3" name="Content Placeholder 2"/>
          <p:cNvSpPr>
            <a:spLocks noGrp="1"/>
          </p:cNvSpPr>
          <p:nvPr>
            <p:ph sz="half" idx="24"/>
          </p:nvPr>
        </p:nvSpPr>
        <p:spPr>
          <a:xfrm>
            <a:off x="482600"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5" name="Content Placeholder 2"/>
          <p:cNvSpPr>
            <a:spLocks noGrp="1"/>
          </p:cNvSpPr>
          <p:nvPr>
            <p:ph sz="half" idx="31"/>
          </p:nvPr>
        </p:nvSpPr>
        <p:spPr>
          <a:xfrm>
            <a:off x="5889361"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7" name="Content Placeholder 2"/>
          <p:cNvSpPr>
            <a:spLocks noGrp="1"/>
          </p:cNvSpPr>
          <p:nvPr>
            <p:ph sz="half" idx="33"/>
          </p:nvPr>
        </p:nvSpPr>
        <p:spPr>
          <a:xfrm>
            <a:off x="4089224"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9" name="Content Placeholder 2"/>
          <p:cNvSpPr>
            <a:spLocks noGrp="1"/>
          </p:cNvSpPr>
          <p:nvPr>
            <p:ph sz="half" idx="35"/>
          </p:nvPr>
        </p:nvSpPr>
        <p:spPr>
          <a:xfrm>
            <a:off x="2289087"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1" name="Content Placeholder 2"/>
          <p:cNvSpPr>
            <a:spLocks noGrp="1"/>
          </p:cNvSpPr>
          <p:nvPr>
            <p:ph sz="half" idx="37"/>
          </p:nvPr>
        </p:nvSpPr>
        <p:spPr>
          <a:xfrm>
            <a:off x="7689496" y="1998401"/>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2" name="Content Placeholder 2"/>
          <p:cNvSpPr>
            <a:spLocks noGrp="1"/>
          </p:cNvSpPr>
          <p:nvPr>
            <p:ph sz="half" idx="49"/>
          </p:nvPr>
        </p:nvSpPr>
        <p:spPr>
          <a:xfrm>
            <a:off x="5889361"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6" name="Content Placeholder 2"/>
          <p:cNvSpPr>
            <a:spLocks noGrp="1"/>
          </p:cNvSpPr>
          <p:nvPr>
            <p:ph sz="half" idx="50"/>
          </p:nvPr>
        </p:nvSpPr>
        <p:spPr>
          <a:xfrm>
            <a:off x="4089224"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8" name="Content Placeholder 2"/>
          <p:cNvSpPr>
            <a:spLocks noGrp="1"/>
          </p:cNvSpPr>
          <p:nvPr>
            <p:ph sz="half" idx="51"/>
          </p:nvPr>
        </p:nvSpPr>
        <p:spPr>
          <a:xfrm>
            <a:off x="2289087"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0" name="Content Placeholder 2"/>
          <p:cNvSpPr>
            <a:spLocks noGrp="1"/>
          </p:cNvSpPr>
          <p:nvPr>
            <p:ph sz="half" idx="52"/>
          </p:nvPr>
        </p:nvSpPr>
        <p:spPr>
          <a:xfrm>
            <a:off x="7689496" y="3087364"/>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7" name="Content Placeholder 2"/>
          <p:cNvSpPr>
            <a:spLocks noGrp="1"/>
          </p:cNvSpPr>
          <p:nvPr>
            <p:ph sz="half" idx="54"/>
          </p:nvPr>
        </p:nvSpPr>
        <p:spPr>
          <a:xfrm>
            <a:off x="5889361"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8" name="Content Placeholder 2"/>
          <p:cNvSpPr>
            <a:spLocks noGrp="1"/>
          </p:cNvSpPr>
          <p:nvPr>
            <p:ph sz="half" idx="55"/>
          </p:nvPr>
        </p:nvSpPr>
        <p:spPr>
          <a:xfrm>
            <a:off x="4089224"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39" name="Content Placeholder 2"/>
          <p:cNvSpPr>
            <a:spLocks noGrp="1"/>
          </p:cNvSpPr>
          <p:nvPr>
            <p:ph sz="half" idx="56"/>
          </p:nvPr>
        </p:nvSpPr>
        <p:spPr>
          <a:xfrm>
            <a:off x="2289087"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0" name="Content Placeholder 2"/>
          <p:cNvSpPr>
            <a:spLocks noGrp="1"/>
          </p:cNvSpPr>
          <p:nvPr>
            <p:ph sz="half" idx="57"/>
          </p:nvPr>
        </p:nvSpPr>
        <p:spPr>
          <a:xfrm>
            <a:off x="7689496" y="4176327"/>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1" name="Content Placeholder 2"/>
          <p:cNvSpPr>
            <a:spLocks noGrp="1"/>
          </p:cNvSpPr>
          <p:nvPr>
            <p:ph sz="half" idx="58"/>
          </p:nvPr>
        </p:nvSpPr>
        <p:spPr>
          <a:xfrm>
            <a:off x="482600"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2" name="Content Placeholder 2"/>
          <p:cNvSpPr>
            <a:spLocks noGrp="1"/>
          </p:cNvSpPr>
          <p:nvPr>
            <p:ph sz="half" idx="59"/>
          </p:nvPr>
        </p:nvSpPr>
        <p:spPr>
          <a:xfrm>
            <a:off x="5889361"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3" name="Content Placeholder 2"/>
          <p:cNvSpPr>
            <a:spLocks noGrp="1"/>
          </p:cNvSpPr>
          <p:nvPr>
            <p:ph sz="half" idx="60"/>
          </p:nvPr>
        </p:nvSpPr>
        <p:spPr>
          <a:xfrm>
            <a:off x="4089224"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4" name="Content Placeholder 2"/>
          <p:cNvSpPr>
            <a:spLocks noGrp="1"/>
          </p:cNvSpPr>
          <p:nvPr>
            <p:ph sz="half" idx="61"/>
          </p:nvPr>
        </p:nvSpPr>
        <p:spPr>
          <a:xfrm>
            <a:off x="2289087"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5" name="Content Placeholder 2"/>
          <p:cNvSpPr>
            <a:spLocks noGrp="1"/>
          </p:cNvSpPr>
          <p:nvPr>
            <p:ph sz="half" idx="62"/>
          </p:nvPr>
        </p:nvSpPr>
        <p:spPr>
          <a:xfrm>
            <a:off x="7689496" y="5265288"/>
            <a:ext cx="1620000" cy="972000"/>
          </a:xfrm>
          <a:noFill/>
        </p:spPr>
        <p:txBody>
          <a:bodyPr lIns="72000" tIns="72000" rIns="72000" bIns="72000" anchor="t" anchorCtr="0"/>
          <a:lstStyle>
            <a:lvl1pPr>
              <a:defRPr sz="900"/>
            </a:lvl1pPr>
            <a:lvl2pPr>
              <a:defRPr sz="800"/>
            </a:lvl2pPr>
            <a:lvl3pPr>
              <a:defRPr sz="8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2"/>
          <p:cNvSpPr>
            <a:spLocks noGrp="1"/>
          </p:cNvSpPr>
          <p:nvPr>
            <p:ph type="body" sz="quarter" idx="42"/>
          </p:nvPr>
        </p:nvSpPr>
        <p:spPr>
          <a:xfrm>
            <a:off x="482600"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6" name="Text Placeholder 22"/>
          <p:cNvSpPr>
            <a:spLocks noGrp="1"/>
          </p:cNvSpPr>
          <p:nvPr>
            <p:ph type="body" sz="quarter" idx="43"/>
          </p:nvPr>
        </p:nvSpPr>
        <p:spPr>
          <a:xfrm>
            <a:off x="2284324"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7" name="Text Placeholder 22"/>
          <p:cNvSpPr>
            <a:spLocks noGrp="1"/>
          </p:cNvSpPr>
          <p:nvPr>
            <p:ph type="body" sz="quarter" idx="44"/>
          </p:nvPr>
        </p:nvSpPr>
        <p:spPr>
          <a:xfrm>
            <a:off x="4086048"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19" name="Text Placeholder 22"/>
          <p:cNvSpPr>
            <a:spLocks noGrp="1"/>
          </p:cNvSpPr>
          <p:nvPr>
            <p:ph type="body" sz="quarter" idx="46"/>
          </p:nvPr>
        </p:nvSpPr>
        <p:spPr>
          <a:xfrm>
            <a:off x="7689496"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20" name="Text Placeholder 22"/>
          <p:cNvSpPr>
            <a:spLocks noGrp="1"/>
          </p:cNvSpPr>
          <p:nvPr>
            <p:ph type="body" sz="quarter" idx="47"/>
          </p:nvPr>
        </p:nvSpPr>
        <p:spPr>
          <a:xfrm>
            <a:off x="5887772" y="1341438"/>
            <a:ext cx="1728000" cy="540000"/>
          </a:xfrm>
          <a:prstGeom prst="chevron">
            <a:avLst>
              <a:gd name="adj" fmla="val 22508"/>
            </a:avLst>
          </a:prstGeom>
          <a:solidFill>
            <a:schemeClr val="accent3"/>
          </a:solidFill>
        </p:spPr>
        <p:txBody>
          <a:bodyPr vert="horz" lIns="72000" tIns="36000" rIns="72000" bIns="36000" anchor="ctr" anchorCtr="0"/>
          <a:lstStyle>
            <a:lvl1pPr algn="ctr">
              <a:defRPr>
                <a:solidFill>
                  <a:schemeClr val="bg1"/>
                </a:solidFill>
              </a:defRPr>
            </a:lvl1pPr>
          </a:lstStyle>
          <a:p>
            <a:pPr lvl="0"/>
            <a:r>
              <a:rPr lang="en-US" smtClean="0"/>
              <a:t>Click to edit Master text styles</a:t>
            </a:r>
          </a:p>
        </p:txBody>
      </p:sp>
      <p:sp>
        <p:nvSpPr>
          <p:cNvPr id="50"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1844784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ross diagram">
    <p:spTree>
      <p:nvGrpSpPr>
        <p:cNvPr id="1" name=""/>
        <p:cNvGrpSpPr/>
        <p:nvPr/>
      </p:nvGrpSpPr>
      <p:grpSpPr>
        <a:xfrm>
          <a:off x="0" y="0"/>
          <a:ext cx="0" cy="0"/>
          <a:chOff x="0" y="0"/>
          <a:chExt cx="0" cy="0"/>
        </a:xfrm>
      </p:grpSpPr>
      <p:sp>
        <p:nvSpPr>
          <p:cNvPr id="39" name="Text Placeholder 38"/>
          <p:cNvSpPr>
            <a:spLocks noGrp="1"/>
          </p:cNvSpPr>
          <p:nvPr>
            <p:ph type="body" sz="quarter" idx="50" hasCustomPrompt="1"/>
          </p:nvPr>
        </p:nvSpPr>
        <p:spPr>
          <a:xfrm>
            <a:off x="4046538" y="3244850"/>
            <a:ext cx="1800225" cy="1079500"/>
          </a:xfrm>
          <a:solidFill>
            <a:schemeClr val="accent3">
              <a:lumMod val="20000"/>
              <a:lumOff val="80000"/>
            </a:schemeClr>
          </a:solidFill>
        </p:spPr>
        <p:txBody>
          <a:bodyPr/>
          <a:lstStyle>
            <a:lvl1pPr>
              <a:defRPr baseline="0"/>
            </a:lvl1pPr>
          </a:lstStyle>
          <a:p>
            <a:pPr lvl="0"/>
            <a:r>
              <a:rPr lang="en-GB" dirty="0" smtClean="0"/>
              <a:t> </a:t>
            </a:r>
            <a:endParaRPr lang="en-GB" dirty="0"/>
          </a:p>
        </p:txBody>
      </p:sp>
      <p:sp>
        <p:nvSpPr>
          <p:cNvPr id="27" name="Text Placeholder 26"/>
          <p:cNvSpPr>
            <a:spLocks noGrp="1"/>
          </p:cNvSpPr>
          <p:nvPr>
            <p:ph type="body" sz="quarter" idx="46" hasCustomPrompt="1"/>
          </p:nvPr>
        </p:nvSpPr>
        <p:spPr>
          <a:xfrm>
            <a:off x="489141"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0" name="Text Placeholder 26"/>
          <p:cNvSpPr>
            <a:spLocks noGrp="1"/>
          </p:cNvSpPr>
          <p:nvPr>
            <p:ph type="body" sz="quarter" idx="47" hasCustomPrompt="1"/>
          </p:nvPr>
        </p:nvSpPr>
        <p:spPr>
          <a:xfrm>
            <a:off x="6884350" y="324589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1" name="Text Placeholder 26"/>
          <p:cNvSpPr>
            <a:spLocks noGrp="1"/>
          </p:cNvSpPr>
          <p:nvPr>
            <p:ph type="body" sz="quarter" idx="48" hasCustomPrompt="1"/>
          </p:nvPr>
        </p:nvSpPr>
        <p:spPr>
          <a:xfrm>
            <a:off x="3687064" y="1548000"/>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36" name="Text Placeholder 26"/>
          <p:cNvSpPr>
            <a:spLocks noGrp="1"/>
          </p:cNvSpPr>
          <p:nvPr>
            <p:ph type="body" sz="quarter" idx="49" hasCustomPrompt="1"/>
          </p:nvPr>
        </p:nvSpPr>
        <p:spPr>
          <a:xfrm>
            <a:off x="3687064" y="4935015"/>
            <a:ext cx="2519363" cy="1296000"/>
          </a:xfrm>
          <a:solidFill>
            <a:schemeClr val="bg1">
              <a:lumMod val="95000"/>
            </a:schemeClr>
          </a:solidFill>
        </p:spPr>
        <p:txBody>
          <a:bodyPr/>
          <a:lstStyle>
            <a:lvl1pPr>
              <a:defRPr/>
            </a:lvl1pPr>
          </a:lstStyle>
          <a:p>
            <a:pPr lvl="0"/>
            <a:r>
              <a:rPr lang="en-US" dirty="0" smtClean="0"/>
              <a:t> </a:t>
            </a:r>
            <a:endParaRPr lang="en-GB" dirty="0"/>
          </a:p>
        </p:txBody>
      </p:sp>
      <p:sp>
        <p:nvSpPr>
          <p:cNvPr id="13" name="Content Placeholder 2"/>
          <p:cNvSpPr>
            <a:spLocks noGrp="1"/>
          </p:cNvSpPr>
          <p:nvPr>
            <p:ph sz="half" idx="24"/>
          </p:nvPr>
        </p:nvSpPr>
        <p:spPr>
          <a:xfrm>
            <a:off x="488504"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5" name="Content Placeholder 2"/>
          <p:cNvSpPr>
            <a:spLocks noGrp="1"/>
          </p:cNvSpPr>
          <p:nvPr>
            <p:ph sz="half" idx="31"/>
          </p:nvPr>
        </p:nvSpPr>
        <p:spPr>
          <a:xfrm>
            <a:off x="3686427" y="154800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28" name="Content Placeholder 2"/>
          <p:cNvSpPr>
            <a:spLocks noGrp="1"/>
          </p:cNvSpPr>
          <p:nvPr>
            <p:ph sz="half" idx="34"/>
          </p:nvPr>
        </p:nvSpPr>
        <p:spPr>
          <a:xfrm>
            <a:off x="6884350" y="3245890"/>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48" name="Content Placeholder 2"/>
          <p:cNvSpPr>
            <a:spLocks noGrp="1"/>
          </p:cNvSpPr>
          <p:nvPr>
            <p:ph sz="half" idx="41"/>
          </p:nvPr>
        </p:nvSpPr>
        <p:spPr>
          <a:xfrm>
            <a:off x="3686427" y="4935015"/>
            <a:ext cx="2520000" cy="129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7" name="Rectangle 16"/>
          <p:cNvSpPr/>
          <p:nvPr userDrawn="1"/>
        </p:nvSpPr>
        <p:spPr>
          <a:xfrm>
            <a:off x="4046427" y="3244979"/>
            <a:ext cx="1800000" cy="1080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6" name="Content Placeholder 2"/>
          <p:cNvSpPr>
            <a:spLocks noGrp="1"/>
          </p:cNvSpPr>
          <p:nvPr>
            <p:ph sz="half" idx="39" hasCustomPrompt="1"/>
          </p:nvPr>
        </p:nvSpPr>
        <p:spPr>
          <a:xfrm>
            <a:off x="4046427" y="3244979"/>
            <a:ext cx="1800000" cy="1080000"/>
          </a:xfrm>
          <a:noFill/>
        </p:spPr>
        <p:txBody>
          <a:bodyPr lIns="72000" tIns="72000" rIns="72000" bIns="72000" anchor="ctr" anchorCtr="0"/>
          <a:lstStyle>
            <a:lvl1pPr algn="ctr">
              <a:defRPr sz="80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Insert logo or text here</a:t>
            </a:r>
          </a:p>
        </p:txBody>
      </p:sp>
      <p:sp>
        <p:nvSpPr>
          <p:cNvPr id="24" name="Text Placeholder 7"/>
          <p:cNvSpPr>
            <a:spLocks noGrp="1"/>
          </p:cNvSpPr>
          <p:nvPr>
            <p:ph type="body" sz="quarter" idx="5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7" name="Text Placeholder 23"/>
          <p:cNvSpPr>
            <a:spLocks noGrp="1"/>
          </p:cNvSpPr>
          <p:nvPr>
            <p:ph type="body" sz="quarter" idx="45"/>
          </p:nvPr>
        </p:nvSpPr>
        <p:spPr>
          <a:xfrm>
            <a:off x="6883713"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8" name="Text Placeholder 23"/>
          <p:cNvSpPr>
            <a:spLocks noGrp="1"/>
          </p:cNvSpPr>
          <p:nvPr>
            <p:ph type="body" sz="quarter" idx="52"/>
          </p:nvPr>
        </p:nvSpPr>
        <p:spPr>
          <a:xfrm>
            <a:off x="3686427" y="1341438"/>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0" name="Text Placeholder 23"/>
          <p:cNvSpPr>
            <a:spLocks noGrp="1"/>
          </p:cNvSpPr>
          <p:nvPr>
            <p:ph type="body" sz="quarter" idx="76"/>
          </p:nvPr>
        </p:nvSpPr>
        <p:spPr>
          <a:xfrm>
            <a:off x="488504" y="3028950"/>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1" name="Text Placeholder 23"/>
          <p:cNvSpPr>
            <a:spLocks noGrp="1"/>
          </p:cNvSpPr>
          <p:nvPr>
            <p:ph type="body" sz="quarter" idx="77"/>
          </p:nvPr>
        </p:nvSpPr>
        <p:spPr>
          <a:xfrm>
            <a:off x="3686427" y="4719115"/>
            <a:ext cx="2520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3" name="Text Placeholder 25"/>
          <p:cNvSpPr>
            <a:spLocks noGrp="1"/>
          </p:cNvSpPr>
          <p:nvPr>
            <p:ph type="body" sz="quarter" idx="78"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44" name="Text Placeholder 25"/>
          <p:cNvSpPr>
            <a:spLocks noGrp="1"/>
          </p:cNvSpPr>
          <p:nvPr>
            <p:ph type="body" sz="quarter" idx="79" hasCustomPrompt="1"/>
          </p:nvPr>
        </p:nvSpPr>
        <p:spPr>
          <a:xfrm rot="5400000">
            <a:off x="4838654" y="2827461"/>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0" name="Text Placeholder 25"/>
          <p:cNvSpPr>
            <a:spLocks noGrp="1"/>
          </p:cNvSpPr>
          <p:nvPr>
            <p:ph type="body" sz="quarter" idx="80" hasCustomPrompt="1"/>
          </p:nvPr>
        </p:nvSpPr>
        <p:spPr>
          <a:xfrm rot="16200000">
            <a:off x="4838654" y="4310935"/>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2" name="Text Placeholder 25"/>
          <p:cNvSpPr>
            <a:spLocks noGrp="1"/>
          </p:cNvSpPr>
          <p:nvPr>
            <p:ph type="body" sz="quarter" idx="81" hasCustomPrompt="1"/>
          </p:nvPr>
        </p:nvSpPr>
        <p:spPr>
          <a:xfrm>
            <a:off x="3419466"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
        <p:nvSpPr>
          <p:cNvPr id="54" name="Text Placeholder 25"/>
          <p:cNvSpPr>
            <a:spLocks noGrp="1"/>
          </p:cNvSpPr>
          <p:nvPr>
            <p:ph type="body" sz="quarter" idx="82" hasCustomPrompt="1"/>
          </p:nvPr>
        </p:nvSpPr>
        <p:spPr>
          <a:xfrm rot="10800000">
            <a:off x="6257388" y="3573363"/>
            <a:ext cx="215992" cy="431554"/>
          </a:xfrm>
          <a:prstGeom prst="chevron">
            <a:avLst>
              <a:gd name="adj" fmla="val 51491"/>
            </a:avLst>
          </a:prstGeom>
          <a:solidFill>
            <a:schemeClr val="accent3"/>
          </a:solidFill>
        </p:spPr>
        <p:txBody>
          <a:bodyPr/>
          <a:lstStyle>
            <a:lvl1pPr>
              <a:defRPr/>
            </a:lvl1pPr>
          </a:lstStyle>
          <a:p>
            <a:pPr lvl="0"/>
            <a:r>
              <a:rPr lang="en-GB" dirty="0" smtClean="0"/>
              <a:t> </a:t>
            </a:r>
            <a:endParaRPr lang="en-GB" dirty="0"/>
          </a:p>
        </p:txBody>
      </p:sp>
    </p:spTree>
    <p:extLst>
      <p:ext uri="{BB962C8B-B14F-4D97-AF65-F5344CB8AC3E}">
        <p14:creationId xmlns:p14="http://schemas.microsoft.com/office/powerpoint/2010/main" val="51597669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text one box">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3"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5" name="Text Placeholder 21"/>
          <p:cNvSpPr>
            <a:spLocks noGrp="1"/>
          </p:cNvSpPr>
          <p:nvPr>
            <p:ph type="body" sz="quarter" idx="35" hasCustomPrompt="1"/>
          </p:nvPr>
        </p:nvSpPr>
        <p:spPr>
          <a:xfrm>
            <a:off x="5024437" y="1557338"/>
            <a:ext cx="43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5024437" y="1557338"/>
            <a:ext cx="4392000"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5024437" y="6093296"/>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6"/>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1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7"/>
          <p:cNvSpPr>
            <a:spLocks noGrp="1"/>
          </p:cNvSpPr>
          <p:nvPr>
            <p:ph type="body" sz="quarter" idx="41"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8"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520626391"/>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8"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9"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7"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1"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2"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22"/>
          <p:cNvSpPr>
            <a:spLocks noGrp="1"/>
          </p:cNvSpPr>
          <p:nvPr>
            <p:ph type="body" sz="quarter" idx="53"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9"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68491917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B]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0"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4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42" hasCustomPrompt="1"/>
          </p:nvPr>
        </p:nvSpPr>
        <p:spPr>
          <a:xfrm>
            <a:off x="5925050" y="1557338"/>
            <a:ext cx="3492000"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1" name="Content Placeholder 2"/>
          <p:cNvSpPr>
            <a:spLocks noGrp="1"/>
          </p:cNvSpPr>
          <p:nvPr>
            <p:ph sz="half" idx="31"/>
          </p:nvPr>
        </p:nvSpPr>
        <p:spPr>
          <a:xfrm>
            <a:off x="5925050" y="1557338"/>
            <a:ext cx="3492000" cy="453754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53" hasCustomPrompt="1"/>
          </p:nvPr>
        </p:nvSpPr>
        <p:spPr>
          <a:xfrm>
            <a:off x="5925050" y="609488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15"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Content Placeholder 2"/>
          <p:cNvSpPr>
            <a:spLocks noGrp="1"/>
          </p:cNvSpPr>
          <p:nvPr>
            <p:ph idx="1"/>
          </p:nvPr>
        </p:nvSpPr>
        <p:spPr>
          <a:xfrm>
            <a:off x="2243138" y="1341438"/>
            <a:ext cx="34920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792511285"/>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5"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1"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662"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33" hasCustomPrompt="1"/>
          </p:nvPr>
        </p:nvSpPr>
        <p:spPr>
          <a:xfrm>
            <a:off x="2252662"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3" name="Text Placeholder 21"/>
          <p:cNvSpPr>
            <a:spLocks noGrp="1"/>
          </p:cNvSpPr>
          <p:nvPr>
            <p:ph type="body" sz="quarter" idx="42" hasCustomPrompt="1"/>
          </p:nvPr>
        </p:nvSpPr>
        <p:spPr>
          <a:xfrm>
            <a:off x="2252662"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44" hasCustomPrompt="1"/>
          </p:nvPr>
        </p:nvSpPr>
        <p:spPr>
          <a:xfrm>
            <a:off x="2252662"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23"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410009977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 name="Title 1"/>
          <p:cNvSpPr>
            <a:spLocks noGrp="1"/>
          </p:cNvSpPr>
          <p:nvPr>
            <p:ph type="title"/>
          </p:nvPr>
        </p:nvSpPr>
        <p:spPr>
          <a:xfrm>
            <a:off x="480035" y="188640"/>
            <a:ext cx="8208000" cy="630000"/>
          </a:xfrm>
        </p:spPr>
        <p:txBody>
          <a:bodyPr/>
          <a:lstStyle/>
          <a:p>
            <a:r>
              <a:rPr lang="en-US" smtClean="0"/>
              <a:t>Click to edit Master title style</a:t>
            </a:r>
            <a:endParaRPr lang="en-GB"/>
          </a:p>
        </p:txBody>
      </p:sp>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6" name="Text Placeholder 21"/>
          <p:cNvSpPr>
            <a:spLocks noGrp="1"/>
          </p:cNvSpPr>
          <p:nvPr>
            <p:ph type="body" sz="quarter" idx="42" hasCustomPrompt="1"/>
          </p:nvPr>
        </p:nvSpPr>
        <p:spPr>
          <a:xfrm>
            <a:off x="5925050"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7" name="Content Placeholder 2"/>
          <p:cNvSpPr>
            <a:spLocks noGrp="1"/>
          </p:cNvSpPr>
          <p:nvPr>
            <p:ph sz="half" idx="31"/>
          </p:nvPr>
        </p:nvSpPr>
        <p:spPr>
          <a:xfrm>
            <a:off x="5925050"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55" hasCustomPrompt="1"/>
          </p:nvPr>
        </p:nvSpPr>
        <p:spPr>
          <a:xfrm>
            <a:off x="5925050"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69" hasCustomPrompt="1"/>
          </p:nvPr>
        </p:nvSpPr>
        <p:spPr>
          <a:xfrm>
            <a:off x="2252663"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70"/>
          </p:nvPr>
        </p:nvSpPr>
        <p:spPr>
          <a:xfrm>
            <a:off x="2252663"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71" hasCustomPrompt="1"/>
          </p:nvPr>
        </p:nvSpPr>
        <p:spPr>
          <a:xfrm>
            <a:off x="2252663"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7"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8"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9"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
        <p:nvSpPr>
          <p:cNvPr id="33" name="Text Placeholder 23"/>
          <p:cNvSpPr>
            <a:spLocks noGrp="1"/>
          </p:cNvSpPr>
          <p:nvPr>
            <p:ph type="body" sz="quarter" idx="45"/>
          </p:nvPr>
        </p:nvSpPr>
        <p:spPr>
          <a:xfrm>
            <a:off x="5925050"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56138779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al sheet">
    <p:spTree>
      <p:nvGrpSpPr>
        <p:cNvPr id="1" name=""/>
        <p:cNvGrpSpPr/>
        <p:nvPr/>
      </p:nvGrpSpPr>
      <p:grpSpPr>
        <a:xfrm>
          <a:off x="0" y="0"/>
          <a:ext cx="0" cy="0"/>
          <a:chOff x="0" y="0"/>
          <a:chExt cx="0" cy="0"/>
        </a:xfrm>
      </p:grpSpPr>
      <p:sp>
        <p:nvSpPr>
          <p:cNvPr id="14" name="Rectangle 13"/>
          <p:cNvSpPr/>
          <p:nvPr userDrawn="1"/>
        </p:nvSpPr>
        <p:spPr>
          <a:xfrm>
            <a:off x="48895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
        <p:nvSpPr>
          <p:cNvPr id="11" name="Text Placeholder 10"/>
          <p:cNvSpPr>
            <a:spLocks noGrp="1"/>
          </p:cNvSpPr>
          <p:nvPr>
            <p:ph type="body" sz="quarter" idx="63"/>
          </p:nvPr>
        </p:nvSpPr>
        <p:spPr>
          <a:xfrm>
            <a:off x="2252663"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10"/>
          <p:cNvSpPr>
            <a:spLocks noGrp="1"/>
          </p:cNvSpPr>
          <p:nvPr>
            <p:ph type="body" sz="quarter" idx="64"/>
          </p:nvPr>
        </p:nvSpPr>
        <p:spPr>
          <a:xfrm>
            <a:off x="5024438" y="1339850"/>
            <a:ext cx="2628900" cy="4895850"/>
          </a:xfrm>
        </p:spPr>
        <p:txBody>
          <a:bodyPr/>
          <a:lstStyle>
            <a:lvl1pPr>
              <a:defRPr sz="1000"/>
            </a:lvl1pPr>
            <a:lvl2pPr marL="0" indent="0">
              <a:buNone/>
              <a:defRPr sz="700"/>
            </a:lvl2pPr>
            <a:lvl3pPr marL="179388" indent="-179388">
              <a:buFont typeface="Wingdings" pitchFamily="2" charset="2"/>
              <a:buChar char="§"/>
              <a:defRPr sz="700"/>
            </a:lvl3pPr>
            <a:lvl4pPr marL="363538" indent="-182563">
              <a:buFont typeface="Verdana" pitchFamily="34" charset="0"/>
              <a:buChar char="–"/>
              <a:defRPr sz="700"/>
            </a:lvl4pPr>
            <a:lvl5pPr marL="539750" indent="-182563">
              <a:defRPr sz="7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Rectangle 14"/>
          <p:cNvSpPr/>
          <p:nvPr userDrawn="1"/>
        </p:nvSpPr>
        <p:spPr>
          <a:xfrm>
            <a:off x="7797800" y="1339850"/>
            <a:ext cx="1619250" cy="489585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a:solidFill>
                <a:srgbClr val="FFFFFF"/>
              </a:solidFill>
            </a:endParaRPr>
          </a:p>
        </p:txBody>
      </p:sp>
    </p:spTree>
    <p:extLst>
      <p:ext uri="{BB962C8B-B14F-4D97-AF65-F5344CB8AC3E}">
        <p14:creationId xmlns:p14="http://schemas.microsoft.com/office/powerpoint/2010/main" val="369446636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 Basic">
    <p:spTree>
      <p:nvGrpSpPr>
        <p:cNvPr id="1" name=""/>
        <p:cNvGrpSpPr/>
        <p:nvPr/>
      </p:nvGrpSpPr>
      <p:grpSpPr>
        <a:xfrm>
          <a:off x="0" y="0"/>
          <a:ext cx="0" cy="0"/>
          <a:chOff x="0" y="0"/>
          <a:chExt cx="0" cy="0"/>
        </a:xfrm>
      </p:grpSpPr>
      <p:sp>
        <p:nvSpPr>
          <p:cNvPr id="9"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348864760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 Standard profile">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7"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6"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0" name="Text Placeholder 21"/>
          <p:cNvSpPr>
            <a:spLocks noGrp="1"/>
          </p:cNvSpPr>
          <p:nvPr>
            <p:ph type="body" sz="quarter" idx="35" hasCustomPrompt="1"/>
          </p:nvPr>
        </p:nvSpPr>
        <p:spPr>
          <a:xfrm>
            <a:off x="5025050"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9" name="Content Placeholder 2"/>
          <p:cNvSpPr>
            <a:spLocks noGrp="1"/>
          </p:cNvSpPr>
          <p:nvPr>
            <p:ph sz="half" idx="31"/>
          </p:nvPr>
        </p:nvSpPr>
        <p:spPr>
          <a:xfrm>
            <a:off x="5025050"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Text Placeholder 22"/>
          <p:cNvSpPr>
            <a:spLocks noGrp="1"/>
          </p:cNvSpPr>
          <p:nvPr>
            <p:ph type="body" sz="quarter" idx="33" hasCustomPrompt="1"/>
          </p:nvPr>
        </p:nvSpPr>
        <p:spPr>
          <a:xfrm>
            <a:off x="5025050"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2" name="Text Placeholder 21"/>
          <p:cNvSpPr>
            <a:spLocks noGrp="1"/>
          </p:cNvSpPr>
          <p:nvPr>
            <p:ph type="body" sz="quarter" idx="42" hasCustomPrompt="1"/>
          </p:nvPr>
        </p:nvSpPr>
        <p:spPr>
          <a:xfrm>
            <a:off x="5025050"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3" name="Content Placeholder 2"/>
          <p:cNvSpPr>
            <a:spLocks noGrp="1"/>
          </p:cNvSpPr>
          <p:nvPr>
            <p:ph sz="half" idx="43"/>
          </p:nvPr>
        </p:nvSpPr>
        <p:spPr>
          <a:xfrm>
            <a:off x="5025050"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Text Placeholder 22"/>
          <p:cNvSpPr>
            <a:spLocks noGrp="1"/>
          </p:cNvSpPr>
          <p:nvPr>
            <p:ph type="body" sz="quarter" idx="44" hasCustomPrompt="1"/>
          </p:nvPr>
        </p:nvSpPr>
        <p:spPr>
          <a:xfrm>
            <a:off x="5025050"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5"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4"/>
          </p:nvPr>
        </p:nvSpPr>
        <p:spPr>
          <a:xfrm>
            <a:off x="50250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4" name="Content Placeholder 2"/>
          <p:cNvSpPr>
            <a:spLocks noGrp="1"/>
          </p:cNvSpPr>
          <p:nvPr>
            <p:ph idx="1"/>
          </p:nvPr>
        </p:nvSpPr>
        <p:spPr>
          <a:xfrm>
            <a:off x="488947" y="1341438"/>
            <a:ext cx="4392615"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54124856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1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5"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8"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62"/>
          </p:nvPr>
        </p:nvSpPr>
        <p:spPr>
          <a:xfrm>
            <a:off x="488951" y="3860800"/>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64"/>
          </p:nvPr>
        </p:nvSpPr>
        <p:spPr>
          <a:xfrm>
            <a:off x="489564" y="1341437"/>
            <a:ext cx="8928100" cy="215899"/>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64451519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 Four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a:p>
        </p:txBody>
      </p:sp>
      <p:sp>
        <p:nvSpPr>
          <p:cNvPr id="29"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2" name="Text Placeholder 7"/>
          <p:cNvSpPr>
            <a:spLocks noGrp="1"/>
          </p:cNvSpPr>
          <p:nvPr>
            <p:ph type="body" sz="quarter" idx="48"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4" name="Text Placeholder 21"/>
          <p:cNvSpPr>
            <a:spLocks noGrp="1"/>
          </p:cNvSpPr>
          <p:nvPr>
            <p:ph type="body" sz="quarter" idx="35" hasCustomPrompt="1"/>
          </p:nvPr>
        </p:nvSpPr>
        <p:spPr>
          <a:xfrm>
            <a:off x="5024437" y="1557338"/>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5"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6"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5" name="Text Placeholder 21"/>
          <p:cNvSpPr>
            <a:spLocks noGrp="1"/>
          </p:cNvSpPr>
          <p:nvPr>
            <p:ph type="body" sz="quarter" idx="50" hasCustomPrompt="1"/>
          </p:nvPr>
        </p:nvSpPr>
        <p:spPr>
          <a:xfrm>
            <a:off x="5024437" y="4076700"/>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6" name="Content Placeholder 2"/>
          <p:cNvSpPr>
            <a:spLocks noGrp="1"/>
          </p:cNvSpPr>
          <p:nvPr>
            <p:ph sz="half" idx="51"/>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7" name="Text Placeholder 22"/>
          <p:cNvSpPr>
            <a:spLocks noGrp="1"/>
          </p:cNvSpPr>
          <p:nvPr>
            <p:ph type="body" sz="quarter" idx="52" hasCustomPrompt="1"/>
          </p:nvPr>
        </p:nvSpPr>
        <p:spPr>
          <a:xfrm>
            <a:off x="5024437" y="6093295"/>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9" name="Text Placeholder 21"/>
          <p:cNvSpPr>
            <a:spLocks noGrp="1"/>
          </p:cNvSpPr>
          <p:nvPr>
            <p:ph type="body" sz="quarter" idx="54" hasCustomPrompt="1"/>
          </p:nvPr>
        </p:nvSpPr>
        <p:spPr>
          <a:xfrm>
            <a:off x="488950" y="1557337"/>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0" name="Content Placeholder 2"/>
          <p:cNvSpPr>
            <a:spLocks noGrp="1"/>
          </p:cNvSpPr>
          <p:nvPr>
            <p:ph sz="half" idx="55"/>
          </p:nvPr>
        </p:nvSpPr>
        <p:spPr>
          <a:xfrm>
            <a:off x="488950" y="1557337"/>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1" name="Text Placeholder 22"/>
          <p:cNvSpPr>
            <a:spLocks noGrp="1"/>
          </p:cNvSpPr>
          <p:nvPr>
            <p:ph type="body" sz="quarter" idx="56" hasCustomPrompt="1"/>
          </p:nvPr>
        </p:nvSpPr>
        <p:spPr>
          <a:xfrm>
            <a:off x="488950" y="3573933"/>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3" name="Text Placeholder 21"/>
          <p:cNvSpPr>
            <a:spLocks noGrp="1"/>
          </p:cNvSpPr>
          <p:nvPr>
            <p:ph type="body" sz="quarter" idx="58" hasCustomPrompt="1"/>
          </p:nvPr>
        </p:nvSpPr>
        <p:spPr>
          <a:xfrm>
            <a:off x="488950" y="4076699"/>
            <a:ext cx="43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4" name="Content Placeholder 2"/>
          <p:cNvSpPr>
            <a:spLocks noGrp="1"/>
          </p:cNvSpPr>
          <p:nvPr>
            <p:ph sz="half" idx="59"/>
          </p:nvPr>
        </p:nvSpPr>
        <p:spPr>
          <a:xfrm>
            <a:off x="488950" y="407669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Text Placeholder 22"/>
          <p:cNvSpPr>
            <a:spLocks noGrp="1"/>
          </p:cNvSpPr>
          <p:nvPr>
            <p:ph type="body" sz="quarter" idx="60" hasCustomPrompt="1"/>
          </p:nvPr>
        </p:nvSpPr>
        <p:spPr>
          <a:xfrm>
            <a:off x="488950" y="609329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1" name="Text Placeholder 23"/>
          <p:cNvSpPr>
            <a:spLocks noGrp="1"/>
          </p:cNvSpPr>
          <p:nvPr>
            <p:ph type="body" sz="quarter" idx="61"/>
          </p:nvPr>
        </p:nvSpPr>
        <p:spPr>
          <a:xfrm>
            <a:off x="488950"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3"/>
          <p:cNvSpPr>
            <a:spLocks noGrp="1"/>
          </p:cNvSpPr>
          <p:nvPr>
            <p:ph type="body" sz="quarter" idx="62"/>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63"/>
          </p:nvPr>
        </p:nvSpPr>
        <p:spPr>
          <a:xfrm>
            <a:off x="488950"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1" name="Text Placeholder 23"/>
          <p:cNvSpPr>
            <a:spLocks noGrp="1"/>
          </p:cNvSpPr>
          <p:nvPr>
            <p:ph type="body" sz="quarter" idx="64"/>
          </p:nvPr>
        </p:nvSpPr>
        <p:spPr>
          <a:xfrm>
            <a:off x="5024437" y="1341437"/>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23572721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3" name="Text Placeholder 21"/>
          <p:cNvSpPr>
            <a:spLocks noGrp="1"/>
          </p:cNvSpPr>
          <p:nvPr>
            <p:ph type="body" sz="quarter" idx="35" hasCustomPrompt="1"/>
          </p:nvPr>
        </p:nvSpPr>
        <p:spPr>
          <a:xfrm>
            <a:off x="488950" y="1557338"/>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4" name="Content Placeholder 2"/>
          <p:cNvSpPr>
            <a:spLocks noGrp="1"/>
          </p:cNvSpPr>
          <p:nvPr>
            <p:ph sz="half" idx="31"/>
          </p:nvPr>
        </p:nvSpPr>
        <p:spPr>
          <a:xfrm>
            <a:off x="488950" y="1557338"/>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22"/>
          <p:cNvSpPr>
            <a:spLocks noGrp="1"/>
          </p:cNvSpPr>
          <p:nvPr>
            <p:ph type="body" sz="quarter" idx="33" hasCustomPrompt="1"/>
          </p:nvPr>
        </p:nvSpPr>
        <p:spPr>
          <a:xfrm>
            <a:off x="488950" y="3573934"/>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7" name="Text Placeholder 21"/>
          <p:cNvSpPr>
            <a:spLocks noGrp="1"/>
          </p:cNvSpPr>
          <p:nvPr>
            <p:ph type="body" sz="quarter" idx="42" hasCustomPrompt="1"/>
          </p:nvPr>
        </p:nvSpPr>
        <p:spPr>
          <a:xfrm>
            <a:off x="488950" y="4076700"/>
            <a:ext cx="89281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8" name="Content Placeholder 2"/>
          <p:cNvSpPr>
            <a:spLocks noGrp="1"/>
          </p:cNvSpPr>
          <p:nvPr>
            <p:ph sz="half" idx="43"/>
          </p:nvPr>
        </p:nvSpPr>
        <p:spPr>
          <a:xfrm>
            <a:off x="488950" y="4076699"/>
            <a:ext cx="89281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9" name="Text Placeholder 22"/>
          <p:cNvSpPr>
            <a:spLocks noGrp="1"/>
          </p:cNvSpPr>
          <p:nvPr>
            <p:ph type="body" sz="quarter" idx="44" hasCustomPrompt="1"/>
          </p:nvPr>
        </p:nvSpPr>
        <p:spPr>
          <a:xfrm>
            <a:off x="488950" y="6093295"/>
            <a:ext cx="89281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2" name="Text Placeholder 23"/>
          <p:cNvSpPr>
            <a:spLocks noGrp="1"/>
          </p:cNvSpPr>
          <p:nvPr>
            <p:ph type="body" sz="quarter" idx="45"/>
          </p:nvPr>
        </p:nvSpPr>
        <p:spPr>
          <a:xfrm>
            <a:off x="488951" y="1341439"/>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3" name="Text Placeholder 23"/>
          <p:cNvSpPr>
            <a:spLocks noGrp="1"/>
          </p:cNvSpPr>
          <p:nvPr>
            <p:ph type="body" sz="quarter" idx="46"/>
          </p:nvPr>
        </p:nvSpPr>
        <p:spPr>
          <a:xfrm>
            <a:off x="488951" y="3860800"/>
            <a:ext cx="89281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 Six boxes">
    <p:spTree>
      <p:nvGrpSpPr>
        <p:cNvPr id="1" name=""/>
        <p:cNvGrpSpPr/>
        <p:nvPr/>
      </p:nvGrpSpPr>
      <p:grpSpPr>
        <a:xfrm>
          <a:off x="0" y="0"/>
          <a:ext cx="0" cy="0"/>
          <a:chOff x="0" y="0"/>
          <a:chExt cx="0" cy="0"/>
        </a:xfrm>
      </p:grpSpPr>
      <p:sp>
        <p:nvSpPr>
          <p:cNvPr id="2" name="Title 1"/>
          <p:cNvSpPr>
            <a:spLocks noGrp="1"/>
          </p:cNvSpPr>
          <p:nvPr>
            <p:ph type="title"/>
          </p:nvPr>
        </p:nvSpPr>
        <p:spPr>
          <a:xfrm>
            <a:off x="1280592" y="188640"/>
            <a:ext cx="7451904" cy="630000"/>
          </a:xfrm>
        </p:spPr>
        <p:txBody>
          <a:bodyPr/>
          <a:lstStyle/>
          <a:p>
            <a:r>
              <a:rPr lang="en-US" smtClean="0"/>
              <a:t>Click to edit Master title style</a:t>
            </a:r>
            <a:endParaRPr lang="en-GB" dirty="0"/>
          </a:p>
        </p:txBody>
      </p:sp>
      <p:sp>
        <p:nvSpPr>
          <p:cNvPr id="43"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31" name="Text Placeholder 7"/>
          <p:cNvSpPr>
            <a:spLocks noGrp="1"/>
          </p:cNvSpPr>
          <p:nvPr>
            <p:ph type="body" sz="quarter" idx="5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3" name="Text Placeholder 21"/>
          <p:cNvSpPr>
            <a:spLocks noGrp="1"/>
          </p:cNvSpPr>
          <p:nvPr>
            <p:ph type="body" sz="quarter" idx="35" hasCustomPrompt="1"/>
          </p:nvPr>
        </p:nvSpPr>
        <p:spPr>
          <a:xfrm>
            <a:off x="6537324"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4" name="Content Placeholder 2"/>
          <p:cNvSpPr>
            <a:spLocks noGrp="1"/>
          </p:cNvSpPr>
          <p:nvPr>
            <p:ph sz="half" idx="31"/>
          </p:nvPr>
        </p:nvSpPr>
        <p:spPr>
          <a:xfrm>
            <a:off x="6537324"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Text Placeholder 22"/>
          <p:cNvSpPr>
            <a:spLocks noGrp="1"/>
          </p:cNvSpPr>
          <p:nvPr>
            <p:ph type="body" sz="quarter" idx="53" hasCustomPrompt="1"/>
          </p:nvPr>
        </p:nvSpPr>
        <p:spPr>
          <a:xfrm>
            <a:off x="6537324"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7" name="Text Placeholder 21"/>
          <p:cNvSpPr>
            <a:spLocks noGrp="1"/>
          </p:cNvSpPr>
          <p:nvPr>
            <p:ph type="body" sz="quarter" idx="57" hasCustomPrompt="1"/>
          </p:nvPr>
        </p:nvSpPr>
        <p:spPr>
          <a:xfrm>
            <a:off x="3513138"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8" name="Content Placeholder 2"/>
          <p:cNvSpPr>
            <a:spLocks noGrp="1"/>
          </p:cNvSpPr>
          <p:nvPr>
            <p:ph sz="half" idx="58"/>
          </p:nvPr>
        </p:nvSpPr>
        <p:spPr>
          <a:xfrm>
            <a:off x="3513138"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9" name="Text Placeholder 22"/>
          <p:cNvSpPr>
            <a:spLocks noGrp="1"/>
          </p:cNvSpPr>
          <p:nvPr>
            <p:ph type="body" sz="quarter" idx="59" hasCustomPrompt="1"/>
          </p:nvPr>
        </p:nvSpPr>
        <p:spPr>
          <a:xfrm>
            <a:off x="3513138"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41" name="Text Placeholder 21"/>
          <p:cNvSpPr>
            <a:spLocks noGrp="1"/>
          </p:cNvSpPr>
          <p:nvPr>
            <p:ph type="body" sz="quarter" idx="61" hasCustomPrompt="1"/>
          </p:nvPr>
        </p:nvSpPr>
        <p:spPr>
          <a:xfrm>
            <a:off x="488952" y="1557338"/>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2" name="Content Placeholder 2"/>
          <p:cNvSpPr>
            <a:spLocks noGrp="1"/>
          </p:cNvSpPr>
          <p:nvPr>
            <p:ph sz="half" idx="62"/>
          </p:nvPr>
        </p:nvSpPr>
        <p:spPr>
          <a:xfrm>
            <a:off x="488952" y="1557338"/>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4" name="Text Placeholder 22"/>
          <p:cNvSpPr>
            <a:spLocks noGrp="1"/>
          </p:cNvSpPr>
          <p:nvPr>
            <p:ph type="body" sz="quarter" idx="63" hasCustomPrompt="1"/>
          </p:nvPr>
        </p:nvSpPr>
        <p:spPr>
          <a:xfrm>
            <a:off x="488952" y="357393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4" name="Text Placeholder 21"/>
          <p:cNvSpPr>
            <a:spLocks noGrp="1"/>
          </p:cNvSpPr>
          <p:nvPr>
            <p:ph type="body" sz="quarter" idx="65" hasCustomPrompt="1"/>
          </p:nvPr>
        </p:nvSpPr>
        <p:spPr>
          <a:xfrm>
            <a:off x="6536876"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5" name="Content Placeholder 2"/>
          <p:cNvSpPr>
            <a:spLocks noGrp="1"/>
          </p:cNvSpPr>
          <p:nvPr>
            <p:ph sz="half" idx="66"/>
          </p:nvPr>
        </p:nvSpPr>
        <p:spPr>
          <a:xfrm>
            <a:off x="6536876"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6" name="Text Placeholder 22"/>
          <p:cNvSpPr>
            <a:spLocks noGrp="1"/>
          </p:cNvSpPr>
          <p:nvPr>
            <p:ph type="body" sz="quarter" idx="67" hasCustomPrompt="1"/>
          </p:nvPr>
        </p:nvSpPr>
        <p:spPr>
          <a:xfrm>
            <a:off x="6536876"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8" name="Text Placeholder 21"/>
          <p:cNvSpPr>
            <a:spLocks noGrp="1"/>
          </p:cNvSpPr>
          <p:nvPr>
            <p:ph type="body" sz="quarter" idx="69" hasCustomPrompt="1"/>
          </p:nvPr>
        </p:nvSpPr>
        <p:spPr>
          <a:xfrm>
            <a:off x="3512690"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9" name="Content Placeholder 2"/>
          <p:cNvSpPr>
            <a:spLocks noGrp="1"/>
          </p:cNvSpPr>
          <p:nvPr>
            <p:ph sz="half" idx="70"/>
          </p:nvPr>
        </p:nvSpPr>
        <p:spPr>
          <a:xfrm>
            <a:off x="3512690"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0" name="Text Placeholder 22"/>
          <p:cNvSpPr>
            <a:spLocks noGrp="1"/>
          </p:cNvSpPr>
          <p:nvPr>
            <p:ph type="body" sz="quarter" idx="71" hasCustomPrompt="1"/>
          </p:nvPr>
        </p:nvSpPr>
        <p:spPr>
          <a:xfrm>
            <a:off x="3512690"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62" name="Text Placeholder 21"/>
          <p:cNvSpPr>
            <a:spLocks noGrp="1"/>
          </p:cNvSpPr>
          <p:nvPr>
            <p:ph type="body" sz="quarter" idx="73" hasCustomPrompt="1"/>
          </p:nvPr>
        </p:nvSpPr>
        <p:spPr>
          <a:xfrm>
            <a:off x="488504" y="4076699"/>
            <a:ext cx="2879726"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3" name="Content Placeholder 2"/>
          <p:cNvSpPr>
            <a:spLocks noGrp="1"/>
          </p:cNvSpPr>
          <p:nvPr>
            <p:ph sz="half" idx="74"/>
          </p:nvPr>
        </p:nvSpPr>
        <p:spPr>
          <a:xfrm>
            <a:off x="488504" y="4076699"/>
            <a:ext cx="2879726"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4" name="Text Placeholder 22"/>
          <p:cNvSpPr>
            <a:spLocks noGrp="1"/>
          </p:cNvSpPr>
          <p:nvPr>
            <p:ph type="body" sz="quarter" idx="75" hasCustomPrompt="1"/>
          </p:nvPr>
        </p:nvSpPr>
        <p:spPr>
          <a:xfrm>
            <a:off x="488504" y="6093295"/>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9"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5" name="Text Placeholder 23"/>
          <p:cNvSpPr>
            <a:spLocks noGrp="1"/>
          </p:cNvSpPr>
          <p:nvPr>
            <p:ph type="body" sz="quarter" idx="76"/>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6" name="Text Placeholder 23"/>
          <p:cNvSpPr>
            <a:spLocks noGrp="1"/>
          </p:cNvSpPr>
          <p:nvPr>
            <p:ph type="body" sz="quarter" idx="77"/>
          </p:nvPr>
        </p:nvSpPr>
        <p:spPr>
          <a:xfrm>
            <a:off x="6536876"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7" name="Text Placeholder 23"/>
          <p:cNvSpPr>
            <a:spLocks noGrp="1"/>
          </p:cNvSpPr>
          <p:nvPr>
            <p:ph type="body" sz="quarter" idx="78"/>
          </p:nvPr>
        </p:nvSpPr>
        <p:spPr>
          <a:xfrm>
            <a:off x="3512690"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48" name="Text Placeholder 23"/>
          <p:cNvSpPr>
            <a:spLocks noGrp="1"/>
          </p:cNvSpPr>
          <p:nvPr>
            <p:ph type="body" sz="quarter" idx="79"/>
          </p:nvPr>
        </p:nvSpPr>
        <p:spPr>
          <a:xfrm>
            <a:off x="488504" y="3860799"/>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317370198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B] Basic">
    <p:spTree>
      <p:nvGrpSpPr>
        <p:cNvPr id="1" name=""/>
        <p:cNvGrpSpPr/>
        <p:nvPr/>
      </p:nvGrpSpPr>
      <p:grpSpPr>
        <a:xfrm>
          <a:off x="0" y="0"/>
          <a:ext cx="0" cy="0"/>
          <a:chOff x="0" y="0"/>
          <a:chExt cx="0" cy="0"/>
        </a:xfrm>
      </p:grpSpPr>
      <p:sp>
        <p:nvSpPr>
          <p:cNvPr id="11" name="Content Placeholder 2"/>
          <p:cNvSpPr>
            <a:spLocks noGrp="1"/>
          </p:cNvSpPr>
          <p:nvPr>
            <p:ph idx="1"/>
          </p:nvPr>
        </p:nvSpPr>
        <p:spPr>
          <a:xfrm>
            <a:off x="2243138" y="1341438"/>
            <a:ext cx="7173912"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0"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9"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12"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7"/>
          <p:cNvSpPr>
            <a:spLocks noGrp="1"/>
          </p:cNvSpPr>
          <p:nvPr>
            <p:ph type="body" sz="quarter" idx="36"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3"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253130206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B] standard profile">
    <p:spTree>
      <p:nvGrpSpPr>
        <p:cNvPr id="1" name=""/>
        <p:cNvGrpSpPr/>
        <p:nvPr/>
      </p:nvGrpSpPr>
      <p:grpSpPr>
        <a:xfrm>
          <a:off x="0" y="0"/>
          <a:ext cx="0" cy="0"/>
          <a:chOff x="0" y="0"/>
          <a:chExt cx="0" cy="0"/>
        </a:xfrm>
      </p:grpSpPr>
      <p:sp>
        <p:nvSpPr>
          <p:cNvPr id="19" name="Content Placeholder 2"/>
          <p:cNvSpPr>
            <a:spLocks noGrp="1"/>
          </p:cNvSpPr>
          <p:nvPr>
            <p:ph idx="1"/>
          </p:nvPr>
        </p:nvSpPr>
        <p:spPr>
          <a:xfrm>
            <a:off x="2243562" y="1341438"/>
            <a:ext cx="3492001"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6"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17"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0"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31"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2"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6"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7"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8"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8"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4"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293949649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B] Two boxes">
    <p:spTree>
      <p:nvGrpSpPr>
        <p:cNvPr id="1" name=""/>
        <p:cNvGrpSpPr/>
        <p:nvPr/>
      </p:nvGrpSpPr>
      <p:grpSpPr>
        <a:xfrm>
          <a:off x="0" y="0"/>
          <a:ext cx="0" cy="0"/>
          <a:chOff x="0" y="0"/>
          <a:chExt cx="0" cy="0"/>
        </a:xfrm>
      </p:grpSpPr>
      <p:sp>
        <p:nvSpPr>
          <p:cNvPr id="2" name="Title 1"/>
          <p:cNvSpPr>
            <a:spLocks noGrp="1"/>
          </p:cNvSpPr>
          <p:nvPr>
            <p:ph type="title"/>
          </p:nvPr>
        </p:nvSpPr>
        <p:spPr>
          <a:xfrm>
            <a:off x="1208584" y="188640"/>
            <a:ext cx="7452350" cy="630000"/>
          </a:xfrm>
        </p:spPr>
        <p:txBody>
          <a:bodyPr/>
          <a:lstStyle/>
          <a:p>
            <a:r>
              <a:rPr lang="en-US" smtClean="0"/>
              <a:t>Click to edit Master title style</a:t>
            </a:r>
            <a:endParaRPr lang="en-GB" dirty="0"/>
          </a:p>
        </p:txBody>
      </p:sp>
      <p:sp>
        <p:nvSpPr>
          <p:cNvPr id="15"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0" name="Text Placeholder 10"/>
          <p:cNvSpPr>
            <a:spLocks noGrp="1"/>
          </p:cNvSpPr>
          <p:nvPr>
            <p:ph type="body" sz="quarter" idx="34"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22" name="Text Placeholder 12"/>
          <p:cNvSpPr>
            <a:spLocks noGrp="1"/>
          </p:cNvSpPr>
          <p:nvPr>
            <p:ph type="body" sz="quarter" idx="36"/>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7"/>
          <p:cNvSpPr>
            <a:spLocks noGrp="1"/>
          </p:cNvSpPr>
          <p:nvPr>
            <p:ph type="body" sz="quarter" idx="3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8" hasCustomPrompt="1"/>
          </p:nvPr>
        </p:nvSpPr>
        <p:spPr>
          <a:xfrm>
            <a:off x="2252215" y="1557338"/>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1" name="Content Placeholder 2"/>
          <p:cNvSpPr>
            <a:spLocks noGrp="1"/>
          </p:cNvSpPr>
          <p:nvPr>
            <p:ph sz="half" idx="31"/>
          </p:nvPr>
        </p:nvSpPr>
        <p:spPr>
          <a:xfrm>
            <a:off x="2252215" y="1557338"/>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2"/>
          <p:cNvSpPr>
            <a:spLocks noGrp="1"/>
          </p:cNvSpPr>
          <p:nvPr>
            <p:ph type="body" sz="quarter" idx="33" hasCustomPrompt="1"/>
          </p:nvPr>
        </p:nvSpPr>
        <p:spPr>
          <a:xfrm>
            <a:off x="2252215" y="3573934"/>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4" name="Text Placeholder 21"/>
          <p:cNvSpPr>
            <a:spLocks noGrp="1"/>
          </p:cNvSpPr>
          <p:nvPr>
            <p:ph type="body" sz="quarter" idx="42" hasCustomPrompt="1"/>
          </p:nvPr>
        </p:nvSpPr>
        <p:spPr>
          <a:xfrm>
            <a:off x="2252215" y="4076700"/>
            <a:ext cx="7164387"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5" name="Content Placeholder 2"/>
          <p:cNvSpPr>
            <a:spLocks noGrp="1"/>
          </p:cNvSpPr>
          <p:nvPr>
            <p:ph sz="half" idx="43"/>
          </p:nvPr>
        </p:nvSpPr>
        <p:spPr>
          <a:xfrm>
            <a:off x="2252215" y="4076699"/>
            <a:ext cx="7164387"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6" name="Text Placeholder 22"/>
          <p:cNvSpPr>
            <a:spLocks noGrp="1"/>
          </p:cNvSpPr>
          <p:nvPr>
            <p:ph type="body" sz="quarter" idx="44" hasCustomPrompt="1"/>
          </p:nvPr>
        </p:nvSpPr>
        <p:spPr>
          <a:xfrm>
            <a:off x="2252215" y="6093295"/>
            <a:ext cx="7164387"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2252215" y="1341438"/>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3" name="Text Placeholder 23"/>
          <p:cNvSpPr>
            <a:spLocks noGrp="1"/>
          </p:cNvSpPr>
          <p:nvPr>
            <p:ph type="body" sz="quarter" idx="77"/>
          </p:nvPr>
        </p:nvSpPr>
        <p:spPr>
          <a:xfrm>
            <a:off x="2252215" y="3860799"/>
            <a:ext cx="7164387"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771401257"/>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B] Four boxes">
    <p:spTree>
      <p:nvGrpSpPr>
        <p:cNvPr id="1" name=""/>
        <p:cNvGrpSpPr/>
        <p:nvPr/>
      </p:nvGrpSpPr>
      <p:grpSpPr>
        <a:xfrm>
          <a:off x="0" y="0"/>
          <a:ext cx="0" cy="0"/>
          <a:chOff x="0" y="0"/>
          <a:chExt cx="0" cy="0"/>
        </a:xfrm>
      </p:grpSpPr>
      <p:sp>
        <p:nvSpPr>
          <p:cNvPr id="28" name="Text Placeholder 10"/>
          <p:cNvSpPr>
            <a:spLocks noGrp="1"/>
          </p:cNvSpPr>
          <p:nvPr>
            <p:ph type="body" sz="quarter" idx="33" hasCustomPrompt="1"/>
          </p:nvPr>
        </p:nvSpPr>
        <p:spPr>
          <a:xfrm>
            <a:off x="482600" y="1557338"/>
            <a:ext cx="1620000" cy="4679950"/>
          </a:xfrm>
          <a:solidFill>
            <a:schemeClr val="bg1">
              <a:lumMod val="95000"/>
            </a:schemeClr>
          </a:solidFill>
        </p:spPr>
        <p:txBody>
          <a:bodyPr/>
          <a:lstStyle>
            <a:lvl1pPr>
              <a:defRPr baseline="0"/>
            </a:lvl1pPr>
          </a:lstStyle>
          <a:p>
            <a:pPr lvl="0"/>
            <a:r>
              <a:rPr lang="en-GB" dirty="0" smtClean="0"/>
              <a:t> </a:t>
            </a:r>
            <a:endParaRPr lang="en-GB" dirty="0"/>
          </a:p>
        </p:txBody>
      </p:sp>
      <p:sp>
        <p:nvSpPr>
          <p:cNvPr id="33" name="Text Placeholder 12"/>
          <p:cNvSpPr>
            <a:spLocks noGrp="1"/>
          </p:cNvSpPr>
          <p:nvPr>
            <p:ph type="body" sz="quarter" idx="34"/>
          </p:nvPr>
        </p:nvSpPr>
        <p:spPr>
          <a:xfrm>
            <a:off x="482600" y="1557338"/>
            <a:ext cx="1620000" cy="4679950"/>
          </a:xfrm>
        </p:spPr>
        <p:txBody>
          <a:bodyPr lIns="72000" tIns="36000" rIns="72000" bIns="36000"/>
          <a:lstStyle>
            <a:lvl1pPr>
              <a:defRPr sz="900" i="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3" name="Title 1"/>
          <p:cNvSpPr>
            <a:spLocks noGrp="1"/>
          </p:cNvSpPr>
          <p:nvPr>
            <p:ph type="title"/>
          </p:nvPr>
        </p:nvSpPr>
        <p:spPr>
          <a:xfrm>
            <a:off x="1280592" y="188640"/>
            <a:ext cx="7452350" cy="630000"/>
          </a:xfrm>
        </p:spPr>
        <p:txBody>
          <a:bodyPr/>
          <a:lstStyle/>
          <a:p>
            <a:r>
              <a:rPr lang="en-US" smtClean="0"/>
              <a:t>Click to edit Master title style</a:t>
            </a:r>
            <a:endParaRPr lang="en-GB" dirty="0"/>
          </a:p>
        </p:txBody>
      </p:sp>
      <p:sp>
        <p:nvSpPr>
          <p:cNvPr id="24" name="Text Placeholder 13"/>
          <p:cNvSpPr>
            <a:spLocks noGrp="1"/>
          </p:cNvSpPr>
          <p:nvPr>
            <p:ph type="body" sz="quarter" idx="10" hasCustomPrompt="1"/>
          </p:nvPr>
        </p:nvSpPr>
        <p:spPr>
          <a:xfrm>
            <a:off x="488504" y="188640"/>
            <a:ext cx="540000" cy="630000"/>
          </a:xfrm>
          <a:solidFill>
            <a:schemeClr val="bg1">
              <a:lumMod val="95000"/>
            </a:schemeClr>
          </a:solidFill>
        </p:spPr>
        <p:txBody>
          <a:bodyPr lIns="72000" tIns="0" rIns="72000" anchor="ctr" anchorCtr="0"/>
          <a:lstStyle>
            <a:lvl1pPr algn="ctr">
              <a:defRPr sz="4400">
                <a:solidFill>
                  <a:schemeClr val="tx2"/>
                </a:solidFill>
                <a:latin typeface="Myriad Light" pitchFamily="2" charset="0"/>
              </a:defRPr>
            </a:lvl1pPr>
          </a:lstStyle>
          <a:p>
            <a:pPr lvl="0"/>
            <a:r>
              <a:rPr lang="en-US" dirty="0" smtClean="0"/>
              <a:t>#</a:t>
            </a:r>
          </a:p>
        </p:txBody>
      </p:sp>
      <p:sp>
        <p:nvSpPr>
          <p:cNvPr id="25" name="Text Placeholder 7"/>
          <p:cNvSpPr>
            <a:spLocks noGrp="1"/>
          </p:cNvSpPr>
          <p:nvPr>
            <p:ph type="body" sz="quarter" idx="54"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9" name="Text Placeholder 21"/>
          <p:cNvSpPr>
            <a:spLocks noGrp="1"/>
          </p:cNvSpPr>
          <p:nvPr>
            <p:ph type="body" sz="quarter" idx="42" hasCustomPrompt="1"/>
          </p:nvPr>
        </p:nvSpPr>
        <p:spPr>
          <a:xfrm>
            <a:off x="5924602"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0" name="Content Placeholder 2"/>
          <p:cNvSpPr>
            <a:spLocks noGrp="1"/>
          </p:cNvSpPr>
          <p:nvPr>
            <p:ph sz="half" idx="31"/>
          </p:nvPr>
        </p:nvSpPr>
        <p:spPr>
          <a:xfrm>
            <a:off x="5924602"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2"/>
          <p:cNvSpPr>
            <a:spLocks noGrp="1"/>
          </p:cNvSpPr>
          <p:nvPr>
            <p:ph type="body" sz="quarter" idx="55" hasCustomPrompt="1"/>
          </p:nvPr>
        </p:nvSpPr>
        <p:spPr>
          <a:xfrm>
            <a:off x="5924602"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1" name="Text Placeholder 21"/>
          <p:cNvSpPr>
            <a:spLocks noGrp="1"/>
          </p:cNvSpPr>
          <p:nvPr>
            <p:ph type="body" sz="quarter" idx="65" hasCustomPrompt="1"/>
          </p:nvPr>
        </p:nvSpPr>
        <p:spPr>
          <a:xfrm>
            <a:off x="5924602" y="4076699"/>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2" name="Content Placeholder 2"/>
          <p:cNvSpPr>
            <a:spLocks noGrp="1"/>
          </p:cNvSpPr>
          <p:nvPr>
            <p:ph sz="half" idx="66"/>
          </p:nvPr>
        </p:nvSpPr>
        <p:spPr>
          <a:xfrm>
            <a:off x="5924602"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3" name="Text Placeholder 22"/>
          <p:cNvSpPr>
            <a:spLocks noGrp="1"/>
          </p:cNvSpPr>
          <p:nvPr>
            <p:ph type="body" sz="quarter" idx="67" hasCustomPrompt="1"/>
          </p:nvPr>
        </p:nvSpPr>
        <p:spPr>
          <a:xfrm>
            <a:off x="5924602"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5" name="Text Placeholder 21"/>
          <p:cNvSpPr>
            <a:spLocks noGrp="1"/>
          </p:cNvSpPr>
          <p:nvPr>
            <p:ph type="body" sz="quarter" idx="69" hasCustomPrompt="1"/>
          </p:nvPr>
        </p:nvSpPr>
        <p:spPr>
          <a:xfrm>
            <a:off x="2252215" y="155733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56" name="Content Placeholder 2"/>
          <p:cNvSpPr>
            <a:spLocks noGrp="1"/>
          </p:cNvSpPr>
          <p:nvPr>
            <p:ph sz="half" idx="70"/>
          </p:nvPr>
        </p:nvSpPr>
        <p:spPr>
          <a:xfrm>
            <a:off x="2252215" y="1557338"/>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7" name="Text Placeholder 22"/>
          <p:cNvSpPr>
            <a:spLocks noGrp="1"/>
          </p:cNvSpPr>
          <p:nvPr>
            <p:ph type="body" sz="quarter" idx="71" hasCustomPrompt="1"/>
          </p:nvPr>
        </p:nvSpPr>
        <p:spPr>
          <a:xfrm>
            <a:off x="2252215" y="3573934"/>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59" name="Text Placeholder 21"/>
          <p:cNvSpPr>
            <a:spLocks noGrp="1"/>
          </p:cNvSpPr>
          <p:nvPr>
            <p:ph type="body" sz="quarter" idx="73" hasCustomPrompt="1"/>
          </p:nvPr>
        </p:nvSpPr>
        <p:spPr>
          <a:xfrm>
            <a:off x="2252215" y="4078288"/>
            <a:ext cx="3492000" cy="215900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60" name="Content Placeholder 2"/>
          <p:cNvSpPr>
            <a:spLocks noGrp="1"/>
          </p:cNvSpPr>
          <p:nvPr>
            <p:ph sz="half" idx="74"/>
          </p:nvPr>
        </p:nvSpPr>
        <p:spPr>
          <a:xfrm>
            <a:off x="2252215" y="4076699"/>
            <a:ext cx="3492000" cy="2016596"/>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1" name="Text Placeholder 22"/>
          <p:cNvSpPr>
            <a:spLocks noGrp="1"/>
          </p:cNvSpPr>
          <p:nvPr>
            <p:ph type="body" sz="quarter" idx="75" hasCustomPrompt="1"/>
          </p:nvPr>
        </p:nvSpPr>
        <p:spPr>
          <a:xfrm>
            <a:off x="2252215" y="6093295"/>
            <a:ext cx="34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6" name="Text Placeholder 23"/>
          <p:cNvSpPr>
            <a:spLocks noGrp="1"/>
          </p:cNvSpPr>
          <p:nvPr>
            <p:ph type="body" sz="quarter" idx="45"/>
          </p:nvPr>
        </p:nvSpPr>
        <p:spPr>
          <a:xfrm>
            <a:off x="5924602"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4" name="Text Placeholder 23"/>
          <p:cNvSpPr>
            <a:spLocks noGrp="1"/>
          </p:cNvSpPr>
          <p:nvPr>
            <p:ph type="body" sz="quarter" idx="77"/>
          </p:nvPr>
        </p:nvSpPr>
        <p:spPr>
          <a:xfrm>
            <a:off x="5924602"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5" name="Text Placeholder 23"/>
          <p:cNvSpPr>
            <a:spLocks noGrp="1"/>
          </p:cNvSpPr>
          <p:nvPr>
            <p:ph type="body" sz="quarter" idx="78"/>
          </p:nvPr>
        </p:nvSpPr>
        <p:spPr>
          <a:xfrm>
            <a:off x="2252215" y="1341438"/>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6" name="Text Placeholder 23"/>
          <p:cNvSpPr>
            <a:spLocks noGrp="1"/>
          </p:cNvSpPr>
          <p:nvPr>
            <p:ph type="body" sz="quarter" idx="79"/>
          </p:nvPr>
        </p:nvSpPr>
        <p:spPr>
          <a:xfrm>
            <a:off x="2251767" y="3860799"/>
            <a:ext cx="349200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7" name="Text Placeholder 23"/>
          <p:cNvSpPr>
            <a:spLocks noGrp="1"/>
          </p:cNvSpPr>
          <p:nvPr>
            <p:ph type="body" sz="quarter" idx="52" hasCustomPrompt="1"/>
          </p:nvPr>
        </p:nvSpPr>
        <p:spPr>
          <a:xfrm>
            <a:off x="488951" y="1341438"/>
            <a:ext cx="1619250"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dirty="0" smtClean="0"/>
              <a:t>Title</a:t>
            </a:r>
          </a:p>
        </p:txBody>
      </p:sp>
    </p:spTree>
    <p:extLst>
      <p:ext uri="{BB962C8B-B14F-4D97-AF65-F5344CB8AC3E}">
        <p14:creationId xmlns:p14="http://schemas.microsoft.com/office/powerpoint/2010/main" val="181048506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17652" y="1533439"/>
            <a:ext cx="5936836" cy="4637753"/>
          </a:xfrm>
        </p:spPr>
        <p:txBody>
          <a:bodyPr/>
          <a:lstStyle>
            <a:lvl1pPr>
              <a:buFont typeface="Wingdings" pitchFamily="2" charset="2"/>
              <a:buChar cha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6" name="Content Placeholder 2"/>
          <p:cNvSpPr>
            <a:spLocks noGrp="1"/>
          </p:cNvSpPr>
          <p:nvPr>
            <p:ph idx="15"/>
          </p:nvPr>
        </p:nvSpPr>
        <p:spPr bwMode="gray">
          <a:xfrm>
            <a:off x="882365" y="6302218"/>
            <a:ext cx="8348661" cy="274742"/>
          </a:xfrm>
        </p:spPr>
        <p:txBody>
          <a:bodyPr/>
          <a:lstStyle>
            <a:lvl1pPr marL="0" indent="0">
              <a:lnSpc>
                <a:spcPct val="100000"/>
              </a:lnSpc>
              <a:buClrTx/>
              <a:buFont typeface="Arial" pitchFamily="34" charset="0"/>
              <a:buNone/>
              <a:defRPr sz="600">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2" name="Text Placeholder 13"/>
          <p:cNvSpPr>
            <a:spLocks noGrp="1"/>
          </p:cNvSpPr>
          <p:nvPr>
            <p:ph type="body" sz="quarter" idx="18"/>
          </p:nvPr>
        </p:nvSpPr>
        <p:spPr bwMode="gray">
          <a:xfrm>
            <a:off x="6628170" y="1534880"/>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14" name="Text Placeholder 13"/>
          <p:cNvSpPr>
            <a:spLocks noGrp="1"/>
          </p:cNvSpPr>
          <p:nvPr>
            <p:ph type="body" sz="quarter" idx="23"/>
          </p:nvPr>
        </p:nvSpPr>
        <p:spPr bwMode="gray">
          <a:xfrm>
            <a:off x="6628170" y="3950943"/>
            <a:ext cx="2851354" cy="326517"/>
          </a:xfrm>
          <a:solidFill>
            <a:schemeClr val="bg1">
              <a:lumMod val="50000"/>
            </a:schemeClr>
          </a:solidFill>
          <a:ln w="15875" algn="ctr">
            <a:solidFill>
              <a:schemeClr val="bg1">
                <a:lumMod val="50000"/>
              </a:schemeClr>
            </a:solidFill>
            <a:round/>
            <a:headEnd/>
            <a:tailEnd/>
          </a:ln>
        </p:spPr>
        <p:txBody>
          <a:bodyPr lIns="69414" tIns="69414" rIns="69414" bIns="69414" anchor="ctr"/>
          <a:lstStyle>
            <a:lvl1pPr marL="0" indent="0" algn="l" defTabSz="913926" rtl="0" fontAlgn="base">
              <a:lnSpc>
                <a:spcPts val="1469"/>
              </a:lnSpc>
              <a:spcBef>
                <a:spcPts val="0"/>
              </a:spcBef>
              <a:spcAft>
                <a:spcPct val="0"/>
              </a:spcAft>
              <a:buFont typeface="Times" pitchFamily="18" charset="0"/>
              <a:buNone/>
              <a:defRPr lang="en-US" sz="900" b="1" kern="1200" dirty="0" smtClean="0">
                <a:solidFill>
                  <a:schemeClr val="accent1"/>
                </a:solidFill>
                <a:latin typeface="Verdana" pitchFamily="34" charset="0"/>
                <a:ea typeface="+mn-ea"/>
                <a:cs typeface="+mn-cs"/>
              </a:defRPr>
            </a:lvl1pPr>
            <a:lvl2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3926"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3926"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7" name="Text Placeholder 26"/>
          <p:cNvSpPr>
            <a:spLocks noGrp="1"/>
          </p:cNvSpPr>
          <p:nvPr>
            <p:ph type="body" sz="quarter" idx="32"/>
          </p:nvPr>
        </p:nvSpPr>
        <p:spPr bwMode="gray">
          <a:xfrm>
            <a:off x="6628170" y="1857807"/>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28" name="Content Placeholder 18"/>
          <p:cNvSpPr>
            <a:spLocks noGrp="1"/>
          </p:cNvSpPr>
          <p:nvPr>
            <p:ph sz="quarter" idx="33"/>
          </p:nvPr>
        </p:nvSpPr>
        <p:spPr bwMode="gray">
          <a:xfrm>
            <a:off x="6628170" y="1861397"/>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9" name="Content Placeholder 2"/>
          <p:cNvSpPr>
            <a:spLocks noGrp="1"/>
          </p:cNvSpPr>
          <p:nvPr>
            <p:ph idx="27"/>
          </p:nvPr>
        </p:nvSpPr>
        <p:spPr bwMode="gray">
          <a:xfrm>
            <a:off x="6628170" y="3534672"/>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30" name="Text Placeholder 26"/>
          <p:cNvSpPr>
            <a:spLocks noGrp="1"/>
          </p:cNvSpPr>
          <p:nvPr>
            <p:ph type="body" sz="quarter" idx="34"/>
          </p:nvPr>
        </p:nvSpPr>
        <p:spPr bwMode="gray">
          <a:xfrm>
            <a:off x="6628170" y="4274450"/>
            <a:ext cx="2851354" cy="1897319"/>
          </a:xfrm>
          <a:ln>
            <a:solidFill>
              <a:schemeClr val="bg1">
                <a:lumMod val="50000"/>
              </a:schemeClr>
            </a:solidFill>
          </a:ln>
        </p:spPr>
        <p:txBody>
          <a:bodyPr/>
          <a:lstStyle>
            <a:lvl1pPr>
              <a:buNone/>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smtClean="0"/>
              <a:t>Click to edit Master text styles</a:t>
            </a:r>
          </a:p>
        </p:txBody>
      </p:sp>
      <p:sp>
        <p:nvSpPr>
          <p:cNvPr id="31" name="Content Placeholder 18"/>
          <p:cNvSpPr>
            <a:spLocks noGrp="1"/>
          </p:cNvSpPr>
          <p:nvPr>
            <p:ph sz="quarter" idx="35"/>
          </p:nvPr>
        </p:nvSpPr>
        <p:spPr bwMode="gray">
          <a:xfrm>
            <a:off x="6628170" y="4278038"/>
            <a:ext cx="2851354" cy="1673277"/>
          </a:xfrm>
          <a:noFill/>
          <a:ln w="9525">
            <a:noFill/>
            <a:miter lim="800000"/>
            <a:headEnd/>
            <a:tailEnd/>
          </a:ln>
        </p:spPr>
        <p:txBody>
          <a:bodyPr lIns="69414" tIns="69414" rIns="69414" bIns="69414"/>
          <a:lstStyle>
            <a:lvl1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1pPr>
            <a:lvl2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2pPr>
            <a:lvl3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3pPr>
            <a:lvl4pPr algn="l" defTabSz="913926" rtl="0" eaLnBrk="1" fontAlgn="base" hangingPunct="1">
              <a:lnSpc>
                <a:spcPts val="1469"/>
              </a:lnSpc>
              <a:spcBef>
                <a:spcPct val="0"/>
              </a:spcBef>
              <a:spcAft>
                <a:spcPct val="0"/>
              </a:spcAft>
              <a:buClr>
                <a:schemeClr val="accent5">
                  <a:lumMod val="50000"/>
                </a:schemeClr>
              </a:buClr>
              <a:defRPr lang="en-US" sz="900" dirty="0" smtClean="0">
                <a:solidFill>
                  <a:schemeClr val="tx1"/>
                </a:solidFill>
                <a:latin typeface="+mn-lt"/>
                <a:ea typeface="+mn-ea"/>
                <a:cs typeface="+mn-cs"/>
              </a:defRPr>
            </a:lvl4pPr>
            <a:lvl5pPr algn="l" defTabSz="913926" rtl="0" eaLnBrk="1" fontAlgn="base" hangingPunct="1">
              <a:lnSpc>
                <a:spcPts val="1469"/>
              </a:lnSpc>
              <a:spcBef>
                <a:spcPct val="0"/>
              </a:spcBef>
              <a:spcAft>
                <a:spcPct val="0"/>
              </a:spcAft>
              <a:buClr>
                <a:schemeClr val="accent5">
                  <a:lumMod val="50000"/>
                </a:schemeClr>
              </a:buClr>
              <a:defRPr lang="en-GB" sz="900" dirty="0" smtClean="0">
                <a:solidFill>
                  <a:schemeClr val="tx1"/>
                </a:solidFill>
                <a:latin typeface="+mn-lt"/>
                <a:ea typeface="+mn-ea"/>
                <a:cs typeface="+mn-cs"/>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2" name="Content Placeholder 2"/>
          <p:cNvSpPr>
            <a:spLocks noGrp="1"/>
          </p:cNvSpPr>
          <p:nvPr>
            <p:ph idx="36"/>
          </p:nvPr>
        </p:nvSpPr>
        <p:spPr bwMode="gray">
          <a:xfrm>
            <a:off x="6628170" y="5951314"/>
            <a:ext cx="2851354" cy="220453"/>
          </a:xfrm>
        </p:spPr>
        <p:txBody>
          <a:bodyPr lIns="39667" anchor="ctr"/>
          <a:lstStyle>
            <a:lvl1pPr marL="0" indent="0">
              <a:lnSpc>
                <a:spcPct val="100000"/>
              </a:lnSpc>
              <a:buClrTx/>
              <a:buFont typeface="Arial" pitchFamily="34" charset="0"/>
              <a:buNone/>
              <a:defRPr sz="600" i="1">
                <a:solidFill>
                  <a:schemeClr val="accent1">
                    <a:lumMod val="50000"/>
                  </a:schemeClr>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3"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161006276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41033732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Six boxes">
    <p:spTree>
      <p:nvGrpSpPr>
        <p:cNvPr id="1" name=""/>
        <p:cNvGrpSpPr/>
        <p:nvPr/>
      </p:nvGrpSpPr>
      <p:grpSpPr>
        <a:xfrm>
          <a:off x="0" y="0"/>
          <a:ext cx="0" cy="0"/>
          <a:chOff x="0" y="0"/>
          <a:chExt cx="0" cy="0"/>
        </a:xfrm>
      </p:grpSpPr>
      <p:sp>
        <p:nvSpPr>
          <p:cNvPr id="2"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
        <p:nvSpPr>
          <p:cNvPr id="43" name="Content Placeholder 2"/>
          <p:cNvSpPr>
            <a:spLocks noGrp="1"/>
          </p:cNvSpPr>
          <p:nvPr>
            <p:ph sz="half" idx="32"/>
          </p:nvPr>
        </p:nvSpPr>
        <p:spPr>
          <a:xfrm>
            <a:off x="6537324" y="134144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46" name="Content Placeholder 2"/>
          <p:cNvSpPr>
            <a:spLocks noGrp="1"/>
          </p:cNvSpPr>
          <p:nvPr>
            <p:ph sz="half" idx="31"/>
          </p:nvPr>
        </p:nvSpPr>
        <p:spPr>
          <a:xfrm>
            <a:off x="6537324"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8" name="Content Placeholder 2"/>
          <p:cNvSpPr>
            <a:spLocks noGrp="1"/>
          </p:cNvSpPr>
          <p:nvPr>
            <p:ph sz="half" idx="36"/>
          </p:nvPr>
        </p:nvSpPr>
        <p:spPr>
          <a:xfrm>
            <a:off x="6537324" y="3849695"/>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50" name="Content Placeholder 2"/>
          <p:cNvSpPr>
            <a:spLocks noGrp="1"/>
          </p:cNvSpPr>
          <p:nvPr>
            <p:ph sz="half" idx="38"/>
          </p:nvPr>
        </p:nvSpPr>
        <p:spPr>
          <a:xfrm>
            <a:off x="6537324"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2" name="Content Placeholder 2"/>
          <p:cNvSpPr>
            <a:spLocks noGrp="1"/>
          </p:cNvSpPr>
          <p:nvPr>
            <p:ph sz="half" idx="40"/>
          </p:nvPr>
        </p:nvSpPr>
        <p:spPr>
          <a:xfrm>
            <a:off x="3513138" y="134144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3" name="Content Placeholder 2"/>
          <p:cNvSpPr>
            <a:spLocks noGrp="1"/>
          </p:cNvSpPr>
          <p:nvPr>
            <p:ph sz="half" idx="42"/>
          </p:nvPr>
        </p:nvSpPr>
        <p:spPr>
          <a:xfrm>
            <a:off x="3513138"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5" name="Content Placeholder 2"/>
          <p:cNvSpPr>
            <a:spLocks noGrp="1"/>
          </p:cNvSpPr>
          <p:nvPr>
            <p:ph sz="half" idx="44"/>
          </p:nvPr>
        </p:nvSpPr>
        <p:spPr>
          <a:xfrm>
            <a:off x="3513138" y="3849694"/>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77" name="Content Placeholder 2"/>
          <p:cNvSpPr>
            <a:spLocks noGrp="1"/>
          </p:cNvSpPr>
          <p:nvPr>
            <p:ph sz="half" idx="46"/>
          </p:nvPr>
        </p:nvSpPr>
        <p:spPr>
          <a:xfrm>
            <a:off x="3513138" y="4065047"/>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9" name="Content Placeholder 2"/>
          <p:cNvSpPr>
            <a:spLocks noGrp="1"/>
          </p:cNvSpPr>
          <p:nvPr>
            <p:ph sz="half" idx="48"/>
          </p:nvPr>
        </p:nvSpPr>
        <p:spPr>
          <a:xfrm>
            <a:off x="488952" y="134144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81" name="Content Placeholder 2"/>
          <p:cNvSpPr>
            <a:spLocks noGrp="1"/>
          </p:cNvSpPr>
          <p:nvPr>
            <p:ph sz="half" idx="50"/>
          </p:nvPr>
        </p:nvSpPr>
        <p:spPr>
          <a:xfrm>
            <a:off x="488952" y="1556796"/>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3" name="Content Placeholder 2"/>
          <p:cNvSpPr>
            <a:spLocks noGrp="1"/>
          </p:cNvSpPr>
          <p:nvPr>
            <p:ph sz="half" idx="52"/>
          </p:nvPr>
        </p:nvSpPr>
        <p:spPr>
          <a:xfrm>
            <a:off x="488952" y="3849693"/>
            <a:ext cx="2879725"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85" name="Content Placeholder 2"/>
          <p:cNvSpPr>
            <a:spLocks noGrp="1"/>
          </p:cNvSpPr>
          <p:nvPr>
            <p:ph sz="half" idx="54"/>
          </p:nvPr>
        </p:nvSpPr>
        <p:spPr>
          <a:xfrm>
            <a:off x="488952" y="4065042"/>
            <a:ext cx="2879725" cy="2159544"/>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9"/>
          <p:cNvSpPr>
            <a:spLocks noGrp="1"/>
          </p:cNvSpPr>
          <p:nvPr>
            <p:ph type="body" sz="quarter" idx="56"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267635976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13" name="Object 3" hidden="1"/>
          <p:cNvGraphicFramePr>
            <a:graphicFrameLocks noChangeAspect="1"/>
          </p:cNvGraphicFramePr>
          <p:nvPr>
            <p:custDataLst>
              <p:tags r:id="rId2"/>
            </p:custDataLst>
          </p:nvPr>
        </p:nvGraphicFramePr>
        <p:xfrm>
          <a:off x="0" y="0"/>
          <a:ext cx="147061" cy="143985"/>
        </p:xfrm>
        <a:graphic>
          <a:graphicData uri="http://schemas.openxmlformats.org/presentationml/2006/ole">
            <mc:AlternateContent xmlns:mc="http://schemas.openxmlformats.org/markup-compatibility/2006">
              <mc:Choice xmlns:v="urn:schemas-microsoft-com:vml" Requires="v">
                <p:oleObj spid="_x0000_s910877" name="think-cell Slide" r:id="rId4" imgW="270" imgH="270" progId="">
                  <p:embed/>
                </p:oleObj>
              </mc:Choice>
              <mc:Fallback>
                <p:oleObj name="think-cell Slide" r:id="rId4" imgW="270" imgH="270" progId="">
                  <p:embed/>
                  <p:pic>
                    <p:nvPicPr>
                      <p:cNvPr id="0" name="Picture 9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7061"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6"/>
          <p:cNvSpPr>
            <a:spLocks noGrp="1"/>
          </p:cNvSpPr>
          <p:nvPr>
            <p:ph type="body" sz="quarter" idx="28"/>
          </p:nvPr>
        </p:nvSpPr>
        <p:spPr bwMode="gray">
          <a:xfrm>
            <a:off x="5086956"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3" name="Text Placeholder 16"/>
          <p:cNvSpPr>
            <a:spLocks noGrp="1"/>
          </p:cNvSpPr>
          <p:nvPr>
            <p:ph type="body" sz="quarter" idx="29"/>
          </p:nvPr>
        </p:nvSpPr>
        <p:spPr bwMode="gray">
          <a:xfrm>
            <a:off x="416180" y="1865066"/>
            <a:ext cx="4385416" cy="4300828"/>
          </a:xfrm>
          <a:ln>
            <a:solidFill>
              <a:schemeClr val="accent1"/>
            </a:solidFill>
          </a:ln>
        </p:spPr>
        <p:txBody>
          <a:bodyPr/>
          <a:lstStyle>
            <a:lvl1pPr>
              <a:buNone/>
              <a:defRPr>
                <a:solidFill>
                  <a:schemeClr val="accent1"/>
                </a:solidFill>
              </a:defRPr>
            </a:lvl1pPr>
          </a:lstStyle>
          <a:p>
            <a:pPr lvl="0"/>
            <a:r>
              <a:rPr lang="en-US" noProof="0" smtClean="0"/>
              <a:t>Click to edit Master text styles</a:t>
            </a:r>
          </a:p>
        </p:txBody>
      </p:sp>
      <p:sp>
        <p:nvSpPr>
          <p:cNvPr id="20" name="Content Placeholder 19"/>
          <p:cNvSpPr>
            <a:spLocks noGrp="1"/>
          </p:cNvSpPr>
          <p:nvPr>
            <p:ph sz="quarter" idx="22"/>
          </p:nvPr>
        </p:nvSpPr>
        <p:spPr bwMode="gray">
          <a:xfrm>
            <a:off x="5086992"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24" name="Content Placeholder 19"/>
          <p:cNvSpPr>
            <a:spLocks noGrp="1"/>
          </p:cNvSpPr>
          <p:nvPr>
            <p:ph sz="quarter" idx="30"/>
          </p:nvPr>
        </p:nvSpPr>
        <p:spPr bwMode="gray">
          <a:xfrm>
            <a:off x="416181" y="1865066"/>
            <a:ext cx="4385346" cy="4067242"/>
          </a:xfrm>
          <a:ln>
            <a:noFill/>
          </a:ln>
        </p:spPr>
        <p:txBody>
          <a:bodyPr lIns="69423" tIns="69423" rIns="69423" bIns="69423"/>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7"/>
          </p:nvPr>
        </p:nvSpPr>
        <p:spPr bwMode="gray">
          <a:xfrm>
            <a:off x="416180"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GB" sz="1000" b="1" kern="1200" dirty="0" smtClean="0">
                <a:solidFill>
                  <a:schemeClr val="bg2"/>
                </a:solidFill>
                <a:latin typeface="Verdana" pitchFamily="34" charset="0"/>
                <a:ea typeface="+mn-ea"/>
                <a:cs typeface="+mn-cs"/>
              </a:defRPr>
            </a:lvl1pPr>
          </a:lstStyle>
          <a:p>
            <a:pPr lvl="0"/>
            <a:r>
              <a:rPr lang="en-US" noProof="0" smtClean="0"/>
              <a:t>Click to edit Master text styles</a:t>
            </a:r>
          </a:p>
        </p:txBody>
      </p:sp>
      <p:sp>
        <p:nvSpPr>
          <p:cNvPr id="14" name="Text Placeholder 13"/>
          <p:cNvSpPr>
            <a:spLocks noGrp="1"/>
          </p:cNvSpPr>
          <p:nvPr>
            <p:ph type="body" sz="quarter" idx="18"/>
          </p:nvPr>
        </p:nvSpPr>
        <p:spPr bwMode="gray">
          <a:xfrm>
            <a:off x="5087088" y="1534879"/>
            <a:ext cx="4385416" cy="326517"/>
          </a:xfrm>
          <a:solidFill>
            <a:schemeClr val="accent1"/>
          </a:solidFill>
          <a:ln w="15875" algn="ctr">
            <a:solidFill>
              <a:schemeClr val="accent1"/>
            </a:solidFill>
            <a:round/>
            <a:headEnd/>
            <a:tailEnd/>
          </a:ln>
        </p:spPr>
        <p:txBody>
          <a:bodyPr lIns="69423" tIns="69423" rIns="69423" bIns="69423" anchor="ctr"/>
          <a:lstStyle>
            <a:lvl1pPr marL="0" indent="0" algn="l" defTabSz="914042" rtl="0" fontAlgn="base">
              <a:lnSpc>
                <a:spcPts val="1469"/>
              </a:lnSpc>
              <a:spcBef>
                <a:spcPts val="0"/>
              </a:spcBef>
              <a:spcAft>
                <a:spcPct val="0"/>
              </a:spcAft>
              <a:buFont typeface="Times" pitchFamily="18" charset="0"/>
              <a:buNone/>
              <a:defRPr lang="en-US" sz="1000" b="1" kern="1200" dirty="0" smtClean="0">
                <a:solidFill>
                  <a:schemeClr val="bg2"/>
                </a:solidFill>
                <a:latin typeface="Verdana" pitchFamily="34" charset="0"/>
                <a:ea typeface="+mn-ea"/>
                <a:cs typeface="+mn-cs"/>
              </a:defRPr>
            </a:lvl1pPr>
            <a:lvl2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2pPr>
            <a:lvl3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3pPr>
            <a:lvl4pPr algn="l" defTabSz="914042" rtl="0" fontAlgn="base">
              <a:lnSpc>
                <a:spcPts val="1469"/>
              </a:lnSpc>
              <a:spcBef>
                <a:spcPct val="50000"/>
              </a:spcBef>
              <a:spcAft>
                <a:spcPct val="0"/>
              </a:spcAft>
              <a:buFont typeface="Times" pitchFamily="18" charset="0"/>
              <a:buNone/>
              <a:defRPr lang="en-US" sz="1000" b="1" kern="1200" dirty="0" smtClean="0">
                <a:solidFill>
                  <a:schemeClr val="accent1"/>
                </a:solidFill>
                <a:latin typeface="Verdana" pitchFamily="34" charset="0"/>
                <a:ea typeface="+mn-ea"/>
                <a:cs typeface="+mn-cs"/>
              </a:defRPr>
            </a:lvl4pPr>
            <a:lvl5pPr algn="l" defTabSz="914042" rtl="0" fontAlgn="base">
              <a:lnSpc>
                <a:spcPts val="1469"/>
              </a:lnSpc>
              <a:spcBef>
                <a:spcPct val="50000"/>
              </a:spcBef>
              <a:spcAft>
                <a:spcPct val="0"/>
              </a:spcAft>
              <a:buFont typeface="Times" pitchFamily="18" charset="0"/>
              <a:buNone/>
              <a:defRPr lang="en-GB" sz="1000" b="1" kern="1200" dirty="0" smtClean="0">
                <a:solidFill>
                  <a:schemeClr val="accent1"/>
                </a:solidFill>
                <a:latin typeface="Verdana" pitchFamily="34" charset="0"/>
                <a:ea typeface="+mn-ea"/>
                <a:cs typeface="+mn-cs"/>
              </a:defRPr>
            </a:lvl5pPr>
          </a:lstStyle>
          <a:p>
            <a:pPr lvl="0"/>
            <a:r>
              <a:rPr lang="en-US" noProof="0" smtClean="0"/>
              <a:t>Click to edit Master text styles</a:t>
            </a:r>
          </a:p>
        </p:txBody>
      </p:sp>
      <p:sp>
        <p:nvSpPr>
          <p:cNvPr id="22" name="Content Placeholder 2"/>
          <p:cNvSpPr>
            <a:spLocks noGrp="1"/>
          </p:cNvSpPr>
          <p:nvPr>
            <p:ph idx="27"/>
          </p:nvPr>
        </p:nvSpPr>
        <p:spPr bwMode="gray">
          <a:xfrm>
            <a:off x="5086380"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25" name="Content Placeholder 2"/>
          <p:cNvSpPr>
            <a:spLocks noGrp="1"/>
          </p:cNvSpPr>
          <p:nvPr>
            <p:ph idx="31"/>
          </p:nvPr>
        </p:nvSpPr>
        <p:spPr bwMode="gray">
          <a:xfrm>
            <a:off x="416181" y="5944865"/>
            <a:ext cx="4386815" cy="220453"/>
          </a:xfrm>
        </p:spPr>
        <p:txBody>
          <a:bodyPr lIns="39671" anchor="ctr"/>
          <a:lstStyle>
            <a:lvl1pPr marL="0" indent="0">
              <a:lnSpc>
                <a:spcPct val="100000"/>
              </a:lnSpc>
              <a:buClrTx/>
              <a:buFont typeface="Arial" pitchFamily="34" charset="0"/>
              <a:buNone/>
              <a:defRPr sz="600" i="1">
                <a:solidFill>
                  <a:srgbClr val="7F7F7F"/>
                </a:solidFill>
              </a:defRPr>
            </a:lvl1pPr>
            <a:lvl2pPr>
              <a:buClrTx/>
              <a:buNone/>
              <a:defRPr sz="900"/>
            </a:lvl2pPr>
            <a:lvl3pPr>
              <a:buClrTx/>
              <a:defRPr sz="900"/>
            </a:lvl3pPr>
            <a:lvl4pPr>
              <a:buClrTx/>
              <a:defRPr sz="900"/>
            </a:lvl4pPr>
            <a:lvl5pPr>
              <a:buClrTx/>
              <a:defRPr sz="900"/>
            </a:lvl5pPr>
          </a:lstStyle>
          <a:p>
            <a:pPr lvl="0"/>
            <a:r>
              <a:rPr lang="en-US" noProof="0" smtClean="0"/>
              <a:t>Click to edit Master text styles</a:t>
            </a:r>
          </a:p>
        </p:txBody>
      </p:sp>
      <p:sp>
        <p:nvSpPr>
          <p:cNvPr id="15" name="Title 1"/>
          <p:cNvSpPr>
            <a:spLocks noGrp="1"/>
          </p:cNvSpPr>
          <p:nvPr>
            <p:ph type="title"/>
          </p:nvPr>
        </p:nvSpPr>
        <p:spPr>
          <a:xfrm>
            <a:off x="483132" y="188640"/>
            <a:ext cx="8208000" cy="63000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266877742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13068749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7" name="Text Placeholder 7"/>
          <p:cNvSpPr>
            <a:spLocks noGrp="1"/>
          </p:cNvSpPr>
          <p:nvPr>
            <p:ph type="body" sz="quarter" idx="52"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19" name="Text Placeholder 21"/>
          <p:cNvSpPr>
            <a:spLocks noGrp="1"/>
          </p:cNvSpPr>
          <p:nvPr>
            <p:ph type="body" sz="quarter" idx="35" hasCustomPrompt="1"/>
          </p:nvPr>
        </p:nvSpPr>
        <p:spPr>
          <a:xfrm>
            <a:off x="6537324"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20" name="Content Placeholder 2"/>
          <p:cNvSpPr>
            <a:spLocks noGrp="1"/>
          </p:cNvSpPr>
          <p:nvPr>
            <p:ph sz="half" idx="31"/>
          </p:nvPr>
        </p:nvSpPr>
        <p:spPr>
          <a:xfrm>
            <a:off x="6537324"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22"/>
          <p:cNvSpPr>
            <a:spLocks noGrp="1"/>
          </p:cNvSpPr>
          <p:nvPr>
            <p:ph type="body" sz="quarter" idx="53" hasCustomPrompt="1"/>
          </p:nvPr>
        </p:nvSpPr>
        <p:spPr>
          <a:xfrm>
            <a:off x="6537324" y="6093296"/>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5" name="Text Placeholder 21"/>
          <p:cNvSpPr>
            <a:spLocks noGrp="1"/>
          </p:cNvSpPr>
          <p:nvPr>
            <p:ph type="body" sz="quarter" idx="55" hasCustomPrompt="1"/>
          </p:nvPr>
        </p:nvSpPr>
        <p:spPr>
          <a:xfrm>
            <a:off x="3513138"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36" name="Content Placeholder 2"/>
          <p:cNvSpPr>
            <a:spLocks noGrp="1"/>
          </p:cNvSpPr>
          <p:nvPr>
            <p:ph sz="half" idx="56"/>
          </p:nvPr>
        </p:nvSpPr>
        <p:spPr>
          <a:xfrm>
            <a:off x="3513138"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7" name="Text Placeholder 22"/>
          <p:cNvSpPr>
            <a:spLocks noGrp="1"/>
          </p:cNvSpPr>
          <p:nvPr>
            <p:ph type="body" sz="quarter" idx="57" hasCustomPrompt="1"/>
          </p:nvPr>
        </p:nvSpPr>
        <p:spPr>
          <a:xfrm>
            <a:off x="3513138"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39" name="Text Placeholder 21"/>
          <p:cNvSpPr>
            <a:spLocks noGrp="1"/>
          </p:cNvSpPr>
          <p:nvPr>
            <p:ph type="body" sz="quarter" idx="59" hasCustomPrompt="1"/>
          </p:nvPr>
        </p:nvSpPr>
        <p:spPr>
          <a:xfrm>
            <a:off x="488952" y="1557338"/>
            <a:ext cx="2879726" cy="4679950"/>
          </a:xfrm>
          <a:solidFill>
            <a:schemeClr val="bg1">
              <a:lumMod val="95000"/>
            </a:schemeClr>
          </a:solidFill>
        </p:spPr>
        <p:txBody>
          <a:bodyPr/>
          <a:lstStyle>
            <a:lvl1pPr>
              <a:defRPr/>
            </a:lvl1pPr>
            <a:lvl2pPr>
              <a:defRPr/>
            </a:lvl2pPr>
          </a:lstStyle>
          <a:p>
            <a:pPr lvl="0"/>
            <a:r>
              <a:rPr lang="en-GB" dirty="0" smtClean="0"/>
              <a:t> </a:t>
            </a:r>
            <a:endParaRPr lang="en-GB" dirty="0"/>
          </a:p>
        </p:txBody>
      </p:sp>
      <p:sp>
        <p:nvSpPr>
          <p:cNvPr id="40" name="Content Placeholder 2"/>
          <p:cNvSpPr>
            <a:spLocks noGrp="1"/>
          </p:cNvSpPr>
          <p:nvPr>
            <p:ph sz="half" idx="60"/>
          </p:nvPr>
        </p:nvSpPr>
        <p:spPr>
          <a:xfrm>
            <a:off x="488952" y="1557338"/>
            <a:ext cx="2879726" cy="4535958"/>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1" name="Text Placeholder 22"/>
          <p:cNvSpPr>
            <a:spLocks noGrp="1"/>
          </p:cNvSpPr>
          <p:nvPr>
            <p:ph type="body" sz="quarter" idx="61" hasCustomPrompt="1"/>
          </p:nvPr>
        </p:nvSpPr>
        <p:spPr>
          <a:xfrm>
            <a:off x="488952" y="6094884"/>
            <a:ext cx="2879726"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6" name="Text Placeholder 23"/>
          <p:cNvSpPr>
            <a:spLocks noGrp="1"/>
          </p:cNvSpPr>
          <p:nvPr>
            <p:ph type="body" sz="quarter" idx="45"/>
          </p:nvPr>
        </p:nvSpPr>
        <p:spPr>
          <a:xfrm>
            <a:off x="6537324"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1" name="Text Placeholder 23"/>
          <p:cNvSpPr>
            <a:spLocks noGrp="1"/>
          </p:cNvSpPr>
          <p:nvPr>
            <p:ph type="body" sz="quarter" idx="46"/>
          </p:nvPr>
        </p:nvSpPr>
        <p:spPr>
          <a:xfrm>
            <a:off x="3513138"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2" name="Text Placeholder 23"/>
          <p:cNvSpPr>
            <a:spLocks noGrp="1"/>
          </p:cNvSpPr>
          <p:nvPr>
            <p:ph type="body" sz="quarter" idx="62"/>
          </p:nvPr>
        </p:nvSpPr>
        <p:spPr>
          <a:xfrm>
            <a:off x="488952" y="1341438"/>
            <a:ext cx="2879726"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Standard profile">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9" name="Content Placeholder 2"/>
          <p:cNvSpPr>
            <a:spLocks noGrp="1"/>
          </p:cNvSpPr>
          <p:nvPr>
            <p:ph sz="half" idx="32"/>
          </p:nvPr>
        </p:nvSpPr>
        <p:spPr>
          <a:xfrm>
            <a:off x="5043053" y="134144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17" name="Text Placeholder 16"/>
          <p:cNvSpPr>
            <a:spLocks noGrp="1"/>
          </p:cNvSpPr>
          <p:nvPr>
            <p:ph type="body" sz="quarter" idx="34"/>
          </p:nvPr>
        </p:nvSpPr>
        <p:spPr>
          <a:xfrm>
            <a:off x="488956" y="1341438"/>
            <a:ext cx="4373563" cy="489426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8" name="Content Placeholder 2"/>
          <p:cNvSpPr>
            <a:spLocks noGrp="1"/>
          </p:cNvSpPr>
          <p:nvPr>
            <p:ph sz="half" idx="31"/>
          </p:nvPr>
        </p:nvSpPr>
        <p:spPr>
          <a:xfrm>
            <a:off x="5043053" y="1557339"/>
            <a:ext cx="4374000" cy="2160000"/>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3"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5" name="Content Placeholder 2"/>
          <p:cNvSpPr>
            <a:spLocks noGrp="1"/>
          </p:cNvSpPr>
          <p:nvPr>
            <p:ph sz="half" idx="38"/>
          </p:nvPr>
        </p:nvSpPr>
        <p:spPr>
          <a:xfrm>
            <a:off x="5043053" y="4065589"/>
            <a:ext cx="4374000" cy="2160000"/>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Text Placeholder 9"/>
          <p:cNvSpPr>
            <a:spLocks noGrp="1"/>
          </p:cNvSpPr>
          <p:nvPr>
            <p:ph type="body" sz="quarter" idx="39" hasCustomPrompt="1"/>
          </p:nvPr>
        </p:nvSpPr>
        <p:spPr>
          <a:xfrm>
            <a:off x="488504" y="6237312"/>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90499229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242417828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Text box above, 2 charts under">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6" name="Content Placeholder 2"/>
          <p:cNvSpPr>
            <a:spLocks noGrp="1"/>
          </p:cNvSpPr>
          <p:nvPr>
            <p:ph sz="half" idx="36"/>
          </p:nvPr>
        </p:nvSpPr>
        <p:spPr>
          <a:xfrm>
            <a:off x="5043053" y="3849695"/>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smtClean="0"/>
              <a:t>Click to edit Master text styles</a:t>
            </a:r>
          </a:p>
        </p:txBody>
      </p:sp>
      <p:sp>
        <p:nvSpPr>
          <p:cNvPr id="21" name="Content Placeholder 2"/>
          <p:cNvSpPr>
            <a:spLocks noGrp="1"/>
          </p:cNvSpPr>
          <p:nvPr>
            <p:ph sz="half" idx="38"/>
          </p:nvPr>
        </p:nvSpPr>
        <p:spPr>
          <a:xfrm>
            <a:off x="5043053" y="4077073"/>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5" name="Content Placeholder 2"/>
          <p:cNvSpPr>
            <a:spLocks noGrp="1"/>
          </p:cNvSpPr>
          <p:nvPr>
            <p:ph sz="half" idx="44"/>
          </p:nvPr>
        </p:nvSpPr>
        <p:spPr>
          <a:xfrm>
            <a:off x="489413" y="3849694"/>
            <a:ext cx="4374000" cy="215901"/>
          </a:xfrm>
          <a:noFill/>
        </p:spPr>
        <p:txBody>
          <a:bodyPr wrap="square">
            <a:noAutofit/>
          </a:bodyPr>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p:txBody>
      </p:sp>
      <p:sp>
        <p:nvSpPr>
          <p:cNvPr id="27" name="Content Placeholder 2"/>
          <p:cNvSpPr>
            <a:spLocks noGrp="1"/>
          </p:cNvSpPr>
          <p:nvPr>
            <p:ph sz="half" idx="46"/>
          </p:nvPr>
        </p:nvSpPr>
        <p:spPr>
          <a:xfrm>
            <a:off x="489413" y="4077072"/>
            <a:ext cx="4374000" cy="2160578"/>
          </a:xfrm>
          <a:noFill/>
        </p:spPr>
        <p:txBody>
          <a:bodyPr lIns="71968" tIns="71968" rIns="71968" bIns="71968"/>
          <a:lstStyle>
            <a:lvl1pPr>
              <a:defRPr sz="1000"/>
            </a:lvl1pPr>
            <a:lvl2pPr>
              <a:defRPr sz="900"/>
            </a:lvl2pPr>
            <a:lvl3pPr>
              <a:defRPr sz="900"/>
            </a:lvl3pPr>
            <a:lvl4pPr>
              <a:defRPr sz="900"/>
            </a:lvl4pPr>
            <a:lvl5pPr>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9" name="Text Placeholder 21"/>
          <p:cNvSpPr>
            <a:spLocks noGrp="1"/>
          </p:cNvSpPr>
          <p:nvPr>
            <p:ph type="body" sz="quarter" idx="40"/>
          </p:nvPr>
        </p:nvSpPr>
        <p:spPr>
          <a:xfrm>
            <a:off x="488950" y="1341440"/>
            <a:ext cx="8927662" cy="23749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9"/>
          <p:cNvSpPr>
            <a:spLocks noGrp="1"/>
          </p:cNvSpPr>
          <p:nvPr>
            <p:ph type="body" sz="quarter" idx="32" hasCustomPrompt="1"/>
          </p:nvPr>
        </p:nvSpPr>
        <p:spPr>
          <a:xfrm>
            <a:off x="488950" y="6237650"/>
            <a:ext cx="8460000" cy="360000"/>
          </a:xfrm>
        </p:spPr>
        <p:txBody>
          <a:bodyPr anchor="b"/>
          <a:lstStyle>
            <a:lvl1pPr>
              <a:spcBef>
                <a:spcPts val="0"/>
              </a:spcBef>
              <a:defRPr sz="600">
                <a:solidFill>
                  <a:srgbClr val="7F7F7F"/>
                </a:solidFill>
              </a:defRPr>
            </a:lvl1pPr>
          </a:lstStyle>
          <a:p>
            <a:pPr lvl="0"/>
            <a:r>
              <a:rPr lang="en-US" dirty="0" smtClean="0"/>
              <a:t>Notes/Sources:</a:t>
            </a:r>
          </a:p>
        </p:txBody>
      </p:sp>
    </p:spTree>
    <p:extLst>
      <p:ext uri="{BB962C8B-B14F-4D97-AF65-F5344CB8AC3E}">
        <p14:creationId xmlns:p14="http://schemas.microsoft.com/office/powerpoint/2010/main" val="332202691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5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325" y="188640"/>
            <a:ext cx="8208000" cy="630000"/>
          </a:xfrm>
        </p:spPr>
        <p:txBody>
          <a:bodyPr/>
          <a:lstStyle/>
          <a:p>
            <a:r>
              <a:rPr lang="en-US" smtClean="0"/>
              <a:t>Click to edit Master title style</a:t>
            </a:r>
            <a:endParaRPr lang="en-GB"/>
          </a:p>
        </p:txBody>
      </p:sp>
      <p:sp>
        <p:nvSpPr>
          <p:cNvPr id="22" name="Text Placeholder 21"/>
          <p:cNvSpPr>
            <a:spLocks noGrp="1"/>
          </p:cNvSpPr>
          <p:nvPr>
            <p:ph type="body" sz="quarter" idx="35"/>
          </p:nvPr>
        </p:nvSpPr>
        <p:spPr>
          <a:xfrm>
            <a:off x="5024437" y="1557338"/>
            <a:ext cx="4392000" cy="2159000"/>
          </a:xfrm>
          <a:solidFill>
            <a:schemeClr val="bg1">
              <a:lumMod val="95000"/>
            </a:schemeClr>
          </a:solidFill>
        </p:spPr>
        <p:txBody>
          <a:bodyPr/>
          <a:lstStyle>
            <a:lvl1pPr>
              <a:defRPr/>
            </a:lvl1pPr>
            <a:lvl2pPr>
              <a:defRPr/>
            </a:lvl2pPr>
          </a:lstStyle>
          <a:p>
            <a:pPr lvl="0"/>
            <a:r>
              <a:rPr lang="en-US" smtClean="0"/>
              <a:t>Click to edit Master text styles</a:t>
            </a:r>
          </a:p>
        </p:txBody>
      </p:sp>
      <p:sp>
        <p:nvSpPr>
          <p:cNvPr id="18" name="Content Placeholder 2"/>
          <p:cNvSpPr>
            <a:spLocks noGrp="1"/>
          </p:cNvSpPr>
          <p:nvPr>
            <p:ph sz="half" idx="31"/>
          </p:nvPr>
        </p:nvSpPr>
        <p:spPr>
          <a:xfrm>
            <a:off x="5024437" y="1557338"/>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p:nvPr>
        </p:nvSpPr>
        <p:spPr>
          <a:xfrm>
            <a:off x="5024437" y="3573934"/>
            <a:ext cx="4392000" cy="142404"/>
          </a:xfrm>
          <a:noFill/>
          <a:ln w="9525">
            <a:noFill/>
            <a:miter lim="800000"/>
            <a:headEnd/>
            <a:tailEnd/>
          </a:ln>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14" name="Text Placeholder 7"/>
          <p:cNvSpPr>
            <a:spLocks noGrp="1"/>
          </p:cNvSpPr>
          <p:nvPr>
            <p:ph type="body" sz="quarter" idx="40"/>
          </p:nvPr>
        </p:nvSpPr>
        <p:spPr>
          <a:xfrm>
            <a:off x="488950" y="6237288"/>
            <a:ext cx="8207375" cy="360362"/>
          </a:xfrm>
          <a:noFill/>
          <a:ln w="9525">
            <a:noFill/>
            <a:miter lim="800000"/>
            <a:headEnd/>
            <a:tailEnd/>
          </a:ln>
        </p:spPr>
        <p:txBody>
          <a:bodyPr anchor="b"/>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smtClean="0"/>
              <a:t>Click to edit Master text styles</a:t>
            </a:r>
          </a:p>
        </p:txBody>
      </p:sp>
      <p:sp>
        <p:nvSpPr>
          <p:cNvPr id="16" name="Text Placeholder 21"/>
          <p:cNvSpPr>
            <a:spLocks noGrp="1"/>
          </p:cNvSpPr>
          <p:nvPr>
            <p:ph type="body" sz="quarter" idx="42"/>
          </p:nvPr>
        </p:nvSpPr>
        <p:spPr>
          <a:xfrm>
            <a:off x="5024437" y="4076700"/>
            <a:ext cx="4392000" cy="2159000"/>
          </a:xfrm>
          <a:solidFill>
            <a:schemeClr val="bg1">
              <a:lumMod val="95000"/>
            </a:schemeClr>
          </a:solidFill>
        </p:spPr>
        <p:txBody>
          <a:bodyPr/>
          <a:lstStyle>
            <a:lvl1pPr>
              <a:defRPr/>
            </a:lvl1pPr>
            <a:lvl2pPr>
              <a:defRPr/>
            </a:lvl2pPr>
          </a:lstStyle>
          <a:p>
            <a:pPr lvl="0"/>
            <a:r>
              <a:rPr lang="en-US" smtClean="0"/>
              <a:t>Click to edit Master text styles</a:t>
            </a:r>
          </a:p>
        </p:txBody>
      </p:sp>
      <p:sp>
        <p:nvSpPr>
          <p:cNvPr id="21" name="Content Placeholder 2"/>
          <p:cNvSpPr>
            <a:spLocks noGrp="1"/>
          </p:cNvSpPr>
          <p:nvPr>
            <p:ph sz="half" idx="43"/>
          </p:nvPr>
        </p:nvSpPr>
        <p:spPr>
          <a:xfrm>
            <a:off x="5024437" y="4076699"/>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7" name="Text Placeholder 22"/>
          <p:cNvSpPr>
            <a:spLocks noGrp="1"/>
          </p:cNvSpPr>
          <p:nvPr>
            <p:ph type="body" sz="quarter" idx="44"/>
          </p:nvPr>
        </p:nvSpPr>
        <p:spPr>
          <a:xfrm>
            <a:off x="5024437" y="6093295"/>
            <a:ext cx="4392000" cy="142404"/>
          </a:xfrm>
          <a:noFill/>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67905109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2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dirty="0" smtClean="0"/>
              <a:t>Click to edit Master title style</a:t>
            </a:r>
            <a:endParaRPr lang="en-GB" dirty="0"/>
          </a:p>
        </p:txBody>
      </p:sp>
      <p:sp>
        <p:nvSpPr>
          <p:cNvPr id="18" name="Content Placeholder 2"/>
          <p:cNvSpPr>
            <a:spLocks noGrp="1"/>
          </p:cNvSpPr>
          <p:nvPr>
            <p:ph sz="half" idx="31"/>
          </p:nvPr>
        </p:nvSpPr>
        <p:spPr>
          <a:xfrm>
            <a:off x="5025008" y="155679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p:nvPr>
        </p:nvSpPr>
        <p:spPr>
          <a:xfrm>
            <a:off x="5024437" y="3573934"/>
            <a:ext cx="4392000" cy="142404"/>
          </a:xfrm>
          <a:noFill/>
          <a:ln w="9525">
            <a:noFill/>
            <a:miter lim="800000"/>
            <a:headEnd/>
            <a:tailEnd/>
          </a:ln>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14" name="Text Placeholder 7"/>
          <p:cNvSpPr>
            <a:spLocks noGrp="1"/>
          </p:cNvSpPr>
          <p:nvPr>
            <p:ph type="body" sz="quarter" idx="40"/>
          </p:nvPr>
        </p:nvSpPr>
        <p:spPr>
          <a:xfrm>
            <a:off x="488950" y="6237288"/>
            <a:ext cx="8207375" cy="360362"/>
          </a:xfrm>
          <a:noFill/>
          <a:ln w="9525">
            <a:noFill/>
            <a:miter lim="800000"/>
            <a:headEnd/>
            <a:tailEnd/>
          </a:ln>
        </p:spPr>
        <p:txBody>
          <a:bodyPr anchor="b"/>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smtClean="0"/>
              <a:t>Click to edit Master text styles</a:t>
            </a:r>
          </a:p>
        </p:txBody>
      </p:sp>
      <p:sp>
        <p:nvSpPr>
          <p:cNvPr id="21" name="Content Placeholder 2"/>
          <p:cNvSpPr>
            <a:spLocks noGrp="1"/>
          </p:cNvSpPr>
          <p:nvPr>
            <p:ph sz="half" idx="43"/>
          </p:nvPr>
        </p:nvSpPr>
        <p:spPr>
          <a:xfrm>
            <a:off x="5025008" y="407707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22"/>
          <p:cNvSpPr>
            <a:spLocks noGrp="1"/>
          </p:cNvSpPr>
          <p:nvPr>
            <p:ph type="body" sz="quarter" idx="44"/>
          </p:nvPr>
        </p:nvSpPr>
        <p:spPr>
          <a:xfrm>
            <a:off x="5024437" y="6093295"/>
            <a:ext cx="4392000" cy="142404"/>
          </a:xfrm>
          <a:noFill/>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421837284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325" y="188640"/>
            <a:ext cx="8208000" cy="630000"/>
          </a:xfrm>
        </p:spPr>
        <p:txBody>
          <a:bodyPr/>
          <a:lstStyle/>
          <a:p>
            <a:r>
              <a:rPr lang="en-US" smtClean="0"/>
              <a:t>Click to edit Master title style</a:t>
            </a:r>
            <a:endParaRPr lang="en-GB"/>
          </a:p>
        </p:txBody>
      </p:sp>
      <p:sp>
        <p:nvSpPr>
          <p:cNvPr id="18" name="Content Placeholder 2"/>
          <p:cNvSpPr>
            <a:spLocks noGrp="1"/>
          </p:cNvSpPr>
          <p:nvPr>
            <p:ph sz="half" idx="31"/>
          </p:nvPr>
        </p:nvSpPr>
        <p:spPr>
          <a:xfrm>
            <a:off x="5025008" y="155679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hasCustomPrompt="1"/>
          </p:nvPr>
        </p:nvSpPr>
        <p:spPr>
          <a:xfrm>
            <a:off x="5024437" y="3573934"/>
            <a:ext cx="4392000" cy="142404"/>
          </a:xfrm>
          <a:noFill/>
          <a:ln w="9525">
            <a:noFill/>
            <a:miter lim="800000"/>
            <a:headEnd/>
            <a:tailEnd/>
          </a:ln>
        </p:spPr>
        <p:txBody>
          <a:bodyPr vert="horz" wrap="square" lIns="72000" tIns="0" rIns="72000" bIns="36000" numCol="1" rtlCol="0" anchor="b" anchorCtr="0" compatLnSpc="1">
            <a:prstTxWarp prst="textNoShape">
              <a:avLst/>
            </a:prstTxWarp>
          </a:bodyPr>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14" name="Text Placeholder 7"/>
          <p:cNvSpPr>
            <a:spLocks noGrp="1"/>
          </p:cNvSpPr>
          <p:nvPr>
            <p:ph type="body" sz="quarter" idx="40" hasCustomPrompt="1"/>
          </p:nvPr>
        </p:nvSpPr>
        <p:spPr>
          <a:xfrm>
            <a:off x="488950" y="6237288"/>
            <a:ext cx="8207375" cy="360362"/>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
        <p:nvSpPr>
          <p:cNvPr id="21" name="Content Placeholder 2"/>
          <p:cNvSpPr>
            <a:spLocks noGrp="1"/>
          </p:cNvSpPr>
          <p:nvPr>
            <p:ph sz="half" idx="43"/>
          </p:nvPr>
        </p:nvSpPr>
        <p:spPr>
          <a:xfrm>
            <a:off x="5025008" y="407707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22"/>
          <p:cNvSpPr>
            <a:spLocks noGrp="1"/>
          </p:cNvSpPr>
          <p:nvPr>
            <p:ph type="body" sz="quarter" idx="44" hasCustomPrompt="1"/>
          </p:nvPr>
        </p:nvSpPr>
        <p:spPr>
          <a:xfrm>
            <a:off x="5024437" y="6093295"/>
            <a:ext cx="4392000" cy="142404"/>
          </a:xfrm>
          <a:noFill/>
        </p:spPr>
        <p:txBody>
          <a:bodyPr vert="horz" lIns="72000" tIns="0" rIns="72000" bIns="36000" rtlCol="0" anchor="b" anchorCtr="0"/>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urce:</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vert="horz" wrap="square" lIns="0" tIns="0" rIns="0" bIns="0" numCol="1" anchor="t" anchorCtr="0" compatLnSpc="1">
            <a:prstTxWarp prst="textNoShape">
              <a:avLst/>
            </a:prstTxWarp>
          </a:bodyPr>
          <a:lstStyle>
            <a:lvl1pPr>
              <a:defRPr lang="en-US" sz="1000" i="1" kern="1200" dirty="0" smtClean="0">
                <a:solidFill>
                  <a:schemeClr val="tx2"/>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Tree>
    <p:extLst>
      <p:ext uri="{BB962C8B-B14F-4D97-AF65-F5344CB8AC3E}">
        <p14:creationId xmlns:p14="http://schemas.microsoft.com/office/powerpoint/2010/main" val="413603929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_Standard profile">
    <p:spTree>
      <p:nvGrpSpPr>
        <p:cNvPr id="1" name=""/>
        <p:cNvGrpSpPr/>
        <p:nvPr/>
      </p:nvGrpSpPr>
      <p:grpSpPr>
        <a:xfrm>
          <a:off x="0" y="0"/>
          <a:ext cx="0" cy="0"/>
          <a:chOff x="0" y="0"/>
          <a:chExt cx="0" cy="0"/>
        </a:xfrm>
      </p:grpSpPr>
      <p:sp>
        <p:nvSpPr>
          <p:cNvPr id="13" name="Content Placeholder 2"/>
          <p:cNvSpPr>
            <a:spLocks noGrp="1"/>
          </p:cNvSpPr>
          <p:nvPr>
            <p:ph idx="1"/>
          </p:nvPr>
        </p:nvSpPr>
        <p:spPr>
          <a:xfrm>
            <a:off x="488950" y="1341438"/>
            <a:ext cx="4392613"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18" name="Content Placeholder 2"/>
          <p:cNvSpPr>
            <a:spLocks noGrp="1"/>
          </p:cNvSpPr>
          <p:nvPr>
            <p:ph sz="half" idx="31"/>
          </p:nvPr>
        </p:nvSpPr>
        <p:spPr>
          <a:xfrm>
            <a:off x="5025008" y="155679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22"/>
          <p:cNvSpPr>
            <a:spLocks noGrp="1"/>
          </p:cNvSpPr>
          <p:nvPr>
            <p:ph type="body" sz="quarter" idx="33"/>
          </p:nvPr>
        </p:nvSpPr>
        <p:spPr>
          <a:xfrm>
            <a:off x="5024437" y="3573934"/>
            <a:ext cx="4392000" cy="142404"/>
          </a:xfrm>
          <a:noFill/>
          <a:ln w="9525">
            <a:noFill/>
            <a:miter lim="800000"/>
            <a:headEnd/>
            <a:tailEnd/>
          </a:ln>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14" name="Text Placeholder 7"/>
          <p:cNvSpPr>
            <a:spLocks noGrp="1"/>
          </p:cNvSpPr>
          <p:nvPr>
            <p:ph type="body" sz="quarter" idx="40"/>
          </p:nvPr>
        </p:nvSpPr>
        <p:spPr>
          <a:xfrm>
            <a:off x="488950" y="6237288"/>
            <a:ext cx="8207375" cy="360362"/>
          </a:xfrm>
          <a:noFill/>
          <a:ln w="9525">
            <a:noFill/>
            <a:miter lim="800000"/>
            <a:headEnd/>
            <a:tailEnd/>
          </a:ln>
        </p:spPr>
        <p:txBody>
          <a:bodyPr anchor="b"/>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smtClean="0"/>
              <a:t>Click to edit Master text styles</a:t>
            </a:r>
          </a:p>
        </p:txBody>
      </p:sp>
      <p:sp>
        <p:nvSpPr>
          <p:cNvPr id="21" name="Content Placeholder 2"/>
          <p:cNvSpPr>
            <a:spLocks noGrp="1"/>
          </p:cNvSpPr>
          <p:nvPr>
            <p:ph sz="half" idx="43"/>
          </p:nvPr>
        </p:nvSpPr>
        <p:spPr>
          <a:xfrm>
            <a:off x="5025008" y="4077072"/>
            <a:ext cx="4392000" cy="2016000"/>
          </a:xfrm>
          <a:noFill/>
        </p:spPr>
        <p:txBody>
          <a:bodyPr lIns="72000" tIns="72000" rIns="72000" bIns="72000"/>
          <a:lstStyle>
            <a:lvl1pPr>
              <a:defRPr sz="900" i="0"/>
            </a:lvl1pPr>
            <a:lvl2pPr>
              <a:defRPr sz="800"/>
            </a:lvl2pPr>
            <a:lvl3pPr>
              <a:defRPr sz="800"/>
            </a:lvl3pPr>
            <a:lvl4pPr>
              <a:defRPr sz="800"/>
            </a:lvl4pPr>
            <a:lvl5pPr>
              <a:defRPr sz="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7" name="Text Placeholder 22"/>
          <p:cNvSpPr>
            <a:spLocks noGrp="1"/>
          </p:cNvSpPr>
          <p:nvPr>
            <p:ph type="body" sz="quarter" idx="44"/>
          </p:nvPr>
        </p:nvSpPr>
        <p:spPr>
          <a:xfrm>
            <a:off x="5024437" y="6093295"/>
            <a:ext cx="4392000" cy="142404"/>
          </a:xfrm>
          <a:noFill/>
        </p:spPr>
        <p:txBody>
          <a:bodyPr lIns="72000" rIns="72000" bIns="36000" rtlCol="0" anchor="b"/>
          <a:lstStyle>
            <a:lvl1pPr>
              <a:defRPr kumimoji="0" lang="en-US" sz="600" b="0" i="1" u="none" strike="noStrike" kern="1200" cap="none" spc="0" normalizeH="0" baseline="0" noProof="0" dirty="0" smtClean="0">
                <a:ln>
                  <a:noFill/>
                </a:ln>
                <a:solidFill>
                  <a:schemeClr val="bg1">
                    <a:lumMod val="50000"/>
                  </a:schemeClr>
                </a:solidFill>
                <a:effectLst/>
                <a:uLnTx/>
                <a:uFillTx/>
                <a:latin typeface="Verdana" pitchFamily="34" charset="0"/>
                <a:ea typeface="+mn-ea"/>
                <a:cs typeface="+mn-cs"/>
              </a:defRPr>
            </a:lvl1pPr>
          </a:lstStyle>
          <a:p>
            <a:pPr lvl="0"/>
            <a:r>
              <a:rPr lang="en-US" smtClean="0"/>
              <a:t>Click to edit Master text styles</a:t>
            </a:r>
          </a:p>
        </p:txBody>
      </p:sp>
      <p:sp>
        <p:nvSpPr>
          <p:cNvPr id="24" name="Text Placeholder 23"/>
          <p:cNvSpPr>
            <a:spLocks noGrp="1"/>
          </p:cNvSpPr>
          <p:nvPr>
            <p:ph type="body" sz="quarter" idx="45"/>
          </p:nvPr>
        </p:nvSpPr>
        <p:spPr>
          <a:xfrm>
            <a:off x="5024437" y="1341439"/>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
        <p:nvSpPr>
          <p:cNvPr id="25" name="Text Placeholder 23"/>
          <p:cNvSpPr>
            <a:spLocks noGrp="1"/>
          </p:cNvSpPr>
          <p:nvPr>
            <p:ph type="body" sz="quarter" idx="46"/>
          </p:nvPr>
        </p:nvSpPr>
        <p:spPr>
          <a:xfrm>
            <a:off x="5024437" y="3860800"/>
            <a:ext cx="4392613" cy="215900"/>
          </a:xfrm>
          <a:noFill/>
          <a:ln w="9525">
            <a:noFill/>
            <a:miter lim="800000"/>
            <a:headEnd/>
            <a:tailEnd/>
          </a:ln>
        </p:spPr>
        <p:txBody>
          <a:bodyPr/>
          <a:lstStyle>
            <a:lvl1pPr>
              <a:defRPr lang="en-US" sz="1000" i="1" kern="1200" dirty="0" smtClean="0">
                <a:solidFill>
                  <a:schemeClr val="tx2"/>
                </a:solidFill>
                <a:latin typeface="Verdana"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85795271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8" name="Rectangle 7"/>
          <p:cNvSpPr/>
          <p:nvPr userDrawn="1"/>
        </p:nvSpPr>
        <p:spPr bwMode="gray">
          <a:xfrm>
            <a:off x="2962396" y="2824567"/>
            <a:ext cx="6049720" cy="190057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95363">
              <a:lnSpc>
                <a:spcPts val="1600"/>
              </a:lnSpc>
              <a:spcBef>
                <a:spcPct val="50000"/>
              </a:spcBef>
              <a:buFont typeface="Times" pitchFamily="-112" charset="0"/>
              <a:buNone/>
            </a:pPr>
            <a:endParaRPr lang="en-US" sz="500" dirty="0">
              <a:solidFill>
                <a:prstClr val="black"/>
              </a:solidFill>
              <a:latin typeface="Verdana" pitchFamily="34" charset="0"/>
              <a:cs typeface="Arial" charset="0"/>
            </a:endParaRPr>
          </a:p>
        </p:txBody>
      </p:sp>
      <p:sp>
        <p:nvSpPr>
          <p:cNvPr id="2" name="Title 1"/>
          <p:cNvSpPr>
            <a:spLocks noGrp="1"/>
          </p:cNvSpPr>
          <p:nvPr>
            <p:ph type="ctrTitle" hasCustomPrompt="1"/>
          </p:nvPr>
        </p:nvSpPr>
        <p:spPr>
          <a:xfrm>
            <a:off x="3026256" y="2889000"/>
            <a:ext cx="5922000" cy="1080000"/>
          </a:xfrm>
          <a:solidFill>
            <a:schemeClr val="bg1"/>
          </a:solidFill>
          <a:ln w="3175" algn="ctr">
            <a:noFill/>
            <a:miter lim="800000"/>
            <a:headEnd/>
            <a:tailEnd/>
          </a:ln>
        </p:spPr>
        <p:txBody>
          <a:bodyPr vert="horz" wrap="square" lIns="180000" tIns="72000" rIns="180000" bIns="72000" numCol="1" anchor="ctr" anchorCtr="0" compatLnSpc="1">
            <a:prstTxWarp prst="textNoShape">
              <a:avLst/>
            </a:prstTxWarp>
          </a:bodyPr>
          <a:lstStyle>
            <a:lvl1pPr>
              <a:defRPr kumimoji="0" lang="en-GB" sz="3200" b="0" i="1" u="none" strike="noStrike" kern="1200" cap="none" spc="0" normalizeH="0" baseline="0" noProof="0">
                <a:ln>
                  <a:noFill/>
                </a:ln>
                <a:solidFill>
                  <a:schemeClr val="tx2"/>
                </a:solidFill>
                <a:effectLst/>
                <a:uLnTx/>
                <a:uFillTx/>
                <a:latin typeface="Myriad Light" pitchFamily="2" charset="0"/>
                <a:ea typeface="+mn-ea"/>
                <a:cs typeface="+mn-cs"/>
              </a:defRPr>
            </a:lvl1pPr>
          </a:lstStyle>
          <a:p>
            <a:pPr marL="0" marR="0" lvl="0" indent="0" algn="l"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Click to edit Section title</a:t>
            </a:r>
            <a:endParaRPr lang="en-GB" dirty="0"/>
          </a:p>
        </p:txBody>
      </p:sp>
      <p:sp>
        <p:nvSpPr>
          <p:cNvPr id="12" name="Rectangle 11"/>
          <p:cNvSpPr/>
          <p:nvPr userDrawn="1"/>
        </p:nvSpPr>
        <p:spPr>
          <a:xfrm>
            <a:off x="128464" y="44624"/>
            <a:ext cx="9505056" cy="13678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cxnSp>
        <p:nvCxnSpPr>
          <p:cNvPr id="16" name="Straight Connector 15"/>
          <p:cNvCxnSpPr/>
          <p:nvPr userDrawn="1"/>
        </p:nvCxnSpPr>
        <p:spPr>
          <a:xfrm>
            <a:off x="1522396" y="4005064"/>
            <a:ext cx="144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Front PPT logo.jpg"/>
          <p:cNvPicPr>
            <a:picLocks noChangeAspect="1"/>
          </p:cNvPicPr>
          <p:nvPr userDrawn="1"/>
        </p:nvPicPr>
        <p:blipFill>
          <a:blip r:embed="rId2" cstate="print"/>
          <a:stretch>
            <a:fillRect/>
          </a:stretch>
        </p:blipFill>
        <p:spPr>
          <a:xfrm>
            <a:off x="8476476" y="5480050"/>
            <a:ext cx="925926" cy="1117599"/>
          </a:xfrm>
          <a:prstGeom prst="rect">
            <a:avLst/>
          </a:prstGeom>
        </p:spPr>
      </p:pic>
      <p:cxnSp>
        <p:nvCxnSpPr>
          <p:cNvPr id="10" name="Straight Connector 9"/>
          <p:cNvCxnSpPr/>
          <p:nvPr userDrawn="1"/>
        </p:nvCxnSpPr>
        <p:spPr>
          <a:xfrm>
            <a:off x="1522396" y="4005064"/>
            <a:ext cx="7425860"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1" hasCustomPrompt="1"/>
          </p:nvPr>
        </p:nvSpPr>
        <p:spPr>
          <a:xfrm>
            <a:off x="1522396" y="2619625"/>
            <a:ext cx="1439862" cy="269875"/>
          </a:xfrm>
          <a:solidFill>
            <a:schemeClr val="bg1"/>
          </a:solidFill>
          <a:ln w="3175" algn="ctr">
            <a:noFill/>
            <a:miter lim="800000"/>
            <a:headEnd/>
            <a:tailEnd/>
          </a:ln>
        </p:spPr>
        <p:txBody>
          <a:bodyPr vert="horz" wrap="square" lIns="0" tIns="72000" rIns="0" bIns="72000" numCol="1" anchor="ctr" anchorCtr="0" compatLnSpc="1">
            <a:prstTxWarp prst="textNoShape">
              <a:avLst/>
            </a:prstTxWarp>
          </a:bodyPr>
          <a:lstStyle>
            <a:lvl1pPr algn="ctr">
              <a:defRPr kumimoji="0" lang="en-US" sz="1600" b="0" i="1" u="none" strike="noStrike" kern="1200" cap="none" spc="0" normalizeH="0" baseline="0" noProof="0" dirty="0" smtClean="0">
                <a:ln>
                  <a:noFill/>
                </a:ln>
                <a:solidFill>
                  <a:schemeClr val="tx2"/>
                </a:solidFill>
                <a:effectLst/>
                <a:uLnTx/>
                <a:uFillTx/>
                <a:latin typeface="Myriad Light" pitchFamily="2" charset="0"/>
                <a:ea typeface="+mn-ea"/>
                <a:cs typeface="+mn-cs"/>
              </a:defRPr>
            </a:lvl1pPr>
          </a:lstStyle>
          <a:p>
            <a:pPr marL="0" marR="0" lvl="0" indent="0" algn="ctr" defTabSz="995363" rtl="0" eaLnBrk="1" fontAlgn="base" latinLnBrk="0" hangingPunct="1">
              <a:lnSpc>
                <a:spcPct val="100000"/>
              </a:lnSpc>
              <a:spcBef>
                <a:spcPts val="600"/>
              </a:spcBef>
              <a:spcAft>
                <a:spcPts val="0"/>
              </a:spcAft>
              <a:buClr>
                <a:schemeClr val="accent5">
                  <a:lumMod val="50000"/>
                </a:schemeClr>
              </a:buClr>
              <a:buSzTx/>
              <a:buFontTx/>
              <a:buNone/>
              <a:tabLst/>
              <a:defRPr/>
            </a:pPr>
            <a:r>
              <a:rPr lang="en-US" dirty="0" smtClean="0"/>
              <a:t>(Appendix)</a:t>
            </a:r>
          </a:p>
        </p:txBody>
      </p:sp>
      <p:sp>
        <p:nvSpPr>
          <p:cNvPr id="11" name="Text Placeholder 13"/>
          <p:cNvSpPr>
            <a:spLocks noGrp="1"/>
          </p:cNvSpPr>
          <p:nvPr>
            <p:ph type="body" sz="quarter" idx="10" hasCustomPrompt="1"/>
          </p:nvPr>
        </p:nvSpPr>
        <p:spPr>
          <a:xfrm>
            <a:off x="1522396" y="2889500"/>
            <a:ext cx="1440000" cy="1079500"/>
          </a:xfrm>
          <a:solidFill>
            <a:schemeClr val="bg1">
              <a:lumMod val="95000"/>
            </a:schemeClr>
          </a:solidFill>
        </p:spPr>
        <p:txBody>
          <a:bodyPr lIns="72000" tIns="0" rIns="72000" anchor="ctr" anchorCtr="0"/>
          <a:lstStyle>
            <a:lvl1pPr algn="ctr">
              <a:defRPr sz="7200">
                <a:solidFill>
                  <a:schemeClr val="tx2"/>
                </a:solidFill>
                <a:latin typeface="Myriad Light" pitchFamily="2" charset="0"/>
              </a:defRPr>
            </a:lvl1pPr>
          </a:lstStyle>
          <a:p>
            <a:pPr lvl="0"/>
            <a:r>
              <a:rPr lang="en-US" dirty="0" smtClean="0"/>
              <a:t>#</a:t>
            </a:r>
          </a:p>
        </p:txBody>
      </p:sp>
    </p:spTree>
    <p:extLst>
      <p:ext uri="{BB962C8B-B14F-4D97-AF65-F5344CB8AC3E}">
        <p14:creationId xmlns:p14="http://schemas.microsoft.com/office/powerpoint/2010/main" val="374484884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asic">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Text Placeholder 7"/>
          <p:cNvSpPr>
            <a:spLocks noGrp="1"/>
          </p:cNvSpPr>
          <p:nvPr>
            <p:ph type="body" sz="quarter" idx="32" hasCustomPrompt="1"/>
          </p:nvPr>
        </p:nvSpPr>
        <p:spPr>
          <a:xfrm>
            <a:off x="488951" y="6237288"/>
            <a:ext cx="8136457" cy="360064"/>
          </a:xfrm>
        </p:spPr>
        <p:txBody>
          <a:bodyPr anchor="b" anchorCtr="0"/>
          <a:lstStyle>
            <a:lvl1pPr>
              <a:lnSpc>
                <a:spcPct val="100000"/>
              </a:lnSpc>
              <a:spcBef>
                <a:spcPts val="0"/>
              </a:spcBef>
              <a:defRPr sz="600">
                <a:solidFill>
                  <a:schemeClr val="bg1">
                    <a:lumMod val="50000"/>
                  </a:schemeClr>
                </a:solidFill>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lvl="0"/>
            <a:r>
              <a:rPr lang="en-US" dirty="0" smtClean="0"/>
              <a:t>Notes/Sources:</a:t>
            </a:r>
          </a:p>
        </p:txBody>
      </p:sp>
      <p:sp>
        <p:nvSpPr>
          <p:cNvPr id="5" name="Content Placeholder 2"/>
          <p:cNvSpPr>
            <a:spLocks noGrp="1"/>
          </p:cNvSpPr>
          <p:nvPr>
            <p:ph idx="1"/>
          </p:nvPr>
        </p:nvSpPr>
        <p:spPr>
          <a:xfrm>
            <a:off x="488950" y="1341438"/>
            <a:ext cx="8928100" cy="4895850"/>
          </a:xfrm>
        </p:spPr>
        <p:txBody>
          <a:bodyPr/>
          <a:lstStyle>
            <a:lvl1pPr>
              <a:defRPr sz="1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5359727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Box list">
    <p:spTree>
      <p:nvGrpSpPr>
        <p:cNvPr id="1" name=""/>
        <p:cNvGrpSpPr/>
        <p:nvPr/>
      </p:nvGrpSpPr>
      <p:grpSpPr>
        <a:xfrm>
          <a:off x="0" y="0"/>
          <a:ext cx="0" cy="0"/>
          <a:chOff x="0" y="0"/>
          <a:chExt cx="0" cy="0"/>
        </a:xfrm>
      </p:grpSpPr>
      <p:sp>
        <p:nvSpPr>
          <p:cNvPr id="2" name="Title 1"/>
          <p:cNvSpPr>
            <a:spLocks noGrp="1"/>
          </p:cNvSpPr>
          <p:nvPr>
            <p:ph type="title"/>
          </p:nvPr>
        </p:nvSpPr>
        <p:spPr>
          <a:xfrm>
            <a:off x="488504" y="188640"/>
            <a:ext cx="8208000" cy="630000"/>
          </a:xfrm>
        </p:spPr>
        <p:txBody>
          <a:bodyPr/>
          <a:lstStyle/>
          <a:p>
            <a:r>
              <a:rPr lang="en-US" smtClean="0"/>
              <a:t>Click to edit Master title style</a:t>
            </a:r>
            <a:endParaRPr lang="en-GB"/>
          </a:p>
        </p:txBody>
      </p:sp>
      <p:sp>
        <p:nvSpPr>
          <p:cNvPr id="21" name="Text Placeholder 20"/>
          <p:cNvSpPr>
            <a:spLocks noGrp="1"/>
          </p:cNvSpPr>
          <p:nvPr>
            <p:ph type="body" sz="quarter" idx="30"/>
          </p:nvPr>
        </p:nvSpPr>
        <p:spPr>
          <a:xfrm>
            <a:off x="488950" y="1341438"/>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6" name="Text Placeholder 20"/>
          <p:cNvSpPr>
            <a:spLocks noGrp="1"/>
          </p:cNvSpPr>
          <p:nvPr>
            <p:ph type="body" sz="quarter" idx="32"/>
          </p:nvPr>
        </p:nvSpPr>
        <p:spPr>
          <a:xfrm>
            <a:off x="488950" y="2340407"/>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28" name="Text Placeholder 20"/>
          <p:cNvSpPr>
            <a:spLocks noGrp="1"/>
          </p:cNvSpPr>
          <p:nvPr>
            <p:ph type="body" sz="quarter" idx="34"/>
          </p:nvPr>
        </p:nvSpPr>
        <p:spPr>
          <a:xfrm>
            <a:off x="488950" y="3339376"/>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0" name="Text Placeholder 20"/>
          <p:cNvSpPr>
            <a:spLocks noGrp="1"/>
          </p:cNvSpPr>
          <p:nvPr>
            <p:ph type="body" sz="quarter" idx="36"/>
          </p:nvPr>
        </p:nvSpPr>
        <p:spPr>
          <a:xfrm>
            <a:off x="488950" y="4338345"/>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32" name="Text Placeholder 20"/>
          <p:cNvSpPr>
            <a:spLocks noGrp="1"/>
          </p:cNvSpPr>
          <p:nvPr>
            <p:ph type="body" sz="quarter" idx="38"/>
          </p:nvPr>
        </p:nvSpPr>
        <p:spPr>
          <a:xfrm>
            <a:off x="488950" y="5337312"/>
            <a:ext cx="1620000" cy="900000"/>
          </a:xfrm>
          <a:solidFill>
            <a:schemeClr val="accent3"/>
          </a:solidFill>
          <a:ln w="9525">
            <a:noFill/>
            <a:miter lim="800000"/>
            <a:headEnd/>
            <a:tailEnd/>
          </a:ln>
        </p:spPr>
        <p:txBody>
          <a:bodyPr vert="horz" wrap="square" lIns="72000" tIns="72000" rIns="72000" bIns="72000" numCol="1" anchor="ctr" anchorCtr="0" compatLnSpc="1">
            <a:prstTxWarp prst="textNoShape">
              <a:avLst/>
            </a:prstTxWarp>
            <a:noAutofit/>
          </a:bodyPr>
          <a:lstStyle>
            <a:lvl1pPr>
              <a:defRPr lang="en-GB" sz="1000" i="1" kern="1200" dirty="0" smtClean="0">
                <a:solidFill>
                  <a:schemeClr val="bg1"/>
                </a:solidFill>
                <a:latin typeface="Verdana" pitchFamily="34" charset="0"/>
                <a:ea typeface="+mn-ea"/>
                <a:cs typeface="+mn-cs"/>
              </a:defRPr>
            </a:lvl1pPr>
          </a:lstStyle>
          <a:p>
            <a:pPr marL="0" lvl="0" indent="0" algn="l" rtl="0" eaLnBrk="1" fontAlgn="base" hangingPunct="1">
              <a:lnSpc>
                <a:spcPct val="110000"/>
              </a:lnSpc>
              <a:spcBef>
                <a:spcPts val="600"/>
              </a:spcBef>
              <a:spcAft>
                <a:spcPct val="0"/>
              </a:spcAft>
              <a:buFont typeface="Arial" charset="0"/>
              <a:buNone/>
            </a:pPr>
            <a:r>
              <a:rPr lang="en-US" smtClean="0"/>
              <a:t>Click to edit Master text styles</a:t>
            </a:r>
          </a:p>
        </p:txBody>
      </p:sp>
      <p:sp>
        <p:nvSpPr>
          <p:cNvPr id="16" name="Text Placeholder 15"/>
          <p:cNvSpPr>
            <a:spLocks noGrp="1"/>
          </p:cNvSpPr>
          <p:nvPr>
            <p:ph type="body" sz="quarter" idx="40"/>
          </p:nvPr>
        </p:nvSpPr>
        <p:spPr>
          <a:xfrm>
            <a:off x="2252663" y="1341438"/>
            <a:ext cx="7164387" cy="900112"/>
          </a:xfrm>
          <a:solidFill>
            <a:schemeClr val="bg1">
              <a:lumMod val="95000"/>
            </a:schemeClr>
          </a:solidFill>
        </p:spPr>
        <p:txBody>
          <a:bodyPr lIns="72000" tIns="36000" rIns="72000" bIns="36000" anchor="ctr" anchorCtr="0"/>
          <a:lstStyle>
            <a:lvl1pPr>
              <a:defRPr sz="1000" i="0"/>
            </a:lvl1pPr>
            <a:lvl2pPr>
              <a:defRPr sz="800"/>
            </a:lvl2pPr>
            <a:lvl3pPr>
              <a:defRPr sz="800"/>
            </a:lvl3pPr>
            <a:lvl4pPr>
              <a:defRPr sz="800"/>
            </a:lvl4pPr>
            <a:lvl5pPr>
              <a:defRPr sz="800"/>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7" name="Text Placeholder 15"/>
          <p:cNvSpPr>
            <a:spLocks noGrp="1"/>
          </p:cNvSpPr>
          <p:nvPr>
            <p:ph type="body" sz="quarter" idx="41"/>
          </p:nvPr>
        </p:nvSpPr>
        <p:spPr>
          <a:xfrm>
            <a:off x="2252663" y="2340379"/>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5"/>
          <p:cNvSpPr>
            <a:spLocks noGrp="1"/>
          </p:cNvSpPr>
          <p:nvPr>
            <p:ph type="body" sz="quarter" idx="42"/>
          </p:nvPr>
        </p:nvSpPr>
        <p:spPr>
          <a:xfrm>
            <a:off x="2252663" y="333932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9" name="Text Placeholder 15"/>
          <p:cNvSpPr>
            <a:spLocks noGrp="1"/>
          </p:cNvSpPr>
          <p:nvPr>
            <p:ph type="body" sz="quarter" idx="43"/>
          </p:nvPr>
        </p:nvSpPr>
        <p:spPr>
          <a:xfrm>
            <a:off x="2252663" y="4338261"/>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20" name="Text Placeholder 15"/>
          <p:cNvSpPr>
            <a:spLocks noGrp="1"/>
          </p:cNvSpPr>
          <p:nvPr>
            <p:ph type="body" sz="quarter" idx="44"/>
          </p:nvPr>
        </p:nvSpPr>
        <p:spPr>
          <a:xfrm>
            <a:off x="2252663" y="5337200"/>
            <a:ext cx="7164387" cy="900112"/>
          </a:xfrm>
          <a:solidFill>
            <a:schemeClr val="bg1">
              <a:lumMod val="95000"/>
            </a:schemeClr>
          </a:solidFill>
        </p:spPr>
        <p:txBody>
          <a:bodyPr lIns="72000" tIns="36000" rIns="72000" bIns="36000" anchor="ctr" anchorCtr="0"/>
          <a:lstStyle>
            <a:lvl1pPr>
              <a:defRPr sz="800"/>
            </a:lvl1pPr>
            <a:lvl2pPr>
              <a:defRPr sz="800"/>
            </a:lvl2pPr>
            <a:lvl3pPr>
              <a:defRPr sz="8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p:txBody>
      </p:sp>
      <p:sp>
        <p:nvSpPr>
          <p:cNvPr id="15" name="Text Placeholder 7"/>
          <p:cNvSpPr>
            <a:spLocks noGrp="1"/>
          </p:cNvSpPr>
          <p:nvPr>
            <p:ph type="body" sz="quarter" idx="45" hasCustomPrompt="1"/>
          </p:nvPr>
        </p:nvSpPr>
        <p:spPr>
          <a:xfrm>
            <a:off x="488951" y="6237288"/>
            <a:ext cx="6264250" cy="360064"/>
          </a:xfrm>
          <a:noFill/>
          <a:ln w="9525">
            <a:noFill/>
            <a:miter lim="800000"/>
            <a:headEnd/>
            <a:tailEnd/>
          </a:ln>
        </p:spPr>
        <p:txBody>
          <a:bodyPr vert="horz" wrap="square" lIns="0" tIns="0" rIns="0" bIns="0" numCol="1" anchor="b" anchorCtr="0" compatLnSpc="1">
            <a:prstTxWarp prst="textNoShape">
              <a:avLst/>
            </a:prstTxWarp>
          </a:bodyPr>
          <a:lstStyle>
            <a:lvl1pPr>
              <a:spcBef>
                <a:spcPts val="0"/>
              </a:spcBef>
              <a:defRPr lang="en-US" sz="600" i="1" kern="1200" dirty="0" smtClean="0">
                <a:solidFill>
                  <a:schemeClr val="bg1">
                    <a:lumMod val="50000"/>
                  </a:schemeClr>
                </a:solidFill>
                <a:latin typeface="Verdana" pitchFamily="34" charset="0"/>
                <a:ea typeface="+mn-ea"/>
                <a:cs typeface="+mn-cs"/>
              </a:defRPr>
            </a:lvl1pPr>
            <a:lvl2pPr>
              <a:spcBef>
                <a:spcPts val="0"/>
              </a:spcBef>
              <a:defRPr sz="600"/>
            </a:lvl2pPr>
            <a:lvl3pPr>
              <a:spcBef>
                <a:spcPts val="0"/>
              </a:spcBef>
              <a:defRPr sz="600"/>
            </a:lvl3pPr>
            <a:lvl4pPr>
              <a:spcBef>
                <a:spcPts val="0"/>
              </a:spcBef>
              <a:defRPr sz="600"/>
            </a:lvl4pPr>
            <a:lvl5pPr>
              <a:spcBef>
                <a:spcPts val="0"/>
              </a:spcBef>
              <a:defRPr sz="600"/>
            </a:lvl5pPr>
          </a:lstStyle>
          <a:p>
            <a:pPr marL="0" lvl="0" indent="0" algn="l" rtl="0" eaLnBrk="1" fontAlgn="base" hangingPunct="1">
              <a:lnSpc>
                <a:spcPct val="100000"/>
              </a:lnSpc>
              <a:spcBef>
                <a:spcPts val="0"/>
              </a:spcBef>
              <a:spcAft>
                <a:spcPct val="0"/>
              </a:spcAft>
              <a:buFont typeface="Arial" charset="0"/>
              <a:buNone/>
            </a:pPr>
            <a:r>
              <a:rPr lang="en-US" dirty="0" smtClean="0"/>
              <a:t>Notes/Sources:</a:t>
            </a:r>
          </a:p>
        </p:txBody>
      </p:sp>
    </p:spTree>
    <p:extLst>
      <p:ext uri="{BB962C8B-B14F-4D97-AF65-F5344CB8AC3E}">
        <p14:creationId xmlns:p14="http://schemas.microsoft.com/office/powerpoint/2010/main" val="347949696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slideLayout" Target="../slideLayouts/slideLayout99.xml"/><Relationship Id="rId55" Type="http://schemas.openxmlformats.org/officeDocument/2006/relationships/slideLayout" Target="../slideLayouts/slideLayout104.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54" Type="http://schemas.openxmlformats.org/officeDocument/2006/relationships/slideLayout" Target="../slideLayouts/slideLayout10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slideLayout" Target="../slideLayouts/slideLayout102.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slideLayout" Target="../slideLayouts/slideLayout98.xml"/><Relationship Id="rId57" Type="http://schemas.openxmlformats.org/officeDocument/2006/relationships/image" Target="../media/image1.emf"/><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slideLayout" Target="../slideLayouts/slideLayout101.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56" Type="http://schemas.openxmlformats.org/officeDocument/2006/relationships/theme" Target="../theme/theme2.xml"/><Relationship Id="rId8" Type="http://schemas.openxmlformats.org/officeDocument/2006/relationships/slideLayout" Target="../slideLayouts/slideLayout57.xml"/><Relationship Id="rId51" Type="http://schemas.openxmlformats.org/officeDocument/2006/relationships/slideLayout" Target="../slideLayouts/slideLayout100.xml"/><Relationship Id="rId3"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41" Type="http://schemas.openxmlformats.org/officeDocument/2006/relationships/slideLayout" Target="../slideLayouts/slideLayout145.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image" Target="../media/image1.emf"/><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theme" Target="../theme/theme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8" Type="http://schemas.openxmlformats.org/officeDocument/2006/relationships/slideLayout" Target="../slideLayouts/slideLayout112.xml"/><Relationship Id="rId51"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88504" y="584684"/>
            <a:ext cx="8208000" cy="630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GB" dirty="0" smtClean="0"/>
          </a:p>
        </p:txBody>
      </p:sp>
      <p:sp>
        <p:nvSpPr>
          <p:cNvPr id="1027" name="Text Placeholder 2"/>
          <p:cNvSpPr>
            <a:spLocks noGrp="1"/>
          </p:cNvSpPr>
          <p:nvPr>
            <p:ph type="body" idx="1"/>
          </p:nvPr>
        </p:nvSpPr>
        <p:spPr bwMode="auto">
          <a:xfrm>
            <a:off x="488949" y="1341436"/>
            <a:ext cx="8928000" cy="48958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pic>
        <p:nvPicPr>
          <p:cNvPr id="7" name="Picture 6" descr="RB_logo_RGB.tif"/>
          <p:cNvPicPr>
            <a:picLocks noChangeAspect="1"/>
          </p:cNvPicPr>
          <p:nvPr/>
        </p:nvPicPr>
        <p:blipFill>
          <a:blip r:embed="rId51" cstate="print"/>
          <a:stretch>
            <a:fillRect/>
          </a:stretch>
        </p:blipFill>
        <p:spPr>
          <a:xfrm>
            <a:off x="8913440" y="394161"/>
            <a:ext cx="520445" cy="628181"/>
          </a:xfrm>
          <a:prstGeom prst="rect">
            <a:avLst/>
          </a:prstGeom>
        </p:spPr>
      </p:pic>
      <p:cxnSp>
        <p:nvCxnSpPr>
          <p:cNvPr id="9" name="Straight Connector 8"/>
          <p:cNvCxnSpPr/>
          <p:nvPr/>
        </p:nvCxnSpPr>
        <p:spPr>
          <a:xfrm>
            <a:off x="488504" y="1052736"/>
            <a:ext cx="8928100" cy="0"/>
          </a:xfrm>
          <a:prstGeom prst="line">
            <a:avLst/>
          </a:prstGeom>
          <a:ln w="3175">
            <a:solidFill>
              <a:srgbClr val="FF6600"/>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16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 id="2147484003" r:id="rId22"/>
    <p:sldLayoutId id="2147484004" r:id="rId23"/>
    <p:sldLayoutId id="2147484005" r:id="rId24"/>
    <p:sldLayoutId id="2147484006" r:id="rId25"/>
    <p:sldLayoutId id="2147484007" r:id="rId26"/>
    <p:sldLayoutId id="2147484008" r:id="rId27"/>
    <p:sldLayoutId id="2147484009" r:id="rId28"/>
    <p:sldLayoutId id="2147484010" r:id="rId29"/>
    <p:sldLayoutId id="2147484011" r:id="rId30"/>
    <p:sldLayoutId id="2147484012" r:id="rId31"/>
    <p:sldLayoutId id="2147484013" r:id="rId32"/>
    <p:sldLayoutId id="2147484014" r:id="rId33"/>
    <p:sldLayoutId id="2147484015" r:id="rId34"/>
    <p:sldLayoutId id="2147484016" r:id="rId35"/>
    <p:sldLayoutId id="2147484027" r:id="rId36"/>
    <p:sldLayoutId id="2147484028" r:id="rId37"/>
    <p:sldLayoutId id="2147484029" r:id="rId38"/>
    <p:sldLayoutId id="2147484030" r:id="rId39"/>
    <p:sldLayoutId id="2147484031" r:id="rId40"/>
    <p:sldLayoutId id="2147484034" r:id="rId41"/>
    <p:sldLayoutId id="2147484035" r:id="rId42"/>
    <p:sldLayoutId id="2147483743" r:id="rId43"/>
    <p:sldLayoutId id="2147483744" r:id="rId44"/>
    <p:sldLayoutId id="2147483758" r:id="rId45"/>
    <p:sldLayoutId id="2147483762" r:id="rId46"/>
    <p:sldLayoutId id="2147484040" r:id="rId47"/>
    <p:sldLayoutId id="2147484219" r:id="rId48"/>
    <p:sldLayoutId id="2147484220" r:id="rId49"/>
  </p:sldLayoutIdLst>
  <p:timing>
    <p:tnLst>
      <p:par>
        <p:cTn id="1" dur="indefinite" restart="never" nodeType="tmRoot"/>
      </p:par>
    </p:tnLst>
  </p:timing>
  <p:hf sldNum="0" hdr="0" dt="0"/>
  <p:txStyles>
    <p:titleStyle>
      <a:lvl1pPr algn="l" rtl="0" eaLnBrk="1" fontAlgn="base" hangingPunct="1">
        <a:lnSpc>
          <a:spcPct val="100000"/>
        </a:lnSpc>
        <a:spcBef>
          <a:spcPct val="0"/>
        </a:spcBef>
        <a:spcAft>
          <a:spcPct val="0"/>
        </a:spcAft>
        <a:defRPr sz="3000" kern="1200">
          <a:solidFill>
            <a:schemeClr val="tx2"/>
          </a:solidFill>
          <a:latin typeface="Corbel" panose="020B050302020402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0" indent="0" algn="l" rtl="0" eaLnBrk="1" fontAlgn="base" hangingPunct="1">
        <a:lnSpc>
          <a:spcPct val="110000"/>
        </a:lnSpc>
        <a:spcBef>
          <a:spcPts val="600"/>
        </a:spcBef>
        <a:spcAft>
          <a:spcPct val="0"/>
        </a:spcAft>
        <a:buFont typeface="Arial" charset="0"/>
        <a:buNone/>
        <a:defRPr sz="1200" i="1" kern="1200">
          <a:solidFill>
            <a:schemeClr val="tx2"/>
          </a:solidFill>
          <a:latin typeface="Corbel" panose="020B0503020204020204" pitchFamily="34" charset="0"/>
          <a:ea typeface="+mn-ea"/>
          <a:cs typeface="+mn-cs"/>
        </a:defRPr>
      </a:lvl1pPr>
      <a:lvl2pPr marL="182563" indent="-182563" algn="l" rtl="0" eaLnBrk="1" fontAlgn="base" hangingPunct="1">
        <a:lnSpc>
          <a:spcPct val="110000"/>
        </a:lnSpc>
        <a:spcBef>
          <a:spcPts val="600"/>
        </a:spcBef>
        <a:spcAft>
          <a:spcPct val="0"/>
        </a:spcAft>
        <a:buClr>
          <a:schemeClr val="bg2"/>
        </a:buClr>
        <a:buFont typeface="Arial" panose="020B0604020202020204" pitchFamily="34" charset="0"/>
        <a:buChar char="•"/>
        <a:defRPr sz="1200" kern="1200">
          <a:solidFill>
            <a:schemeClr val="tx1"/>
          </a:solidFill>
          <a:latin typeface="Corbel" panose="020B0503020204020204" pitchFamily="34" charset="0"/>
          <a:ea typeface="+mn-ea"/>
          <a:cs typeface="+mn-cs"/>
        </a:defRPr>
      </a:lvl2pPr>
      <a:lvl3pPr marL="355600" indent="-173038" algn="l" rtl="0" eaLnBrk="1" fontAlgn="base" hangingPunct="1">
        <a:lnSpc>
          <a:spcPct val="110000"/>
        </a:lnSpc>
        <a:spcBef>
          <a:spcPts val="300"/>
        </a:spcBef>
        <a:spcAft>
          <a:spcPct val="0"/>
        </a:spcAft>
        <a:buClr>
          <a:schemeClr val="tx2"/>
        </a:buClr>
        <a:buFont typeface="Arial" panose="020B0604020202020204" pitchFamily="34" charset="0"/>
        <a:buChar char="•"/>
        <a:defRPr sz="1000" kern="1200">
          <a:solidFill>
            <a:schemeClr val="tx1"/>
          </a:solidFill>
          <a:latin typeface="Corbel" panose="020B0503020204020204" pitchFamily="34" charset="0"/>
          <a:ea typeface="+mn-ea"/>
          <a:cs typeface="+mn-cs"/>
        </a:defRPr>
      </a:lvl3pPr>
      <a:lvl4pPr marL="538163" indent="-182563" algn="l" rtl="0" eaLnBrk="1" fontAlgn="base" hangingPunct="1">
        <a:lnSpc>
          <a:spcPct val="110000"/>
        </a:lnSpc>
        <a:spcBef>
          <a:spcPts val="300"/>
        </a:spcBef>
        <a:spcAft>
          <a:spcPct val="0"/>
        </a:spcAft>
        <a:buClr>
          <a:schemeClr val="bg2"/>
        </a:buClr>
        <a:buFont typeface="Arial" pitchFamily="34" charset="0"/>
        <a:buChar char="•"/>
        <a:defRPr sz="900" kern="1200">
          <a:solidFill>
            <a:schemeClr val="tx1"/>
          </a:solidFill>
          <a:latin typeface="Corbel" panose="020B0503020204020204" pitchFamily="34" charset="0"/>
          <a:ea typeface="+mn-ea"/>
          <a:cs typeface="+mn-cs"/>
        </a:defRPr>
      </a:lvl4pPr>
      <a:lvl5pPr marL="720725" indent="-182563" algn="l" rtl="0" eaLnBrk="1" fontAlgn="base" hangingPunct="1">
        <a:lnSpc>
          <a:spcPct val="110000"/>
        </a:lnSpc>
        <a:spcBef>
          <a:spcPts val="300"/>
        </a:spcBef>
        <a:spcAft>
          <a:spcPct val="0"/>
        </a:spcAft>
        <a:buClr>
          <a:schemeClr val="tx2"/>
        </a:buClr>
        <a:buFont typeface="Arial" panose="020B0604020202020204" pitchFamily="34" charset="0"/>
        <a:buChar char="•"/>
        <a:defRPr sz="800" kern="1200">
          <a:solidFill>
            <a:schemeClr val="tx1"/>
          </a:solidFill>
          <a:latin typeface="Corbel" panose="020B0503020204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88504" y="188640"/>
            <a:ext cx="8208000" cy="630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GB" dirty="0" smtClean="0"/>
          </a:p>
        </p:txBody>
      </p:sp>
      <p:sp>
        <p:nvSpPr>
          <p:cNvPr id="1027" name="Text Placeholder 2"/>
          <p:cNvSpPr>
            <a:spLocks noGrp="1"/>
          </p:cNvSpPr>
          <p:nvPr>
            <p:ph type="body" idx="1"/>
          </p:nvPr>
        </p:nvSpPr>
        <p:spPr bwMode="auto">
          <a:xfrm>
            <a:off x="488949" y="1341436"/>
            <a:ext cx="8928000" cy="48958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pic>
        <p:nvPicPr>
          <p:cNvPr id="7" name="Picture 6" descr="RB_logo_RGB.tif"/>
          <p:cNvPicPr>
            <a:picLocks noChangeAspect="1"/>
          </p:cNvPicPr>
          <p:nvPr/>
        </p:nvPicPr>
        <p:blipFill>
          <a:blip r:embed="rId57" cstate="print"/>
          <a:stretch>
            <a:fillRect/>
          </a:stretch>
        </p:blipFill>
        <p:spPr>
          <a:xfrm>
            <a:off x="8913440" y="188640"/>
            <a:ext cx="520445" cy="628181"/>
          </a:xfrm>
          <a:prstGeom prst="rect">
            <a:avLst/>
          </a:prstGeom>
        </p:spPr>
      </p:pic>
      <p:cxnSp>
        <p:nvCxnSpPr>
          <p:cNvPr id="9" name="Straight Connector 8"/>
          <p:cNvCxnSpPr/>
          <p:nvPr/>
        </p:nvCxnSpPr>
        <p:spPr>
          <a:xfrm>
            <a:off x="488504" y="908720"/>
            <a:ext cx="8928100" cy="0"/>
          </a:xfrm>
          <a:prstGeom prst="line">
            <a:avLst/>
          </a:prstGeom>
          <a:ln w="3175">
            <a:solidFill>
              <a:srgbClr val="FF6600"/>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bwMode="gray">
          <a:xfrm>
            <a:off x="9525508" y="6597352"/>
            <a:ext cx="201978" cy="123111"/>
          </a:xfrm>
          <a:prstGeom prst="rect">
            <a:avLst/>
          </a:prstGeom>
        </p:spPr>
        <p:txBody>
          <a:bodyPr wrap="square" lIns="0" tIns="0" rIns="0" bIns="0">
            <a:spAutoFit/>
          </a:bodyPr>
          <a:lstStyle/>
          <a:p>
            <a:pPr algn="r"/>
            <a:fld id="{31373DAF-A9C0-42DE-8CF2-AB164102F8BF}" type="slidenum">
              <a:rPr lang="en-GB" sz="800" b="1">
                <a:solidFill>
                  <a:srgbClr val="FFFFFF">
                    <a:lumMod val="50000"/>
                  </a:srgbClr>
                </a:solidFill>
                <a:latin typeface="Myriad" pitchFamily="2" charset="0"/>
                <a:cs typeface="Arial" charset="0"/>
              </a:rPr>
              <a:pPr algn="r"/>
              <a:t>‹#›</a:t>
            </a:fld>
            <a:endParaRPr lang="en-GB" sz="800" b="1" dirty="0">
              <a:solidFill>
                <a:srgbClr val="FFFFFF">
                  <a:lumMod val="50000"/>
                </a:srgbClr>
              </a:solidFill>
              <a:latin typeface="Myriad" pitchFamily="2" charset="0"/>
              <a:cs typeface="Arial" charset="0"/>
            </a:endParaRPr>
          </a:p>
        </p:txBody>
      </p:sp>
      <p:sp>
        <p:nvSpPr>
          <p:cNvPr id="10" name="Rectangle 9"/>
          <p:cNvSpPr/>
          <p:nvPr/>
        </p:nvSpPr>
        <p:spPr>
          <a:xfrm>
            <a:off x="7478153" y="6515762"/>
            <a:ext cx="2047355" cy="261610"/>
          </a:xfrm>
          <a:prstGeom prst="rect">
            <a:avLst/>
          </a:prstGeom>
        </p:spPr>
        <p:txBody>
          <a:bodyPr wrap="none">
            <a:spAutoFit/>
          </a:bodyPr>
          <a:lstStyle/>
          <a:p>
            <a:pPr algn="r">
              <a:lnSpc>
                <a:spcPct val="110000"/>
              </a:lnSpc>
              <a:spcBef>
                <a:spcPts val="600"/>
              </a:spcBef>
              <a:buFont typeface="Arial" charset="0"/>
              <a:buNone/>
              <a:defRPr/>
            </a:pPr>
            <a:r>
              <a:rPr lang="en-AU" sz="1000" dirty="0" smtClean="0">
                <a:solidFill>
                  <a:srgbClr val="FF6600"/>
                </a:solidFill>
                <a:latin typeface="Corbel" panose="020B0503020204020204" pitchFamily="34" charset="0"/>
              </a:rPr>
              <a:t>Agribusiness Review </a:t>
            </a:r>
            <a:r>
              <a:rPr lang="en-AU" sz="1000" dirty="0" smtClean="0">
                <a:solidFill>
                  <a:srgbClr val="1B4298"/>
                </a:solidFill>
                <a:latin typeface="Corbel" panose="020B0503020204020204" pitchFamily="34" charset="0"/>
              </a:rPr>
              <a:t>February 2014</a:t>
            </a:r>
            <a:endParaRPr lang="en-AU" sz="1000" dirty="0">
              <a:solidFill>
                <a:srgbClr val="1B4298"/>
              </a:solidFill>
              <a:latin typeface="Corbel" panose="020B0503020204020204" pitchFamily="34" charset="0"/>
            </a:endParaRPr>
          </a:p>
        </p:txBody>
      </p:sp>
    </p:spTree>
    <p:extLst>
      <p:ext uri="{BB962C8B-B14F-4D97-AF65-F5344CB8AC3E}">
        <p14:creationId xmlns:p14="http://schemas.microsoft.com/office/powerpoint/2010/main" val="1399094128"/>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 id="2147484186" r:id="rId23"/>
    <p:sldLayoutId id="2147484187" r:id="rId24"/>
    <p:sldLayoutId id="2147484188" r:id="rId25"/>
    <p:sldLayoutId id="2147484189" r:id="rId26"/>
    <p:sldLayoutId id="2147484190" r:id="rId27"/>
    <p:sldLayoutId id="2147484191" r:id="rId28"/>
    <p:sldLayoutId id="2147484192" r:id="rId29"/>
    <p:sldLayoutId id="2147484193" r:id="rId30"/>
    <p:sldLayoutId id="2147484194" r:id="rId31"/>
    <p:sldLayoutId id="2147484195" r:id="rId32"/>
    <p:sldLayoutId id="2147484196" r:id="rId33"/>
    <p:sldLayoutId id="2147484197" r:id="rId34"/>
    <p:sldLayoutId id="2147484198" r:id="rId35"/>
    <p:sldLayoutId id="2147484199" r:id="rId36"/>
    <p:sldLayoutId id="2147484200" r:id="rId37"/>
    <p:sldLayoutId id="2147484201" r:id="rId38"/>
    <p:sldLayoutId id="2147484202" r:id="rId39"/>
    <p:sldLayoutId id="2147484203" r:id="rId40"/>
    <p:sldLayoutId id="2147484204" r:id="rId41"/>
    <p:sldLayoutId id="2147484205" r:id="rId42"/>
    <p:sldLayoutId id="2147484206" r:id="rId43"/>
    <p:sldLayoutId id="2147484207" r:id="rId44"/>
    <p:sldLayoutId id="2147484208" r:id="rId45"/>
    <p:sldLayoutId id="2147484209" r:id="rId46"/>
    <p:sldLayoutId id="2147484210" r:id="rId47"/>
    <p:sldLayoutId id="2147484211" r:id="rId48"/>
    <p:sldLayoutId id="2147484212" r:id="rId49"/>
    <p:sldLayoutId id="2147484213" r:id="rId50"/>
    <p:sldLayoutId id="2147484214" r:id="rId51"/>
    <p:sldLayoutId id="2147484215" r:id="rId52"/>
    <p:sldLayoutId id="2147484216" r:id="rId53"/>
    <p:sldLayoutId id="2147484217" r:id="rId54"/>
    <p:sldLayoutId id="2147484218" r:id="rId55"/>
  </p:sldLayoutIdLst>
  <p:timing>
    <p:tnLst>
      <p:par>
        <p:cTn id="1" dur="indefinite" restart="never" nodeType="tmRoot"/>
      </p:par>
    </p:tnLst>
  </p:timing>
  <p:hf sldNum="0" hdr="0" dt="0"/>
  <p:txStyles>
    <p:titleStyle>
      <a:lvl1pPr algn="l" rtl="0" eaLnBrk="1" fontAlgn="base" hangingPunct="1">
        <a:lnSpc>
          <a:spcPct val="100000"/>
        </a:lnSpc>
        <a:spcBef>
          <a:spcPct val="0"/>
        </a:spcBef>
        <a:spcAft>
          <a:spcPct val="0"/>
        </a:spcAft>
        <a:defRPr sz="3000" kern="1200">
          <a:solidFill>
            <a:schemeClr val="tx2"/>
          </a:solidFill>
          <a:latin typeface="Corbel" panose="020B050302020402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0" indent="0" algn="l" rtl="0" eaLnBrk="1" fontAlgn="base" hangingPunct="1">
        <a:lnSpc>
          <a:spcPct val="110000"/>
        </a:lnSpc>
        <a:spcBef>
          <a:spcPts val="600"/>
        </a:spcBef>
        <a:spcAft>
          <a:spcPct val="0"/>
        </a:spcAft>
        <a:buFont typeface="Arial" charset="0"/>
        <a:buNone/>
        <a:defRPr sz="1200" i="1" kern="1200">
          <a:solidFill>
            <a:schemeClr val="tx2"/>
          </a:solidFill>
          <a:latin typeface="Corbel" panose="020B0503020204020204" pitchFamily="34" charset="0"/>
          <a:ea typeface="+mn-ea"/>
          <a:cs typeface="+mn-cs"/>
        </a:defRPr>
      </a:lvl1pPr>
      <a:lvl2pPr marL="182563" indent="-182563" algn="l" rtl="0" eaLnBrk="1" fontAlgn="base" hangingPunct="1">
        <a:lnSpc>
          <a:spcPct val="110000"/>
        </a:lnSpc>
        <a:spcBef>
          <a:spcPts val="600"/>
        </a:spcBef>
        <a:spcAft>
          <a:spcPct val="0"/>
        </a:spcAft>
        <a:buClr>
          <a:schemeClr val="bg2"/>
        </a:buClr>
        <a:buFont typeface="Arial" panose="020B0604020202020204" pitchFamily="34" charset="0"/>
        <a:buChar char="•"/>
        <a:defRPr sz="1200" kern="1200">
          <a:solidFill>
            <a:schemeClr val="tx1"/>
          </a:solidFill>
          <a:latin typeface="Corbel" panose="020B0503020204020204" pitchFamily="34" charset="0"/>
          <a:ea typeface="+mn-ea"/>
          <a:cs typeface="+mn-cs"/>
        </a:defRPr>
      </a:lvl2pPr>
      <a:lvl3pPr marL="355600" indent="-173038" algn="l" rtl="0" eaLnBrk="1" fontAlgn="base" hangingPunct="1">
        <a:lnSpc>
          <a:spcPct val="110000"/>
        </a:lnSpc>
        <a:spcBef>
          <a:spcPts val="300"/>
        </a:spcBef>
        <a:spcAft>
          <a:spcPct val="0"/>
        </a:spcAft>
        <a:buClr>
          <a:schemeClr val="tx2"/>
        </a:buClr>
        <a:buFont typeface="Arial" panose="020B0604020202020204" pitchFamily="34" charset="0"/>
        <a:buChar char="•"/>
        <a:defRPr sz="1000" kern="1200">
          <a:solidFill>
            <a:schemeClr val="tx1"/>
          </a:solidFill>
          <a:latin typeface="Corbel" panose="020B0503020204020204" pitchFamily="34" charset="0"/>
          <a:ea typeface="+mn-ea"/>
          <a:cs typeface="+mn-cs"/>
        </a:defRPr>
      </a:lvl3pPr>
      <a:lvl4pPr marL="538163" indent="-182563" algn="l" rtl="0" eaLnBrk="1" fontAlgn="base" hangingPunct="1">
        <a:lnSpc>
          <a:spcPct val="110000"/>
        </a:lnSpc>
        <a:spcBef>
          <a:spcPts val="300"/>
        </a:spcBef>
        <a:spcAft>
          <a:spcPct val="0"/>
        </a:spcAft>
        <a:buClr>
          <a:schemeClr val="bg2"/>
        </a:buClr>
        <a:buFont typeface="Arial" pitchFamily="34" charset="0"/>
        <a:buChar char="•"/>
        <a:defRPr sz="900" kern="1200">
          <a:solidFill>
            <a:schemeClr val="tx1"/>
          </a:solidFill>
          <a:latin typeface="Corbel" panose="020B0503020204020204" pitchFamily="34" charset="0"/>
          <a:ea typeface="+mn-ea"/>
          <a:cs typeface="+mn-cs"/>
        </a:defRPr>
      </a:lvl4pPr>
      <a:lvl5pPr marL="720725" indent="-182563" algn="l" rtl="0" eaLnBrk="1" fontAlgn="base" hangingPunct="1">
        <a:lnSpc>
          <a:spcPct val="110000"/>
        </a:lnSpc>
        <a:spcBef>
          <a:spcPts val="300"/>
        </a:spcBef>
        <a:spcAft>
          <a:spcPct val="0"/>
        </a:spcAft>
        <a:buClr>
          <a:schemeClr val="tx2"/>
        </a:buClr>
        <a:buFont typeface="Arial" panose="020B0604020202020204" pitchFamily="34" charset="0"/>
        <a:buChar char="•"/>
        <a:defRPr sz="800" kern="1200">
          <a:solidFill>
            <a:schemeClr val="tx1"/>
          </a:solidFill>
          <a:latin typeface="Corbel" panose="020B0503020204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88504" y="584684"/>
            <a:ext cx="8208000" cy="6300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smtClean="0"/>
              <a:t>Click to edit Master title style</a:t>
            </a:r>
            <a:endParaRPr lang="en-GB" dirty="0" smtClean="0"/>
          </a:p>
        </p:txBody>
      </p:sp>
      <p:sp>
        <p:nvSpPr>
          <p:cNvPr id="1027" name="Text Placeholder 2"/>
          <p:cNvSpPr>
            <a:spLocks noGrp="1"/>
          </p:cNvSpPr>
          <p:nvPr>
            <p:ph type="body" idx="1"/>
          </p:nvPr>
        </p:nvSpPr>
        <p:spPr bwMode="auto">
          <a:xfrm>
            <a:off x="488949" y="1341436"/>
            <a:ext cx="8928000" cy="48958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pic>
        <p:nvPicPr>
          <p:cNvPr id="7" name="Picture 6" descr="RB_logo_RGB.tif"/>
          <p:cNvPicPr>
            <a:picLocks noChangeAspect="1"/>
          </p:cNvPicPr>
          <p:nvPr/>
        </p:nvPicPr>
        <p:blipFill>
          <a:blip r:embed="rId53" cstate="print"/>
          <a:stretch>
            <a:fillRect/>
          </a:stretch>
        </p:blipFill>
        <p:spPr>
          <a:xfrm>
            <a:off x="8913440" y="394161"/>
            <a:ext cx="520445" cy="628181"/>
          </a:xfrm>
          <a:prstGeom prst="rect">
            <a:avLst/>
          </a:prstGeom>
        </p:spPr>
      </p:pic>
      <p:cxnSp>
        <p:nvCxnSpPr>
          <p:cNvPr id="9" name="Straight Connector 8"/>
          <p:cNvCxnSpPr/>
          <p:nvPr/>
        </p:nvCxnSpPr>
        <p:spPr>
          <a:xfrm>
            <a:off x="488504" y="1052736"/>
            <a:ext cx="8928100" cy="0"/>
          </a:xfrm>
          <a:prstGeom prst="line">
            <a:avLst/>
          </a:prstGeom>
          <a:ln w="3175">
            <a:solidFill>
              <a:srgbClr val="FF66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5334949"/>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 id="2147484257" r:id="rId25"/>
    <p:sldLayoutId id="2147484258" r:id="rId26"/>
    <p:sldLayoutId id="2147484259" r:id="rId27"/>
    <p:sldLayoutId id="2147484260" r:id="rId28"/>
    <p:sldLayoutId id="2147484261" r:id="rId29"/>
    <p:sldLayoutId id="2147484262" r:id="rId30"/>
    <p:sldLayoutId id="2147484263" r:id="rId31"/>
    <p:sldLayoutId id="2147484264" r:id="rId32"/>
    <p:sldLayoutId id="2147484265" r:id="rId33"/>
    <p:sldLayoutId id="2147484266" r:id="rId34"/>
    <p:sldLayoutId id="2147484267" r:id="rId35"/>
    <p:sldLayoutId id="2147484268" r:id="rId36"/>
    <p:sldLayoutId id="2147484269" r:id="rId37"/>
    <p:sldLayoutId id="2147484270" r:id="rId38"/>
    <p:sldLayoutId id="2147484271" r:id="rId39"/>
    <p:sldLayoutId id="2147484272" r:id="rId40"/>
    <p:sldLayoutId id="2147484273" r:id="rId41"/>
    <p:sldLayoutId id="2147484274" r:id="rId42"/>
    <p:sldLayoutId id="2147484275" r:id="rId43"/>
    <p:sldLayoutId id="2147484276" r:id="rId44"/>
    <p:sldLayoutId id="2147484277" r:id="rId45"/>
    <p:sldLayoutId id="2147484278" r:id="rId46"/>
    <p:sldLayoutId id="2147484279" r:id="rId47"/>
    <p:sldLayoutId id="2147484280" r:id="rId48"/>
    <p:sldLayoutId id="2147484283" r:id="rId49"/>
    <p:sldLayoutId id="2147484284" r:id="rId50"/>
    <p:sldLayoutId id="2147484285" r:id="rId51"/>
  </p:sldLayoutIdLst>
  <p:timing>
    <p:tnLst>
      <p:par>
        <p:cTn id="1" dur="indefinite" restart="never" nodeType="tmRoot"/>
      </p:par>
    </p:tnLst>
  </p:timing>
  <p:hf sldNum="0" hdr="0" dt="0"/>
  <p:txStyles>
    <p:titleStyle>
      <a:lvl1pPr algn="l" rtl="0" eaLnBrk="1" fontAlgn="base" hangingPunct="1">
        <a:lnSpc>
          <a:spcPct val="100000"/>
        </a:lnSpc>
        <a:spcBef>
          <a:spcPct val="0"/>
        </a:spcBef>
        <a:spcAft>
          <a:spcPct val="0"/>
        </a:spcAft>
        <a:defRPr sz="3000" kern="1200">
          <a:solidFill>
            <a:schemeClr val="tx2"/>
          </a:solidFill>
          <a:latin typeface="Corbel" panose="020B050302020402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0" indent="0" algn="l" rtl="0" eaLnBrk="1" fontAlgn="base" hangingPunct="1">
        <a:lnSpc>
          <a:spcPct val="110000"/>
        </a:lnSpc>
        <a:spcBef>
          <a:spcPts val="600"/>
        </a:spcBef>
        <a:spcAft>
          <a:spcPct val="0"/>
        </a:spcAft>
        <a:buFont typeface="Arial" charset="0"/>
        <a:buNone/>
        <a:defRPr sz="1200" i="1" kern="1200">
          <a:solidFill>
            <a:schemeClr val="tx2"/>
          </a:solidFill>
          <a:latin typeface="Corbel" panose="020B0503020204020204" pitchFamily="34" charset="0"/>
          <a:ea typeface="+mn-ea"/>
          <a:cs typeface="+mn-cs"/>
        </a:defRPr>
      </a:lvl1pPr>
      <a:lvl2pPr marL="182563" indent="-182563" algn="l" rtl="0" eaLnBrk="1" fontAlgn="base" hangingPunct="1">
        <a:lnSpc>
          <a:spcPct val="110000"/>
        </a:lnSpc>
        <a:spcBef>
          <a:spcPts val="600"/>
        </a:spcBef>
        <a:spcAft>
          <a:spcPct val="0"/>
        </a:spcAft>
        <a:buClr>
          <a:schemeClr val="bg2"/>
        </a:buClr>
        <a:buFont typeface="Arial" panose="020B0604020202020204" pitchFamily="34" charset="0"/>
        <a:buChar char="•"/>
        <a:defRPr sz="1200" kern="1200">
          <a:solidFill>
            <a:schemeClr val="tx1"/>
          </a:solidFill>
          <a:latin typeface="Corbel" panose="020B0503020204020204" pitchFamily="34" charset="0"/>
          <a:ea typeface="+mn-ea"/>
          <a:cs typeface="+mn-cs"/>
        </a:defRPr>
      </a:lvl2pPr>
      <a:lvl3pPr marL="355600" indent="-173038" algn="l" rtl="0" eaLnBrk="1" fontAlgn="base" hangingPunct="1">
        <a:lnSpc>
          <a:spcPct val="110000"/>
        </a:lnSpc>
        <a:spcBef>
          <a:spcPts val="300"/>
        </a:spcBef>
        <a:spcAft>
          <a:spcPct val="0"/>
        </a:spcAft>
        <a:buClr>
          <a:schemeClr val="tx2"/>
        </a:buClr>
        <a:buFont typeface="Arial" panose="020B0604020202020204" pitchFamily="34" charset="0"/>
        <a:buChar char="•"/>
        <a:defRPr sz="1000" kern="1200">
          <a:solidFill>
            <a:schemeClr val="tx1"/>
          </a:solidFill>
          <a:latin typeface="Corbel" panose="020B0503020204020204" pitchFamily="34" charset="0"/>
          <a:ea typeface="+mn-ea"/>
          <a:cs typeface="+mn-cs"/>
        </a:defRPr>
      </a:lvl3pPr>
      <a:lvl4pPr marL="538163" indent="-182563" algn="l" rtl="0" eaLnBrk="1" fontAlgn="base" hangingPunct="1">
        <a:lnSpc>
          <a:spcPct val="110000"/>
        </a:lnSpc>
        <a:spcBef>
          <a:spcPts val="300"/>
        </a:spcBef>
        <a:spcAft>
          <a:spcPct val="0"/>
        </a:spcAft>
        <a:buClr>
          <a:schemeClr val="bg2"/>
        </a:buClr>
        <a:buFont typeface="Arial" pitchFamily="34" charset="0"/>
        <a:buChar char="•"/>
        <a:defRPr sz="900" kern="1200">
          <a:solidFill>
            <a:schemeClr val="tx1"/>
          </a:solidFill>
          <a:latin typeface="Corbel" panose="020B0503020204020204" pitchFamily="34" charset="0"/>
          <a:ea typeface="+mn-ea"/>
          <a:cs typeface="+mn-cs"/>
        </a:defRPr>
      </a:lvl4pPr>
      <a:lvl5pPr marL="720725" indent="-182563" algn="l" rtl="0" eaLnBrk="1" fontAlgn="base" hangingPunct="1">
        <a:lnSpc>
          <a:spcPct val="110000"/>
        </a:lnSpc>
        <a:spcBef>
          <a:spcPts val="300"/>
        </a:spcBef>
        <a:spcAft>
          <a:spcPct val="0"/>
        </a:spcAft>
        <a:buClr>
          <a:schemeClr val="tx2"/>
        </a:buClr>
        <a:buFont typeface="Arial" panose="020B0604020202020204" pitchFamily="34" charset="0"/>
        <a:buChar char="•"/>
        <a:defRPr sz="800" kern="1200">
          <a:solidFill>
            <a:schemeClr val="tx1"/>
          </a:solidFill>
          <a:latin typeface="Corbel" panose="020B0503020204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52.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48.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48.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hyperlink" Target="mailto:Roland.Fumasi@Rabobank.com"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pn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emf"/><Relationship Id="rId2" Type="http://schemas.openxmlformats.org/officeDocument/2006/relationships/image" Target="../media/image4.jpeg"/><Relationship Id="rId1" Type="http://schemas.openxmlformats.org/officeDocument/2006/relationships/slideLayout" Target="../slideLayouts/slideLayout154.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emf"/><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 Id="rId14" Type="http://schemas.openxmlformats.org/officeDocument/2006/relationships/image" Target="../media/image16.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slideLayout" Target="../slideLayouts/slideLayout155.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7.emf"/><Relationship Id="rId11" Type="http://schemas.openxmlformats.org/officeDocument/2006/relationships/image" Target="../media/image22.png"/><Relationship Id="rId5" Type="http://schemas.openxmlformats.org/officeDocument/2006/relationships/oleObject" Target="../embeddings/oleObject4.bin"/><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notesSlide" Target="../notesSlides/notesSlide2.xml"/><Relationship Id="rId9" Type="http://schemas.openxmlformats.org/officeDocument/2006/relationships/image" Target="../media/image20.png"/><Relationship Id="rId1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5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5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153.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3.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 y="-1"/>
            <a:ext cx="9906001" cy="6632063"/>
          </a:xfrm>
          <a:prstGeom prst="rect">
            <a:avLst/>
          </a:prstGeom>
        </p:spPr>
      </p:pic>
      <p:sp>
        <p:nvSpPr>
          <p:cNvPr id="10" name="Text Placeholder 9"/>
          <p:cNvSpPr>
            <a:spLocks noGrp="1"/>
          </p:cNvSpPr>
          <p:nvPr>
            <p:ph type="body" sz="quarter" idx="12"/>
          </p:nvPr>
        </p:nvSpPr>
        <p:spPr>
          <a:xfrm>
            <a:off x="3072261" y="5309847"/>
            <a:ext cx="3924436" cy="1404156"/>
          </a:xfrm>
          <a:gradFill flip="none" rotWithShape="1">
            <a:gsLst>
              <a:gs pos="0">
                <a:schemeClr val="bg2"/>
              </a:gs>
              <a:gs pos="60000">
                <a:srgbClr val="FF6600"/>
              </a:gs>
            </a:gsLst>
            <a:lin ang="13500000" scaled="1"/>
            <a:tileRect/>
          </a:gradFill>
        </p:spPr>
        <p:txBody>
          <a:bodyPr anchor="b"/>
          <a:lstStyle/>
          <a:p>
            <a:pPr algn="r">
              <a:lnSpc>
                <a:spcPct val="100000"/>
              </a:lnSpc>
              <a:spcBef>
                <a:spcPts val="0"/>
              </a:spcBef>
            </a:pPr>
            <a:r>
              <a:rPr lang="en-US" sz="2400" dirty="0" smtClean="0">
                <a:latin typeface="Corbel" panose="020B0503020204020204" pitchFamily="34" charset="0"/>
              </a:rPr>
              <a:t>Roland Fumasi, Ph.D.</a:t>
            </a:r>
          </a:p>
          <a:p>
            <a:pPr algn="r">
              <a:lnSpc>
                <a:spcPct val="100000"/>
              </a:lnSpc>
              <a:spcBef>
                <a:spcPts val="0"/>
              </a:spcBef>
            </a:pPr>
            <a:r>
              <a:rPr lang="en-US" sz="1600" dirty="0" smtClean="0">
                <a:latin typeface="Corbel" panose="020B0503020204020204" pitchFamily="34" charset="0"/>
              </a:rPr>
              <a:t>Vice President &amp; Senior Analyst</a:t>
            </a:r>
          </a:p>
          <a:p>
            <a:pPr algn="r">
              <a:lnSpc>
                <a:spcPct val="100000"/>
              </a:lnSpc>
              <a:spcBef>
                <a:spcPts val="0"/>
              </a:spcBef>
            </a:pPr>
            <a:r>
              <a:rPr lang="en-US" sz="1600" dirty="0" smtClean="0">
                <a:latin typeface="Corbel" panose="020B0503020204020204" pitchFamily="34" charset="0"/>
              </a:rPr>
              <a:t>RaboResearch Food &amp; Agribusiness</a:t>
            </a:r>
          </a:p>
        </p:txBody>
      </p:sp>
      <p:sp>
        <p:nvSpPr>
          <p:cNvPr id="46" name="Title 45"/>
          <p:cNvSpPr>
            <a:spLocks noGrp="1"/>
          </p:cNvSpPr>
          <p:nvPr>
            <p:ph type="ctrTitle"/>
          </p:nvPr>
        </p:nvSpPr>
        <p:spPr>
          <a:xfrm>
            <a:off x="-1" y="3973924"/>
            <a:ext cx="6996698" cy="1651320"/>
          </a:xfrm>
          <a:solidFill>
            <a:srgbClr val="283A97"/>
          </a:solidFill>
        </p:spPr>
        <p:txBody>
          <a:bodyPr anchor="ctr"/>
          <a:lstStyle/>
          <a:p>
            <a:pPr algn="ctr"/>
            <a:r>
              <a:rPr lang="en-US" sz="2800" dirty="0" smtClean="0">
                <a:latin typeface="Corbel" panose="020B0503020204020204" pitchFamily="34" charset="0"/>
              </a:rPr>
              <a:t/>
            </a:r>
            <a:br>
              <a:rPr lang="en-US" sz="2800" dirty="0" smtClean="0">
                <a:latin typeface="Corbel" panose="020B0503020204020204" pitchFamily="34" charset="0"/>
              </a:rPr>
            </a:br>
            <a:r>
              <a:rPr lang="en-US" sz="2800" dirty="0" smtClean="0">
                <a:latin typeface="Corbel" panose="020B0503020204020204" pitchFamily="34" charset="0"/>
              </a:rPr>
              <a:t>Caneberry Market Trends</a:t>
            </a:r>
            <a:br>
              <a:rPr lang="en-US" sz="2800" dirty="0" smtClean="0">
                <a:latin typeface="Corbel" panose="020B0503020204020204" pitchFamily="34" charset="0"/>
              </a:rPr>
            </a:br>
            <a:r>
              <a:rPr lang="en-US" sz="1400" dirty="0" smtClean="0">
                <a:latin typeface="Corbel" panose="020B0503020204020204" pitchFamily="34" charset="0"/>
              </a:rPr>
              <a:t/>
            </a:r>
            <a:br>
              <a:rPr lang="en-US" sz="1400" dirty="0" smtClean="0">
                <a:latin typeface="Corbel" panose="020B0503020204020204" pitchFamily="34" charset="0"/>
              </a:rPr>
            </a:br>
            <a:r>
              <a:rPr lang="en-US" sz="800" dirty="0" smtClean="0">
                <a:latin typeface="Corbel" panose="020B0503020204020204" pitchFamily="34" charset="0"/>
              </a:rPr>
              <a:t/>
            </a:r>
            <a:br>
              <a:rPr lang="en-US" sz="800" dirty="0" smtClean="0">
                <a:latin typeface="Corbel" panose="020B0503020204020204" pitchFamily="34" charset="0"/>
              </a:rPr>
            </a:br>
            <a:r>
              <a:rPr lang="en-US" sz="2000" dirty="0" smtClean="0">
                <a:latin typeface="Corbel" panose="020B0503020204020204" pitchFamily="34" charset="0"/>
              </a:rPr>
              <a:t>Central Coast Caneberry Meeting</a:t>
            </a:r>
            <a:br>
              <a:rPr lang="en-US" sz="2000" dirty="0" smtClean="0">
                <a:latin typeface="Corbel" panose="020B0503020204020204" pitchFamily="34" charset="0"/>
              </a:rPr>
            </a:br>
            <a:r>
              <a:rPr lang="en-US" sz="1400" dirty="0" smtClean="0">
                <a:latin typeface="Corbel" panose="020B0503020204020204" pitchFamily="34" charset="0"/>
              </a:rPr>
              <a:t>Watsonville, CA                  February 21, 2019</a:t>
            </a:r>
            <a:r>
              <a:rPr lang="en-US" sz="1400" dirty="0">
                <a:latin typeface="Corbel" panose="020B0503020204020204" pitchFamily="34" charset="0"/>
              </a:rPr>
              <a:t/>
            </a:r>
            <a:br>
              <a:rPr lang="en-US" sz="1400" dirty="0">
                <a:latin typeface="Corbel" panose="020B0503020204020204" pitchFamily="34" charset="0"/>
              </a:rPr>
            </a:br>
            <a:endParaRPr lang="nl-NL" sz="1400" dirty="0"/>
          </a:p>
        </p:txBody>
      </p:sp>
      <p:pic>
        <p:nvPicPr>
          <p:cNvPr id="11" name="Picture 10" descr="Front PPT logo.jpg"/>
          <p:cNvPicPr>
            <a:picLocks noChangeAspect="1"/>
          </p:cNvPicPr>
          <p:nvPr/>
        </p:nvPicPr>
        <p:blipFill>
          <a:blip r:embed="rId4" cstate="print"/>
          <a:stretch>
            <a:fillRect/>
          </a:stretch>
        </p:blipFill>
        <p:spPr>
          <a:xfrm>
            <a:off x="8239980" y="5657802"/>
            <a:ext cx="925926" cy="1117599"/>
          </a:xfrm>
          <a:prstGeom prst="rect">
            <a:avLst/>
          </a:prstGeom>
        </p:spPr>
      </p:pic>
    </p:spTree>
    <p:extLst>
      <p:ext uri="{BB962C8B-B14F-4D97-AF65-F5344CB8AC3E}">
        <p14:creationId xmlns:p14="http://schemas.microsoft.com/office/powerpoint/2010/main" val="34546073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6" y="255588"/>
            <a:ext cx="8397503" cy="785812"/>
          </a:xfrm>
        </p:spPr>
        <p:txBody>
          <a:bodyPr/>
          <a:lstStyle/>
          <a:p>
            <a:pPr eaLnBrk="1" hangingPunct="1"/>
            <a:r>
              <a:rPr lang="en-US" sz="3000" dirty="0" smtClean="0"/>
              <a:t>Working on the California piece of the puzzle</a:t>
            </a:r>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719070" y="1224045"/>
            <a:ext cx="8558818"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raspberry shipping-point data – 2012-14 vs 2016-18 average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r>
              <a:rPr lang="en-US" sz="800" i="1" dirty="0" smtClean="0">
                <a:latin typeface="Verdana" pitchFamily="34" charset="0"/>
              </a:rPr>
              <a:t>*Domestic &amp; imported production</a:t>
            </a:r>
            <a:endParaRPr lang="en-GB" sz="800" i="1" dirty="0">
              <a:latin typeface="Verdana"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1228759439"/>
              </p:ext>
            </p:extLst>
          </p:nvPr>
        </p:nvGraphicFramePr>
        <p:xfrm>
          <a:off x="545351" y="1887979"/>
          <a:ext cx="8906256" cy="4389120"/>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p:cNvSpPr/>
          <p:nvPr/>
        </p:nvSpPr>
        <p:spPr>
          <a:xfrm>
            <a:off x="3872880" y="3429000"/>
            <a:ext cx="3113295" cy="959750"/>
          </a:xfrm>
          <a:prstGeom prst="ellipse">
            <a:avLst/>
          </a:prstGeom>
          <a:noFill/>
          <a:ln w="38100" cap="flat" cmpd="sng" algn="ctr">
            <a:solidFill>
              <a:srgbClr val="00B050"/>
            </a:solidFill>
            <a:prstDash val="solid"/>
          </a:ln>
          <a:effectLst/>
        </p:spPr>
        <p:txBody>
          <a:bodyPr lIns="72000" tIns="90000" rIns="72000" bIns="90000" anchor="ctr"/>
          <a:lstStyle/>
          <a:p>
            <a:pPr algn="ctr" defTabSz="914400" fontAlgn="auto">
              <a:lnSpc>
                <a:spcPct val="110000"/>
              </a:lnSpc>
              <a:spcBef>
                <a:spcPts val="0"/>
              </a:spcBef>
              <a:spcAft>
                <a:spcPts val="0"/>
              </a:spcAft>
              <a:defRPr/>
            </a:pPr>
            <a:endParaRPr lang="en-US" kern="0" dirty="0">
              <a:solidFill>
                <a:srgbClr val="000000"/>
              </a:solidFill>
              <a:latin typeface="+mn-lt"/>
              <a:cs typeface="Myriad Pro"/>
            </a:endParaRPr>
          </a:p>
        </p:txBody>
      </p:sp>
    </p:spTree>
    <p:extLst>
      <p:ext uri="{BB962C8B-B14F-4D97-AF65-F5344CB8AC3E}">
        <p14:creationId xmlns:p14="http://schemas.microsoft.com/office/powerpoint/2010/main" val="20109857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a:graphicFrameLocks/>
          </p:cNvGraphicFramePr>
          <p:nvPr>
            <p:extLst>
              <p:ext uri="{D42A27DB-BD31-4B8C-83A1-F6EECF244321}">
                <p14:modId xmlns:p14="http://schemas.microsoft.com/office/powerpoint/2010/main" val="3078874451"/>
              </p:ext>
            </p:extLst>
          </p:nvPr>
        </p:nvGraphicFramePr>
        <p:xfrm>
          <a:off x="227487" y="5724495"/>
          <a:ext cx="9509760" cy="59436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488504" y="385425"/>
            <a:ext cx="8568952" cy="630000"/>
          </a:xfrm>
        </p:spPr>
        <p:txBody>
          <a:bodyPr/>
          <a:lstStyle/>
          <a:p>
            <a:r>
              <a:rPr lang="en-US" sz="2800" dirty="0" smtClean="0"/>
              <a:t>Raspberries: Santa Maria &amp; Mexico gaining volume share</a:t>
            </a:r>
            <a:endParaRPr lang="en-US" sz="2800" dirty="0"/>
          </a:p>
        </p:txBody>
      </p:sp>
      <p:sp>
        <p:nvSpPr>
          <p:cNvPr id="5" name="TextBox 4"/>
          <p:cNvSpPr txBox="1"/>
          <p:nvPr/>
        </p:nvSpPr>
        <p:spPr>
          <a:xfrm>
            <a:off x="7387491" y="6418422"/>
            <a:ext cx="1895071" cy="215444"/>
          </a:xfrm>
          <a:prstGeom prst="rect">
            <a:avLst/>
          </a:prstGeom>
          <a:noFill/>
        </p:spPr>
        <p:txBody>
          <a:bodyPr wrap="none" rtlCol="0">
            <a:spAutoFit/>
          </a:bodyPr>
          <a:lstStyle/>
          <a:p>
            <a:pPr algn="r"/>
            <a:r>
              <a:rPr lang="en-US" sz="800" dirty="0" smtClean="0">
                <a:latin typeface="Arial" panose="020B0604020202020204" pitchFamily="34" charset="0"/>
                <a:cs typeface="Arial" panose="020B0604020202020204" pitchFamily="34" charset="0"/>
              </a:rPr>
              <a:t>Source: </a:t>
            </a:r>
            <a:r>
              <a:rPr lang="de-DE" sz="800" dirty="0" smtClean="0">
                <a:latin typeface="Arial" panose="020B0604020202020204" pitchFamily="34" charset="0"/>
                <a:cs typeface="Arial" panose="020B0604020202020204" pitchFamily="34" charset="0"/>
              </a:rPr>
              <a:t>USDA/AMS, Rabobank 2019</a:t>
            </a:r>
            <a:endParaRPr lang="en-US" sz="800" dirty="0">
              <a:latin typeface="Arial" panose="020B0604020202020204" pitchFamily="34" charset="0"/>
              <a:cs typeface="Arial" panose="020B0604020202020204" pitchFamily="34" charset="0"/>
            </a:endParaRPr>
          </a:p>
        </p:txBody>
      </p:sp>
      <p:sp>
        <p:nvSpPr>
          <p:cNvPr id="6" name="TextBox 5"/>
          <p:cNvSpPr txBox="1"/>
          <p:nvPr/>
        </p:nvSpPr>
        <p:spPr>
          <a:xfrm>
            <a:off x="917024" y="1245455"/>
            <a:ext cx="3492388" cy="492443"/>
          </a:xfrm>
          <a:prstGeom prst="rect">
            <a:avLst/>
          </a:prstGeom>
          <a:noFill/>
        </p:spPr>
        <p:txBody>
          <a:bodyPr wrap="square" rtlCol="0">
            <a:spAutoFit/>
          </a:bodyPr>
          <a:lstStyle/>
          <a:p>
            <a:pPr algn="ctr"/>
            <a:r>
              <a:rPr lang="en-US" sz="2600" dirty="0" smtClean="0">
                <a:solidFill>
                  <a:srgbClr val="FF6600"/>
                </a:solidFill>
              </a:rPr>
              <a:t>2007-09 Avg Share</a:t>
            </a:r>
            <a:endParaRPr lang="en-US" sz="2600" dirty="0">
              <a:solidFill>
                <a:srgbClr val="FF6600"/>
              </a:solidFill>
            </a:endParaRPr>
          </a:p>
        </p:txBody>
      </p:sp>
      <p:sp>
        <p:nvSpPr>
          <p:cNvPr id="13" name="TextBox 12"/>
          <p:cNvSpPr txBox="1"/>
          <p:nvPr/>
        </p:nvSpPr>
        <p:spPr>
          <a:xfrm>
            <a:off x="5925108" y="1256926"/>
            <a:ext cx="3492388" cy="492443"/>
          </a:xfrm>
          <a:prstGeom prst="rect">
            <a:avLst/>
          </a:prstGeom>
          <a:noFill/>
        </p:spPr>
        <p:txBody>
          <a:bodyPr wrap="square" rtlCol="0">
            <a:spAutoFit/>
          </a:bodyPr>
          <a:lstStyle/>
          <a:p>
            <a:pPr algn="ctr"/>
            <a:r>
              <a:rPr lang="en-US" sz="2600" dirty="0" smtClean="0">
                <a:solidFill>
                  <a:srgbClr val="FF6600"/>
                </a:solidFill>
              </a:rPr>
              <a:t>2016-18 Avg Share</a:t>
            </a:r>
            <a:endParaRPr lang="en-US" sz="2600" dirty="0">
              <a:solidFill>
                <a:srgbClr val="FF6600"/>
              </a:solidFill>
            </a:endParaRPr>
          </a:p>
        </p:txBody>
      </p:sp>
      <p:graphicFrame>
        <p:nvGraphicFramePr>
          <p:cNvPr id="11" name="Chart 10"/>
          <p:cNvGraphicFramePr>
            <a:graphicFrameLocks/>
          </p:cNvGraphicFramePr>
          <p:nvPr>
            <p:extLst>
              <p:ext uri="{D42A27DB-BD31-4B8C-83A1-F6EECF244321}">
                <p14:modId xmlns:p14="http://schemas.microsoft.com/office/powerpoint/2010/main" val="2750537725"/>
              </p:ext>
            </p:extLst>
          </p:nvPr>
        </p:nvGraphicFramePr>
        <p:xfrm>
          <a:off x="227487" y="1679497"/>
          <a:ext cx="4754880" cy="411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4241498771"/>
              </p:ext>
            </p:extLst>
          </p:nvPr>
        </p:nvGraphicFramePr>
        <p:xfrm>
          <a:off x="4975026" y="1682904"/>
          <a:ext cx="4754880" cy="41148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256421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dirty="0" smtClean="0"/>
              <a:t>Blackberry prices need to find a bottom</a:t>
            </a:r>
            <a:endParaRPr lang="en-US" sz="3000" dirty="0" smtClean="0"/>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320180" y="1224045"/>
            <a:ext cx="9205277"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non-organic blackberry shipping-point data – domestic &amp; import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Prices represent the average weekly shipment-weighted price in each year</a:t>
            </a:r>
            <a:endParaRPr lang="en-GB" sz="800" i="1" dirty="0">
              <a:latin typeface="Verdana"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667067472"/>
              </p:ext>
            </p:extLst>
          </p:nvPr>
        </p:nvGraphicFramePr>
        <p:xfrm>
          <a:off x="469690" y="1868355"/>
          <a:ext cx="8906256" cy="4389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9034613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6" y="255588"/>
            <a:ext cx="8397503" cy="785812"/>
          </a:xfrm>
        </p:spPr>
        <p:txBody>
          <a:bodyPr/>
          <a:lstStyle/>
          <a:p>
            <a:pPr eaLnBrk="1" hangingPunct="1"/>
            <a:r>
              <a:rPr lang="en-US" sz="3000" dirty="0" smtClean="0"/>
              <a:t>Hard to find any upward price momentum</a:t>
            </a:r>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654150" y="1224045"/>
            <a:ext cx="8688661"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blackberry shipping-point data – 2012-14 vs 2016-18 average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r>
              <a:rPr lang="en-US" sz="800" i="1" dirty="0" smtClean="0">
                <a:latin typeface="Verdana" pitchFamily="34" charset="0"/>
              </a:rPr>
              <a:t>*Domestic &amp; imported production</a:t>
            </a:r>
            <a:endParaRPr lang="en-GB" sz="800" i="1" dirty="0">
              <a:latin typeface="Verdana"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337802319"/>
              </p:ext>
            </p:extLst>
          </p:nvPr>
        </p:nvGraphicFramePr>
        <p:xfrm>
          <a:off x="545352" y="1865766"/>
          <a:ext cx="8906256" cy="4389120"/>
        </p:xfrm>
        <a:graphic>
          <a:graphicData uri="http://schemas.openxmlformats.org/drawingml/2006/chart">
            <c:chart xmlns:c="http://schemas.openxmlformats.org/drawingml/2006/chart" xmlns:r="http://schemas.openxmlformats.org/officeDocument/2006/relationships" r:id="rId2"/>
          </a:graphicData>
        </a:graphic>
      </p:graphicFrame>
      <p:sp>
        <p:nvSpPr>
          <p:cNvPr id="9" name="Oval 8"/>
          <p:cNvSpPr/>
          <p:nvPr/>
        </p:nvSpPr>
        <p:spPr>
          <a:xfrm>
            <a:off x="4304928" y="3429000"/>
            <a:ext cx="2124236" cy="959750"/>
          </a:xfrm>
          <a:prstGeom prst="ellipse">
            <a:avLst/>
          </a:prstGeom>
          <a:noFill/>
          <a:ln w="38100" cap="flat" cmpd="sng" algn="ctr">
            <a:solidFill>
              <a:srgbClr val="00B050"/>
            </a:solidFill>
            <a:prstDash val="solid"/>
          </a:ln>
          <a:effectLst/>
        </p:spPr>
        <p:txBody>
          <a:bodyPr lIns="72000" tIns="90000" rIns="72000" bIns="90000" anchor="ctr"/>
          <a:lstStyle/>
          <a:p>
            <a:pPr algn="ctr" defTabSz="914400" fontAlgn="auto">
              <a:lnSpc>
                <a:spcPct val="110000"/>
              </a:lnSpc>
              <a:spcBef>
                <a:spcPts val="0"/>
              </a:spcBef>
              <a:spcAft>
                <a:spcPts val="0"/>
              </a:spcAft>
              <a:defRPr/>
            </a:pPr>
            <a:endParaRPr lang="en-US" kern="0" dirty="0">
              <a:solidFill>
                <a:srgbClr val="000000"/>
              </a:solidFill>
              <a:latin typeface="+mn-lt"/>
              <a:cs typeface="Myriad Pro"/>
            </a:endParaRPr>
          </a:p>
        </p:txBody>
      </p:sp>
    </p:spTree>
    <p:extLst>
      <p:ext uri="{BB962C8B-B14F-4D97-AF65-F5344CB8AC3E}">
        <p14:creationId xmlns:p14="http://schemas.microsoft.com/office/powerpoint/2010/main" val="41000575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p:cNvGraphicFramePr>
            <a:graphicFrameLocks/>
          </p:cNvGraphicFramePr>
          <p:nvPr>
            <p:extLst>
              <p:ext uri="{D42A27DB-BD31-4B8C-83A1-F6EECF244321}">
                <p14:modId xmlns:p14="http://schemas.microsoft.com/office/powerpoint/2010/main" val="3911984883"/>
              </p:ext>
            </p:extLst>
          </p:nvPr>
        </p:nvGraphicFramePr>
        <p:xfrm>
          <a:off x="171100" y="5721695"/>
          <a:ext cx="9507658" cy="59436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488504" y="385425"/>
            <a:ext cx="8496944" cy="630000"/>
          </a:xfrm>
        </p:spPr>
        <p:txBody>
          <a:bodyPr/>
          <a:lstStyle/>
          <a:p>
            <a:r>
              <a:rPr lang="en-US" dirty="0" smtClean="0"/>
              <a:t>Blackberries: Santa Maria &amp; the Southeast gain</a:t>
            </a:r>
            <a:endParaRPr lang="en-US" dirty="0"/>
          </a:p>
        </p:txBody>
      </p:sp>
      <p:sp>
        <p:nvSpPr>
          <p:cNvPr id="5" name="TextBox 4"/>
          <p:cNvSpPr txBox="1"/>
          <p:nvPr/>
        </p:nvSpPr>
        <p:spPr>
          <a:xfrm>
            <a:off x="7387491" y="6418422"/>
            <a:ext cx="1895071" cy="215444"/>
          </a:xfrm>
          <a:prstGeom prst="rect">
            <a:avLst/>
          </a:prstGeom>
          <a:noFill/>
        </p:spPr>
        <p:txBody>
          <a:bodyPr wrap="none" rtlCol="0">
            <a:spAutoFit/>
          </a:bodyPr>
          <a:lstStyle/>
          <a:p>
            <a:pPr algn="r"/>
            <a:r>
              <a:rPr lang="en-US" sz="800" dirty="0" smtClean="0">
                <a:latin typeface="Arial" panose="020B0604020202020204" pitchFamily="34" charset="0"/>
                <a:cs typeface="Arial" panose="020B0604020202020204" pitchFamily="34" charset="0"/>
              </a:rPr>
              <a:t>Source: </a:t>
            </a:r>
            <a:r>
              <a:rPr lang="de-DE" sz="800" dirty="0" smtClean="0">
                <a:latin typeface="Arial" panose="020B0604020202020204" pitchFamily="34" charset="0"/>
                <a:cs typeface="Arial" panose="020B0604020202020204" pitchFamily="34" charset="0"/>
              </a:rPr>
              <a:t>USDA/AMS, Rabobank 2019</a:t>
            </a:r>
            <a:endParaRPr lang="en-US" sz="800" dirty="0">
              <a:latin typeface="Arial" panose="020B0604020202020204" pitchFamily="34" charset="0"/>
              <a:cs typeface="Arial" panose="020B0604020202020204" pitchFamily="34" charset="0"/>
            </a:endParaRPr>
          </a:p>
        </p:txBody>
      </p:sp>
      <p:sp>
        <p:nvSpPr>
          <p:cNvPr id="6" name="TextBox 5"/>
          <p:cNvSpPr txBox="1"/>
          <p:nvPr/>
        </p:nvSpPr>
        <p:spPr>
          <a:xfrm>
            <a:off x="917024" y="1245455"/>
            <a:ext cx="3492388" cy="492443"/>
          </a:xfrm>
          <a:prstGeom prst="rect">
            <a:avLst/>
          </a:prstGeom>
          <a:noFill/>
        </p:spPr>
        <p:txBody>
          <a:bodyPr wrap="square" rtlCol="0">
            <a:spAutoFit/>
          </a:bodyPr>
          <a:lstStyle/>
          <a:p>
            <a:pPr algn="ctr"/>
            <a:r>
              <a:rPr lang="en-US" sz="2600" dirty="0" smtClean="0">
                <a:solidFill>
                  <a:srgbClr val="FF6600"/>
                </a:solidFill>
              </a:rPr>
              <a:t>2007-09 Avg Share</a:t>
            </a:r>
            <a:endParaRPr lang="en-US" sz="2600" dirty="0">
              <a:solidFill>
                <a:srgbClr val="FF6600"/>
              </a:solidFill>
            </a:endParaRPr>
          </a:p>
        </p:txBody>
      </p:sp>
      <p:sp>
        <p:nvSpPr>
          <p:cNvPr id="13" name="TextBox 12"/>
          <p:cNvSpPr txBox="1"/>
          <p:nvPr/>
        </p:nvSpPr>
        <p:spPr>
          <a:xfrm>
            <a:off x="5925108" y="1256926"/>
            <a:ext cx="3492388" cy="492443"/>
          </a:xfrm>
          <a:prstGeom prst="rect">
            <a:avLst/>
          </a:prstGeom>
          <a:noFill/>
        </p:spPr>
        <p:txBody>
          <a:bodyPr wrap="square" rtlCol="0">
            <a:spAutoFit/>
          </a:bodyPr>
          <a:lstStyle/>
          <a:p>
            <a:pPr algn="ctr"/>
            <a:r>
              <a:rPr lang="en-US" sz="2600" dirty="0" smtClean="0">
                <a:solidFill>
                  <a:srgbClr val="FF6600"/>
                </a:solidFill>
              </a:rPr>
              <a:t>2016-18 Avg Share</a:t>
            </a:r>
            <a:endParaRPr lang="en-US" sz="2600" dirty="0">
              <a:solidFill>
                <a:srgbClr val="FF6600"/>
              </a:solidFill>
            </a:endParaRPr>
          </a:p>
        </p:txBody>
      </p:sp>
      <p:graphicFrame>
        <p:nvGraphicFramePr>
          <p:cNvPr id="9" name="Chart 8"/>
          <p:cNvGraphicFramePr>
            <a:graphicFrameLocks/>
          </p:cNvGraphicFramePr>
          <p:nvPr>
            <p:extLst>
              <p:ext uri="{D42A27DB-BD31-4B8C-83A1-F6EECF244321}">
                <p14:modId xmlns:p14="http://schemas.microsoft.com/office/powerpoint/2010/main" val="3123214838"/>
              </p:ext>
            </p:extLst>
          </p:nvPr>
        </p:nvGraphicFramePr>
        <p:xfrm>
          <a:off x="170049" y="1737898"/>
          <a:ext cx="4754880" cy="411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1340662693"/>
              </p:ext>
            </p:extLst>
          </p:nvPr>
        </p:nvGraphicFramePr>
        <p:xfrm>
          <a:off x="4924929" y="1734626"/>
          <a:ext cx="4754880" cy="41148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899101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dirty="0" smtClean="0"/>
              <a:t>Organic raspberry supply responding</a:t>
            </a:r>
            <a:endParaRPr lang="en-US" sz="3000" dirty="0" smtClean="0"/>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599102" y="1224045"/>
            <a:ext cx="8647431"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organic raspberry shipping-point data – domestic &amp; imports</a:t>
            </a:r>
            <a:endParaRPr lang="en-US" sz="2400" dirty="0">
              <a:solidFill>
                <a:srgbClr val="FF6600"/>
              </a:solidFill>
              <a:latin typeface="Corbel"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110629262"/>
              </p:ext>
            </p:extLst>
          </p:nvPr>
        </p:nvGraphicFramePr>
        <p:xfrm>
          <a:off x="469689" y="1887979"/>
          <a:ext cx="8906256" cy="4389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8675772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dirty="0" smtClean="0"/>
              <a:t>Organic blackberry supply increase is dramatic</a:t>
            </a:r>
            <a:endParaRPr lang="en-US" sz="3000" dirty="0" smtClean="0"/>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615132" y="1224045"/>
            <a:ext cx="8615372"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organic blackberry shipping-point data – domestic &amp; import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Prices represent the average weekly shipment-weighted price in each year</a:t>
            </a:r>
            <a:endParaRPr lang="en-GB" sz="800" i="1" dirty="0">
              <a:latin typeface="Verdana"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77125967"/>
              </p:ext>
            </p:extLst>
          </p:nvPr>
        </p:nvGraphicFramePr>
        <p:xfrm>
          <a:off x="469690" y="1865010"/>
          <a:ext cx="8906256" cy="4389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129848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dirty="0" smtClean="0"/>
              <a:t>Organic blackberry premiums need to hold now</a:t>
            </a:r>
            <a:endParaRPr lang="en-US" sz="3000" dirty="0" smtClean="0"/>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615132" y="1224045"/>
            <a:ext cx="8615372"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organic blackberry shipping-point data – domestic &amp; import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Prices represent the average weekly shipment-weighted price in each year</a:t>
            </a:r>
            <a:endParaRPr lang="en-GB" sz="800" i="1" dirty="0">
              <a:latin typeface="Verdana"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2571315957"/>
              </p:ext>
            </p:extLst>
          </p:nvPr>
        </p:nvGraphicFramePr>
        <p:xfrm>
          <a:off x="469690" y="1868355"/>
          <a:ext cx="8906256" cy="43891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3830191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pPr eaLnBrk="1" hangingPunct="1"/>
            <a:r>
              <a:rPr lang="en-US" dirty="0" smtClean="0"/>
              <a:t>Contact Details</a:t>
            </a:r>
          </a:p>
        </p:txBody>
      </p:sp>
      <p:sp>
        <p:nvSpPr>
          <p:cNvPr id="31747" name="Content Placeholder 4"/>
          <p:cNvSpPr>
            <a:spLocks noGrp="1" noChangeArrowheads="1"/>
          </p:cNvSpPr>
          <p:nvPr>
            <p:ph idx="1"/>
          </p:nvPr>
        </p:nvSpPr>
        <p:spPr bwMode="auto">
          <a:xfrm>
            <a:off x="488421" y="1341438"/>
            <a:ext cx="5040710" cy="4895850"/>
          </a:xfrm>
          <a:ln w="6350">
            <a:solidFill>
              <a:schemeClr val="accent1"/>
            </a:solidFill>
            <a:miter lim="800000"/>
            <a:headEnd/>
            <a:tailEnd/>
          </a:ln>
        </p:spPr>
        <p:txBody>
          <a:bodyPr wrap="square" lIns="94608" tIns="63071" rIns="94608" bIns="63071" numCol="1" anchor="t" anchorCtr="0" compatLnSpc="1">
            <a:prstTxWarp prst="textNoShape">
              <a:avLst/>
            </a:prstTxWarp>
          </a:bodyPr>
          <a:lstStyle/>
          <a:p>
            <a:pPr indent="1588" defTabSz="949325" eaLnBrk="1" hangingPunct="1">
              <a:lnSpc>
                <a:spcPts val="1813"/>
              </a:lnSpc>
              <a:buSzPct val="130000"/>
              <a:tabLst>
                <a:tab pos="171450" algn="l"/>
              </a:tabLst>
            </a:pPr>
            <a:r>
              <a:rPr lang="en-GB" sz="1600" b="1" dirty="0" smtClean="0">
                <a:cs typeface="Myriad Pro Light"/>
              </a:rPr>
              <a:t>Rabobank N.A.</a:t>
            </a:r>
          </a:p>
          <a:p>
            <a:pPr indent="1588" defTabSz="949325" eaLnBrk="1" hangingPunct="1">
              <a:buSzPct val="130000"/>
              <a:tabLst>
                <a:tab pos="171450" algn="l"/>
              </a:tabLst>
            </a:pPr>
            <a:endParaRPr lang="en-GB" sz="1200" dirty="0" smtClean="0">
              <a:solidFill>
                <a:srgbClr val="000000"/>
              </a:solidFill>
              <a:cs typeface="Myriad Pro Light"/>
            </a:endParaRPr>
          </a:p>
          <a:p>
            <a:pPr indent="1588" defTabSz="949325" eaLnBrk="1" hangingPunct="1">
              <a:buSzPct val="130000"/>
              <a:tabLst>
                <a:tab pos="171450" algn="l"/>
              </a:tabLst>
            </a:pPr>
            <a:r>
              <a:rPr lang="en-GB" sz="1200" dirty="0" smtClean="0">
                <a:solidFill>
                  <a:srgbClr val="000000"/>
                </a:solidFill>
                <a:cs typeface="Myriad Pro Light"/>
              </a:rPr>
              <a:t>Roland Fumasi</a:t>
            </a:r>
          </a:p>
          <a:p>
            <a:pPr indent="1588" defTabSz="949325" eaLnBrk="1" hangingPunct="1">
              <a:buSzPct val="130000"/>
              <a:tabLst>
                <a:tab pos="171450" algn="l"/>
              </a:tabLst>
            </a:pPr>
            <a:r>
              <a:rPr lang="en-GB" sz="1200" dirty="0" smtClean="0">
                <a:solidFill>
                  <a:srgbClr val="000000"/>
                </a:solidFill>
                <a:cs typeface="Myriad Pro Light"/>
              </a:rPr>
              <a:t>Vice President, Senior Analyst</a:t>
            </a:r>
          </a:p>
          <a:p>
            <a:pPr indent="1588" defTabSz="949325" eaLnBrk="1" hangingPunct="1">
              <a:buSzPct val="130000"/>
              <a:tabLst>
                <a:tab pos="171450" algn="l"/>
              </a:tabLst>
            </a:pPr>
            <a:r>
              <a:rPr lang="en-AU" sz="1200" dirty="0" smtClean="0">
                <a:solidFill>
                  <a:srgbClr val="000000"/>
                </a:solidFill>
                <a:cs typeface="Myriad Pro Light"/>
              </a:rPr>
              <a:t>RaboResearch Food &amp; Agribusiness</a:t>
            </a:r>
          </a:p>
          <a:p>
            <a:pPr indent="1588" defTabSz="949325" eaLnBrk="1" hangingPunct="1">
              <a:buSzPct val="130000"/>
              <a:tabLst>
                <a:tab pos="171450" algn="l"/>
              </a:tabLst>
            </a:pPr>
            <a:r>
              <a:rPr lang="en-GB" sz="1200" dirty="0" smtClean="0">
                <a:solidFill>
                  <a:srgbClr val="000000"/>
                </a:solidFill>
                <a:cs typeface="Myriad Pro Light"/>
                <a:hlinkClick r:id="rId2"/>
              </a:rPr>
              <a:t>Roland.Fumasi@Rabobank.com</a:t>
            </a:r>
            <a:endParaRPr lang="en-GB" sz="1200" dirty="0" smtClean="0">
              <a:solidFill>
                <a:srgbClr val="000000"/>
              </a:solidFill>
              <a:cs typeface="Myriad Pro Light"/>
            </a:endParaRPr>
          </a:p>
          <a:p>
            <a:pPr indent="1588" defTabSz="949325" eaLnBrk="1" hangingPunct="1">
              <a:buSzPct val="130000"/>
              <a:tabLst>
                <a:tab pos="171450" algn="l"/>
              </a:tabLst>
            </a:pPr>
            <a:endParaRPr lang="en-GB" sz="1200" dirty="0" smtClean="0">
              <a:solidFill>
                <a:srgbClr val="000000"/>
              </a:solidFill>
              <a:cs typeface="Myriad Pro Light"/>
            </a:endParaRPr>
          </a:p>
          <a:p>
            <a:pPr indent="1588" defTabSz="949325" eaLnBrk="1" hangingPunct="1">
              <a:lnSpc>
                <a:spcPts val="1813"/>
              </a:lnSpc>
              <a:tabLst>
                <a:tab pos="171450" algn="l"/>
              </a:tabLst>
            </a:pPr>
            <a:endParaRPr lang="en-GB" sz="1200" b="1" dirty="0" smtClean="0">
              <a:solidFill>
                <a:srgbClr val="7F7F7F"/>
              </a:solidFill>
              <a:cs typeface="Myriad Pro Light"/>
            </a:endParaRPr>
          </a:p>
          <a:p>
            <a:pPr indent="1588" defTabSz="949325" eaLnBrk="1" hangingPunct="1">
              <a:lnSpc>
                <a:spcPts val="1813"/>
              </a:lnSpc>
              <a:tabLst>
                <a:tab pos="171450" algn="l"/>
              </a:tabLst>
            </a:pPr>
            <a:endParaRPr lang="en-GB" sz="1200" b="1" dirty="0" smtClean="0">
              <a:solidFill>
                <a:srgbClr val="7F7F7F"/>
              </a:solidFill>
              <a:cs typeface="Myriad Pro Light"/>
            </a:endParaRPr>
          </a:p>
          <a:p>
            <a:pPr indent="1588" defTabSz="949325" eaLnBrk="1" hangingPunct="1">
              <a:lnSpc>
                <a:spcPts val="1813"/>
              </a:lnSpc>
              <a:tabLst>
                <a:tab pos="171450" algn="l"/>
              </a:tabLst>
            </a:pPr>
            <a:r>
              <a:rPr lang="en-GB" sz="1600" b="1" dirty="0" smtClean="0">
                <a:solidFill>
                  <a:srgbClr val="7F7F7F"/>
                </a:solidFill>
                <a:cs typeface="Myriad Pro Light"/>
              </a:rPr>
              <a:t>DISCLAIMER</a:t>
            </a:r>
          </a:p>
          <a:p>
            <a:pPr lvl="0" algn="just">
              <a:spcBef>
                <a:spcPct val="0"/>
              </a:spcBef>
              <a:spcAft>
                <a:spcPts val="1102"/>
              </a:spcAft>
              <a:buSzPct val="130000"/>
              <a:defRPr/>
            </a:pPr>
            <a:r>
              <a:rPr lang="en-US" sz="700" dirty="0">
                <a:solidFill>
                  <a:srgbClr val="283A97"/>
                </a:solidFill>
                <a:latin typeface="Verdana" pitchFamily="34" charset="0"/>
                <a:cs typeface="Arial" charset="0"/>
              </a:rPr>
              <a:t>This presentation has been prepared exclusively for the benefit and internal use of </a:t>
            </a:r>
            <a:r>
              <a:rPr lang="en-US" sz="700" dirty="0" smtClean="0">
                <a:solidFill>
                  <a:srgbClr val="283A97"/>
                </a:solidFill>
                <a:latin typeface="Verdana" pitchFamily="34" charset="0"/>
                <a:cs typeface="Arial" charset="0"/>
              </a:rPr>
              <a:t>RABOBANK (“</a:t>
            </a:r>
            <a:r>
              <a:rPr lang="en-US" sz="700" dirty="0">
                <a:solidFill>
                  <a:srgbClr val="283A97"/>
                </a:solidFill>
                <a:latin typeface="Verdana" pitchFamily="34" charset="0"/>
                <a:cs typeface="Arial" charset="0"/>
              </a:rPr>
              <a:t>COMPANY” or the “Company”), and does not carry any right of publication or disclosure other than to COMPANY. Neither this presentation nor any of its contents may be used for any other purpose without the prior written consent of the Coöperatieve Centrale Raiffeisen-Boerenleenbank B.A. (“Rabobank” or “Rabobank International”).</a:t>
            </a:r>
          </a:p>
          <a:p>
            <a:pPr lvl="0" algn="just">
              <a:spcBef>
                <a:spcPct val="0"/>
              </a:spcBef>
              <a:spcAft>
                <a:spcPts val="1102"/>
              </a:spcAft>
              <a:buSzPct val="130000"/>
              <a:defRPr/>
            </a:pPr>
            <a:r>
              <a:rPr lang="en-US" sz="700" dirty="0">
                <a:solidFill>
                  <a:srgbClr val="283A97"/>
                </a:solidFill>
                <a:latin typeface="Verdana" pitchFamily="34" charset="0"/>
                <a:cs typeface="Arial" charset="0"/>
              </a:rPr>
              <a:t>The information in this presentation reflects prevailing market conditions and our judgement as of this date, all of which may be subject to change. This presentation is based on public information. The information and opinions contained in this document have been compiled or arrived at from sources believed to be reliable, but no representation or warranty, express or implied is made as to their accuracy, completeness or correctness. The information and opinions contained in this document are wholly indicative and for discussion purposes only. No rights may be derived from any potential offers, transactions, commercial ideas et cetera contained in this presentation. This presentation does not constitute an offer or invitation. This document shall not form the basis of or be relied upon in connection with any contract or commitment whatsoever.</a:t>
            </a:r>
          </a:p>
          <a:p>
            <a:pPr indent="1588" defTabSz="949325" eaLnBrk="1" hangingPunct="1">
              <a:lnSpc>
                <a:spcPts val="1813"/>
              </a:lnSpc>
              <a:tabLst>
                <a:tab pos="171450" algn="l"/>
              </a:tabLst>
            </a:pPr>
            <a:endParaRPr lang="en-GB" u="sng" dirty="0" smtClean="0">
              <a:solidFill>
                <a:srgbClr val="7F7F7F"/>
              </a:solidFill>
              <a:cs typeface="Myriad Pro Light"/>
            </a:endParaRPr>
          </a:p>
          <a:p>
            <a:pPr indent="1588" defTabSz="949325" eaLnBrk="1" hangingPunct="1">
              <a:lnSpc>
                <a:spcPts val="1813"/>
              </a:lnSpc>
              <a:tabLst>
                <a:tab pos="171450" algn="l"/>
              </a:tabLst>
            </a:pPr>
            <a:endParaRPr lang="en-GB" dirty="0" smtClean="0">
              <a:solidFill>
                <a:srgbClr val="000000"/>
              </a:solidFill>
              <a:cs typeface="Myriad Pro Light"/>
            </a:endParaRPr>
          </a:p>
          <a:p>
            <a:pPr indent="1588" defTabSz="949325" eaLnBrk="1" hangingPunct="1">
              <a:lnSpc>
                <a:spcPts val="1813"/>
              </a:lnSpc>
              <a:tabLst>
                <a:tab pos="171450" algn="l"/>
              </a:tabLst>
            </a:pPr>
            <a:endParaRPr lang="en-GB" dirty="0" smtClean="0">
              <a:solidFill>
                <a:srgbClr val="000000"/>
              </a:solidFill>
              <a:cs typeface="Myriad Pro Light"/>
            </a:endParaRPr>
          </a:p>
          <a:p>
            <a:pPr indent="1588" defTabSz="949325" eaLnBrk="1" hangingPunct="1">
              <a:lnSpc>
                <a:spcPts val="1813"/>
              </a:lnSpc>
              <a:tabLst>
                <a:tab pos="171450" algn="l"/>
              </a:tabLst>
            </a:pPr>
            <a:endParaRPr lang="en-GB" dirty="0" smtClean="0">
              <a:solidFill>
                <a:srgbClr val="000000"/>
              </a:solidFill>
              <a:cs typeface="Myriad Pro Light"/>
            </a:endParaRPr>
          </a:p>
          <a:p>
            <a:pPr indent="1588" defTabSz="949325" eaLnBrk="1" hangingPunct="1">
              <a:lnSpc>
                <a:spcPts val="1813"/>
              </a:lnSpc>
              <a:tabLst>
                <a:tab pos="171450" algn="l"/>
              </a:tabLst>
            </a:pPr>
            <a:endParaRPr lang="en-GB" dirty="0" smtClean="0">
              <a:solidFill>
                <a:srgbClr val="000000"/>
              </a:solidFill>
              <a:cs typeface="Myriad Pro Light"/>
            </a:endParaRPr>
          </a:p>
        </p:txBody>
      </p:sp>
      <p:sp>
        <p:nvSpPr>
          <p:cNvPr id="31748" name="Rectangle 6"/>
          <p:cNvSpPr>
            <a:spLocks noChangeArrowheads="1"/>
          </p:cNvSpPr>
          <p:nvPr/>
        </p:nvSpPr>
        <p:spPr bwMode="auto">
          <a:xfrm>
            <a:off x="5738946" y="1341439"/>
            <a:ext cx="3606403" cy="561975"/>
          </a:xfrm>
          <a:prstGeom prst="rect">
            <a:avLst/>
          </a:prstGeom>
          <a:noFill/>
          <a:ln w="9525">
            <a:noFill/>
            <a:miter lim="800000"/>
            <a:headEnd/>
            <a:tailEnd/>
          </a:ln>
        </p:spPr>
        <p:txBody>
          <a:bodyPr lIns="0" tIns="0" rIns="0" bIns="0"/>
          <a:lstStyle/>
          <a:p>
            <a:pPr algn="ctr" defTabSz="725488">
              <a:lnSpc>
                <a:spcPts val="2188"/>
              </a:lnSpc>
              <a:buSzPct val="130000"/>
            </a:pPr>
            <a:r>
              <a:rPr lang="en-US" sz="1700" b="1" i="1" dirty="0">
                <a:solidFill>
                  <a:prstClr val="black"/>
                </a:solidFill>
                <a:latin typeface="Corbel" pitchFamily="34" charset="0"/>
              </a:rPr>
              <a:t>“The financial link in the global food chain”™</a:t>
            </a:r>
          </a:p>
        </p:txBody>
      </p:sp>
      <p:pic>
        <p:nvPicPr>
          <p:cNvPr id="31749" name="Picture 2"/>
          <p:cNvPicPr>
            <a:picLocks noChangeAspect="1" noChangeArrowheads="1"/>
          </p:cNvPicPr>
          <p:nvPr/>
        </p:nvPicPr>
        <p:blipFill>
          <a:blip r:embed="rId3" cstate="print"/>
          <a:srcRect/>
          <a:stretch>
            <a:fillRect/>
          </a:stretch>
        </p:blipFill>
        <p:spPr bwMode="auto">
          <a:xfrm>
            <a:off x="6069145" y="2457450"/>
            <a:ext cx="3093905" cy="3492500"/>
          </a:xfrm>
          <a:prstGeom prst="rect">
            <a:avLst/>
          </a:prstGeom>
          <a:noFill/>
          <a:ln w="9525">
            <a:noFill/>
            <a:miter lim="800000"/>
            <a:headEnd/>
            <a:tailEnd/>
          </a:ln>
        </p:spPr>
      </p:pic>
      <p:sp>
        <p:nvSpPr>
          <p:cNvPr id="6" name="Rectangle 5"/>
          <p:cNvSpPr/>
          <p:nvPr/>
        </p:nvSpPr>
        <p:spPr>
          <a:xfrm>
            <a:off x="8144933" y="255588"/>
            <a:ext cx="1513417" cy="1085850"/>
          </a:xfrm>
          <a:prstGeom prst="rect">
            <a:avLst/>
          </a:prstGeom>
          <a:solidFill>
            <a:schemeClr val="bg1"/>
          </a:solidFill>
          <a:ln w="6350" cap="flat" cmpd="sng" algn="ctr">
            <a:noFill/>
            <a:prstDash val="solid"/>
          </a:ln>
          <a:effectLst/>
        </p:spPr>
        <p:txBody>
          <a:bodyPr lIns="72000" tIns="90000" rIns="72000" bIns="90000" anchor="ctr"/>
          <a:lstStyle/>
          <a:p>
            <a:pPr algn="ctr" fontAlgn="auto">
              <a:lnSpc>
                <a:spcPct val="110000"/>
              </a:lnSpc>
              <a:spcBef>
                <a:spcPts val="0"/>
              </a:spcBef>
              <a:spcAft>
                <a:spcPts val="0"/>
              </a:spcAft>
              <a:defRPr/>
            </a:pPr>
            <a:endParaRPr lang="en-US" kern="0" dirty="0">
              <a:solidFill>
                <a:srgbClr val="000000"/>
              </a:solidFill>
              <a:latin typeface="Verdana"/>
              <a:cs typeface="Myriad Pro"/>
            </a:endParaRPr>
          </a:p>
        </p:txBody>
      </p:sp>
    </p:spTree>
    <p:extLst>
      <p:ext uri="{BB962C8B-B14F-4D97-AF65-F5344CB8AC3E}">
        <p14:creationId xmlns:p14="http://schemas.microsoft.com/office/powerpoint/2010/main" val="395052718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04" y="418434"/>
            <a:ext cx="8208000" cy="630000"/>
          </a:xfrm>
        </p:spPr>
        <p:txBody>
          <a:bodyPr/>
          <a:lstStyle/>
          <a:p>
            <a:r>
              <a:rPr lang="en-US" dirty="0" smtClean="0"/>
              <a:t>Appendix / Additional Slides</a:t>
            </a:r>
            <a:endParaRPr lang="en-US" dirty="0"/>
          </a:p>
        </p:txBody>
      </p:sp>
      <p:sp>
        <p:nvSpPr>
          <p:cNvPr id="53250" name="AutoShape 2" descr="Image result for amazon grocery logo"/>
          <p:cNvSpPr>
            <a:spLocks noChangeAspect="1" noChangeArrowheads="1"/>
          </p:cNvSpPr>
          <p:nvPr/>
        </p:nvSpPr>
        <p:spPr bwMode="auto">
          <a:xfrm>
            <a:off x="49874" y="-136525"/>
            <a:ext cx="3302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63036655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 name="Rectangle 15"/>
          <p:cNvSpPr>
            <a:spLocks noChangeArrowheads="1"/>
          </p:cNvSpPr>
          <p:nvPr/>
        </p:nvSpPr>
        <p:spPr bwMode="auto">
          <a:xfrm>
            <a:off x="406773" y="754235"/>
            <a:ext cx="9144000" cy="5422392"/>
          </a:xfrm>
          <a:prstGeom prst="rect">
            <a:avLst/>
          </a:prstGeom>
          <a:solidFill>
            <a:srgbClr val="00447C"/>
          </a:solidFill>
          <a:ln>
            <a:noFill/>
          </a:ln>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386" name="Title 10"/>
          <p:cNvSpPr txBox="1">
            <a:spLocks/>
          </p:cNvSpPr>
          <p:nvPr/>
        </p:nvSpPr>
        <p:spPr bwMode="auto">
          <a:xfrm>
            <a:off x="4520988" y="0"/>
            <a:ext cx="4041976" cy="7638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100000"/>
              </a:lnSpc>
              <a:spcBef>
                <a:spcPct val="0"/>
              </a:spcBef>
              <a:spcAft>
                <a:spcPct val="0"/>
              </a:spcAft>
              <a:defRPr sz="2400" b="0" i="0" kern="1200">
                <a:solidFill>
                  <a:schemeClr val="tx2"/>
                </a:solidFill>
                <a:latin typeface="Myriad Light" panose="02000406040000020004" pitchFamily="2"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3600" spc="10" dirty="0">
                <a:solidFill>
                  <a:srgbClr val="F9981D"/>
                </a:solidFill>
              </a:rPr>
              <a:t>Food &amp; Agribusiness</a:t>
            </a:r>
          </a:p>
        </p:txBody>
      </p:sp>
      <p:grpSp>
        <p:nvGrpSpPr>
          <p:cNvPr id="12505" name="Group 12504"/>
          <p:cNvGrpSpPr/>
          <p:nvPr/>
        </p:nvGrpSpPr>
        <p:grpSpPr>
          <a:xfrm>
            <a:off x="381000" y="6199632"/>
            <a:ext cx="9151268" cy="658368"/>
            <a:chOff x="0" y="6199632"/>
            <a:chExt cx="9151268" cy="658368"/>
          </a:xfrm>
        </p:grpSpPr>
        <p:pic>
          <p:nvPicPr>
            <p:cNvPr id="5" name="Picture 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407912" y="6199632"/>
              <a:ext cx="905256" cy="658368"/>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6199632"/>
              <a:ext cx="905256" cy="658368"/>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15416" y="6199632"/>
              <a:ext cx="905256" cy="658368"/>
            </a:xfrm>
            <a:prstGeom prst="rect">
              <a:avLst/>
            </a:prstGeom>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492496" y="6199632"/>
              <a:ext cx="905256" cy="658368"/>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577080" y="6199632"/>
              <a:ext cx="905256" cy="658368"/>
            </a:xfrm>
            <a:prstGeom prst="rect">
              <a:avLst/>
            </a:prstGeom>
          </p:spPr>
        </p:pic>
        <p:pic>
          <p:nvPicPr>
            <p:cNvPr id="13" name="Picture 1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23328" y="6199632"/>
              <a:ext cx="905256" cy="658368"/>
            </a:xfrm>
            <a:prstGeom prst="rect">
              <a:avLst/>
            </a:prstGeom>
          </p:spPr>
        </p:pic>
        <p:pic>
          <p:nvPicPr>
            <p:cNvPr id="27" name="Picture 26"/>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246012" y="6202907"/>
              <a:ext cx="905256" cy="655093"/>
            </a:xfrm>
            <a:prstGeom prst="rect">
              <a:avLst/>
            </a:prstGeom>
          </p:spPr>
        </p:pic>
        <p:pic>
          <p:nvPicPr>
            <p:cNvPr id="35" name="Picture 34"/>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746248" y="6199632"/>
              <a:ext cx="905256" cy="658368"/>
            </a:xfrm>
            <a:prstGeom prst="rect">
              <a:avLst/>
            </a:prstGeom>
          </p:spPr>
        </p:pic>
        <p:pic>
          <p:nvPicPr>
            <p:cNvPr id="38" name="Picture 37"/>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1830832" y="6199632"/>
              <a:ext cx="905256" cy="658368"/>
            </a:xfrm>
            <a:prstGeom prst="rect">
              <a:avLst/>
            </a:prstGeom>
          </p:spPr>
        </p:pic>
        <p:pic>
          <p:nvPicPr>
            <p:cNvPr id="54" name="Picture 53"/>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3662796" y="6199632"/>
              <a:ext cx="905256" cy="658368"/>
            </a:xfrm>
            <a:prstGeom prst="rect">
              <a:avLst/>
            </a:prstGeom>
          </p:spPr>
        </p:pic>
        <p:sp>
          <p:nvSpPr>
            <p:cNvPr id="397" name="Rectangle 396"/>
            <p:cNvSpPr/>
            <p:nvPr/>
          </p:nvSpPr>
          <p:spPr>
            <a:xfrm>
              <a:off x="17737"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Agri</a:t>
              </a:r>
            </a:p>
            <a:p>
              <a:pPr algn="ctr"/>
              <a:r>
                <a:rPr lang="en-US" sz="1200" dirty="0">
                  <a:solidFill>
                    <a:srgbClr val="FFFFFF"/>
                  </a:solidFill>
                  <a:effectLst>
                    <a:glow rad="63500">
                      <a:srgbClr val="000000"/>
                    </a:glow>
                  </a:effectLst>
                  <a:latin typeface="Myriad-SemiBoldItalic" panose="02000703050000090004" pitchFamily="2" charset="0"/>
                </a:rPr>
                <a:t>Commodity </a:t>
              </a:r>
            </a:p>
            <a:p>
              <a:pPr algn="ctr"/>
              <a:r>
                <a:rPr lang="en-US" sz="1200" dirty="0">
                  <a:solidFill>
                    <a:srgbClr val="FFFFFF"/>
                  </a:solidFill>
                  <a:effectLst>
                    <a:glow rad="63500">
                      <a:srgbClr val="000000"/>
                    </a:glow>
                  </a:effectLst>
                  <a:latin typeface="Myriad-SemiBoldItalic" panose="02000703050000090004" pitchFamily="2" charset="0"/>
                </a:rPr>
                <a:t>Markets</a:t>
              </a:r>
              <a:endParaRPr lang="en-US" sz="700" dirty="0">
                <a:solidFill>
                  <a:srgbClr val="FFFFFF"/>
                </a:solidFill>
                <a:effectLst>
                  <a:glow rad="63500">
                    <a:srgbClr val="000000"/>
                  </a:glow>
                </a:effectLst>
                <a:latin typeface="+mj-lt"/>
              </a:endParaRPr>
            </a:p>
          </p:txBody>
        </p:sp>
        <p:sp>
          <p:nvSpPr>
            <p:cNvPr id="398" name="Rectangle 397"/>
            <p:cNvSpPr/>
            <p:nvPr/>
          </p:nvSpPr>
          <p:spPr>
            <a:xfrm>
              <a:off x="936109"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Animal</a:t>
              </a:r>
            </a:p>
            <a:p>
              <a:pPr algn="ctr"/>
              <a:r>
                <a:rPr lang="en-US" sz="1200" dirty="0">
                  <a:solidFill>
                    <a:srgbClr val="FFFFFF"/>
                  </a:solidFill>
                  <a:effectLst>
                    <a:glow rad="63500">
                      <a:srgbClr val="000000"/>
                    </a:glow>
                  </a:effectLst>
                  <a:latin typeface="Myriad-SemiBoldItalic" panose="02000703050000090004" pitchFamily="2" charset="0"/>
                </a:rPr>
                <a:t>Protein</a:t>
              </a:r>
              <a:endParaRPr lang="en-US" sz="700" dirty="0">
                <a:solidFill>
                  <a:srgbClr val="FFFFFF"/>
                </a:solidFill>
                <a:effectLst>
                  <a:glow rad="63500">
                    <a:srgbClr val="000000"/>
                  </a:glow>
                </a:effectLst>
                <a:latin typeface="+mj-lt"/>
              </a:endParaRPr>
            </a:p>
          </p:txBody>
        </p:sp>
        <p:sp>
          <p:nvSpPr>
            <p:cNvPr id="399" name="Rectangle 398"/>
            <p:cNvSpPr/>
            <p:nvPr/>
          </p:nvSpPr>
          <p:spPr>
            <a:xfrm>
              <a:off x="1851525"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Beverages</a:t>
              </a:r>
              <a:endParaRPr lang="en-US" sz="700" dirty="0">
                <a:solidFill>
                  <a:srgbClr val="FFFFFF"/>
                </a:solidFill>
                <a:effectLst>
                  <a:glow rad="63500">
                    <a:srgbClr val="000000"/>
                  </a:glow>
                </a:effectLst>
                <a:latin typeface="+mj-lt"/>
              </a:endParaRPr>
            </a:p>
          </p:txBody>
        </p:sp>
        <p:sp>
          <p:nvSpPr>
            <p:cNvPr id="400" name="Rectangle 399"/>
            <p:cNvSpPr/>
            <p:nvPr/>
          </p:nvSpPr>
          <p:spPr>
            <a:xfrm>
              <a:off x="2766941"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Consumer</a:t>
              </a:r>
            </a:p>
            <a:p>
              <a:pPr algn="ctr"/>
              <a:r>
                <a:rPr lang="en-US" sz="1200" dirty="0">
                  <a:solidFill>
                    <a:srgbClr val="FFFFFF"/>
                  </a:solidFill>
                  <a:effectLst>
                    <a:glow rad="63500">
                      <a:srgbClr val="000000"/>
                    </a:glow>
                  </a:effectLst>
                  <a:latin typeface="Myriad-SemiBoldItalic" panose="02000703050000090004" pitchFamily="2" charset="0"/>
                </a:rPr>
                <a:t>Foods</a:t>
              </a:r>
              <a:endParaRPr lang="en-US" sz="700" dirty="0">
                <a:solidFill>
                  <a:srgbClr val="FFFFFF"/>
                </a:solidFill>
                <a:effectLst>
                  <a:glow rad="63500">
                    <a:srgbClr val="000000"/>
                  </a:glow>
                </a:effectLst>
                <a:latin typeface="+mj-lt"/>
              </a:endParaRPr>
            </a:p>
          </p:txBody>
        </p:sp>
        <p:sp>
          <p:nvSpPr>
            <p:cNvPr id="401" name="Rectangle 400"/>
            <p:cNvSpPr/>
            <p:nvPr/>
          </p:nvSpPr>
          <p:spPr>
            <a:xfrm>
              <a:off x="3683489"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Dairy</a:t>
              </a:r>
              <a:endParaRPr lang="en-US" sz="700" dirty="0">
                <a:solidFill>
                  <a:srgbClr val="FFFFFF"/>
                </a:solidFill>
                <a:effectLst>
                  <a:glow rad="63500">
                    <a:srgbClr val="000000"/>
                  </a:glow>
                </a:effectLst>
                <a:latin typeface="+mj-lt"/>
              </a:endParaRPr>
            </a:p>
          </p:txBody>
        </p:sp>
        <p:sp>
          <p:nvSpPr>
            <p:cNvPr id="402" name="Rectangle 401"/>
            <p:cNvSpPr/>
            <p:nvPr/>
          </p:nvSpPr>
          <p:spPr>
            <a:xfrm>
              <a:off x="4597773"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F&amp;A Supply</a:t>
              </a:r>
            </a:p>
            <a:p>
              <a:pPr algn="ctr"/>
              <a:r>
                <a:rPr lang="en-US" sz="1200" dirty="0">
                  <a:solidFill>
                    <a:srgbClr val="FFFFFF"/>
                  </a:solidFill>
                  <a:effectLst>
                    <a:glow rad="63500">
                      <a:srgbClr val="000000"/>
                    </a:glow>
                  </a:effectLst>
                  <a:latin typeface="Myriad-SemiBoldItalic" panose="02000703050000090004" pitchFamily="2" charset="0"/>
                </a:rPr>
                <a:t>Chains</a:t>
              </a:r>
              <a:endParaRPr lang="en-US" sz="700" dirty="0">
                <a:solidFill>
                  <a:srgbClr val="FFFFFF"/>
                </a:solidFill>
                <a:effectLst>
                  <a:glow rad="63500">
                    <a:srgbClr val="000000"/>
                  </a:glow>
                </a:effectLst>
                <a:latin typeface="+mj-lt"/>
              </a:endParaRPr>
            </a:p>
          </p:txBody>
        </p:sp>
        <p:sp>
          <p:nvSpPr>
            <p:cNvPr id="403" name="Rectangle 402"/>
            <p:cNvSpPr/>
            <p:nvPr/>
          </p:nvSpPr>
          <p:spPr>
            <a:xfrm>
              <a:off x="5513189"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Farm Inputs</a:t>
              </a:r>
              <a:endParaRPr lang="en-US" sz="700" dirty="0">
                <a:solidFill>
                  <a:srgbClr val="FFFFFF"/>
                </a:solidFill>
                <a:effectLst>
                  <a:glow rad="63500">
                    <a:srgbClr val="000000"/>
                  </a:glow>
                </a:effectLst>
                <a:latin typeface="+mj-lt"/>
              </a:endParaRPr>
            </a:p>
          </p:txBody>
        </p:sp>
        <p:sp>
          <p:nvSpPr>
            <p:cNvPr id="404" name="Rectangle 403"/>
            <p:cNvSpPr/>
            <p:nvPr/>
          </p:nvSpPr>
          <p:spPr>
            <a:xfrm>
              <a:off x="6428605"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Fresh</a:t>
              </a:r>
            </a:p>
            <a:p>
              <a:pPr algn="ctr"/>
              <a:r>
                <a:rPr lang="en-US" sz="1200" dirty="0">
                  <a:solidFill>
                    <a:srgbClr val="FFFFFF"/>
                  </a:solidFill>
                  <a:effectLst>
                    <a:glow rad="63500">
                      <a:srgbClr val="000000"/>
                    </a:glow>
                  </a:effectLst>
                  <a:latin typeface="Myriad-SemiBoldItalic" panose="02000703050000090004" pitchFamily="2" charset="0"/>
                </a:rPr>
                <a:t>Produce</a:t>
              </a:r>
              <a:endParaRPr lang="en-US" sz="700" dirty="0">
                <a:solidFill>
                  <a:srgbClr val="FFFFFF"/>
                </a:solidFill>
                <a:effectLst>
                  <a:glow rad="63500">
                    <a:srgbClr val="000000"/>
                  </a:glow>
                </a:effectLst>
                <a:latin typeface="+mj-lt"/>
              </a:endParaRPr>
            </a:p>
          </p:txBody>
        </p:sp>
        <p:sp>
          <p:nvSpPr>
            <p:cNvPr id="405" name="Rectangle 404"/>
            <p:cNvSpPr/>
            <p:nvPr/>
          </p:nvSpPr>
          <p:spPr>
            <a:xfrm>
              <a:off x="7344021"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Grains &amp;</a:t>
              </a:r>
            </a:p>
            <a:p>
              <a:pPr algn="ctr"/>
              <a:r>
                <a:rPr lang="en-US" sz="1200" dirty="0">
                  <a:solidFill>
                    <a:srgbClr val="FFFFFF"/>
                  </a:solidFill>
                  <a:effectLst>
                    <a:glow rad="63500">
                      <a:srgbClr val="000000"/>
                    </a:glow>
                  </a:effectLst>
                  <a:latin typeface="Myriad-SemiBoldItalic" panose="02000703050000090004" pitchFamily="2" charset="0"/>
                </a:rPr>
                <a:t>Oilseeds</a:t>
              </a:r>
              <a:endParaRPr lang="en-US" sz="700" dirty="0">
                <a:solidFill>
                  <a:srgbClr val="FFFFFF"/>
                </a:solidFill>
                <a:effectLst>
                  <a:glow rad="63500">
                    <a:srgbClr val="000000"/>
                  </a:glow>
                </a:effectLst>
                <a:latin typeface="+mj-lt"/>
              </a:endParaRPr>
            </a:p>
          </p:txBody>
        </p:sp>
        <p:sp>
          <p:nvSpPr>
            <p:cNvPr id="406" name="Rectangle 405"/>
            <p:cNvSpPr/>
            <p:nvPr/>
          </p:nvSpPr>
          <p:spPr>
            <a:xfrm>
              <a:off x="8266705" y="6293804"/>
              <a:ext cx="863870" cy="516127"/>
            </a:xfrm>
            <a:prstGeom prst="rect">
              <a:avLst/>
            </a:prstGeom>
          </p:spPr>
          <p:txBody>
            <a:bodyPr wrap="square" lIns="0" tIns="0" rIns="0" bIns="0" anchor="b">
              <a:noAutofit/>
            </a:bodyPr>
            <a:lstStyle/>
            <a:p>
              <a:pPr algn="ctr"/>
              <a:r>
                <a:rPr lang="en-US" sz="1200" dirty="0">
                  <a:solidFill>
                    <a:srgbClr val="FFFFFF"/>
                  </a:solidFill>
                  <a:effectLst>
                    <a:glow rad="63500">
                      <a:srgbClr val="000000"/>
                    </a:glow>
                  </a:effectLst>
                  <a:latin typeface="Myriad-SemiBoldItalic" panose="02000703050000090004" pitchFamily="2" charset="0"/>
                </a:rPr>
                <a:t>Sugar</a:t>
              </a:r>
              <a:endParaRPr lang="en-US" sz="700" dirty="0">
                <a:solidFill>
                  <a:srgbClr val="FFFFFF"/>
                </a:solidFill>
                <a:effectLst>
                  <a:glow rad="63500">
                    <a:srgbClr val="000000"/>
                  </a:glow>
                </a:effectLst>
                <a:latin typeface="+mj-lt"/>
              </a:endParaRPr>
            </a:p>
          </p:txBody>
        </p:sp>
      </p:grpSp>
      <p:sp>
        <p:nvSpPr>
          <p:cNvPr id="687" name="Title 10"/>
          <p:cNvSpPr txBox="1">
            <a:spLocks/>
          </p:cNvSpPr>
          <p:nvPr/>
        </p:nvSpPr>
        <p:spPr bwMode="auto">
          <a:xfrm>
            <a:off x="3536620" y="923890"/>
            <a:ext cx="2725553" cy="40011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lnSpc>
                <a:spcPct val="100000"/>
              </a:lnSpc>
              <a:spcBef>
                <a:spcPct val="0"/>
              </a:spcBef>
              <a:spcAft>
                <a:spcPct val="0"/>
              </a:spcAft>
              <a:defRPr sz="2400" b="0" i="0" kern="1200">
                <a:solidFill>
                  <a:schemeClr val="tx2"/>
                </a:solidFill>
                <a:latin typeface="Myriad Light" panose="02000406040000020004" pitchFamily="2"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ctr"/>
            <a:r>
              <a:rPr lang="en-US" sz="2600" spc="10" dirty="0">
                <a:solidFill>
                  <a:schemeClr val="bg1"/>
                </a:solidFill>
                <a:latin typeface="Myriad-SemiBoldItalic" panose="02000703050000090004" pitchFamily="2" charset="0"/>
              </a:rPr>
              <a:t>A </a:t>
            </a:r>
            <a:r>
              <a:rPr lang="en-US" sz="2600" spc="10" dirty="0">
                <a:solidFill>
                  <a:srgbClr val="F9981D"/>
                </a:solidFill>
                <a:latin typeface="Myriad-SemiBoldItalic" panose="02000703050000090004" pitchFamily="2" charset="0"/>
              </a:rPr>
              <a:t>global</a:t>
            </a:r>
            <a:r>
              <a:rPr lang="en-US" sz="2600" spc="10" dirty="0">
                <a:solidFill>
                  <a:schemeClr val="bg2"/>
                </a:solidFill>
                <a:latin typeface="Myriad-SemiBoldItalic" panose="02000703050000090004" pitchFamily="2" charset="0"/>
              </a:rPr>
              <a:t> </a:t>
            </a:r>
            <a:r>
              <a:rPr lang="en-US" sz="2600" spc="10" dirty="0">
                <a:solidFill>
                  <a:schemeClr val="bg1"/>
                </a:solidFill>
                <a:latin typeface="Myriad-SemiBoldItalic" panose="02000703050000090004" pitchFamily="2" charset="0"/>
              </a:rPr>
              <a:t>network…</a:t>
            </a:r>
          </a:p>
        </p:txBody>
      </p:sp>
      <p:sp>
        <p:nvSpPr>
          <p:cNvPr id="688" name="Title 10"/>
          <p:cNvSpPr txBox="1">
            <a:spLocks/>
          </p:cNvSpPr>
          <p:nvPr/>
        </p:nvSpPr>
        <p:spPr bwMode="auto">
          <a:xfrm>
            <a:off x="3492170" y="5589240"/>
            <a:ext cx="2725553" cy="40011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lgn="l" rtl="0" eaLnBrk="1" fontAlgn="base" hangingPunct="1">
              <a:lnSpc>
                <a:spcPct val="100000"/>
              </a:lnSpc>
              <a:spcBef>
                <a:spcPct val="0"/>
              </a:spcBef>
              <a:spcAft>
                <a:spcPct val="0"/>
              </a:spcAft>
              <a:defRPr sz="2400" b="0" i="0" kern="1200">
                <a:solidFill>
                  <a:schemeClr val="tx2"/>
                </a:solidFill>
                <a:latin typeface="Myriad Light" panose="02000406040000020004" pitchFamily="2"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ctr"/>
            <a:r>
              <a:rPr lang="en-US" sz="2600" spc="20" dirty="0">
                <a:solidFill>
                  <a:schemeClr val="bg1"/>
                </a:solidFill>
                <a:latin typeface="Myriad-SemiBoldItalic" panose="02000703050000090004" pitchFamily="2" charset="0"/>
              </a:rPr>
              <a:t>of </a:t>
            </a:r>
            <a:r>
              <a:rPr lang="en-US" sz="2600" spc="20" dirty="0">
                <a:solidFill>
                  <a:srgbClr val="F9981D"/>
                </a:solidFill>
                <a:latin typeface="Myriad-SemiBoldItalic" panose="02000703050000090004" pitchFamily="2" charset="0"/>
              </a:rPr>
              <a:t>local</a:t>
            </a:r>
            <a:r>
              <a:rPr lang="en-US" sz="2600" spc="20" dirty="0">
                <a:solidFill>
                  <a:schemeClr val="bg2"/>
                </a:solidFill>
                <a:latin typeface="Myriad-SemiBoldItalic" panose="02000703050000090004" pitchFamily="2" charset="0"/>
              </a:rPr>
              <a:t> </a:t>
            </a:r>
            <a:r>
              <a:rPr lang="en-US" sz="2600" spc="20" dirty="0">
                <a:solidFill>
                  <a:schemeClr val="bg1"/>
                </a:solidFill>
                <a:latin typeface="Myriad-SemiBoldItalic" panose="02000703050000090004" pitchFamily="2" charset="0"/>
              </a:rPr>
              <a:t>experts</a:t>
            </a:r>
          </a:p>
        </p:txBody>
      </p:sp>
      <p:sp>
        <p:nvSpPr>
          <p:cNvPr id="771" name="Line 4791"/>
          <p:cNvSpPr>
            <a:spLocks noChangeShapeType="1"/>
          </p:cNvSpPr>
          <p:nvPr/>
        </p:nvSpPr>
        <p:spPr bwMode="auto">
          <a:xfrm flipH="1">
            <a:off x="6743222" y="3925180"/>
            <a:ext cx="2515459" cy="0"/>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83" name="Rectangle 782"/>
          <p:cNvSpPr/>
          <p:nvPr/>
        </p:nvSpPr>
        <p:spPr>
          <a:xfrm>
            <a:off x="647320" y="1109198"/>
            <a:ext cx="2582223" cy="1315745"/>
          </a:xfrm>
          <a:prstGeom prst="rect">
            <a:avLst/>
          </a:prstGeom>
        </p:spPr>
        <p:txBody>
          <a:bodyPr wrap="square" lIns="0" tIns="0" rIns="0" bIns="0">
            <a:spAutoFit/>
          </a:bodyPr>
          <a:lstStyle/>
          <a:p>
            <a:pPr>
              <a:lnSpc>
                <a:spcPct val="95000"/>
              </a:lnSpc>
            </a:pPr>
            <a:r>
              <a:rPr lang="en-US" dirty="0">
                <a:solidFill>
                  <a:srgbClr val="FFFFFF"/>
                </a:solidFill>
                <a:latin typeface="Myriad SemiBold" panose="02000803050000020004" pitchFamily="2" charset="0"/>
              </a:rPr>
              <a:t>One of the </a:t>
            </a:r>
            <a:r>
              <a:rPr lang="en-US" dirty="0">
                <a:solidFill>
                  <a:srgbClr val="F9981D"/>
                </a:solidFill>
                <a:latin typeface="Myriad SemiBold" panose="02000803050000020004" pitchFamily="2" charset="0"/>
              </a:rPr>
              <a:t>largest</a:t>
            </a:r>
          </a:p>
          <a:p>
            <a:pPr>
              <a:lnSpc>
                <a:spcPct val="95000"/>
              </a:lnSpc>
            </a:pPr>
            <a:r>
              <a:rPr lang="en-US" dirty="0">
                <a:solidFill>
                  <a:srgbClr val="FFFFFF"/>
                </a:solidFill>
                <a:latin typeface="Myriad SemiBold" panose="02000803050000020004" pitchFamily="2" charset="0"/>
              </a:rPr>
              <a:t>F&amp;A research hubs in</a:t>
            </a:r>
          </a:p>
          <a:p>
            <a:pPr>
              <a:lnSpc>
                <a:spcPct val="95000"/>
              </a:lnSpc>
            </a:pPr>
            <a:r>
              <a:rPr lang="en-US" dirty="0">
                <a:solidFill>
                  <a:srgbClr val="FFFFFF"/>
                </a:solidFill>
                <a:latin typeface="Myriad SemiBold" panose="02000803050000020004" pitchFamily="2" charset="0"/>
              </a:rPr>
              <a:t>the world and the world’s</a:t>
            </a:r>
          </a:p>
          <a:p>
            <a:pPr>
              <a:lnSpc>
                <a:spcPct val="95000"/>
              </a:lnSpc>
            </a:pPr>
            <a:r>
              <a:rPr lang="en-US" dirty="0">
                <a:solidFill>
                  <a:srgbClr val="F9981D"/>
                </a:solidFill>
                <a:latin typeface="Myriad SemiBold" panose="02000803050000020004" pitchFamily="2" charset="0"/>
              </a:rPr>
              <a:t>leading</a:t>
            </a:r>
            <a:r>
              <a:rPr lang="en-US" dirty="0">
                <a:solidFill>
                  <a:srgbClr val="FFFFFF"/>
                </a:solidFill>
                <a:latin typeface="Myriad SemiBold" panose="02000803050000020004" pitchFamily="2" charset="0"/>
              </a:rPr>
              <a:t> F&amp;A </a:t>
            </a:r>
            <a:r>
              <a:rPr lang="en-US" dirty="0" smtClean="0">
                <a:solidFill>
                  <a:srgbClr val="FFFFFF"/>
                </a:solidFill>
                <a:latin typeface="Myriad SemiBold" panose="02000803050000020004" pitchFamily="2" charset="0"/>
              </a:rPr>
              <a:t>financial</a:t>
            </a:r>
            <a:endParaRPr lang="en-US" dirty="0">
              <a:solidFill>
                <a:srgbClr val="FFFFFF"/>
              </a:solidFill>
              <a:latin typeface="Myriad SemiBold" panose="02000803050000020004" pitchFamily="2" charset="0"/>
            </a:endParaRPr>
          </a:p>
          <a:p>
            <a:pPr>
              <a:lnSpc>
                <a:spcPct val="95000"/>
              </a:lnSpc>
            </a:pPr>
            <a:r>
              <a:rPr lang="en-US" dirty="0">
                <a:solidFill>
                  <a:srgbClr val="FFFFFF"/>
                </a:solidFill>
                <a:latin typeface="Myriad SemiBold" panose="02000803050000020004" pitchFamily="2" charset="0"/>
              </a:rPr>
              <a:t>services provider</a:t>
            </a:r>
          </a:p>
        </p:txBody>
      </p:sp>
      <p:sp>
        <p:nvSpPr>
          <p:cNvPr id="407" name="Freeform 406"/>
          <p:cNvSpPr/>
          <p:nvPr/>
        </p:nvSpPr>
        <p:spPr>
          <a:xfrm flipH="1">
            <a:off x="3342922" y="1925073"/>
            <a:ext cx="1505397" cy="3010794"/>
          </a:xfrm>
          <a:custGeom>
            <a:avLst/>
            <a:gdLst>
              <a:gd name="connsiteX0" fmla="*/ 0 w 1568196"/>
              <a:gd name="connsiteY0" fmla="*/ 0 h 3136392"/>
              <a:gd name="connsiteX1" fmla="*/ 1568196 w 1568196"/>
              <a:gd name="connsiteY1" fmla="*/ 1568196 h 3136392"/>
              <a:gd name="connsiteX2" fmla="*/ 0 w 1568196"/>
              <a:gd name="connsiteY2" fmla="*/ 3136392 h 3136392"/>
              <a:gd name="connsiteX3" fmla="*/ 0 w 1568196"/>
              <a:gd name="connsiteY3" fmla="*/ 0 h 3136392"/>
            </a:gdLst>
            <a:ahLst/>
            <a:cxnLst>
              <a:cxn ang="0">
                <a:pos x="connsiteX0" y="connsiteY0"/>
              </a:cxn>
              <a:cxn ang="0">
                <a:pos x="connsiteX1" y="connsiteY1"/>
              </a:cxn>
              <a:cxn ang="0">
                <a:pos x="connsiteX2" y="connsiteY2"/>
              </a:cxn>
              <a:cxn ang="0">
                <a:pos x="connsiteX3" y="connsiteY3"/>
              </a:cxn>
            </a:cxnLst>
            <a:rect l="l" t="t" r="r" b="b"/>
            <a:pathLst>
              <a:path w="1568196" h="3136392">
                <a:moveTo>
                  <a:pt x="0" y="0"/>
                </a:moveTo>
                <a:cubicBezTo>
                  <a:pt x="866091" y="0"/>
                  <a:pt x="1568196" y="702105"/>
                  <a:pt x="1568196" y="1568196"/>
                </a:cubicBezTo>
                <a:cubicBezTo>
                  <a:pt x="1568196" y="2434287"/>
                  <a:pt x="866091" y="3136392"/>
                  <a:pt x="0" y="3136392"/>
                </a:cubicBezTo>
                <a:lnTo>
                  <a:pt x="0" y="0"/>
                </a:lnTo>
                <a:close/>
              </a:path>
            </a:pathLst>
          </a:custGeom>
          <a:solidFill>
            <a:srgbClr val="0F528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sp>
        <p:nvSpPr>
          <p:cNvPr id="408" name="Freeform 4320"/>
          <p:cNvSpPr>
            <a:spLocks noEditPoints="1"/>
          </p:cNvSpPr>
          <p:nvPr/>
        </p:nvSpPr>
        <p:spPr bwMode="auto">
          <a:xfrm>
            <a:off x="3004351" y="2448869"/>
            <a:ext cx="563083" cy="620325"/>
          </a:xfrm>
          <a:custGeom>
            <a:avLst/>
            <a:gdLst>
              <a:gd name="T0" fmla="*/ 114 w 201"/>
              <a:gd name="T1" fmla="*/ 216 h 222"/>
              <a:gd name="T2" fmla="*/ 116 w 201"/>
              <a:gd name="T3" fmla="*/ 207 h 222"/>
              <a:gd name="T4" fmla="*/ 94 w 201"/>
              <a:gd name="T5" fmla="*/ 207 h 222"/>
              <a:gd name="T6" fmla="*/ 115 w 201"/>
              <a:gd name="T7" fmla="*/ 180 h 222"/>
              <a:gd name="T8" fmla="*/ 136 w 201"/>
              <a:gd name="T9" fmla="*/ 189 h 222"/>
              <a:gd name="T10" fmla="*/ 121 w 201"/>
              <a:gd name="T11" fmla="*/ 195 h 222"/>
              <a:gd name="T12" fmla="*/ 118 w 201"/>
              <a:gd name="T13" fmla="*/ 203 h 222"/>
              <a:gd name="T14" fmla="*/ 134 w 201"/>
              <a:gd name="T15" fmla="*/ 166 h 222"/>
              <a:gd name="T16" fmla="*/ 107 w 201"/>
              <a:gd name="T17" fmla="*/ 176 h 222"/>
              <a:gd name="T18" fmla="*/ 136 w 201"/>
              <a:gd name="T19" fmla="*/ 162 h 222"/>
              <a:gd name="T20" fmla="*/ 145 w 201"/>
              <a:gd name="T21" fmla="*/ 146 h 222"/>
              <a:gd name="T22" fmla="*/ 113 w 201"/>
              <a:gd name="T23" fmla="*/ 163 h 222"/>
              <a:gd name="T24" fmla="*/ 128 w 201"/>
              <a:gd name="T25" fmla="*/ 129 h 222"/>
              <a:gd name="T26" fmla="*/ 147 w 201"/>
              <a:gd name="T27" fmla="*/ 142 h 222"/>
              <a:gd name="T28" fmla="*/ 169 w 201"/>
              <a:gd name="T29" fmla="*/ 103 h 222"/>
              <a:gd name="T30" fmla="*/ 150 w 201"/>
              <a:gd name="T31" fmla="*/ 90 h 222"/>
              <a:gd name="T32" fmla="*/ 144 w 201"/>
              <a:gd name="T33" fmla="*/ 92 h 222"/>
              <a:gd name="T34" fmla="*/ 82 w 201"/>
              <a:gd name="T35" fmla="*/ 222 h 222"/>
              <a:gd name="T36" fmla="*/ 61 w 201"/>
              <a:gd name="T37" fmla="*/ 46 h 222"/>
              <a:gd name="T38" fmla="*/ 174 w 201"/>
              <a:gd name="T39" fmla="*/ 75 h 222"/>
              <a:gd name="T40" fmla="*/ 183 w 201"/>
              <a:gd name="T41" fmla="*/ 55 h 222"/>
              <a:gd name="T42" fmla="*/ 178 w 201"/>
              <a:gd name="T43" fmla="*/ 76 h 222"/>
              <a:gd name="T44" fmla="*/ 160 w 201"/>
              <a:gd name="T45" fmla="*/ 57 h 222"/>
              <a:gd name="T46" fmla="*/ 197 w 201"/>
              <a:gd name="T47" fmla="*/ 73 h 222"/>
              <a:gd name="T48" fmla="*/ 178 w 201"/>
              <a:gd name="T49" fmla="*/ 45 h 222"/>
              <a:gd name="T50" fmla="*/ 138 w 201"/>
              <a:gd name="T51" fmla="*/ 50 h 222"/>
              <a:gd name="T52" fmla="*/ 148 w 201"/>
              <a:gd name="T53" fmla="*/ 49 h 222"/>
              <a:gd name="T54" fmla="*/ 138 w 201"/>
              <a:gd name="T55" fmla="*/ 50 h 222"/>
              <a:gd name="T56" fmla="*/ 114 w 201"/>
              <a:gd name="T57" fmla="*/ 5 h 222"/>
              <a:gd name="T58" fmla="*/ 130 w 201"/>
              <a:gd name="T59" fmla="*/ 46 h 222"/>
              <a:gd name="T60" fmla="*/ 106 w 201"/>
              <a:gd name="T61" fmla="*/ 1 h 222"/>
              <a:gd name="T62" fmla="*/ 88 w 201"/>
              <a:gd name="T63" fmla="*/ 47 h 222"/>
              <a:gd name="T64" fmla="*/ 148 w 201"/>
              <a:gd name="T65" fmla="*/ 84 h 222"/>
              <a:gd name="T66" fmla="*/ 170 w 201"/>
              <a:gd name="T67" fmla="*/ 89 h 222"/>
              <a:gd name="T68" fmla="*/ 156 w 201"/>
              <a:gd name="T69" fmla="*/ 55 h 222"/>
              <a:gd name="T70" fmla="*/ 190 w 201"/>
              <a:gd name="T71" fmla="*/ 43 h 222"/>
              <a:gd name="T72" fmla="*/ 196 w 201"/>
              <a:gd name="T73" fmla="*/ 26 h 222"/>
              <a:gd name="T74" fmla="*/ 143 w 201"/>
              <a:gd name="T75" fmla="*/ 4 h 222"/>
              <a:gd name="T76" fmla="*/ 108 w 201"/>
              <a:gd name="T77"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1" h="222">
                <a:moveTo>
                  <a:pt x="94" y="207"/>
                </a:moveTo>
                <a:cubicBezTo>
                  <a:pt x="114" y="216"/>
                  <a:pt x="114" y="216"/>
                  <a:pt x="114" y="216"/>
                </a:cubicBezTo>
                <a:cubicBezTo>
                  <a:pt x="118" y="208"/>
                  <a:pt x="118" y="208"/>
                  <a:pt x="118" y="208"/>
                </a:cubicBezTo>
                <a:cubicBezTo>
                  <a:pt x="117" y="208"/>
                  <a:pt x="116" y="208"/>
                  <a:pt x="116" y="207"/>
                </a:cubicBezTo>
                <a:cubicBezTo>
                  <a:pt x="108" y="204"/>
                  <a:pt x="103" y="197"/>
                  <a:pt x="102" y="189"/>
                </a:cubicBezTo>
                <a:cubicBezTo>
                  <a:pt x="94" y="207"/>
                  <a:pt x="94" y="207"/>
                  <a:pt x="94" y="207"/>
                </a:cubicBezTo>
                <a:moveTo>
                  <a:pt x="121" y="195"/>
                </a:moveTo>
                <a:cubicBezTo>
                  <a:pt x="116" y="192"/>
                  <a:pt x="113" y="186"/>
                  <a:pt x="115" y="180"/>
                </a:cubicBezTo>
                <a:cubicBezTo>
                  <a:pt x="118" y="174"/>
                  <a:pt x="125" y="172"/>
                  <a:pt x="130" y="174"/>
                </a:cubicBezTo>
                <a:cubicBezTo>
                  <a:pt x="136" y="177"/>
                  <a:pt x="139" y="183"/>
                  <a:pt x="136" y="189"/>
                </a:cubicBezTo>
                <a:cubicBezTo>
                  <a:pt x="134" y="193"/>
                  <a:pt x="130" y="196"/>
                  <a:pt x="126" y="196"/>
                </a:cubicBezTo>
                <a:cubicBezTo>
                  <a:pt x="124" y="196"/>
                  <a:pt x="123" y="196"/>
                  <a:pt x="121" y="195"/>
                </a:cubicBezTo>
                <a:moveTo>
                  <a:pt x="107" y="176"/>
                </a:moveTo>
                <a:cubicBezTo>
                  <a:pt x="103" y="187"/>
                  <a:pt x="107" y="199"/>
                  <a:pt x="118" y="203"/>
                </a:cubicBezTo>
                <a:cubicBezTo>
                  <a:pt x="128" y="208"/>
                  <a:pt x="140" y="203"/>
                  <a:pt x="144" y="193"/>
                </a:cubicBezTo>
                <a:cubicBezTo>
                  <a:pt x="149" y="183"/>
                  <a:pt x="144" y="171"/>
                  <a:pt x="134" y="166"/>
                </a:cubicBezTo>
                <a:cubicBezTo>
                  <a:pt x="131" y="165"/>
                  <a:pt x="129" y="164"/>
                  <a:pt x="126" y="164"/>
                </a:cubicBezTo>
                <a:cubicBezTo>
                  <a:pt x="118" y="164"/>
                  <a:pt x="111" y="169"/>
                  <a:pt x="107" y="176"/>
                </a:cubicBezTo>
                <a:moveTo>
                  <a:pt x="113" y="163"/>
                </a:moveTo>
                <a:cubicBezTo>
                  <a:pt x="120" y="159"/>
                  <a:pt x="128" y="159"/>
                  <a:pt x="136" y="162"/>
                </a:cubicBezTo>
                <a:cubicBezTo>
                  <a:pt x="136" y="162"/>
                  <a:pt x="137" y="163"/>
                  <a:pt x="138" y="163"/>
                </a:cubicBezTo>
                <a:cubicBezTo>
                  <a:pt x="145" y="146"/>
                  <a:pt x="145" y="146"/>
                  <a:pt x="145" y="146"/>
                </a:cubicBezTo>
                <a:cubicBezTo>
                  <a:pt x="124" y="137"/>
                  <a:pt x="124" y="137"/>
                  <a:pt x="124" y="137"/>
                </a:cubicBezTo>
                <a:cubicBezTo>
                  <a:pt x="113" y="163"/>
                  <a:pt x="113" y="163"/>
                  <a:pt x="113" y="163"/>
                </a:cubicBezTo>
                <a:moveTo>
                  <a:pt x="144" y="92"/>
                </a:moveTo>
                <a:cubicBezTo>
                  <a:pt x="128" y="129"/>
                  <a:pt x="128" y="129"/>
                  <a:pt x="128" y="129"/>
                </a:cubicBezTo>
                <a:cubicBezTo>
                  <a:pt x="127" y="131"/>
                  <a:pt x="128" y="134"/>
                  <a:pt x="130" y="135"/>
                </a:cubicBezTo>
                <a:cubicBezTo>
                  <a:pt x="147" y="142"/>
                  <a:pt x="147" y="142"/>
                  <a:pt x="147" y="142"/>
                </a:cubicBezTo>
                <a:cubicBezTo>
                  <a:pt x="149" y="143"/>
                  <a:pt x="152" y="142"/>
                  <a:pt x="153" y="140"/>
                </a:cubicBezTo>
                <a:cubicBezTo>
                  <a:pt x="169" y="103"/>
                  <a:pt x="169" y="103"/>
                  <a:pt x="169" y="103"/>
                </a:cubicBezTo>
                <a:cubicBezTo>
                  <a:pt x="170" y="101"/>
                  <a:pt x="169" y="98"/>
                  <a:pt x="167" y="97"/>
                </a:cubicBezTo>
                <a:cubicBezTo>
                  <a:pt x="150" y="90"/>
                  <a:pt x="150" y="90"/>
                  <a:pt x="150" y="90"/>
                </a:cubicBezTo>
                <a:cubicBezTo>
                  <a:pt x="150" y="89"/>
                  <a:pt x="149" y="89"/>
                  <a:pt x="149" y="89"/>
                </a:cubicBezTo>
                <a:cubicBezTo>
                  <a:pt x="147" y="89"/>
                  <a:pt x="145" y="90"/>
                  <a:pt x="144" y="92"/>
                </a:cubicBezTo>
                <a:moveTo>
                  <a:pt x="0" y="186"/>
                </a:moveTo>
                <a:cubicBezTo>
                  <a:pt x="82" y="222"/>
                  <a:pt x="82" y="222"/>
                  <a:pt x="82" y="222"/>
                </a:cubicBezTo>
                <a:cubicBezTo>
                  <a:pt x="144" y="82"/>
                  <a:pt x="144" y="82"/>
                  <a:pt x="144" y="82"/>
                </a:cubicBezTo>
                <a:cubicBezTo>
                  <a:pt x="61" y="46"/>
                  <a:pt x="61" y="46"/>
                  <a:pt x="61" y="46"/>
                </a:cubicBezTo>
                <a:cubicBezTo>
                  <a:pt x="0" y="186"/>
                  <a:pt x="0" y="186"/>
                  <a:pt x="0" y="186"/>
                </a:cubicBezTo>
                <a:moveTo>
                  <a:pt x="174" y="75"/>
                </a:moveTo>
                <a:cubicBezTo>
                  <a:pt x="168" y="73"/>
                  <a:pt x="166" y="66"/>
                  <a:pt x="168" y="61"/>
                </a:cubicBezTo>
                <a:cubicBezTo>
                  <a:pt x="171" y="55"/>
                  <a:pt x="177" y="52"/>
                  <a:pt x="183" y="55"/>
                </a:cubicBezTo>
                <a:cubicBezTo>
                  <a:pt x="189" y="57"/>
                  <a:pt x="191" y="64"/>
                  <a:pt x="189" y="70"/>
                </a:cubicBezTo>
                <a:cubicBezTo>
                  <a:pt x="187" y="74"/>
                  <a:pt x="183" y="76"/>
                  <a:pt x="178" y="76"/>
                </a:cubicBezTo>
                <a:cubicBezTo>
                  <a:pt x="177" y="76"/>
                  <a:pt x="175" y="76"/>
                  <a:pt x="174" y="75"/>
                </a:cubicBezTo>
                <a:moveTo>
                  <a:pt x="160" y="57"/>
                </a:moveTo>
                <a:cubicBezTo>
                  <a:pt x="155" y="67"/>
                  <a:pt x="160" y="79"/>
                  <a:pt x="170" y="84"/>
                </a:cubicBezTo>
                <a:cubicBezTo>
                  <a:pt x="180" y="88"/>
                  <a:pt x="192" y="84"/>
                  <a:pt x="197" y="73"/>
                </a:cubicBezTo>
                <a:cubicBezTo>
                  <a:pt x="201" y="63"/>
                  <a:pt x="197" y="51"/>
                  <a:pt x="186" y="47"/>
                </a:cubicBezTo>
                <a:cubicBezTo>
                  <a:pt x="184" y="45"/>
                  <a:pt x="181" y="45"/>
                  <a:pt x="178" y="45"/>
                </a:cubicBezTo>
                <a:cubicBezTo>
                  <a:pt x="171" y="45"/>
                  <a:pt x="163" y="49"/>
                  <a:pt x="160" y="57"/>
                </a:cubicBezTo>
                <a:moveTo>
                  <a:pt x="138" y="50"/>
                </a:moveTo>
                <a:cubicBezTo>
                  <a:pt x="140" y="46"/>
                  <a:pt x="140" y="46"/>
                  <a:pt x="140" y="46"/>
                </a:cubicBezTo>
                <a:cubicBezTo>
                  <a:pt x="148" y="49"/>
                  <a:pt x="148" y="49"/>
                  <a:pt x="148" y="49"/>
                </a:cubicBezTo>
                <a:cubicBezTo>
                  <a:pt x="147" y="54"/>
                  <a:pt x="147" y="54"/>
                  <a:pt x="147" y="54"/>
                </a:cubicBezTo>
                <a:cubicBezTo>
                  <a:pt x="138" y="50"/>
                  <a:pt x="138" y="50"/>
                  <a:pt x="138" y="50"/>
                </a:cubicBezTo>
                <a:moveTo>
                  <a:pt x="101" y="34"/>
                </a:moveTo>
                <a:cubicBezTo>
                  <a:pt x="114" y="5"/>
                  <a:pt x="114" y="5"/>
                  <a:pt x="114" y="5"/>
                </a:cubicBezTo>
                <a:cubicBezTo>
                  <a:pt x="146" y="9"/>
                  <a:pt x="146" y="9"/>
                  <a:pt x="146" y="9"/>
                </a:cubicBezTo>
                <a:cubicBezTo>
                  <a:pt x="130" y="46"/>
                  <a:pt x="130" y="46"/>
                  <a:pt x="130" y="46"/>
                </a:cubicBezTo>
                <a:cubicBezTo>
                  <a:pt x="101" y="34"/>
                  <a:pt x="101" y="34"/>
                  <a:pt x="101" y="34"/>
                </a:cubicBezTo>
                <a:moveTo>
                  <a:pt x="106" y="1"/>
                </a:moveTo>
                <a:cubicBezTo>
                  <a:pt x="87" y="44"/>
                  <a:pt x="87" y="44"/>
                  <a:pt x="87" y="44"/>
                </a:cubicBezTo>
                <a:cubicBezTo>
                  <a:pt x="86" y="46"/>
                  <a:pt x="87" y="47"/>
                  <a:pt x="88" y="47"/>
                </a:cubicBezTo>
                <a:cubicBezTo>
                  <a:pt x="152" y="76"/>
                  <a:pt x="152" y="76"/>
                  <a:pt x="152" y="76"/>
                </a:cubicBezTo>
                <a:cubicBezTo>
                  <a:pt x="148" y="84"/>
                  <a:pt x="148" y="84"/>
                  <a:pt x="148" y="84"/>
                </a:cubicBezTo>
                <a:cubicBezTo>
                  <a:pt x="169" y="93"/>
                  <a:pt x="169" y="93"/>
                  <a:pt x="169" y="93"/>
                </a:cubicBezTo>
                <a:cubicBezTo>
                  <a:pt x="170" y="89"/>
                  <a:pt x="170" y="89"/>
                  <a:pt x="170" y="89"/>
                </a:cubicBezTo>
                <a:cubicBezTo>
                  <a:pt x="168" y="88"/>
                  <a:pt x="168" y="88"/>
                  <a:pt x="168" y="88"/>
                </a:cubicBezTo>
                <a:cubicBezTo>
                  <a:pt x="156" y="82"/>
                  <a:pt x="150" y="68"/>
                  <a:pt x="156" y="55"/>
                </a:cubicBezTo>
                <a:cubicBezTo>
                  <a:pt x="161" y="43"/>
                  <a:pt x="176" y="37"/>
                  <a:pt x="188" y="42"/>
                </a:cubicBezTo>
                <a:cubicBezTo>
                  <a:pt x="190" y="43"/>
                  <a:pt x="190" y="43"/>
                  <a:pt x="190" y="43"/>
                </a:cubicBezTo>
                <a:cubicBezTo>
                  <a:pt x="197" y="29"/>
                  <a:pt x="197" y="29"/>
                  <a:pt x="197" y="29"/>
                </a:cubicBezTo>
                <a:cubicBezTo>
                  <a:pt x="197" y="28"/>
                  <a:pt x="197" y="27"/>
                  <a:pt x="196" y="26"/>
                </a:cubicBezTo>
                <a:cubicBezTo>
                  <a:pt x="152" y="7"/>
                  <a:pt x="152" y="7"/>
                  <a:pt x="152" y="7"/>
                </a:cubicBezTo>
                <a:cubicBezTo>
                  <a:pt x="149" y="6"/>
                  <a:pt x="146" y="5"/>
                  <a:pt x="143" y="4"/>
                </a:cubicBezTo>
                <a:cubicBezTo>
                  <a:pt x="109" y="0"/>
                  <a:pt x="109" y="0"/>
                  <a:pt x="109" y="0"/>
                </a:cubicBezTo>
                <a:cubicBezTo>
                  <a:pt x="108" y="0"/>
                  <a:pt x="108" y="0"/>
                  <a:pt x="108" y="0"/>
                </a:cubicBezTo>
                <a:cubicBezTo>
                  <a:pt x="107" y="0"/>
                  <a:pt x="106" y="0"/>
                  <a:pt x="106" y="1"/>
                </a:cubicBezTo>
              </a:path>
            </a:pathLst>
          </a:custGeom>
          <a:gradFill flip="none" rotWithShape="1">
            <a:gsLst>
              <a:gs pos="0">
                <a:schemeClr val="accent3">
                  <a:lumMod val="0"/>
                  <a:lumOff val="100000"/>
                </a:schemeClr>
              </a:gs>
              <a:gs pos="89000">
                <a:srgbClr val="00447C"/>
              </a:gs>
            </a:gsLst>
            <a:lin ang="8100000" scaled="1"/>
            <a:tileRect/>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409" name="Group 408"/>
          <p:cNvGrpSpPr/>
          <p:nvPr/>
        </p:nvGrpSpPr>
        <p:grpSpPr>
          <a:xfrm>
            <a:off x="2813713" y="3416719"/>
            <a:ext cx="705091" cy="778208"/>
            <a:chOff x="2747514" y="3259479"/>
            <a:chExt cx="781050" cy="862043"/>
          </a:xfrm>
          <a:gradFill flip="none" rotWithShape="1">
            <a:gsLst>
              <a:gs pos="73402">
                <a:srgbClr val="5784A9"/>
              </a:gs>
              <a:gs pos="22000">
                <a:schemeClr val="bg1"/>
              </a:gs>
              <a:gs pos="0">
                <a:schemeClr val="bg1"/>
              </a:gs>
              <a:gs pos="100000">
                <a:srgbClr val="00447C"/>
              </a:gs>
            </a:gsLst>
            <a:lin ang="0" scaled="1"/>
            <a:tileRect/>
          </a:gradFill>
        </p:grpSpPr>
        <p:grpSp>
          <p:nvGrpSpPr>
            <p:cNvPr id="410" name="Group 409"/>
            <p:cNvGrpSpPr/>
            <p:nvPr/>
          </p:nvGrpSpPr>
          <p:grpSpPr>
            <a:xfrm>
              <a:off x="2747514" y="3275384"/>
              <a:ext cx="781050" cy="846138"/>
              <a:chOff x="2319933" y="3408365"/>
              <a:chExt cx="781050" cy="846138"/>
            </a:xfrm>
            <a:grpFill/>
          </p:grpSpPr>
          <p:grpSp>
            <p:nvGrpSpPr>
              <p:cNvPr id="412" name="Group 4330"/>
              <p:cNvGrpSpPr>
                <a:grpSpLocks noChangeAspect="1"/>
              </p:cNvGrpSpPr>
              <p:nvPr/>
            </p:nvGrpSpPr>
            <p:grpSpPr bwMode="auto">
              <a:xfrm>
                <a:off x="2319933" y="3408365"/>
                <a:ext cx="781050" cy="833438"/>
                <a:chOff x="1722" y="2147"/>
                <a:chExt cx="492" cy="525"/>
              </a:xfrm>
              <a:grpFill/>
            </p:grpSpPr>
            <p:sp>
              <p:nvSpPr>
                <p:cNvPr id="414" name="Freeform 4331"/>
                <p:cNvSpPr>
                  <a:spLocks/>
                </p:cNvSpPr>
                <p:nvPr/>
              </p:nvSpPr>
              <p:spPr bwMode="auto">
                <a:xfrm>
                  <a:off x="1770" y="2242"/>
                  <a:ext cx="287" cy="60"/>
                </a:xfrm>
                <a:custGeom>
                  <a:avLst/>
                  <a:gdLst>
                    <a:gd name="T0" fmla="*/ 0 w 287"/>
                    <a:gd name="T1" fmla="*/ 53 h 60"/>
                    <a:gd name="T2" fmla="*/ 2 w 287"/>
                    <a:gd name="T3" fmla="*/ 60 h 60"/>
                    <a:gd name="T4" fmla="*/ 287 w 287"/>
                    <a:gd name="T5" fmla="*/ 10 h 60"/>
                    <a:gd name="T6" fmla="*/ 284 w 287"/>
                    <a:gd name="T7" fmla="*/ 0 h 60"/>
                    <a:gd name="T8" fmla="*/ 0 w 287"/>
                    <a:gd name="T9" fmla="*/ 53 h 60"/>
                  </a:gdLst>
                  <a:ahLst/>
                  <a:cxnLst>
                    <a:cxn ang="0">
                      <a:pos x="T0" y="T1"/>
                    </a:cxn>
                    <a:cxn ang="0">
                      <a:pos x="T2" y="T3"/>
                    </a:cxn>
                    <a:cxn ang="0">
                      <a:pos x="T4" y="T5"/>
                    </a:cxn>
                    <a:cxn ang="0">
                      <a:pos x="T6" y="T7"/>
                    </a:cxn>
                    <a:cxn ang="0">
                      <a:pos x="T8" y="T9"/>
                    </a:cxn>
                  </a:cxnLst>
                  <a:rect l="0" t="0" r="r" b="b"/>
                  <a:pathLst>
                    <a:path w="287" h="60">
                      <a:moveTo>
                        <a:pt x="0" y="53"/>
                      </a:moveTo>
                      <a:lnTo>
                        <a:pt x="2" y="60"/>
                      </a:lnTo>
                      <a:lnTo>
                        <a:pt x="287" y="10"/>
                      </a:lnTo>
                      <a:lnTo>
                        <a:pt x="284" y="0"/>
                      </a:lnTo>
                      <a:lnTo>
                        <a:pt x="0" y="5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5" name="Freeform 4332"/>
                <p:cNvSpPr>
                  <a:spLocks/>
                </p:cNvSpPr>
                <p:nvPr/>
              </p:nvSpPr>
              <p:spPr bwMode="auto">
                <a:xfrm>
                  <a:off x="1770" y="2242"/>
                  <a:ext cx="287" cy="60"/>
                </a:xfrm>
                <a:custGeom>
                  <a:avLst/>
                  <a:gdLst>
                    <a:gd name="T0" fmla="*/ 0 w 287"/>
                    <a:gd name="T1" fmla="*/ 53 h 60"/>
                    <a:gd name="T2" fmla="*/ 2 w 287"/>
                    <a:gd name="T3" fmla="*/ 60 h 60"/>
                    <a:gd name="T4" fmla="*/ 287 w 287"/>
                    <a:gd name="T5" fmla="*/ 10 h 60"/>
                    <a:gd name="T6" fmla="*/ 284 w 287"/>
                    <a:gd name="T7" fmla="*/ 0 h 60"/>
                    <a:gd name="T8" fmla="*/ 0 w 287"/>
                    <a:gd name="T9" fmla="*/ 53 h 60"/>
                  </a:gdLst>
                  <a:ahLst/>
                  <a:cxnLst>
                    <a:cxn ang="0">
                      <a:pos x="T0" y="T1"/>
                    </a:cxn>
                    <a:cxn ang="0">
                      <a:pos x="T2" y="T3"/>
                    </a:cxn>
                    <a:cxn ang="0">
                      <a:pos x="T4" y="T5"/>
                    </a:cxn>
                    <a:cxn ang="0">
                      <a:pos x="T6" y="T7"/>
                    </a:cxn>
                    <a:cxn ang="0">
                      <a:pos x="T8" y="T9"/>
                    </a:cxn>
                  </a:cxnLst>
                  <a:rect l="0" t="0" r="r" b="b"/>
                  <a:pathLst>
                    <a:path w="287" h="60">
                      <a:moveTo>
                        <a:pt x="0" y="53"/>
                      </a:moveTo>
                      <a:lnTo>
                        <a:pt x="2" y="60"/>
                      </a:lnTo>
                      <a:lnTo>
                        <a:pt x="287" y="10"/>
                      </a:lnTo>
                      <a:lnTo>
                        <a:pt x="284" y="0"/>
                      </a:lnTo>
                      <a:lnTo>
                        <a:pt x="0" y="5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6" name="Freeform 4334"/>
                <p:cNvSpPr>
                  <a:spLocks/>
                </p:cNvSpPr>
                <p:nvPr/>
              </p:nvSpPr>
              <p:spPr bwMode="auto">
                <a:xfrm>
                  <a:off x="1784" y="2276"/>
                  <a:ext cx="10" cy="31"/>
                </a:xfrm>
                <a:custGeom>
                  <a:avLst/>
                  <a:gdLst>
                    <a:gd name="T0" fmla="*/ 0 w 10"/>
                    <a:gd name="T1" fmla="*/ 0 h 31"/>
                    <a:gd name="T2" fmla="*/ 5 w 10"/>
                    <a:gd name="T3" fmla="*/ 31 h 31"/>
                    <a:gd name="T4" fmla="*/ 10 w 10"/>
                    <a:gd name="T5" fmla="*/ 28 h 31"/>
                    <a:gd name="T6" fmla="*/ 5 w 10"/>
                    <a:gd name="T7" fmla="*/ 0 h 31"/>
                    <a:gd name="T8" fmla="*/ 0 w 10"/>
                    <a:gd name="T9" fmla="*/ 0 h 31"/>
                  </a:gdLst>
                  <a:ahLst/>
                  <a:cxnLst>
                    <a:cxn ang="0">
                      <a:pos x="T0" y="T1"/>
                    </a:cxn>
                    <a:cxn ang="0">
                      <a:pos x="T2" y="T3"/>
                    </a:cxn>
                    <a:cxn ang="0">
                      <a:pos x="T4" y="T5"/>
                    </a:cxn>
                    <a:cxn ang="0">
                      <a:pos x="T6" y="T7"/>
                    </a:cxn>
                    <a:cxn ang="0">
                      <a:pos x="T8" y="T9"/>
                    </a:cxn>
                  </a:cxnLst>
                  <a:rect l="0" t="0" r="r" b="b"/>
                  <a:pathLst>
                    <a:path w="10" h="31">
                      <a:moveTo>
                        <a:pt x="0" y="0"/>
                      </a:moveTo>
                      <a:lnTo>
                        <a:pt x="5" y="31"/>
                      </a:lnTo>
                      <a:lnTo>
                        <a:pt x="10" y="28"/>
                      </a:lnTo>
                      <a:lnTo>
                        <a:pt x="5"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7" name="Freeform 4335"/>
                <p:cNvSpPr>
                  <a:spLocks/>
                </p:cNvSpPr>
                <p:nvPr/>
              </p:nvSpPr>
              <p:spPr bwMode="auto">
                <a:xfrm>
                  <a:off x="1784" y="2276"/>
                  <a:ext cx="10" cy="31"/>
                </a:xfrm>
                <a:custGeom>
                  <a:avLst/>
                  <a:gdLst>
                    <a:gd name="T0" fmla="*/ 0 w 10"/>
                    <a:gd name="T1" fmla="*/ 0 h 31"/>
                    <a:gd name="T2" fmla="*/ 5 w 10"/>
                    <a:gd name="T3" fmla="*/ 31 h 31"/>
                    <a:gd name="T4" fmla="*/ 10 w 10"/>
                    <a:gd name="T5" fmla="*/ 28 h 31"/>
                    <a:gd name="T6" fmla="*/ 5 w 10"/>
                    <a:gd name="T7" fmla="*/ 0 h 31"/>
                    <a:gd name="T8" fmla="*/ 0 w 10"/>
                    <a:gd name="T9" fmla="*/ 0 h 31"/>
                  </a:gdLst>
                  <a:ahLst/>
                  <a:cxnLst>
                    <a:cxn ang="0">
                      <a:pos x="T0" y="T1"/>
                    </a:cxn>
                    <a:cxn ang="0">
                      <a:pos x="T2" y="T3"/>
                    </a:cxn>
                    <a:cxn ang="0">
                      <a:pos x="T4" y="T5"/>
                    </a:cxn>
                    <a:cxn ang="0">
                      <a:pos x="T6" y="T7"/>
                    </a:cxn>
                    <a:cxn ang="0">
                      <a:pos x="T8" y="T9"/>
                    </a:cxn>
                  </a:cxnLst>
                  <a:rect l="0" t="0" r="r" b="b"/>
                  <a:pathLst>
                    <a:path w="10" h="31">
                      <a:moveTo>
                        <a:pt x="0" y="0"/>
                      </a:moveTo>
                      <a:lnTo>
                        <a:pt x="5" y="31"/>
                      </a:lnTo>
                      <a:lnTo>
                        <a:pt x="10" y="28"/>
                      </a:lnTo>
                      <a:lnTo>
                        <a:pt x="5"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8" name="Freeform 4337"/>
                <p:cNvSpPr>
                  <a:spLocks/>
                </p:cNvSpPr>
                <p:nvPr/>
              </p:nvSpPr>
              <p:spPr bwMode="auto">
                <a:xfrm>
                  <a:off x="1794" y="2273"/>
                  <a:ext cx="12" cy="31"/>
                </a:xfrm>
                <a:custGeom>
                  <a:avLst/>
                  <a:gdLst>
                    <a:gd name="T0" fmla="*/ 0 w 12"/>
                    <a:gd name="T1" fmla="*/ 0 h 31"/>
                    <a:gd name="T2" fmla="*/ 5 w 12"/>
                    <a:gd name="T3" fmla="*/ 31 h 31"/>
                    <a:gd name="T4" fmla="*/ 12 w 12"/>
                    <a:gd name="T5" fmla="*/ 29 h 31"/>
                    <a:gd name="T6" fmla="*/ 5 w 12"/>
                    <a:gd name="T7" fmla="*/ 0 h 31"/>
                    <a:gd name="T8" fmla="*/ 0 w 12"/>
                    <a:gd name="T9" fmla="*/ 0 h 31"/>
                  </a:gdLst>
                  <a:ahLst/>
                  <a:cxnLst>
                    <a:cxn ang="0">
                      <a:pos x="T0" y="T1"/>
                    </a:cxn>
                    <a:cxn ang="0">
                      <a:pos x="T2" y="T3"/>
                    </a:cxn>
                    <a:cxn ang="0">
                      <a:pos x="T4" y="T5"/>
                    </a:cxn>
                    <a:cxn ang="0">
                      <a:pos x="T6" y="T7"/>
                    </a:cxn>
                    <a:cxn ang="0">
                      <a:pos x="T8" y="T9"/>
                    </a:cxn>
                  </a:cxnLst>
                  <a:rect l="0" t="0" r="r" b="b"/>
                  <a:pathLst>
                    <a:path w="12" h="31">
                      <a:moveTo>
                        <a:pt x="0" y="0"/>
                      </a:moveTo>
                      <a:lnTo>
                        <a:pt x="5" y="31"/>
                      </a:lnTo>
                      <a:lnTo>
                        <a:pt x="12" y="29"/>
                      </a:lnTo>
                      <a:lnTo>
                        <a:pt x="5"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19" name="Freeform 4338"/>
                <p:cNvSpPr>
                  <a:spLocks/>
                </p:cNvSpPr>
                <p:nvPr/>
              </p:nvSpPr>
              <p:spPr bwMode="auto">
                <a:xfrm>
                  <a:off x="1794" y="2273"/>
                  <a:ext cx="12" cy="31"/>
                </a:xfrm>
                <a:custGeom>
                  <a:avLst/>
                  <a:gdLst>
                    <a:gd name="T0" fmla="*/ 0 w 12"/>
                    <a:gd name="T1" fmla="*/ 0 h 31"/>
                    <a:gd name="T2" fmla="*/ 5 w 12"/>
                    <a:gd name="T3" fmla="*/ 31 h 31"/>
                    <a:gd name="T4" fmla="*/ 12 w 12"/>
                    <a:gd name="T5" fmla="*/ 29 h 31"/>
                    <a:gd name="T6" fmla="*/ 5 w 12"/>
                    <a:gd name="T7" fmla="*/ 0 h 31"/>
                    <a:gd name="T8" fmla="*/ 0 w 12"/>
                    <a:gd name="T9" fmla="*/ 0 h 31"/>
                  </a:gdLst>
                  <a:ahLst/>
                  <a:cxnLst>
                    <a:cxn ang="0">
                      <a:pos x="T0" y="T1"/>
                    </a:cxn>
                    <a:cxn ang="0">
                      <a:pos x="T2" y="T3"/>
                    </a:cxn>
                    <a:cxn ang="0">
                      <a:pos x="T4" y="T5"/>
                    </a:cxn>
                    <a:cxn ang="0">
                      <a:pos x="T6" y="T7"/>
                    </a:cxn>
                    <a:cxn ang="0">
                      <a:pos x="T8" y="T9"/>
                    </a:cxn>
                  </a:cxnLst>
                  <a:rect l="0" t="0" r="r" b="b"/>
                  <a:pathLst>
                    <a:path w="12" h="31">
                      <a:moveTo>
                        <a:pt x="0" y="0"/>
                      </a:moveTo>
                      <a:lnTo>
                        <a:pt x="5" y="31"/>
                      </a:lnTo>
                      <a:lnTo>
                        <a:pt x="12" y="29"/>
                      </a:lnTo>
                      <a:lnTo>
                        <a:pt x="5"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0" name="Freeform 4340"/>
                <p:cNvSpPr>
                  <a:spLocks/>
                </p:cNvSpPr>
                <p:nvPr/>
              </p:nvSpPr>
              <p:spPr bwMode="auto">
                <a:xfrm>
                  <a:off x="1813" y="2269"/>
                  <a:ext cx="12" cy="31"/>
                </a:xfrm>
                <a:custGeom>
                  <a:avLst/>
                  <a:gdLst>
                    <a:gd name="T0" fmla="*/ 0 w 12"/>
                    <a:gd name="T1" fmla="*/ 2 h 31"/>
                    <a:gd name="T2" fmla="*/ 5 w 12"/>
                    <a:gd name="T3" fmla="*/ 31 h 31"/>
                    <a:gd name="T4" fmla="*/ 12 w 12"/>
                    <a:gd name="T5" fmla="*/ 31 h 31"/>
                    <a:gd name="T6" fmla="*/ 7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7"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1" name="Freeform 4341"/>
                <p:cNvSpPr>
                  <a:spLocks/>
                </p:cNvSpPr>
                <p:nvPr/>
              </p:nvSpPr>
              <p:spPr bwMode="auto">
                <a:xfrm>
                  <a:off x="1813" y="2269"/>
                  <a:ext cx="12" cy="31"/>
                </a:xfrm>
                <a:custGeom>
                  <a:avLst/>
                  <a:gdLst>
                    <a:gd name="T0" fmla="*/ 0 w 12"/>
                    <a:gd name="T1" fmla="*/ 2 h 31"/>
                    <a:gd name="T2" fmla="*/ 5 w 12"/>
                    <a:gd name="T3" fmla="*/ 31 h 31"/>
                    <a:gd name="T4" fmla="*/ 12 w 12"/>
                    <a:gd name="T5" fmla="*/ 31 h 31"/>
                    <a:gd name="T6" fmla="*/ 7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7"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3" name="Freeform 4343"/>
                <p:cNvSpPr>
                  <a:spLocks/>
                </p:cNvSpPr>
                <p:nvPr/>
              </p:nvSpPr>
              <p:spPr bwMode="auto">
                <a:xfrm>
                  <a:off x="1825" y="2269"/>
                  <a:ext cx="9" cy="31"/>
                </a:xfrm>
                <a:custGeom>
                  <a:avLst/>
                  <a:gdLst>
                    <a:gd name="T0" fmla="*/ 0 w 9"/>
                    <a:gd name="T1" fmla="*/ 0 h 31"/>
                    <a:gd name="T2" fmla="*/ 5 w 9"/>
                    <a:gd name="T3" fmla="*/ 31 h 31"/>
                    <a:gd name="T4" fmla="*/ 9 w 9"/>
                    <a:gd name="T5" fmla="*/ 28 h 31"/>
                    <a:gd name="T6" fmla="*/ 5 w 9"/>
                    <a:gd name="T7" fmla="*/ 0 h 31"/>
                    <a:gd name="T8" fmla="*/ 0 w 9"/>
                    <a:gd name="T9" fmla="*/ 0 h 31"/>
                  </a:gdLst>
                  <a:ahLst/>
                  <a:cxnLst>
                    <a:cxn ang="0">
                      <a:pos x="T0" y="T1"/>
                    </a:cxn>
                    <a:cxn ang="0">
                      <a:pos x="T2" y="T3"/>
                    </a:cxn>
                    <a:cxn ang="0">
                      <a:pos x="T4" y="T5"/>
                    </a:cxn>
                    <a:cxn ang="0">
                      <a:pos x="T6" y="T7"/>
                    </a:cxn>
                    <a:cxn ang="0">
                      <a:pos x="T8" y="T9"/>
                    </a:cxn>
                  </a:cxnLst>
                  <a:rect l="0" t="0" r="r" b="b"/>
                  <a:pathLst>
                    <a:path w="9" h="31">
                      <a:moveTo>
                        <a:pt x="0" y="0"/>
                      </a:moveTo>
                      <a:lnTo>
                        <a:pt x="5" y="31"/>
                      </a:lnTo>
                      <a:lnTo>
                        <a:pt x="9" y="28"/>
                      </a:lnTo>
                      <a:lnTo>
                        <a:pt x="5"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4" name="Freeform 4344"/>
                <p:cNvSpPr>
                  <a:spLocks/>
                </p:cNvSpPr>
                <p:nvPr/>
              </p:nvSpPr>
              <p:spPr bwMode="auto">
                <a:xfrm>
                  <a:off x="1825" y="2269"/>
                  <a:ext cx="9" cy="31"/>
                </a:xfrm>
                <a:custGeom>
                  <a:avLst/>
                  <a:gdLst>
                    <a:gd name="T0" fmla="*/ 0 w 9"/>
                    <a:gd name="T1" fmla="*/ 0 h 31"/>
                    <a:gd name="T2" fmla="*/ 5 w 9"/>
                    <a:gd name="T3" fmla="*/ 31 h 31"/>
                    <a:gd name="T4" fmla="*/ 9 w 9"/>
                    <a:gd name="T5" fmla="*/ 28 h 31"/>
                    <a:gd name="T6" fmla="*/ 5 w 9"/>
                    <a:gd name="T7" fmla="*/ 0 h 31"/>
                    <a:gd name="T8" fmla="*/ 0 w 9"/>
                    <a:gd name="T9" fmla="*/ 0 h 31"/>
                  </a:gdLst>
                  <a:ahLst/>
                  <a:cxnLst>
                    <a:cxn ang="0">
                      <a:pos x="T0" y="T1"/>
                    </a:cxn>
                    <a:cxn ang="0">
                      <a:pos x="T2" y="T3"/>
                    </a:cxn>
                    <a:cxn ang="0">
                      <a:pos x="T4" y="T5"/>
                    </a:cxn>
                    <a:cxn ang="0">
                      <a:pos x="T6" y="T7"/>
                    </a:cxn>
                    <a:cxn ang="0">
                      <a:pos x="T8" y="T9"/>
                    </a:cxn>
                  </a:cxnLst>
                  <a:rect l="0" t="0" r="r" b="b"/>
                  <a:pathLst>
                    <a:path w="9" h="31">
                      <a:moveTo>
                        <a:pt x="0" y="0"/>
                      </a:moveTo>
                      <a:lnTo>
                        <a:pt x="5" y="31"/>
                      </a:lnTo>
                      <a:lnTo>
                        <a:pt x="9" y="28"/>
                      </a:lnTo>
                      <a:lnTo>
                        <a:pt x="5"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5" name="Freeform 4346"/>
                <p:cNvSpPr>
                  <a:spLocks/>
                </p:cNvSpPr>
                <p:nvPr/>
              </p:nvSpPr>
              <p:spPr bwMode="auto">
                <a:xfrm>
                  <a:off x="1844" y="2264"/>
                  <a:ext cx="12" cy="31"/>
                </a:xfrm>
                <a:custGeom>
                  <a:avLst/>
                  <a:gdLst>
                    <a:gd name="T0" fmla="*/ 0 w 12"/>
                    <a:gd name="T1" fmla="*/ 2 h 31"/>
                    <a:gd name="T2" fmla="*/ 5 w 12"/>
                    <a:gd name="T3" fmla="*/ 31 h 31"/>
                    <a:gd name="T4" fmla="*/ 12 w 12"/>
                    <a:gd name="T5" fmla="*/ 31 h 31"/>
                    <a:gd name="T6" fmla="*/ 5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5"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6" name="Freeform 4347"/>
                <p:cNvSpPr>
                  <a:spLocks/>
                </p:cNvSpPr>
                <p:nvPr/>
              </p:nvSpPr>
              <p:spPr bwMode="auto">
                <a:xfrm>
                  <a:off x="1844" y="2264"/>
                  <a:ext cx="12" cy="31"/>
                </a:xfrm>
                <a:custGeom>
                  <a:avLst/>
                  <a:gdLst>
                    <a:gd name="T0" fmla="*/ 0 w 12"/>
                    <a:gd name="T1" fmla="*/ 2 h 31"/>
                    <a:gd name="T2" fmla="*/ 5 w 12"/>
                    <a:gd name="T3" fmla="*/ 31 h 31"/>
                    <a:gd name="T4" fmla="*/ 12 w 12"/>
                    <a:gd name="T5" fmla="*/ 31 h 31"/>
                    <a:gd name="T6" fmla="*/ 5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5"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7" name="Freeform 4349"/>
                <p:cNvSpPr>
                  <a:spLocks/>
                </p:cNvSpPr>
                <p:nvPr/>
              </p:nvSpPr>
              <p:spPr bwMode="auto">
                <a:xfrm>
                  <a:off x="1856" y="2261"/>
                  <a:ext cx="9" cy="31"/>
                </a:xfrm>
                <a:custGeom>
                  <a:avLst/>
                  <a:gdLst>
                    <a:gd name="T0" fmla="*/ 0 w 9"/>
                    <a:gd name="T1" fmla="*/ 3 h 31"/>
                    <a:gd name="T2" fmla="*/ 5 w 9"/>
                    <a:gd name="T3" fmla="*/ 31 h 31"/>
                    <a:gd name="T4" fmla="*/ 9 w 9"/>
                    <a:gd name="T5" fmla="*/ 31 h 31"/>
                    <a:gd name="T6" fmla="*/ 5 w 9"/>
                    <a:gd name="T7" fmla="*/ 0 h 31"/>
                    <a:gd name="T8" fmla="*/ 0 w 9"/>
                    <a:gd name="T9" fmla="*/ 3 h 31"/>
                  </a:gdLst>
                  <a:ahLst/>
                  <a:cxnLst>
                    <a:cxn ang="0">
                      <a:pos x="T0" y="T1"/>
                    </a:cxn>
                    <a:cxn ang="0">
                      <a:pos x="T2" y="T3"/>
                    </a:cxn>
                    <a:cxn ang="0">
                      <a:pos x="T4" y="T5"/>
                    </a:cxn>
                    <a:cxn ang="0">
                      <a:pos x="T6" y="T7"/>
                    </a:cxn>
                    <a:cxn ang="0">
                      <a:pos x="T8" y="T9"/>
                    </a:cxn>
                  </a:cxnLst>
                  <a:rect l="0" t="0" r="r" b="b"/>
                  <a:pathLst>
                    <a:path w="9" h="31">
                      <a:moveTo>
                        <a:pt x="0" y="3"/>
                      </a:moveTo>
                      <a:lnTo>
                        <a:pt x="5" y="31"/>
                      </a:lnTo>
                      <a:lnTo>
                        <a:pt x="9" y="31"/>
                      </a:lnTo>
                      <a:lnTo>
                        <a:pt x="5" y="0"/>
                      </a:lnTo>
                      <a:lnTo>
                        <a:pt x="0" y="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8" name="Freeform 4350"/>
                <p:cNvSpPr>
                  <a:spLocks/>
                </p:cNvSpPr>
                <p:nvPr/>
              </p:nvSpPr>
              <p:spPr bwMode="auto">
                <a:xfrm>
                  <a:off x="1856" y="2261"/>
                  <a:ext cx="9" cy="31"/>
                </a:xfrm>
                <a:custGeom>
                  <a:avLst/>
                  <a:gdLst>
                    <a:gd name="T0" fmla="*/ 0 w 9"/>
                    <a:gd name="T1" fmla="*/ 3 h 31"/>
                    <a:gd name="T2" fmla="*/ 5 w 9"/>
                    <a:gd name="T3" fmla="*/ 31 h 31"/>
                    <a:gd name="T4" fmla="*/ 9 w 9"/>
                    <a:gd name="T5" fmla="*/ 31 h 31"/>
                    <a:gd name="T6" fmla="*/ 5 w 9"/>
                    <a:gd name="T7" fmla="*/ 0 h 31"/>
                    <a:gd name="T8" fmla="*/ 0 w 9"/>
                    <a:gd name="T9" fmla="*/ 3 h 31"/>
                  </a:gdLst>
                  <a:ahLst/>
                  <a:cxnLst>
                    <a:cxn ang="0">
                      <a:pos x="T0" y="T1"/>
                    </a:cxn>
                    <a:cxn ang="0">
                      <a:pos x="T2" y="T3"/>
                    </a:cxn>
                    <a:cxn ang="0">
                      <a:pos x="T4" y="T5"/>
                    </a:cxn>
                    <a:cxn ang="0">
                      <a:pos x="T6" y="T7"/>
                    </a:cxn>
                    <a:cxn ang="0">
                      <a:pos x="T8" y="T9"/>
                    </a:cxn>
                  </a:cxnLst>
                  <a:rect l="0" t="0" r="r" b="b"/>
                  <a:pathLst>
                    <a:path w="9" h="31">
                      <a:moveTo>
                        <a:pt x="0" y="3"/>
                      </a:moveTo>
                      <a:lnTo>
                        <a:pt x="5" y="31"/>
                      </a:lnTo>
                      <a:lnTo>
                        <a:pt x="9" y="31"/>
                      </a:lnTo>
                      <a:lnTo>
                        <a:pt x="5" y="0"/>
                      </a:lnTo>
                      <a:lnTo>
                        <a:pt x="0" y="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29" name="Freeform 4352"/>
                <p:cNvSpPr>
                  <a:spLocks/>
                </p:cNvSpPr>
                <p:nvPr/>
              </p:nvSpPr>
              <p:spPr bwMode="auto">
                <a:xfrm>
                  <a:off x="1875" y="2259"/>
                  <a:ext cx="12" cy="31"/>
                </a:xfrm>
                <a:custGeom>
                  <a:avLst/>
                  <a:gdLst>
                    <a:gd name="T0" fmla="*/ 0 w 12"/>
                    <a:gd name="T1" fmla="*/ 0 h 31"/>
                    <a:gd name="T2" fmla="*/ 7 w 12"/>
                    <a:gd name="T3" fmla="*/ 31 h 31"/>
                    <a:gd name="T4" fmla="*/ 12 w 12"/>
                    <a:gd name="T5" fmla="*/ 29 h 31"/>
                    <a:gd name="T6" fmla="*/ 7 w 12"/>
                    <a:gd name="T7" fmla="*/ 0 h 31"/>
                    <a:gd name="T8" fmla="*/ 0 w 12"/>
                    <a:gd name="T9" fmla="*/ 0 h 31"/>
                  </a:gdLst>
                  <a:ahLst/>
                  <a:cxnLst>
                    <a:cxn ang="0">
                      <a:pos x="T0" y="T1"/>
                    </a:cxn>
                    <a:cxn ang="0">
                      <a:pos x="T2" y="T3"/>
                    </a:cxn>
                    <a:cxn ang="0">
                      <a:pos x="T4" y="T5"/>
                    </a:cxn>
                    <a:cxn ang="0">
                      <a:pos x="T6" y="T7"/>
                    </a:cxn>
                    <a:cxn ang="0">
                      <a:pos x="T8" y="T9"/>
                    </a:cxn>
                  </a:cxnLst>
                  <a:rect l="0" t="0" r="r" b="b"/>
                  <a:pathLst>
                    <a:path w="12" h="31">
                      <a:moveTo>
                        <a:pt x="0" y="0"/>
                      </a:moveTo>
                      <a:lnTo>
                        <a:pt x="7" y="31"/>
                      </a:lnTo>
                      <a:lnTo>
                        <a:pt x="12" y="29"/>
                      </a:lnTo>
                      <a:lnTo>
                        <a:pt x="7"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0" name="Freeform 4353"/>
                <p:cNvSpPr>
                  <a:spLocks/>
                </p:cNvSpPr>
                <p:nvPr/>
              </p:nvSpPr>
              <p:spPr bwMode="auto">
                <a:xfrm>
                  <a:off x="1875" y="2259"/>
                  <a:ext cx="12" cy="31"/>
                </a:xfrm>
                <a:custGeom>
                  <a:avLst/>
                  <a:gdLst>
                    <a:gd name="T0" fmla="*/ 0 w 12"/>
                    <a:gd name="T1" fmla="*/ 0 h 31"/>
                    <a:gd name="T2" fmla="*/ 7 w 12"/>
                    <a:gd name="T3" fmla="*/ 31 h 31"/>
                    <a:gd name="T4" fmla="*/ 12 w 12"/>
                    <a:gd name="T5" fmla="*/ 29 h 31"/>
                    <a:gd name="T6" fmla="*/ 7 w 12"/>
                    <a:gd name="T7" fmla="*/ 0 h 31"/>
                    <a:gd name="T8" fmla="*/ 0 w 12"/>
                    <a:gd name="T9" fmla="*/ 0 h 31"/>
                  </a:gdLst>
                  <a:ahLst/>
                  <a:cxnLst>
                    <a:cxn ang="0">
                      <a:pos x="T0" y="T1"/>
                    </a:cxn>
                    <a:cxn ang="0">
                      <a:pos x="T2" y="T3"/>
                    </a:cxn>
                    <a:cxn ang="0">
                      <a:pos x="T4" y="T5"/>
                    </a:cxn>
                    <a:cxn ang="0">
                      <a:pos x="T6" y="T7"/>
                    </a:cxn>
                    <a:cxn ang="0">
                      <a:pos x="T8" y="T9"/>
                    </a:cxn>
                  </a:cxnLst>
                  <a:rect l="0" t="0" r="r" b="b"/>
                  <a:pathLst>
                    <a:path w="12" h="31">
                      <a:moveTo>
                        <a:pt x="0" y="0"/>
                      </a:moveTo>
                      <a:lnTo>
                        <a:pt x="7" y="31"/>
                      </a:lnTo>
                      <a:lnTo>
                        <a:pt x="12" y="29"/>
                      </a:lnTo>
                      <a:lnTo>
                        <a:pt x="7"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1" name="Freeform 4355"/>
                <p:cNvSpPr>
                  <a:spLocks/>
                </p:cNvSpPr>
                <p:nvPr/>
              </p:nvSpPr>
              <p:spPr bwMode="auto">
                <a:xfrm>
                  <a:off x="1887" y="2257"/>
                  <a:ext cx="10" cy="31"/>
                </a:xfrm>
                <a:custGeom>
                  <a:avLst/>
                  <a:gdLst>
                    <a:gd name="T0" fmla="*/ 0 w 10"/>
                    <a:gd name="T1" fmla="*/ 0 h 31"/>
                    <a:gd name="T2" fmla="*/ 5 w 10"/>
                    <a:gd name="T3" fmla="*/ 31 h 31"/>
                    <a:gd name="T4" fmla="*/ 10 w 10"/>
                    <a:gd name="T5" fmla="*/ 28 h 31"/>
                    <a:gd name="T6" fmla="*/ 5 w 10"/>
                    <a:gd name="T7" fmla="*/ 0 h 31"/>
                    <a:gd name="T8" fmla="*/ 0 w 10"/>
                    <a:gd name="T9" fmla="*/ 0 h 31"/>
                  </a:gdLst>
                  <a:ahLst/>
                  <a:cxnLst>
                    <a:cxn ang="0">
                      <a:pos x="T0" y="T1"/>
                    </a:cxn>
                    <a:cxn ang="0">
                      <a:pos x="T2" y="T3"/>
                    </a:cxn>
                    <a:cxn ang="0">
                      <a:pos x="T4" y="T5"/>
                    </a:cxn>
                    <a:cxn ang="0">
                      <a:pos x="T6" y="T7"/>
                    </a:cxn>
                    <a:cxn ang="0">
                      <a:pos x="T8" y="T9"/>
                    </a:cxn>
                  </a:cxnLst>
                  <a:rect l="0" t="0" r="r" b="b"/>
                  <a:pathLst>
                    <a:path w="10" h="31">
                      <a:moveTo>
                        <a:pt x="0" y="0"/>
                      </a:moveTo>
                      <a:lnTo>
                        <a:pt x="5" y="31"/>
                      </a:lnTo>
                      <a:lnTo>
                        <a:pt x="10" y="28"/>
                      </a:lnTo>
                      <a:lnTo>
                        <a:pt x="5"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2" name="Freeform 4356"/>
                <p:cNvSpPr>
                  <a:spLocks/>
                </p:cNvSpPr>
                <p:nvPr/>
              </p:nvSpPr>
              <p:spPr bwMode="auto">
                <a:xfrm>
                  <a:off x="1887" y="2257"/>
                  <a:ext cx="10" cy="31"/>
                </a:xfrm>
                <a:custGeom>
                  <a:avLst/>
                  <a:gdLst>
                    <a:gd name="T0" fmla="*/ 0 w 10"/>
                    <a:gd name="T1" fmla="*/ 0 h 31"/>
                    <a:gd name="T2" fmla="*/ 5 w 10"/>
                    <a:gd name="T3" fmla="*/ 31 h 31"/>
                    <a:gd name="T4" fmla="*/ 10 w 10"/>
                    <a:gd name="T5" fmla="*/ 28 h 31"/>
                    <a:gd name="T6" fmla="*/ 5 w 10"/>
                    <a:gd name="T7" fmla="*/ 0 h 31"/>
                    <a:gd name="T8" fmla="*/ 0 w 10"/>
                    <a:gd name="T9" fmla="*/ 0 h 31"/>
                  </a:gdLst>
                  <a:ahLst/>
                  <a:cxnLst>
                    <a:cxn ang="0">
                      <a:pos x="T0" y="T1"/>
                    </a:cxn>
                    <a:cxn ang="0">
                      <a:pos x="T2" y="T3"/>
                    </a:cxn>
                    <a:cxn ang="0">
                      <a:pos x="T4" y="T5"/>
                    </a:cxn>
                    <a:cxn ang="0">
                      <a:pos x="T6" y="T7"/>
                    </a:cxn>
                    <a:cxn ang="0">
                      <a:pos x="T8" y="T9"/>
                    </a:cxn>
                  </a:cxnLst>
                  <a:rect l="0" t="0" r="r" b="b"/>
                  <a:pathLst>
                    <a:path w="10" h="31">
                      <a:moveTo>
                        <a:pt x="0" y="0"/>
                      </a:moveTo>
                      <a:lnTo>
                        <a:pt x="5" y="31"/>
                      </a:lnTo>
                      <a:lnTo>
                        <a:pt x="10" y="28"/>
                      </a:lnTo>
                      <a:lnTo>
                        <a:pt x="5"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3" name="Freeform 4358"/>
                <p:cNvSpPr>
                  <a:spLocks/>
                </p:cNvSpPr>
                <p:nvPr/>
              </p:nvSpPr>
              <p:spPr bwMode="auto">
                <a:xfrm>
                  <a:off x="1906" y="2252"/>
                  <a:ext cx="12" cy="31"/>
                </a:xfrm>
                <a:custGeom>
                  <a:avLst/>
                  <a:gdLst>
                    <a:gd name="T0" fmla="*/ 0 w 12"/>
                    <a:gd name="T1" fmla="*/ 2 h 31"/>
                    <a:gd name="T2" fmla="*/ 5 w 12"/>
                    <a:gd name="T3" fmla="*/ 31 h 31"/>
                    <a:gd name="T4" fmla="*/ 12 w 12"/>
                    <a:gd name="T5" fmla="*/ 31 h 31"/>
                    <a:gd name="T6" fmla="*/ 5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5"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4" name="Freeform 4359"/>
                <p:cNvSpPr>
                  <a:spLocks/>
                </p:cNvSpPr>
                <p:nvPr/>
              </p:nvSpPr>
              <p:spPr bwMode="auto">
                <a:xfrm>
                  <a:off x="1906" y="2252"/>
                  <a:ext cx="12" cy="31"/>
                </a:xfrm>
                <a:custGeom>
                  <a:avLst/>
                  <a:gdLst>
                    <a:gd name="T0" fmla="*/ 0 w 12"/>
                    <a:gd name="T1" fmla="*/ 2 h 31"/>
                    <a:gd name="T2" fmla="*/ 5 w 12"/>
                    <a:gd name="T3" fmla="*/ 31 h 31"/>
                    <a:gd name="T4" fmla="*/ 12 w 12"/>
                    <a:gd name="T5" fmla="*/ 31 h 31"/>
                    <a:gd name="T6" fmla="*/ 5 w 12"/>
                    <a:gd name="T7" fmla="*/ 0 h 31"/>
                    <a:gd name="T8" fmla="*/ 0 w 12"/>
                    <a:gd name="T9" fmla="*/ 2 h 31"/>
                  </a:gdLst>
                  <a:ahLst/>
                  <a:cxnLst>
                    <a:cxn ang="0">
                      <a:pos x="T0" y="T1"/>
                    </a:cxn>
                    <a:cxn ang="0">
                      <a:pos x="T2" y="T3"/>
                    </a:cxn>
                    <a:cxn ang="0">
                      <a:pos x="T4" y="T5"/>
                    </a:cxn>
                    <a:cxn ang="0">
                      <a:pos x="T6" y="T7"/>
                    </a:cxn>
                    <a:cxn ang="0">
                      <a:pos x="T8" y="T9"/>
                    </a:cxn>
                  </a:cxnLst>
                  <a:rect l="0" t="0" r="r" b="b"/>
                  <a:pathLst>
                    <a:path w="12" h="31">
                      <a:moveTo>
                        <a:pt x="0" y="2"/>
                      </a:moveTo>
                      <a:lnTo>
                        <a:pt x="5" y="31"/>
                      </a:lnTo>
                      <a:lnTo>
                        <a:pt x="12" y="31"/>
                      </a:lnTo>
                      <a:lnTo>
                        <a:pt x="5"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5" name="Freeform 4361"/>
                <p:cNvSpPr>
                  <a:spLocks/>
                </p:cNvSpPr>
                <p:nvPr/>
              </p:nvSpPr>
              <p:spPr bwMode="auto">
                <a:xfrm>
                  <a:off x="1916" y="2252"/>
                  <a:ext cx="12" cy="29"/>
                </a:xfrm>
                <a:custGeom>
                  <a:avLst/>
                  <a:gdLst>
                    <a:gd name="T0" fmla="*/ 0 w 12"/>
                    <a:gd name="T1" fmla="*/ 0 h 29"/>
                    <a:gd name="T2" fmla="*/ 7 w 12"/>
                    <a:gd name="T3" fmla="*/ 29 h 29"/>
                    <a:gd name="T4" fmla="*/ 12 w 12"/>
                    <a:gd name="T5" fmla="*/ 29 h 29"/>
                    <a:gd name="T6" fmla="*/ 7 w 12"/>
                    <a:gd name="T7" fmla="*/ 0 h 29"/>
                    <a:gd name="T8" fmla="*/ 0 w 12"/>
                    <a:gd name="T9" fmla="*/ 0 h 29"/>
                  </a:gdLst>
                  <a:ahLst/>
                  <a:cxnLst>
                    <a:cxn ang="0">
                      <a:pos x="T0" y="T1"/>
                    </a:cxn>
                    <a:cxn ang="0">
                      <a:pos x="T2" y="T3"/>
                    </a:cxn>
                    <a:cxn ang="0">
                      <a:pos x="T4" y="T5"/>
                    </a:cxn>
                    <a:cxn ang="0">
                      <a:pos x="T6" y="T7"/>
                    </a:cxn>
                    <a:cxn ang="0">
                      <a:pos x="T8" y="T9"/>
                    </a:cxn>
                  </a:cxnLst>
                  <a:rect l="0" t="0" r="r" b="b"/>
                  <a:pathLst>
                    <a:path w="12" h="29">
                      <a:moveTo>
                        <a:pt x="0" y="0"/>
                      </a:moveTo>
                      <a:lnTo>
                        <a:pt x="7" y="29"/>
                      </a:lnTo>
                      <a:lnTo>
                        <a:pt x="12" y="29"/>
                      </a:lnTo>
                      <a:lnTo>
                        <a:pt x="7"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6" name="Freeform 4362"/>
                <p:cNvSpPr>
                  <a:spLocks/>
                </p:cNvSpPr>
                <p:nvPr/>
              </p:nvSpPr>
              <p:spPr bwMode="auto">
                <a:xfrm>
                  <a:off x="1916" y="2252"/>
                  <a:ext cx="12" cy="29"/>
                </a:xfrm>
                <a:custGeom>
                  <a:avLst/>
                  <a:gdLst>
                    <a:gd name="T0" fmla="*/ 0 w 12"/>
                    <a:gd name="T1" fmla="*/ 0 h 29"/>
                    <a:gd name="T2" fmla="*/ 7 w 12"/>
                    <a:gd name="T3" fmla="*/ 29 h 29"/>
                    <a:gd name="T4" fmla="*/ 12 w 12"/>
                    <a:gd name="T5" fmla="*/ 29 h 29"/>
                    <a:gd name="T6" fmla="*/ 7 w 12"/>
                    <a:gd name="T7" fmla="*/ 0 h 29"/>
                    <a:gd name="T8" fmla="*/ 0 w 12"/>
                    <a:gd name="T9" fmla="*/ 0 h 29"/>
                  </a:gdLst>
                  <a:ahLst/>
                  <a:cxnLst>
                    <a:cxn ang="0">
                      <a:pos x="T0" y="T1"/>
                    </a:cxn>
                    <a:cxn ang="0">
                      <a:pos x="T2" y="T3"/>
                    </a:cxn>
                    <a:cxn ang="0">
                      <a:pos x="T4" y="T5"/>
                    </a:cxn>
                    <a:cxn ang="0">
                      <a:pos x="T6" y="T7"/>
                    </a:cxn>
                    <a:cxn ang="0">
                      <a:pos x="T8" y="T9"/>
                    </a:cxn>
                  </a:cxnLst>
                  <a:rect l="0" t="0" r="r" b="b"/>
                  <a:pathLst>
                    <a:path w="12" h="29">
                      <a:moveTo>
                        <a:pt x="0" y="0"/>
                      </a:moveTo>
                      <a:lnTo>
                        <a:pt x="7" y="29"/>
                      </a:lnTo>
                      <a:lnTo>
                        <a:pt x="12" y="29"/>
                      </a:lnTo>
                      <a:lnTo>
                        <a:pt x="7"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7" name="Freeform 4364"/>
                <p:cNvSpPr>
                  <a:spLocks/>
                </p:cNvSpPr>
                <p:nvPr/>
              </p:nvSpPr>
              <p:spPr bwMode="auto">
                <a:xfrm>
                  <a:off x="1935" y="2247"/>
                  <a:ext cx="12" cy="31"/>
                </a:xfrm>
                <a:custGeom>
                  <a:avLst/>
                  <a:gdLst>
                    <a:gd name="T0" fmla="*/ 0 w 12"/>
                    <a:gd name="T1" fmla="*/ 3 h 31"/>
                    <a:gd name="T2" fmla="*/ 5 w 12"/>
                    <a:gd name="T3" fmla="*/ 31 h 31"/>
                    <a:gd name="T4" fmla="*/ 12 w 12"/>
                    <a:gd name="T5" fmla="*/ 31 h 31"/>
                    <a:gd name="T6" fmla="*/ 7 w 12"/>
                    <a:gd name="T7" fmla="*/ 0 h 31"/>
                    <a:gd name="T8" fmla="*/ 0 w 12"/>
                    <a:gd name="T9" fmla="*/ 3 h 31"/>
                  </a:gdLst>
                  <a:ahLst/>
                  <a:cxnLst>
                    <a:cxn ang="0">
                      <a:pos x="T0" y="T1"/>
                    </a:cxn>
                    <a:cxn ang="0">
                      <a:pos x="T2" y="T3"/>
                    </a:cxn>
                    <a:cxn ang="0">
                      <a:pos x="T4" y="T5"/>
                    </a:cxn>
                    <a:cxn ang="0">
                      <a:pos x="T6" y="T7"/>
                    </a:cxn>
                    <a:cxn ang="0">
                      <a:pos x="T8" y="T9"/>
                    </a:cxn>
                  </a:cxnLst>
                  <a:rect l="0" t="0" r="r" b="b"/>
                  <a:pathLst>
                    <a:path w="12" h="31">
                      <a:moveTo>
                        <a:pt x="0" y="3"/>
                      </a:moveTo>
                      <a:lnTo>
                        <a:pt x="5" y="31"/>
                      </a:lnTo>
                      <a:lnTo>
                        <a:pt x="12" y="31"/>
                      </a:lnTo>
                      <a:lnTo>
                        <a:pt x="7" y="0"/>
                      </a:lnTo>
                      <a:lnTo>
                        <a:pt x="0" y="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8" name="Freeform 4365"/>
                <p:cNvSpPr>
                  <a:spLocks/>
                </p:cNvSpPr>
                <p:nvPr/>
              </p:nvSpPr>
              <p:spPr bwMode="auto">
                <a:xfrm>
                  <a:off x="1935" y="2247"/>
                  <a:ext cx="12" cy="31"/>
                </a:xfrm>
                <a:custGeom>
                  <a:avLst/>
                  <a:gdLst>
                    <a:gd name="T0" fmla="*/ 0 w 12"/>
                    <a:gd name="T1" fmla="*/ 3 h 31"/>
                    <a:gd name="T2" fmla="*/ 5 w 12"/>
                    <a:gd name="T3" fmla="*/ 31 h 31"/>
                    <a:gd name="T4" fmla="*/ 12 w 12"/>
                    <a:gd name="T5" fmla="*/ 31 h 31"/>
                    <a:gd name="T6" fmla="*/ 7 w 12"/>
                    <a:gd name="T7" fmla="*/ 0 h 31"/>
                    <a:gd name="T8" fmla="*/ 0 w 12"/>
                    <a:gd name="T9" fmla="*/ 3 h 31"/>
                  </a:gdLst>
                  <a:ahLst/>
                  <a:cxnLst>
                    <a:cxn ang="0">
                      <a:pos x="T0" y="T1"/>
                    </a:cxn>
                    <a:cxn ang="0">
                      <a:pos x="T2" y="T3"/>
                    </a:cxn>
                    <a:cxn ang="0">
                      <a:pos x="T4" y="T5"/>
                    </a:cxn>
                    <a:cxn ang="0">
                      <a:pos x="T6" y="T7"/>
                    </a:cxn>
                    <a:cxn ang="0">
                      <a:pos x="T8" y="T9"/>
                    </a:cxn>
                  </a:cxnLst>
                  <a:rect l="0" t="0" r="r" b="b"/>
                  <a:pathLst>
                    <a:path w="12" h="31">
                      <a:moveTo>
                        <a:pt x="0" y="3"/>
                      </a:moveTo>
                      <a:lnTo>
                        <a:pt x="5" y="31"/>
                      </a:lnTo>
                      <a:lnTo>
                        <a:pt x="12" y="31"/>
                      </a:lnTo>
                      <a:lnTo>
                        <a:pt x="7" y="0"/>
                      </a:lnTo>
                      <a:lnTo>
                        <a:pt x="0" y="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39" name="Freeform 4367"/>
                <p:cNvSpPr>
                  <a:spLocks/>
                </p:cNvSpPr>
                <p:nvPr/>
              </p:nvSpPr>
              <p:spPr bwMode="auto">
                <a:xfrm>
                  <a:off x="1947" y="2245"/>
                  <a:ext cx="9" cy="31"/>
                </a:xfrm>
                <a:custGeom>
                  <a:avLst/>
                  <a:gdLst>
                    <a:gd name="T0" fmla="*/ 0 w 9"/>
                    <a:gd name="T1" fmla="*/ 2 h 31"/>
                    <a:gd name="T2" fmla="*/ 4 w 9"/>
                    <a:gd name="T3" fmla="*/ 31 h 31"/>
                    <a:gd name="T4" fmla="*/ 9 w 9"/>
                    <a:gd name="T5" fmla="*/ 31 h 31"/>
                    <a:gd name="T6" fmla="*/ 4 w 9"/>
                    <a:gd name="T7" fmla="*/ 0 h 31"/>
                    <a:gd name="T8" fmla="*/ 0 w 9"/>
                    <a:gd name="T9" fmla="*/ 2 h 31"/>
                  </a:gdLst>
                  <a:ahLst/>
                  <a:cxnLst>
                    <a:cxn ang="0">
                      <a:pos x="T0" y="T1"/>
                    </a:cxn>
                    <a:cxn ang="0">
                      <a:pos x="T2" y="T3"/>
                    </a:cxn>
                    <a:cxn ang="0">
                      <a:pos x="T4" y="T5"/>
                    </a:cxn>
                    <a:cxn ang="0">
                      <a:pos x="T6" y="T7"/>
                    </a:cxn>
                    <a:cxn ang="0">
                      <a:pos x="T8" y="T9"/>
                    </a:cxn>
                  </a:cxnLst>
                  <a:rect l="0" t="0" r="r" b="b"/>
                  <a:pathLst>
                    <a:path w="9" h="31">
                      <a:moveTo>
                        <a:pt x="0" y="2"/>
                      </a:moveTo>
                      <a:lnTo>
                        <a:pt x="4" y="31"/>
                      </a:lnTo>
                      <a:lnTo>
                        <a:pt x="9" y="31"/>
                      </a:lnTo>
                      <a:lnTo>
                        <a:pt x="4"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0" name="Freeform 4368"/>
                <p:cNvSpPr>
                  <a:spLocks/>
                </p:cNvSpPr>
                <p:nvPr/>
              </p:nvSpPr>
              <p:spPr bwMode="auto">
                <a:xfrm>
                  <a:off x="1947" y="2245"/>
                  <a:ext cx="9" cy="31"/>
                </a:xfrm>
                <a:custGeom>
                  <a:avLst/>
                  <a:gdLst>
                    <a:gd name="T0" fmla="*/ 0 w 9"/>
                    <a:gd name="T1" fmla="*/ 2 h 31"/>
                    <a:gd name="T2" fmla="*/ 4 w 9"/>
                    <a:gd name="T3" fmla="*/ 31 h 31"/>
                    <a:gd name="T4" fmla="*/ 9 w 9"/>
                    <a:gd name="T5" fmla="*/ 31 h 31"/>
                    <a:gd name="T6" fmla="*/ 4 w 9"/>
                    <a:gd name="T7" fmla="*/ 0 h 31"/>
                    <a:gd name="T8" fmla="*/ 0 w 9"/>
                    <a:gd name="T9" fmla="*/ 2 h 31"/>
                  </a:gdLst>
                  <a:ahLst/>
                  <a:cxnLst>
                    <a:cxn ang="0">
                      <a:pos x="T0" y="T1"/>
                    </a:cxn>
                    <a:cxn ang="0">
                      <a:pos x="T2" y="T3"/>
                    </a:cxn>
                    <a:cxn ang="0">
                      <a:pos x="T4" y="T5"/>
                    </a:cxn>
                    <a:cxn ang="0">
                      <a:pos x="T6" y="T7"/>
                    </a:cxn>
                    <a:cxn ang="0">
                      <a:pos x="T8" y="T9"/>
                    </a:cxn>
                  </a:cxnLst>
                  <a:rect l="0" t="0" r="r" b="b"/>
                  <a:pathLst>
                    <a:path w="9" h="31">
                      <a:moveTo>
                        <a:pt x="0" y="2"/>
                      </a:moveTo>
                      <a:lnTo>
                        <a:pt x="4" y="31"/>
                      </a:lnTo>
                      <a:lnTo>
                        <a:pt x="9" y="31"/>
                      </a:lnTo>
                      <a:lnTo>
                        <a:pt x="4"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1" name="Freeform 4370"/>
                <p:cNvSpPr>
                  <a:spLocks/>
                </p:cNvSpPr>
                <p:nvPr/>
              </p:nvSpPr>
              <p:spPr bwMode="auto">
                <a:xfrm>
                  <a:off x="1746" y="2235"/>
                  <a:ext cx="24" cy="43"/>
                </a:xfrm>
                <a:custGeom>
                  <a:avLst/>
                  <a:gdLst>
                    <a:gd name="T0" fmla="*/ 0 w 24"/>
                    <a:gd name="T1" fmla="*/ 3 h 43"/>
                    <a:gd name="T2" fmla="*/ 10 w 24"/>
                    <a:gd name="T3" fmla="*/ 43 h 43"/>
                    <a:gd name="T4" fmla="*/ 24 w 24"/>
                    <a:gd name="T5" fmla="*/ 41 h 43"/>
                    <a:gd name="T6" fmla="*/ 14 w 24"/>
                    <a:gd name="T7" fmla="*/ 0 h 43"/>
                    <a:gd name="T8" fmla="*/ 0 w 24"/>
                    <a:gd name="T9" fmla="*/ 3 h 43"/>
                  </a:gdLst>
                  <a:ahLst/>
                  <a:cxnLst>
                    <a:cxn ang="0">
                      <a:pos x="T0" y="T1"/>
                    </a:cxn>
                    <a:cxn ang="0">
                      <a:pos x="T2" y="T3"/>
                    </a:cxn>
                    <a:cxn ang="0">
                      <a:pos x="T4" y="T5"/>
                    </a:cxn>
                    <a:cxn ang="0">
                      <a:pos x="T6" y="T7"/>
                    </a:cxn>
                    <a:cxn ang="0">
                      <a:pos x="T8" y="T9"/>
                    </a:cxn>
                  </a:cxnLst>
                  <a:rect l="0" t="0" r="r" b="b"/>
                  <a:pathLst>
                    <a:path w="24" h="43">
                      <a:moveTo>
                        <a:pt x="0" y="3"/>
                      </a:moveTo>
                      <a:lnTo>
                        <a:pt x="10" y="43"/>
                      </a:lnTo>
                      <a:lnTo>
                        <a:pt x="24" y="41"/>
                      </a:lnTo>
                      <a:lnTo>
                        <a:pt x="14" y="0"/>
                      </a:lnTo>
                      <a:lnTo>
                        <a:pt x="0" y="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2" name="Freeform 4371"/>
                <p:cNvSpPr>
                  <a:spLocks/>
                </p:cNvSpPr>
                <p:nvPr/>
              </p:nvSpPr>
              <p:spPr bwMode="auto">
                <a:xfrm>
                  <a:off x="1746" y="2235"/>
                  <a:ext cx="24" cy="43"/>
                </a:xfrm>
                <a:custGeom>
                  <a:avLst/>
                  <a:gdLst>
                    <a:gd name="T0" fmla="*/ 0 w 24"/>
                    <a:gd name="T1" fmla="*/ 3 h 43"/>
                    <a:gd name="T2" fmla="*/ 10 w 24"/>
                    <a:gd name="T3" fmla="*/ 43 h 43"/>
                    <a:gd name="T4" fmla="*/ 24 w 24"/>
                    <a:gd name="T5" fmla="*/ 41 h 43"/>
                    <a:gd name="T6" fmla="*/ 14 w 24"/>
                    <a:gd name="T7" fmla="*/ 0 h 43"/>
                    <a:gd name="T8" fmla="*/ 0 w 24"/>
                    <a:gd name="T9" fmla="*/ 3 h 43"/>
                  </a:gdLst>
                  <a:ahLst/>
                  <a:cxnLst>
                    <a:cxn ang="0">
                      <a:pos x="T0" y="T1"/>
                    </a:cxn>
                    <a:cxn ang="0">
                      <a:pos x="T2" y="T3"/>
                    </a:cxn>
                    <a:cxn ang="0">
                      <a:pos x="T4" y="T5"/>
                    </a:cxn>
                    <a:cxn ang="0">
                      <a:pos x="T6" y="T7"/>
                    </a:cxn>
                    <a:cxn ang="0">
                      <a:pos x="T8" y="T9"/>
                    </a:cxn>
                  </a:cxnLst>
                  <a:rect l="0" t="0" r="r" b="b"/>
                  <a:pathLst>
                    <a:path w="24" h="43">
                      <a:moveTo>
                        <a:pt x="0" y="3"/>
                      </a:moveTo>
                      <a:lnTo>
                        <a:pt x="10" y="43"/>
                      </a:lnTo>
                      <a:lnTo>
                        <a:pt x="24" y="41"/>
                      </a:lnTo>
                      <a:lnTo>
                        <a:pt x="14" y="0"/>
                      </a:lnTo>
                      <a:lnTo>
                        <a:pt x="0" y="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3" name="Freeform 4373"/>
                <p:cNvSpPr>
                  <a:spLocks/>
                </p:cNvSpPr>
                <p:nvPr/>
              </p:nvSpPr>
              <p:spPr bwMode="auto">
                <a:xfrm>
                  <a:off x="1722" y="2247"/>
                  <a:ext cx="19" cy="31"/>
                </a:xfrm>
                <a:custGeom>
                  <a:avLst/>
                  <a:gdLst>
                    <a:gd name="T0" fmla="*/ 0 w 19"/>
                    <a:gd name="T1" fmla="*/ 3 h 31"/>
                    <a:gd name="T2" fmla="*/ 5 w 19"/>
                    <a:gd name="T3" fmla="*/ 31 h 31"/>
                    <a:gd name="T4" fmla="*/ 19 w 19"/>
                    <a:gd name="T5" fmla="*/ 26 h 31"/>
                    <a:gd name="T6" fmla="*/ 14 w 19"/>
                    <a:gd name="T7" fmla="*/ 0 h 31"/>
                    <a:gd name="T8" fmla="*/ 0 w 19"/>
                    <a:gd name="T9" fmla="*/ 3 h 31"/>
                  </a:gdLst>
                  <a:ahLst/>
                  <a:cxnLst>
                    <a:cxn ang="0">
                      <a:pos x="T0" y="T1"/>
                    </a:cxn>
                    <a:cxn ang="0">
                      <a:pos x="T2" y="T3"/>
                    </a:cxn>
                    <a:cxn ang="0">
                      <a:pos x="T4" y="T5"/>
                    </a:cxn>
                    <a:cxn ang="0">
                      <a:pos x="T6" y="T7"/>
                    </a:cxn>
                    <a:cxn ang="0">
                      <a:pos x="T8" y="T9"/>
                    </a:cxn>
                  </a:cxnLst>
                  <a:rect l="0" t="0" r="r" b="b"/>
                  <a:pathLst>
                    <a:path w="19" h="31">
                      <a:moveTo>
                        <a:pt x="0" y="3"/>
                      </a:moveTo>
                      <a:lnTo>
                        <a:pt x="5" y="31"/>
                      </a:lnTo>
                      <a:lnTo>
                        <a:pt x="19" y="26"/>
                      </a:lnTo>
                      <a:lnTo>
                        <a:pt x="14" y="0"/>
                      </a:lnTo>
                      <a:lnTo>
                        <a:pt x="0" y="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4" name="Freeform 4374"/>
                <p:cNvSpPr>
                  <a:spLocks/>
                </p:cNvSpPr>
                <p:nvPr/>
              </p:nvSpPr>
              <p:spPr bwMode="auto">
                <a:xfrm>
                  <a:off x="1722" y="2247"/>
                  <a:ext cx="19" cy="31"/>
                </a:xfrm>
                <a:custGeom>
                  <a:avLst/>
                  <a:gdLst>
                    <a:gd name="T0" fmla="*/ 0 w 19"/>
                    <a:gd name="T1" fmla="*/ 3 h 31"/>
                    <a:gd name="T2" fmla="*/ 5 w 19"/>
                    <a:gd name="T3" fmla="*/ 31 h 31"/>
                    <a:gd name="T4" fmla="*/ 19 w 19"/>
                    <a:gd name="T5" fmla="*/ 26 h 31"/>
                    <a:gd name="T6" fmla="*/ 14 w 19"/>
                    <a:gd name="T7" fmla="*/ 0 h 31"/>
                    <a:gd name="T8" fmla="*/ 0 w 19"/>
                    <a:gd name="T9" fmla="*/ 3 h 31"/>
                  </a:gdLst>
                  <a:ahLst/>
                  <a:cxnLst>
                    <a:cxn ang="0">
                      <a:pos x="T0" y="T1"/>
                    </a:cxn>
                    <a:cxn ang="0">
                      <a:pos x="T2" y="T3"/>
                    </a:cxn>
                    <a:cxn ang="0">
                      <a:pos x="T4" y="T5"/>
                    </a:cxn>
                    <a:cxn ang="0">
                      <a:pos x="T6" y="T7"/>
                    </a:cxn>
                    <a:cxn ang="0">
                      <a:pos x="T8" y="T9"/>
                    </a:cxn>
                  </a:cxnLst>
                  <a:rect l="0" t="0" r="r" b="b"/>
                  <a:pathLst>
                    <a:path w="19" h="31">
                      <a:moveTo>
                        <a:pt x="0" y="3"/>
                      </a:moveTo>
                      <a:lnTo>
                        <a:pt x="5" y="31"/>
                      </a:lnTo>
                      <a:lnTo>
                        <a:pt x="19" y="26"/>
                      </a:lnTo>
                      <a:lnTo>
                        <a:pt x="14" y="0"/>
                      </a:lnTo>
                      <a:lnTo>
                        <a:pt x="0" y="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5" name="Freeform 4376"/>
                <p:cNvSpPr>
                  <a:spLocks/>
                </p:cNvSpPr>
                <p:nvPr/>
              </p:nvSpPr>
              <p:spPr bwMode="auto">
                <a:xfrm>
                  <a:off x="1732" y="2233"/>
                  <a:ext cx="24" cy="52"/>
                </a:xfrm>
                <a:custGeom>
                  <a:avLst/>
                  <a:gdLst>
                    <a:gd name="T0" fmla="*/ 0 w 24"/>
                    <a:gd name="T1" fmla="*/ 2 h 52"/>
                    <a:gd name="T2" fmla="*/ 9 w 24"/>
                    <a:gd name="T3" fmla="*/ 52 h 52"/>
                    <a:gd name="T4" fmla="*/ 24 w 24"/>
                    <a:gd name="T5" fmla="*/ 50 h 52"/>
                    <a:gd name="T6" fmla="*/ 16 w 24"/>
                    <a:gd name="T7" fmla="*/ 0 h 52"/>
                    <a:gd name="T8" fmla="*/ 0 w 24"/>
                    <a:gd name="T9" fmla="*/ 2 h 52"/>
                  </a:gdLst>
                  <a:ahLst/>
                  <a:cxnLst>
                    <a:cxn ang="0">
                      <a:pos x="T0" y="T1"/>
                    </a:cxn>
                    <a:cxn ang="0">
                      <a:pos x="T2" y="T3"/>
                    </a:cxn>
                    <a:cxn ang="0">
                      <a:pos x="T4" y="T5"/>
                    </a:cxn>
                    <a:cxn ang="0">
                      <a:pos x="T6" y="T7"/>
                    </a:cxn>
                    <a:cxn ang="0">
                      <a:pos x="T8" y="T9"/>
                    </a:cxn>
                  </a:cxnLst>
                  <a:rect l="0" t="0" r="r" b="b"/>
                  <a:pathLst>
                    <a:path w="24" h="52">
                      <a:moveTo>
                        <a:pt x="0" y="2"/>
                      </a:moveTo>
                      <a:lnTo>
                        <a:pt x="9" y="52"/>
                      </a:lnTo>
                      <a:lnTo>
                        <a:pt x="24" y="50"/>
                      </a:lnTo>
                      <a:lnTo>
                        <a:pt x="16"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6" name="Freeform 4377"/>
                <p:cNvSpPr>
                  <a:spLocks/>
                </p:cNvSpPr>
                <p:nvPr/>
              </p:nvSpPr>
              <p:spPr bwMode="auto">
                <a:xfrm>
                  <a:off x="1732" y="2233"/>
                  <a:ext cx="24" cy="52"/>
                </a:xfrm>
                <a:custGeom>
                  <a:avLst/>
                  <a:gdLst>
                    <a:gd name="T0" fmla="*/ 0 w 24"/>
                    <a:gd name="T1" fmla="*/ 2 h 52"/>
                    <a:gd name="T2" fmla="*/ 9 w 24"/>
                    <a:gd name="T3" fmla="*/ 52 h 52"/>
                    <a:gd name="T4" fmla="*/ 24 w 24"/>
                    <a:gd name="T5" fmla="*/ 50 h 52"/>
                    <a:gd name="T6" fmla="*/ 16 w 24"/>
                    <a:gd name="T7" fmla="*/ 0 h 52"/>
                    <a:gd name="T8" fmla="*/ 0 w 24"/>
                    <a:gd name="T9" fmla="*/ 2 h 52"/>
                  </a:gdLst>
                  <a:ahLst/>
                  <a:cxnLst>
                    <a:cxn ang="0">
                      <a:pos x="T0" y="T1"/>
                    </a:cxn>
                    <a:cxn ang="0">
                      <a:pos x="T2" y="T3"/>
                    </a:cxn>
                    <a:cxn ang="0">
                      <a:pos x="T4" y="T5"/>
                    </a:cxn>
                    <a:cxn ang="0">
                      <a:pos x="T6" y="T7"/>
                    </a:cxn>
                    <a:cxn ang="0">
                      <a:pos x="T8" y="T9"/>
                    </a:cxn>
                  </a:cxnLst>
                  <a:rect l="0" t="0" r="r" b="b"/>
                  <a:pathLst>
                    <a:path w="24" h="52">
                      <a:moveTo>
                        <a:pt x="0" y="2"/>
                      </a:moveTo>
                      <a:lnTo>
                        <a:pt x="9" y="52"/>
                      </a:lnTo>
                      <a:lnTo>
                        <a:pt x="24" y="50"/>
                      </a:lnTo>
                      <a:lnTo>
                        <a:pt x="16"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7" name="Freeform 4379"/>
                <p:cNvSpPr>
                  <a:spLocks/>
                </p:cNvSpPr>
                <p:nvPr/>
              </p:nvSpPr>
              <p:spPr bwMode="auto">
                <a:xfrm>
                  <a:off x="1758" y="2192"/>
                  <a:ext cx="208" cy="91"/>
                </a:xfrm>
                <a:custGeom>
                  <a:avLst/>
                  <a:gdLst>
                    <a:gd name="T0" fmla="*/ 0 w 208"/>
                    <a:gd name="T1" fmla="*/ 36 h 91"/>
                    <a:gd name="T2" fmla="*/ 12 w 208"/>
                    <a:gd name="T3" fmla="*/ 91 h 91"/>
                    <a:gd name="T4" fmla="*/ 208 w 208"/>
                    <a:gd name="T5" fmla="*/ 55 h 91"/>
                    <a:gd name="T6" fmla="*/ 198 w 208"/>
                    <a:gd name="T7" fmla="*/ 0 h 91"/>
                    <a:gd name="T8" fmla="*/ 0 w 208"/>
                    <a:gd name="T9" fmla="*/ 36 h 91"/>
                  </a:gdLst>
                  <a:ahLst/>
                  <a:cxnLst>
                    <a:cxn ang="0">
                      <a:pos x="T0" y="T1"/>
                    </a:cxn>
                    <a:cxn ang="0">
                      <a:pos x="T2" y="T3"/>
                    </a:cxn>
                    <a:cxn ang="0">
                      <a:pos x="T4" y="T5"/>
                    </a:cxn>
                    <a:cxn ang="0">
                      <a:pos x="T6" y="T7"/>
                    </a:cxn>
                    <a:cxn ang="0">
                      <a:pos x="T8" y="T9"/>
                    </a:cxn>
                  </a:cxnLst>
                  <a:rect l="0" t="0" r="r" b="b"/>
                  <a:pathLst>
                    <a:path w="208" h="91">
                      <a:moveTo>
                        <a:pt x="0" y="36"/>
                      </a:moveTo>
                      <a:lnTo>
                        <a:pt x="12" y="91"/>
                      </a:lnTo>
                      <a:lnTo>
                        <a:pt x="208" y="55"/>
                      </a:lnTo>
                      <a:lnTo>
                        <a:pt x="198" y="0"/>
                      </a:lnTo>
                      <a:lnTo>
                        <a:pt x="0" y="3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8" name="Freeform 4382"/>
                <p:cNvSpPr>
                  <a:spLocks/>
                </p:cNvSpPr>
                <p:nvPr/>
              </p:nvSpPr>
              <p:spPr bwMode="auto">
                <a:xfrm>
                  <a:off x="1940" y="2355"/>
                  <a:ext cx="52" cy="57"/>
                </a:xfrm>
                <a:custGeom>
                  <a:avLst/>
                  <a:gdLst>
                    <a:gd name="T0" fmla="*/ 0 w 52"/>
                    <a:gd name="T1" fmla="*/ 7 h 57"/>
                    <a:gd name="T2" fmla="*/ 7 w 52"/>
                    <a:gd name="T3" fmla="*/ 57 h 57"/>
                    <a:gd name="T4" fmla="*/ 52 w 52"/>
                    <a:gd name="T5" fmla="*/ 50 h 57"/>
                    <a:gd name="T6" fmla="*/ 45 w 52"/>
                    <a:gd name="T7" fmla="*/ 0 h 57"/>
                    <a:gd name="T8" fmla="*/ 0 w 52"/>
                    <a:gd name="T9" fmla="*/ 7 h 57"/>
                  </a:gdLst>
                  <a:ahLst/>
                  <a:cxnLst>
                    <a:cxn ang="0">
                      <a:pos x="T0" y="T1"/>
                    </a:cxn>
                    <a:cxn ang="0">
                      <a:pos x="T2" y="T3"/>
                    </a:cxn>
                    <a:cxn ang="0">
                      <a:pos x="T4" y="T5"/>
                    </a:cxn>
                    <a:cxn ang="0">
                      <a:pos x="T6" y="T7"/>
                    </a:cxn>
                    <a:cxn ang="0">
                      <a:pos x="T8" y="T9"/>
                    </a:cxn>
                  </a:cxnLst>
                  <a:rect l="0" t="0" r="r" b="b"/>
                  <a:pathLst>
                    <a:path w="52" h="57">
                      <a:moveTo>
                        <a:pt x="0" y="7"/>
                      </a:moveTo>
                      <a:lnTo>
                        <a:pt x="7" y="57"/>
                      </a:lnTo>
                      <a:lnTo>
                        <a:pt x="52" y="50"/>
                      </a:lnTo>
                      <a:lnTo>
                        <a:pt x="45" y="0"/>
                      </a:ln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49" name="Freeform 4383"/>
                <p:cNvSpPr>
                  <a:spLocks/>
                </p:cNvSpPr>
                <p:nvPr/>
              </p:nvSpPr>
              <p:spPr bwMode="auto">
                <a:xfrm>
                  <a:off x="1940" y="2355"/>
                  <a:ext cx="52" cy="57"/>
                </a:xfrm>
                <a:custGeom>
                  <a:avLst/>
                  <a:gdLst>
                    <a:gd name="T0" fmla="*/ 0 w 52"/>
                    <a:gd name="T1" fmla="*/ 7 h 57"/>
                    <a:gd name="T2" fmla="*/ 7 w 52"/>
                    <a:gd name="T3" fmla="*/ 57 h 57"/>
                    <a:gd name="T4" fmla="*/ 52 w 52"/>
                    <a:gd name="T5" fmla="*/ 50 h 57"/>
                    <a:gd name="T6" fmla="*/ 45 w 52"/>
                    <a:gd name="T7" fmla="*/ 0 h 57"/>
                    <a:gd name="T8" fmla="*/ 0 w 52"/>
                    <a:gd name="T9" fmla="*/ 7 h 57"/>
                  </a:gdLst>
                  <a:ahLst/>
                  <a:cxnLst>
                    <a:cxn ang="0">
                      <a:pos x="T0" y="T1"/>
                    </a:cxn>
                    <a:cxn ang="0">
                      <a:pos x="T2" y="T3"/>
                    </a:cxn>
                    <a:cxn ang="0">
                      <a:pos x="T4" y="T5"/>
                    </a:cxn>
                    <a:cxn ang="0">
                      <a:pos x="T6" y="T7"/>
                    </a:cxn>
                    <a:cxn ang="0">
                      <a:pos x="T8" y="T9"/>
                    </a:cxn>
                  </a:cxnLst>
                  <a:rect l="0" t="0" r="r" b="b"/>
                  <a:pathLst>
                    <a:path w="52" h="57">
                      <a:moveTo>
                        <a:pt x="0" y="7"/>
                      </a:moveTo>
                      <a:lnTo>
                        <a:pt x="7" y="57"/>
                      </a:lnTo>
                      <a:lnTo>
                        <a:pt x="52" y="50"/>
                      </a:lnTo>
                      <a:lnTo>
                        <a:pt x="45" y="0"/>
                      </a:lnTo>
                      <a:lnTo>
                        <a:pt x="0" y="7"/>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0" name="Freeform 4385"/>
                <p:cNvSpPr>
                  <a:spLocks/>
                </p:cNvSpPr>
                <p:nvPr/>
              </p:nvSpPr>
              <p:spPr bwMode="auto">
                <a:xfrm>
                  <a:off x="1928" y="2290"/>
                  <a:ext cx="55" cy="57"/>
                </a:xfrm>
                <a:custGeom>
                  <a:avLst/>
                  <a:gdLst>
                    <a:gd name="T0" fmla="*/ 0 w 55"/>
                    <a:gd name="T1" fmla="*/ 7 h 57"/>
                    <a:gd name="T2" fmla="*/ 9 w 55"/>
                    <a:gd name="T3" fmla="*/ 57 h 57"/>
                    <a:gd name="T4" fmla="*/ 55 w 55"/>
                    <a:gd name="T5" fmla="*/ 50 h 57"/>
                    <a:gd name="T6" fmla="*/ 45 w 55"/>
                    <a:gd name="T7" fmla="*/ 0 h 57"/>
                    <a:gd name="T8" fmla="*/ 0 w 55"/>
                    <a:gd name="T9" fmla="*/ 7 h 57"/>
                  </a:gdLst>
                  <a:ahLst/>
                  <a:cxnLst>
                    <a:cxn ang="0">
                      <a:pos x="T0" y="T1"/>
                    </a:cxn>
                    <a:cxn ang="0">
                      <a:pos x="T2" y="T3"/>
                    </a:cxn>
                    <a:cxn ang="0">
                      <a:pos x="T4" y="T5"/>
                    </a:cxn>
                    <a:cxn ang="0">
                      <a:pos x="T6" y="T7"/>
                    </a:cxn>
                    <a:cxn ang="0">
                      <a:pos x="T8" y="T9"/>
                    </a:cxn>
                  </a:cxnLst>
                  <a:rect l="0" t="0" r="r" b="b"/>
                  <a:pathLst>
                    <a:path w="55" h="57">
                      <a:moveTo>
                        <a:pt x="0" y="7"/>
                      </a:moveTo>
                      <a:lnTo>
                        <a:pt x="9" y="57"/>
                      </a:lnTo>
                      <a:lnTo>
                        <a:pt x="55" y="50"/>
                      </a:lnTo>
                      <a:lnTo>
                        <a:pt x="45" y="0"/>
                      </a:ln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1" name="Freeform 4386"/>
                <p:cNvSpPr>
                  <a:spLocks/>
                </p:cNvSpPr>
                <p:nvPr/>
              </p:nvSpPr>
              <p:spPr bwMode="auto">
                <a:xfrm>
                  <a:off x="1928" y="2290"/>
                  <a:ext cx="55" cy="57"/>
                </a:xfrm>
                <a:custGeom>
                  <a:avLst/>
                  <a:gdLst>
                    <a:gd name="T0" fmla="*/ 0 w 55"/>
                    <a:gd name="T1" fmla="*/ 7 h 57"/>
                    <a:gd name="T2" fmla="*/ 9 w 55"/>
                    <a:gd name="T3" fmla="*/ 57 h 57"/>
                    <a:gd name="T4" fmla="*/ 55 w 55"/>
                    <a:gd name="T5" fmla="*/ 50 h 57"/>
                    <a:gd name="T6" fmla="*/ 45 w 55"/>
                    <a:gd name="T7" fmla="*/ 0 h 57"/>
                    <a:gd name="T8" fmla="*/ 0 w 55"/>
                    <a:gd name="T9" fmla="*/ 7 h 57"/>
                  </a:gdLst>
                  <a:ahLst/>
                  <a:cxnLst>
                    <a:cxn ang="0">
                      <a:pos x="T0" y="T1"/>
                    </a:cxn>
                    <a:cxn ang="0">
                      <a:pos x="T2" y="T3"/>
                    </a:cxn>
                    <a:cxn ang="0">
                      <a:pos x="T4" y="T5"/>
                    </a:cxn>
                    <a:cxn ang="0">
                      <a:pos x="T6" y="T7"/>
                    </a:cxn>
                    <a:cxn ang="0">
                      <a:pos x="T8" y="T9"/>
                    </a:cxn>
                  </a:cxnLst>
                  <a:rect l="0" t="0" r="r" b="b"/>
                  <a:pathLst>
                    <a:path w="55" h="57">
                      <a:moveTo>
                        <a:pt x="0" y="7"/>
                      </a:moveTo>
                      <a:lnTo>
                        <a:pt x="9" y="57"/>
                      </a:lnTo>
                      <a:lnTo>
                        <a:pt x="55" y="50"/>
                      </a:lnTo>
                      <a:lnTo>
                        <a:pt x="45" y="0"/>
                      </a:lnTo>
                      <a:lnTo>
                        <a:pt x="0" y="7"/>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2" name="Freeform 4388"/>
                <p:cNvSpPr>
                  <a:spLocks noEditPoints="1"/>
                </p:cNvSpPr>
                <p:nvPr/>
              </p:nvSpPr>
              <p:spPr bwMode="auto">
                <a:xfrm>
                  <a:off x="1940" y="2147"/>
                  <a:ext cx="205" cy="279"/>
                </a:xfrm>
                <a:custGeom>
                  <a:avLst/>
                  <a:gdLst>
                    <a:gd name="T0" fmla="*/ 95 w 205"/>
                    <a:gd name="T1" fmla="*/ 224 h 279"/>
                    <a:gd name="T2" fmla="*/ 74 w 205"/>
                    <a:gd name="T3" fmla="*/ 251 h 279"/>
                    <a:gd name="T4" fmla="*/ 105 w 205"/>
                    <a:gd name="T5" fmla="*/ 222 h 279"/>
                    <a:gd name="T6" fmla="*/ 133 w 205"/>
                    <a:gd name="T7" fmla="*/ 241 h 279"/>
                    <a:gd name="T8" fmla="*/ 105 w 205"/>
                    <a:gd name="T9" fmla="*/ 222 h 279"/>
                    <a:gd name="T10" fmla="*/ 90 w 205"/>
                    <a:gd name="T11" fmla="*/ 196 h 279"/>
                    <a:gd name="T12" fmla="*/ 69 w 205"/>
                    <a:gd name="T13" fmla="*/ 222 h 279"/>
                    <a:gd name="T14" fmla="*/ 97 w 205"/>
                    <a:gd name="T15" fmla="*/ 193 h 279"/>
                    <a:gd name="T16" fmla="*/ 126 w 205"/>
                    <a:gd name="T17" fmla="*/ 210 h 279"/>
                    <a:gd name="T18" fmla="*/ 97 w 205"/>
                    <a:gd name="T19" fmla="*/ 193 h 279"/>
                    <a:gd name="T20" fmla="*/ 140 w 205"/>
                    <a:gd name="T21" fmla="*/ 186 h 279"/>
                    <a:gd name="T22" fmla="*/ 143 w 205"/>
                    <a:gd name="T23" fmla="*/ 239 h 279"/>
                    <a:gd name="T24" fmla="*/ 57 w 205"/>
                    <a:gd name="T25" fmla="*/ 153 h 279"/>
                    <a:gd name="T26" fmla="*/ 86 w 205"/>
                    <a:gd name="T27" fmla="*/ 169 h 279"/>
                    <a:gd name="T28" fmla="*/ 57 w 205"/>
                    <a:gd name="T29" fmla="*/ 153 h 279"/>
                    <a:gd name="T30" fmla="*/ 114 w 205"/>
                    <a:gd name="T31" fmla="*/ 141 h 279"/>
                    <a:gd name="T32" fmla="*/ 95 w 205"/>
                    <a:gd name="T33" fmla="*/ 169 h 279"/>
                    <a:gd name="T34" fmla="*/ 50 w 205"/>
                    <a:gd name="T35" fmla="*/ 122 h 279"/>
                    <a:gd name="T36" fmla="*/ 78 w 205"/>
                    <a:gd name="T37" fmla="*/ 141 h 279"/>
                    <a:gd name="T38" fmla="*/ 50 w 205"/>
                    <a:gd name="T39" fmla="*/ 122 h 279"/>
                    <a:gd name="T40" fmla="*/ 109 w 205"/>
                    <a:gd name="T41" fmla="*/ 112 h 279"/>
                    <a:gd name="T42" fmla="*/ 88 w 205"/>
                    <a:gd name="T43" fmla="*/ 138 h 279"/>
                    <a:gd name="T44" fmla="*/ 119 w 205"/>
                    <a:gd name="T45" fmla="*/ 110 h 279"/>
                    <a:gd name="T46" fmla="*/ 136 w 205"/>
                    <a:gd name="T47" fmla="*/ 160 h 279"/>
                    <a:gd name="T48" fmla="*/ 119 w 205"/>
                    <a:gd name="T49" fmla="*/ 110 h 279"/>
                    <a:gd name="T50" fmla="*/ 66 w 205"/>
                    <a:gd name="T51" fmla="*/ 71 h 279"/>
                    <a:gd name="T52" fmla="*/ 45 w 205"/>
                    <a:gd name="T53" fmla="*/ 98 h 279"/>
                    <a:gd name="T54" fmla="*/ 76 w 205"/>
                    <a:gd name="T55" fmla="*/ 69 h 279"/>
                    <a:gd name="T56" fmla="*/ 105 w 205"/>
                    <a:gd name="T57" fmla="*/ 88 h 279"/>
                    <a:gd name="T58" fmla="*/ 76 w 205"/>
                    <a:gd name="T59" fmla="*/ 69 h 279"/>
                    <a:gd name="T60" fmla="*/ 62 w 205"/>
                    <a:gd name="T61" fmla="*/ 40 h 279"/>
                    <a:gd name="T62" fmla="*/ 40 w 205"/>
                    <a:gd name="T63" fmla="*/ 67 h 279"/>
                    <a:gd name="T64" fmla="*/ 71 w 205"/>
                    <a:gd name="T65" fmla="*/ 40 h 279"/>
                    <a:gd name="T66" fmla="*/ 100 w 205"/>
                    <a:gd name="T67" fmla="*/ 57 h 279"/>
                    <a:gd name="T68" fmla="*/ 71 w 205"/>
                    <a:gd name="T69" fmla="*/ 40 h 279"/>
                    <a:gd name="T70" fmla="*/ 114 w 205"/>
                    <a:gd name="T71" fmla="*/ 31 h 279"/>
                    <a:gd name="T72" fmla="*/ 114 w 205"/>
                    <a:gd name="T73" fmla="*/ 86 h 279"/>
                    <a:gd name="T74" fmla="*/ 0 w 205"/>
                    <a:gd name="T75" fmla="*/ 31 h 279"/>
                    <a:gd name="T76" fmla="*/ 205 w 205"/>
                    <a:gd name="T77" fmla="*/ 251 h 279"/>
                    <a:gd name="T78" fmla="*/ 0 w 205"/>
                    <a:gd name="T79" fmla="*/ 3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79">
                      <a:moveTo>
                        <a:pt x="71" y="229"/>
                      </a:moveTo>
                      <a:lnTo>
                        <a:pt x="95" y="224"/>
                      </a:lnTo>
                      <a:lnTo>
                        <a:pt x="100" y="246"/>
                      </a:lnTo>
                      <a:lnTo>
                        <a:pt x="74" y="251"/>
                      </a:lnTo>
                      <a:lnTo>
                        <a:pt x="71" y="229"/>
                      </a:lnTo>
                      <a:close/>
                      <a:moveTo>
                        <a:pt x="105" y="222"/>
                      </a:moveTo>
                      <a:lnTo>
                        <a:pt x="129" y="219"/>
                      </a:lnTo>
                      <a:lnTo>
                        <a:pt x="133" y="241"/>
                      </a:lnTo>
                      <a:lnTo>
                        <a:pt x="107" y="246"/>
                      </a:lnTo>
                      <a:lnTo>
                        <a:pt x="105" y="222"/>
                      </a:lnTo>
                      <a:close/>
                      <a:moveTo>
                        <a:pt x="64" y="198"/>
                      </a:moveTo>
                      <a:lnTo>
                        <a:pt x="90" y="196"/>
                      </a:lnTo>
                      <a:lnTo>
                        <a:pt x="93" y="217"/>
                      </a:lnTo>
                      <a:lnTo>
                        <a:pt x="69" y="222"/>
                      </a:lnTo>
                      <a:lnTo>
                        <a:pt x="64" y="198"/>
                      </a:lnTo>
                      <a:close/>
                      <a:moveTo>
                        <a:pt x="97" y="193"/>
                      </a:moveTo>
                      <a:lnTo>
                        <a:pt x="124" y="188"/>
                      </a:lnTo>
                      <a:lnTo>
                        <a:pt x="126" y="210"/>
                      </a:lnTo>
                      <a:lnTo>
                        <a:pt x="102" y="215"/>
                      </a:lnTo>
                      <a:lnTo>
                        <a:pt x="97" y="193"/>
                      </a:lnTo>
                      <a:close/>
                      <a:moveTo>
                        <a:pt x="133" y="186"/>
                      </a:moveTo>
                      <a:lnTo>
                        <a:pt x="140" y="186"/>
                      </a:lnTo>
                      <a:lnTo>
                        <a:pt x="150" y="236"/>
                      </a:lnTo>
                      <a:lnTo>
                        <a:pt x="143" y="239"/>
                      </a:lnTo>
                      <a:lnTo>
                        <a:pt x="133" y="186"/>
                      </a:lnTo>
                      <a:close/>
                      <a:moveTo>
                        <a:pt x="57" y="153"/>
                      </a:moveTo>
                      <a:lnTo>
                        <a:pt x="81" y="148"/>
                      </a:lnTo>
                      <a:lnTo>
                        <a:pt x="86" y="169"/>
                      </a:lnTo>
                      <a:lnTo>
                        <a:pt x="59" y="174"/>
                      </a:lnTo>
                      <a:lnTo>
                        <a:pt x="57" y="153"/>
                      </a:lnTo>
                      <a:close/>
                      <a:moveTo>
                        <a:pt x="90" y="145"/>
                      </a:moveTo>
                      <a:lnTo>
                        <a:pt x="114" y="141"/>
                      </a:lnTo>
                      <a:lnTo>
                        <a:pt x="119" y="165"/>
                      </a:lnTo>
                      <a:lnTo>
                        <a:pt x="95" y="169"/>
                      </a:lnTo>
                      <a:lnTo>
                        <a:pt x="90" y="145"/>
                      </a:lnTo>
                      <a:close/>
                      <a:moveTo>
                        <a:pt x="50" y="122"/>
                      </a:moveTo>
                      <a:lnTo>
                        <a:pt x="76" y="117"/>
                      </a:lnTo>
                      <a:lnTo>
                        <a:pt x="78" y="141"/>
                      </a:lnTo>
                      <a:lnTo>
                        <a:pt x="54" y="143"/>
                      </a:lnTo>
                      <a:lnTo>
                        <a:pt x="50" y="122"/>
                      </a:lnTo>
                      <a:close/>
                      <a:moveTo>
                        <a:pt x="86" y="117"/>
                      </a:moveTo>
                      <a:lnTo>
                        <a:pt x="109" y="112"/>
                      </a:lnTo>
                      <a:lnTo>
                        <a:pt x="114" y="134"/>
                      </a:lnTo>
                      <a:lnTo>
                        <a:pt x="88" y="138"/>
                      </a:lnTo>
                      <a:lnTo>
                        <a:pt x="86" y="117"/>
                      </a:lnTo>
                      <a:close/>
                      <a:moveTo>
                        <a:pt x="119" y="110"/>
                      </a:moveTo>
                      <a:lnTo>
                        <a:pt x="126" y="107"/>
                      </a:lnTo>
                      <a:lnTo>
                        <a:pt x="136" y="160"/>
                      </a:lnTo>
                      <a:lnTo>
                        <a:pt x="129" y="162"/>
                      </a:lnTo>
                      <a:lnTo>
                        <a:pt x="119" y="110"/>
                      </a:lnTo>
                      <a:close/>
                      <a:moveTo>
                        <a:pt x="43" y="76"/>
                      </a:moveTo>
                      <a:lnTo>
                        <a:pt x="66" y="71"/>
                      </a:lnTo>
                      <a:lnTo>
                        <a:pt x="71" y="93"/>
                      </a:lnTo>
                      <a:lnTo>
                        <a:pt x="45" y="98"/>
                      </a:lnTo>
                      <a:lnTo>
                        <a:pt x="43" y="76"/>
                      </a:lnTo>
                      <a:close/>
                      <a:moveTo>
                        <a:pt x="76" y="69"/>
                      </a:moveTo>
                      <a:lnTo>
                        <a:pt x="100" y="64"/>
                      </a:lnTo>
                      <a:lnTo>
                        <a:pt x="105" y="88"/>
                      </a:lnTo>
                      <a:lnTo>
                        <a:pt x="81" y="91"/>
                      </a:lnTo>
                      <a:lnTo>
                        <a:pt x="76" y="69"/>
                      </a:lnTo>
                      <a:close/>
                      <a:moveTo>
                        <a:pt x="38" y="45"/>
                      </a:moveTo>
                      <a:lnTo>
                        <a:pt x="62" y="40"/>
                      </a:lnTo>
                      <a:lnTo>
                        <a:pt x="66" y="62"/>
                      </a:lnTo>
                      <a:lnTo>
                        <a:pt x="40" y="67"/>
                      </a:lnTo>
                      <a:lnTo>
                        <a:pt x="38" y="45"/>
                      </a:lnTo>
                      <a:close/>
                      <a:moveTo>
                        <a:pt x="71" y="40"/>
                      </a:moveTo>
                      <a:lnTo>
                        <a:pt x="95" y="36"/>
                      </a:lnTo>
                      <a:lnTo>
                        <a:pt x="100" y="57"/>
                      </a:lnTo>
                      <a:lnTo>
                        <a:pt x="74" y="62"/>
                      </a:lnTo>
                      <a:lnTo>
                        <a:pt x="71" y="40"/>
                      </a:lnTo>
                      <a:close/>
                      <a:moveTo>
                        <a:pt x="105" y="33"/>
                      </a:moveTo>
                      <a:lnTo>
                        <a:pt x="114" y="31"/>
                      </a:lnTo>
                      <a:lnTo>
                        <a:pt x="124" y="83"/>
                      </a:lnTo>
                      <a:lnTo>
                        <a:pt x="114" y="86"/>
                      </a:lnTo>
                      <a:lnTo>
                        <a:pt x="105" y="33"/>
                      </a:lnTo>
                      <a:close/>
                      <a:moveTo>
                        <a:pt x="0" y="31"/>
                      </a:moveTo>
                      <a:lnTo>
                        <a:pt x="45" y="279"/>
                      </a:lnTo>
                      <a:lnTo>
                        <a:pt x="205" y="251"/>
                      </a:lnTo>
                      <a:lnTo>
                        <a:pt x="160" y="0"/>
                      </a:lnTo>
                      <a:lnTo>
                        <a:pt x="0" y="3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3" name="Freeform 4389"/>
                <p:cNvSpPr>
                  <a:spLocks noEditPoints="1"/>
                </p:cNvSpPr>
                <p:nvPr/>
              </p:nvSpPr>
              <p:spPr bwMode="auto">
                <a:xfrm>
                  <a:off x="1940" y="2147"/>
                  <a:ext cx="205" cy="279"/>
                </a:xfrm>
                <a:custGeom>
                  <a:avLst/>
                  <a:gdLst>
                    <a:gd name="T0" fmla="*/ 95 w 205"/>
                    <a:gd name="T1" fmla="*/ 224 h 279"/>
                    <a:gd name="T2" fmla="*/ 74 w 205"/>
                    <a:gd name="T3" fmla="*/ 251 h 279"/>
                    <a:gd name="T4" fmla="*/ 105 w 205"/>
                    <a:gd name="T5" fmla="*/ 222 h 279"/>
                    <a:gd name="T6" fmla="*/ 133 w 205"/>
                    <a:gd name="T7" fmla="*/ 241 h 279"/>
                    <a:gd name="T8" fmla="*/ 105 w 205"/>
                    <a:gd name="T9" fmla="*/ 222 h 279"/>
                    <a:gd name="T10" fmla="*/ 90 w 205"/>
                    <a:gd name="T11" fmla="*/ 196 h 279"/>
                    <a:gd name="T12" fmla="*/ 69 w 205"/>
                    <a:gd name="T13" fmla="*/ 222 h 279"/>
                    <a:gd name="T14" fmla="*/ 97 w 205"/>
                    <a:gd name="T15" fmla="*/ 193 h 279"/>
                    <a:gd name="T16" fmla="*/ 126 w 205"/>
                    <a:gd name="T17" fmla="*/ 210 h 279"/>
                    <a:gd name="T18" fmla="*/ 97 w 205"/>
                    <a:gd name="T19" fmla="*/ 193 h 279"/>
                    <a:gd name="T20" fmla="*/ 140 w 205"/>
                    <a:gd name="T21" fmla="*/ 186 h 279"/>
                    <a:gd name="T22" fmla="*/ 143 w 205"/>
                    <a:gd name="T23" fmla="*/ 239 h 279"/>
                    <a:gd name="T24" fmla="*/ 57 w 205"/>
                    <a:gd name="T25" fmla="*/ 153 h 279"/>
                    <a:gd name="T26" fmla="*/ 86 w 205"/>
                    <a:gd name="T27" fmla="*/ 169 h 279"/>
                    <a:gd name="T28" fmla="*/ 57 w 205"/>
                    <a:gd name="T29" fmla="*/ 153 h 279"/>
                    <a:gd name="T30" fmla="*/ 114 w 205"/>
                    <a:gd name="T31" fmla="*/ 141 h 279"/>
                    <a:gd name="T32" fmla="*/ 95 w 205"/>
                    <a:gd name="T33" fmla="*/ 169 h 279"/>
                    <a:gd name="T34" fmla="*/ 50 w 205"/>
                    <a:gd name="T35" fmla="*/ 122 h 279"/>
                    <a:gd name="T36" fmla="*/ 78 w 205"/>
                    <a:gd name="T37" fmla="*/ 141 h 279"/>
                    <a:gd name="T38" fmla="*/ 50 w 205"/>
                    <a:gd name="T39" fmla="*/ 122 h 279"/>
                    <a:gd name="T40" fmla="*/ 109 w 205"/>
                    <a:gd name="T41" fmla="*/ 112 h 279"/>
                    <a:gd name="T42" fmla="*/ 88 w 205"/>
                    <a:gd name="T43" fmla="*/ 138 h 279"/>
                    <a:gd name="T44" fmla="*/ 119 w 205"/>
                    <a:gd name="T45" fmla="*/ 110 h 279"/>
                    <a:gd name="T46" fmla="*/ 136 w 205"/>
                    <a:gd name="T47" fmla="*/ 160 h 279"/>
                    <a:gd name="T48" fmla="*/ 119 w 205"/>
                    <a:gd name="T49" fmla="*/ 110 h 279"/>
                    <a:gd name="T50" fmla="*/ 66 w 205"/>
                    <a:gd name="T51" fmla="*/ 71 h 279"/>
                    <a:gd name="T52" fmla="*/ 45 w 205"/>
                    <a:gd name="T53" fmla="*/ 98 h 279"/>
                    <a:gd name="T54" fmla="*/ 76 w 205"/>
                    <a:gd name="T55" fmla="*/ 69 h 279"/>
                    <a:gd name="T56" fmla="*/ 105 w 205"/>
                    <a:gd name="T57" fmla="*/ 88 h 279"/>
                    <a:gd name="T58" fmla="*/ 76 w 205"/>
                    <a:gd name="T59" fmla="*/ 69 h 279"/>
                    <a:gd name="T60" fmla="*/ 62 w 205"/>
                    <a:gd name="T61" fmla="*/ 40 h 279"/>
                    <a:gd name="T62" fmla="*/ 40 w 205"/>
                    <a:gd name="T63" fmla="*/ 67 h 279"/>
                    <a:gd name="T64" fmla="*/ 71 w 205"/>
                    <a:gd name="T65" fmla="*/ 40 h 279"/>
                    <a:gd name="T66" fmla="*/ 100 w 205"/>
                    <a:gd name="T67" fmla="*/ 57 h 279"/>
                    <a:gd name="T68" fmla="*/ 71 w 205"/>
                    <a:gd name="T69" fmla="*/ 40 h 279"/>
                    <a:gd name="T70" fmla="*/ 114 w 205"/>
                    <a:gd name="T71" fmla="*/ 31 h 279"/>
                    <a:gd name="T72" fmla="*/ 114 w 205"/>
                    <a:gd name="T73" fmla="*/ 86 h 279"/>
                    <a:gd name="T74" fmla="*/ 0 w 205"/>
                    <a:gd name="T75" fmla="*/ 31 h 279"/>
                    <a:gd name="T76" fmla="*/ 205 w 205"/>
                    <a:gd name="T77" fmla="*/ 251 h 279"/>
                    <a:gd name="T78" fmla="*/ 0 w 205"/>
                    <a:gd name="T79" fmla="*/ 3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5" h="279">
                      <a:moveTo>
                        <a:pt x="71" y="229"/>
                      </a:moveTo>
                      <a:lnTo>
                        <a:pt x="95" y="224"/>
                      </a:lnTo>
                      <a:lnTo>
                        <a:pt x="100" y="246"/>
                      </a:lnTo>
                      <a:lnTo>
                        <a:pt x="74" y="251"/>
                      </a:lnTo>
                      <a:lnTo>
                        <a:pt x="71" y="229"/>
                      </a:lnTo>
                      <a:moveTo>
                        <a:pt x="105" y="222"/>
                      </a:moveTo>
                      <a:lnTo>
                        <a:pt x="129" y="219"/>
                      </a:lnTo>
                      <a:lnTo>
                        <a:pt x="133" y="241"/>
                      </a:lnTo>
                      <a:lnTo>
                        <a:pt x="107" y="246"/>
                      </a:lnTo>
                      <a:lnTo>
                        <a:pt x="105" y="222"/>
                      </a:lnTo>
                      <a:moveTo>
                        <a:pt x="64" y="198"/>
                      </a:moveTo>
                      <a:lnTo>
                        <a:pt x="90" y="196"/>
                      </a:lnTo>
                      <a:lnTo>
                        <a:pt x="93" y="217"/>
                      </a:lnTo>
                      <a:lnTo>
                        <a:pt x="69" y="222"/>
                      </a:lnTo>
                      <a:lnTo>
                        <a:pt x="64" y="198"/>
                      </a:lnTo>
                      <a:moveTo>
                        <a:pt x="97" y="193"/>
                      </a:moveTo>
                      <a:lnTo>
                        <a:pt x="124" y="188"/>
                      </a:lnTo>
                      <a:lnTo>
                        <a:pt x="126" y="210"/>
                      </a:lnTo>
                      <a:lnTo>
                        <a:pt x="102" y="215"/>
                      </a:lnTo>
                      <a:lnTo>
                        <a:pt x="97" y="193"/>
                      </a:lnTo>
                      <a:moveTo>
                        <a:pt x="133" y="186"/>
                      </a:moveTo>
                      <a:lnTo>
                        <a:pt x="140" y="186"/>
                      </a:lnTo>
                      <a:lnTo>
                        <a:pt x="150" y="236"/>
                      </a:lnTo>
                      <a:lnTo>
                        <a:pt x="143" y="239"/>
                      </a:lnTo>
                      <a:lnTo>
                        <a:pt x="133" y="186"/>
                      </a:lnTo>
                      <a:moveTo>
                        <a:pt x="57" y="153"/>
                      </a:moveTo>
                      <a:lnTo>
                        <a:pt x="81" y="148"/>
                      </a:lnTo>
                      <a:lnTo>
                        <a:pt x="86" y="169"/>
                      </a:lnTo>
                      <a:lnTo>
                        <a:pt x="59" y="174"/>
                      </a:lnTo>
                      <a:lnTo>
                        <a:pt x="57" y="153"/>
                      </a:lnTo>
                      <a:moveTo>
                        <a:pt x="90" y="145"/>
                      </a:moveTo>
                      <a:lnTo>
                        <a:pt x="114" y="141"/>
                      </a:lnTo>
                      <a:lnTo>
                        <a:pt x="119" y="165"/>
                      </a:lnTo>
                      <a:lnTo>
                        <a:pt x="95" y="169"/>
                      </a:lnTo>
                      <a:lnTo>
                        <a:pt x="90" y="145"/>
                      </a:lnTo>
                      <a:moveTo>
                        <a:pt x="50" y="122"/>
                      </a:moveTo>
                      <a:lnTo>
                        <a:pt x="76" y="117"/>
                      </a:lnTo>
                      <a:lnTo>
                        <a:pt x="78" y="141"/>
                      </a:lnTo>
                      <a:lnTo>
                        <a:pt x="54" y="143"/>
                      </a:lnTo>
                      <a:lnTo>
                        <a:pt x="50" y="122"/>
                      </a:lnTo>
                      <a:moveTo>
                        <a:pt x="86" y="117"/>
                      </a:moveTo>
                      <a:lnTo>
                        <a:pt x="109" y="112"/>
                      </a:lnTo>
                      <a:lnTo>
                        <a:pt x="114" y="134"/>
                      </a:lnTo>
                      <a:lnTo>
                        <a:pt x="88" y="138"/>
                      </a:lnTo>
                      <a:lnTo>
                        <a:pt x="86" y="117"/>
                      </a:lnTo>
                      <a:moveTo>
                        <a:pt x="119" y="110"/>
                      </a:moveTo>
                      <a:lnTo>
                        <a:pt x="126" y="107"/>
                      </a:lnTo>
                      <a:lnTo>
                        <a:pt x="136" y="160"/>
                      </a:lnTo>
                      <a:lnTo>
                        <a:pt x="129" y="162"/>
                      </a:lnTo>
                      <a:lnTo>
                        <a:pt x="119" y="110"/>
                      </a:lnTo>
                      <a:moveTo>
                        <a:pt x="43" y="76"/>
                      </a:moveTo>
                      <a:lnTo>
                        <a:pt x="66" y="71"/>
                      </a:lnTo>
                      <a:lnTo>
                        <a:pt x="71" y="93"/>
                      </a:lnTo>
                      <a:lnTo>
                        <a:pt x="45" y="98"/>
                      </a:lnTo>
                      <a:lnTo>
                        <a:pt x="43" y="76"/>
                      </a:lnTo>
                      <a:moveTo>
                        <a:pt x="76" y="69"/>
                      </a:moveTo>
                      <a:lnTo>
                        <a:pt x="100" y="64"/>
                      </a:lnTo>
                      <a:lnTo>
                        <a:pt x="105" y="88"/>
                      </a:lnTo>
                      <a:lnTo>
                        <a:pt x="81" y="91"/>
                      </a:lnTo>
                      <a:lnTo>
                        <a:pt x="76" y="69"/>
                      </a:lnTo>
                      <a:moveTo>
                        <a:pt x="38" y="45"/>
                      </a:moveTo>
                      <a:lnTo>
                        <a:pt x="62" y="40"/>
                      </a:lnTo>
                      <a:lnTo>
                        <a:pt x="66" y="62"/>
                      </a:lnTo>
                      <a:lnTo>
                        <a:pt x="40" y="67"/>
                      </a:lnTo>
                      <a:lnTo>
                        <a:pt x="38" y="45"/>
                      </a:lnTo>
                      <a:moveTo>
                        <a:pt x="71" y="40"/>
                      </a:moveTo>
                      <a:lnTo>
                        <a:pt x="95" y="36"/>
                      </a:lnTo>
                      <a:lnTo>
                        <a:pt x="100" y="57"/>
                      </a:lnTo>
                      <a:lnTo>
                        <a:pt x="74" y="62"/>
                      </a:lnTo>
                      <a:lnTo>
                        <a:pt x="71" y="40"/>
                      </a:lnTo>
                      <a:moveTo>
                        <a:pt x="105" y="33"/>
                      </a:moveTo>
                      <a:lnTo>
                        <a:pt x="114" y="31"/>
                      </a:lnTo>
                      <a:lnTo>
                        <a:pt x="124" y="83"/>
                      </a:lnTo>
                      <a:lnTo>
                        <a:pt x="114" y="86"/>
                      </a:lnTo>
                      <a:lnTo>
                        <a:pt x="105" y="33"/>
                      </a:lnTo>
                      <a:moveTo>
                        <a:pt x="0" y="31"/>
                      </a:moveTo>
                      <a:lnTo>
                        <a:pt x="45" y="279"/>
                      </a:lnTo>
                      <a:lnTo>
                        <a:pt x="205" y="251"/>
                      </a:lnTo>
                      <a:lnTo>
                        <a:pt x="160" y="0"/>
                      </a:lnTo>
                      <a:lnTo>
                        <a:pt x="0" y="31"/>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4" name="Freeform 4391"/>
                <p:cNvSpPr>
                  <a:spLocks/>
                </p:cNvSpPr>
                <p:nvPr/>
              </p:nvSpPr>
              <p:spPr bwMode="auto">
                <a:xfrm>
                  <a:off x="1868" y="2584"/>
                  <a:ext cx="232" cy="88"/>
                </a:xfrm>
                <a:custGeom>
                  <a:avLst/>
                  <a:gdLst>
                    <a:gd name="T0" fmla="*/ 0 w 232"/>
                    <a:gd name="T1" fmla="*/ 59 h 88"/>
                    <a:gd name="T2" fmla="*/ 7 w 232"/>
                    <a:gd name="T3" fmla="*/ 88 h 88"/>
                    <a:gd name="T4" fmla="*/ 232 w 232"/>
                    <a:gd name="T5" fmla="*/ 67 h 88"/>
                    <a:gd name="T6" fmla="*/ 220 w 232"/>
                    <a:gd name="T7" fmla="*/ 0 h 88"/>
                    <a:gd name="T8" fmla="*/ 0 w 232"/>
                    <a:gd name="T9" fmla="*/ 59 h 88"/>
                  </a:gdLst>
                  <a:ahLst/>
                  <a:cxnLst>
                    <a:cxn ang="0">
                      <a:pos x="T0" y="T1"/>
                    </a:cxn>
                    <a:cxn ang="0">
                      <a:pos x="T2" y="T3"/>
                    </a:cxn>
                    <a:cxn ang="0">
                      <a:pos x="T4" y="T5"/>
                    </a:cxn>
                    <a:cxn ang="0">
                      <a:pos x="T6" y="T7"/>
                    </a:cxn>
                    <a:cxn ang="0">
                      <a:pos x="T8" y="T9"/>
                    </a:cxn>
                  </a:cxnLst>
                  <a:rect l="0" t="0" r="r" b="b"/>
                  <a:pathLst>
                    <a:path w="232" h="88">
                      <a:moveTo>
                        <a:pt x="0" y="59"/>
                      </a:moveTo>
                      <a:lnTo>
                        <a:pt x="7" y="88"/>
                      </a:lnTo>
                      <a:lnTo>
                        <a:pt x="232" y="67"/>
                      </a:lnTo>
                      <a:lnTo>
                        <a:pt x="220" y="0"/>
                      </a:lnTo>
                      <a:lnTo>
                        <a:pt x="0" y="5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5" name="Freeform 4392"/>
                <p:cNvSpPr>
                  <a:spLocks/>
                </p:cNvSpPr>
                <p:nvPr/>
              </p:nvSpPr>
              <p:spPr bwMode="auto">
                <a:xfrm>
                  <a:off x="1868" y="2584"/>
                  <a:ext cx="232" cy="88"/>
                </a:xfrm>
                <a:custGeom>
                  <a:avLst/>
                  <a:gdLst>
                    <a:gd name="T0" fmla="*/ 0 w 232"/>
                    <a:gd name="T1" fmla="*/ 59 h 88"/>
                    <a:gd name="T2" fmla="*/ 7 w 232"/>
                    <a:gd name="T3" fmla="*/ 88 h 88"/>
                    <a:gd name="T4" fmla="*/ 232 w 232"/>
                    <a:gd name="T5" fmla="*/ 67 h 88"/>
                    <a:gd name="T6" fmla="*/ 220 w 232"/>
                    <a:gd name="T7" fmla="*/ 0 h 88"/>
                    <a:gd name="T8" fmla="*/ 0 w 232"/>
                    <a:gd name="T9" fmla="*/ 59 h 88"/>
                  </a:gdLst>
                  <a:ahLst/>
                  <a:cxnLst>
                    <a:cxn ang="0">
                      <a:pos x="T0" y="T1"/>
                    </a:cxn>
                    <a:cxn ang="0">
                      <a:pos x="T2" y="T3"/>
                    </a:cxn>
                    <a:cxn ang="0">
                      <a:pos x="T4" y="T5"/>
                    </a:cxn>
                    <a:cxn ang="0">
                      <a:pos x="T6" y="T7"/>
                    </a:cxn>
                    <a:cxn ang="0">
                      <a:pos x="T8" y="T9"/>
                    </a:cxn>
                  </a:cxnLst>
                  <a:rect l="0" t="0" r="r" b="b"/>
                  <a:pathLst>
                    <a:path w="232" h="88">
                      <a:moveTo>
                        <a:pt x="0" y="59"/>
                      </a:moveTo>
                      <a:lnTo>
                        <a:pt x="7" y="88"/>
                      </a:lnTo>
                      <a:lnTo>
                        <a:pt x="232" y="67"/>
                      </a:lnTo>
                      <a:lnTo>
                        <a:pt x="220" y="0"/>
                      </a:lnTo>
                      <a:lnTo>
                        <a:pt x="0" y="59"/>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6" name="Freeform 4394"/>
                <p:cNvSpPr>
                  <a:spLocks noEditPoints="1"/>
                </p:cNvSpPr>
                <p:nvPr/>
              </p:nvSpPr>
              <p:spPr bwMode="auto">
                <a:xfrm>
                  <a:off x="1985" y="2393"/>
                  <a:ext cx="229" cy="274"/>
                </a:xfrm>
                <a:custGeom>
                  <a:avLst/>
                  <a:gdLst>
                    <a:gd name="T0" fmla="*/ 110 w 229"/>
                    <a:gd name="T1" fmla="*/ 169 h 274"/>
                    <a:gd name="T2" fmla="*/ 136 w 229"/>
                    <a:gd name="T3" fmla="*/ 164 h 274"/>
                    <a:gd name="T4" fmla="*/ 146 w 229"/>
                    <a:gd name="T5" fmla="*/ 217 h 274"/>
                    <a:gd name="T6" fmla="*/ 119 w 229"/>
                    <a:gd name="T7" fmla="*/ 222 h 274"/>
                    <a:gd name="T8" fmla="*/ 110 w 229"/>
                    <a:gd name="T9" fmla="*/ 169 h 274"/>
                    <a:gd name="T10" fmla="*/ 95 w 229"/>
                    <a:gd name="T11" fmla="*/ 100 h 274"/>
                    <a:gd name="T12" fmla="*/ 124 w 229"/>
                    <a:gd name="T13" fmla="*/ 95 h 274"/>
                    <a:gd name="T14" fmla="*/ 134 w 229"/>
                    <a:gd name="T15" fmla="*/ 148 h 274"/>
                    <a:gd name="T16" fmla="*/ 105 w 229"/>
                    <a:gd name="T17" fmla="*/ 153 h 274"/>
                    <a:gd name="T18" fmla="*/ 95 w 229"/>
                    <a:gd name="T19" fmla="*/ 100 h 274"/>
                    <a:gd name="T20" fmla="*/ 84 w 229"/>
                    <a:gd name="T21" fmla="*/ 33 h 274"/>
                    <a:gd name="T22" fmla="*/ 112 w 229"/>
                    <a:gd name="T23" fmla="*/ 26 h 274"/>
                    <a:gd name="T24" fmla="*/ 122 w 229"/>
                    <a:gd name="T25" fmla="*/ 79 h 274"/>
                    <a:gd name="T26" fmla="*/ 93 w 229"/>
                    <a:gd name="T27" fmla="*/ 86 h 274"/>
                    <a:gd name="T28" fmla="*/ 84 w 229"/>
                    <a:gd name="T29" fmla="*/ 33 h 274"/>
                    <a:gd name="T30" fmla="*/ 0 w 229"/>
                    <a:gd name="T31" fmla="*/ 33 h 274"/>
                    <a:gd name="T32" fmla="*/ 57 w 229"/>
                    <a:gd name="T33" fmla="*/ 107 h 274"/>
                    <a:gd name="T34" fmla="*/ 14 w 229"/>
                    <a:gd name="T35" fmla="*/ 117 h 274"/>
                    <a:gd name="T36" fmla="*/ 74 w 229"/>
                    <a:gd name="T37" fmla="*/ 193 h 274"/>
                    <a:gd name="T38" fmla="*/ 88 w 229"/>
                    <a:gd name="T39" fmla="*/ 274 h 274"/>
                    <a:gd name="T40" fmla="*/ 229 w 229"/>
                    <a:gd name="T41" fmla="*/ 248 h 274"/>
                    <a:gd name="T42" fmla="*/ 184 w 229"/>
                    <a:gd name="T43" fmla="*/ 0 h 274"/>
                    <a:gd name="T44" fmla="*/ 0 w 229"/>
                    <a:gd name="T45" fmla="*/ 3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9" h="274">
                      <a:moveTo>
                        <a:pt x="110" y="169"/>
                      </a:moveTo>
                      <a:lnTo>
                        <a:pt x="136" y="164"/>
                      </a:lnTo>
                      <a:lnTo>
                        <a:pt x="146" y="217"/>
                      </a:lnTo>
                      <a:lnTo>
                        <a:pt x="119" y="222"/>
                      </a:lnTo>
                      <a:lnTo>
                        <a:pt x="110" y="169"/>
                      </a:lnTo>
                      <a:close/>
                      <a:moveTo>
                        <a:pt x="95" y="100"/>
                      </a:moveTo>
                      <a:lnTo>
                        <a:pt x="124" y="95"/>
                      </a:lnTo>
                      <a:lnTo>
                        <a:pt x="134" y="148"/>
                      </a:lnTo>
                      <a:lnTo>
                        <a:pt x="105" y="153"/>
                      </a:lnTo>
                      <a:lnTo>
                        <a:pt x="95" y="100"/>
                      </a:lnTo>
                      <a:close/>
                      <a:moveTo>
                        <a:pt x="84" y="33"/>
                      </a:moveTo>
                      <a:lnTo>
                        <a:pt x="112" y="26"/>
                      </a:lnTo>
                      <a:lnTo>
                        <a:pt x="122" y="79"/>
                      </a:lnTo>
                      <a:lnTo>
                        <a:pt x="93" y="86"/>
                      </a:lnTo>
                      <a:lnTo>
                        <a:pt x="84" y="33"/>
                      </a:lnTo>
                      <a:close/>
                      <a:moveTo>
                        <a:pt x="0" y="33"/>
                      </a:moveTo>
                      <a:lnTo>
                        <a:pt x="57" y="107"/>
                      </a:lnTo>
                      <a:lnTo>
                        <a:pt x="14" y="117"/>
                      </a:lnTo>
                      <a:lnTo>
                        <a:pt x="74" y="193"/>
                      </a:lnTo>
                      <a:lnTo>
                        <a:pt x="88" y="274"/>
                      </a:lnTo>
                      <a:lnTo>
                        <a:pt x="229" y="248"/>
                      </a:lnTo>
                      <a:lnTo>
                        <a:pt x="184" y="0"/>
                      </a:lnTo>
                      <a:lnTo>
                        <a:pt x="0" y="3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57" name="Freeform 4395"/>
                <p:cNvSpPr>
                  <a:spLocks noEditPoints="1"/>
                </p:cNvSpPr>
                <p:nvPr/>
              </p:nvSpPr>
              <p:spPr bwMode="auto">
                <a:xfrm>
                  <a:off x="1985" y="2393"/>
                  <a:ext cx="229" cy="274"/>
                </a:xfrm>
                <a:custGeom>
                  <a:avLst/>
                  <a:gdLst>
                    <a:gd name="T0" fmla="*/ 110 w 229"/>
                    <a:gd name="T1" fmla="*/ 169 h 274"/>
                    <a:gd name="T2" fmla="*/ 136 w 229"/>
                    <a:gd name="T3" fmla="*/ 164 h 274"/>
                    <a:gd name="T4" fmla="*/ 146 w 229"/>
                    <a:gd name="T5" fmla="*/ 217 h 274"/>
                    <a:gd name="T6" fmla="*/ 119 w 229"/>
                    <a:gd name="T7" fmla="*/ 222 h 274"/>
                    <a:gd name="T8" fmla="*/ 110 w 229"/>
                    <a:gd name="T9" fmla="*/ 169 h 274"/>
                    <a:gd name="T10" fmla="*/ 95 w 229"/>
                    <a:gd name="T11" fmla="*/ 100 h 274"/>
                    <a:gd name="T12" fmla="*/ 124 w 229"/>
                    <a:gd name="T13" fmla="*/ 95 h 274"/>
                    <a:gd name="T14" fmla="*/ 134 w 229"/>
                    <a:gd name="T15" fmla="*/ 148 h 274"/>
                    <a:gd name="T16" fmla="*/ 105 w 229"/>
                    <a:gd name="T17" fmla="*/ 153 h 274"/>
                    <a:gd name="T18" fmla="*/ 95 w 229"/>
                    <a:gd name="T19" fmla="*/ 100 h 274"/>
                    <a:gd name="T20" fmla="*/ 84 w 229"/>
                    <a:gd name="T21" fmla="*/ 33 h 274"/>
                    <a:gd name="T22" fmla="*/ 112 w 229"/>
                    <a:gd name="T23" fmla="*/ 26 h 274"/>
                    <a:gd name="T24" fmla="*/ 122 w 229"/>
                    <a:gd name="T25" fmla="*/ 79 h 274"/>
                    <a:gd name="T26" fmla="*/ 93 w 229"/>
                    <a:gd name="T27" fmla="*/ 86 h 274"/>
                    <a:gd name="T28" fmla="*/ 84 w 229"/>
                    <a:gd name="T29" fmla="*/ 33 h 274"/>
                    <a:gd name="T30" fmla="*/ 0 w 229"/>
                    <a:gd name="T31" fmla="*/ 33 h 274"/>
                    <a:gd name="T32" fmla="*/ 57 w 229"/>
                    <a:gd name="T33" fmla="*/ 107 h 274"/>
                    <a:gd name="T34" fmla="*/ 14 w 229"/>
                    <a:gd name="T35" fmla="*/ 117 h 274"/>
                    <a:gd name="T36" fmla="*/ 74 w 229"/>
                    <a:gd name="T37" fmla="*/ 193 h 274"/>
                    <a:gd name="T38" fmla="*/ 88 w 229"/>
                    <a:gd name="T39" fmla="*/ 274 h 274"/>
                    <a:gd name="T40" fmla="*/ 229 w 229"/>
                    <a:gd name="T41" fmla="*/ 248 h 274"/>
                    <a:gd name="T42" fmla="*/ 184 w 229"/>
                    <a:gd name="T43" fmla="*/ 0 h 274"/>
                    <a:gd name="T44" fmla="*/ 0 w 229"/>
                    <a:gd name="T45" fmla="*/ 3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9" h="274">
                      <a:moveTo>
                        <a:pt x="110" y="169"/>
                      </a:moveTo>
                      <a:lnTo>
                        <a:pt x="136" y="164"/>
                      </a:lnTo>
                      <a:lnTo>
                        <a:pt x="146" y="217"/>
                      </a:lnTo>
                      <a:lnTo>
                        <a:pt x="119" y="222"/>
                      </a:lnTo>
                      <a:lnTo>
                        <a:pt x="110" y="169"/>
                      </a:lnTo>
                      <a:moveTo>
                        <a:pt x="95" y="100"/>
                      </a:moveTo>
                      <a:lnTo>
                        <a:pt x="124" y="95"/>
                      </a:lnTo>
                      <a:lnTo>
                        <a:pt x="134" y="148"/>
                      </a:lnTo>
                      <a:lnTo>
                        <a:pt x="105" y="153"/>
                      </a:lnTo>
                      <a:lnTo>
                        <a:pt x="95" y="100"/>
                      </a:lnTo>
                      <a:moveTo>
                        <a:pt x="84" y="33"/>
                      </a:moveTo>
                      <a:lnTo>
                        <a:pt x="112" y="26"/>
                      </a:lnTo>
                      <a:lnTo>
                        <a:pt x="122" y="79"/>
                      </a:lnTo>
                      <a:lnTo>
                        <a:pt x="93" y="86"/>
                      </a:lnTo>
                      <a:lnTo>
                        <a:pt x="84" y="33"/>
                      </a:lnTo>
                      <a:moveTo>
                        <a:pt x="0" y="33"/>
                      </a:moveTo>
                      <a:lnTo>
                        <a:pt x="57" y="107"/>
                      </a:lnTo>
                      <a:lnTo>
                        <a:pt x="14" y="117"/>
                      </a:lnTo>
                      <a:lnTo>
                        <a:pt x="74" y="193"/>
                      </a:lnTo>
                      <a:lnTo>
                        <a:pt x="88" y="274"/>
                      </a:lnTo>
                      <a:lnTo>
                        <a:pt x="229" y="248"/>
                      </a:lnTo>
                      <a:lnTo>
                        <a:pt x="184" y="0"/>
                      </a:lnTo>
                      <a:lnTo>
                        <a:pt x="0" y="33"/>
                      </a:ln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413" name="Freeform 4404"/>
              <p:cNvSpPr>
                <a:spLocks/>
              </p:cNvSpPr>
              <p:nvPr/>
            </p:nvSpPr>
            <p:spPr bwMode="auto">
              <a:xfrm>
                <a:off x="2408579" y="4089403"/>
                <a:ext cx="125412" cy="165100"/>
              </a:xfrm>
              <a:custGeom>
                <a:avLst/>
                <a:gdLst>
                  <a:gd name="T0" fmla="*/ 0 w 32"/>
                  <a:gd name="T1" fmla="*/ 1 h 42"/>
                  <a:gd name="T2" fmla="*/ 12 w 32"/>
                  <a:gd name="T3" fmla="*/ 28 h 42"/>
                  <a:gd name="T4" fmla="*/ 32 w 32"/>
                  <a:gd name="T5" fmla="*/ 37 h 42"/>
                  <a:gd name="T6" fmla="*/ 20 w 32"/>
                  <a:gd name="T7" fmla="*/ 18 h 42"/>
                  <a:gd name="T8" fmla="*/ 4 w 32"/>
                  <a:gd name="T9" fmla="*/ 0 h 42"/>
                  <a:gd name="T10" fmla="*/ 0 w 32"/>
                  <a:gd name="T11" fmla="*/ 1 h 42"/>
                </a:gdLst>
                <a:ahLst/>
                <a:cxnLst>
                  <a:cxn ang="0">
                    <a:pos x="T0" y="T1"/>
                  </a:cxn>
                  <a:cxn ang="0">
                    <a:pos x="T2" y="T3"/>
                  </a:cxn>
                  <a:cxn ang="0">
                    <a:pos x="T4" y="T5"/>
                  </a:cxn>
                  <a:cxn ang="0">
                    <a:pos x="T6" y="T7"/>
                  </a:cxn>
                  <a:cxn ang="0">
                    <a:pos x="T8" y="T9"/>
                  </a:cxn>
                  <a:cxn ang="0">
                    <a:pos x="T10" y="T11"/>
                  </a:cxn>
                </a:cxnLst>
                <a:rect l="0" t="0" r="r" b="b"/>
                <a:pathLst>
                  <a:path w="32" h="42">
                    <a:moveTo>
                      <a:pt x="0" y="1"/>
                    </a:moveTo>
                    <a:cubicBezTo>
                      <a:pt x="18" y="2"/>
                      <a:pt x="10" y="20"/>
                      <a:pt x="12" y="28"/>
                    </a:cubicBezTo>
                    <a:cubicBezTo>
                      <a:pt x="16" y="42"/>
                      <a:pt x="32" y="37"/>
                      <a:pt x="32" y="37"/>
                    </a:cubicBezTo>
                    <a:cubicBezTo>
                      <a:pt x="16" y="38"/>
                      <a:pt x="19" y="22"/>
                      <a:pt x="20" y="18"/>
                    </a:cubicBezTo>
                    <a:cubicBezTo>
                      <a:pt x="20" y="9"/>
                      <a:pt x="15" y="0"/>
                      <a:pt x="4" y="0"/>
                    </a:cubicBezTo>
                    <a:cubicBezTo>
                      <a:pt x="3" y="0"/>
                      <a:pt x="1" y="0"/>
                      <a:pt x="0" y="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411" name="Rectangle 410"/>
            <p:cNvSpPr/>
            <p:nvPr/>
          </p:nvSpPr>
          <p:spPr>
            <a:xfrm rot="21060000">
              <a:off x="3379844" y="3259479"/>
              <a:ext cx="36576" cy="411480"/>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latin typeface="+mj-lt"/>
                <a:cs typeface="Arial" charset="0"/>
              </a:endParaRPr>
            </a:p>
          </p:txBody>
        </p:sp>
      </p:grpSp>
      <p:grpSp>
        <p:nvGrpSpPr>
          <p:cNvPr id="458" name="Group 4667"/>
          <p:cNvGrpSpPr>
            <a:grpSpLocks noChangeAspect="1"/>
          </p:cNvGrpSpPr>
          <p:nvPr/>
        </p:nvGrpSpPr>
        <p:grpSpPr bwMode="auto">
          <a:xfrm>
            <a:off x="4358590" y="4716870"/>
            <a:ext cx="338166" cy="550394"/>
            <a:chOff x="858" y="3005"/>
            <a:chExt cx="290" cy="472"/>
          </a:xfrm>
        </p:grpSpPr>
        <p:sp>
          <p:nvSpPr>
            <p:cNvPr id="459" name="Freeform 4668"/>
            <p:cNvSpPr>
              <a:spLocks/>
            </p:cNvSpPr>
            <p:nvPr/>
          </p:nvSpPr>
          <p:spPr bwMode="auto">
            <a:xfrm>
              <a:off x="858" y="3166"/>
              <a:ext cx="290" cy="310"/>
            </a:xfrm>
            <a:custGeom>
              <a:avLst/>
              <a:gdLst>
                <a:gd name="T0" fmla="*/ 51 w 120"/>
                <a:gd name="T1" fmla="*/ 55 h 129"/>
                <a:gd name="T2" fmla="*/ 43 w 120"/>
                <a:gd name="T3" fmla="*/ 59 h 129"/>
                <a:gd name="T4" fmla="*/ 15 w 120"/>
                <a:gd name="T5" fmla="*/ 49 h 129"/>
                <a:gd name="T6" fmla="*/ 0 w 120"/>
                <a:gd name="T7" fmla="*/ 50 h 129"/>
                <a:gd name="T8" fmla="*/ 42 w 120"/>
                <a:gd name="T9" fmla="*/ 60 h 129"/>
                <a:gd name="T10" fmla="*/ 48 w 120"/>
                <a:gd name="T11" fmla="*/ 59 h 129"/>
                <a:gd name="T12" fmla="*/ 39 w 120"/>
                <a:gd name="T13" fmla="*/ 77 h 129"/>
                <a:gd name="T14" fmla="*/ 47 w 120"/>
                <a:gd name="T15" fmla="*/ 129 h 129"/>
                <a:gd name="T16" fmla="*/ 41 w 120"/>
                <a:gd name="T17" fmla="*/ 76 h 129"/>
                <a:gd name="T18" fmla="*/ 55 w 120"/>
                <a:gd name="T19" fmla="*/ 57 h 129"/>
                <a:gd name="T20" fmla="*/ 68 w 120"/>
                <a:gd name="T21" fmla="*/ 47 h 129"/>
                <a:gd name="T22" fmla="*/ 68 w 120"/>
                <a:gd name="T23" fmla="*/ 51 h 129"/>
                <a:gd name="T24" fmla="*/ 110 w 120"/>
                <a:gd name="T25" fmla="*/ 93 h 129"/>
                <a:gd name="T26" fmla="*/ 70 w 120"/>
                <a:gd name="T27" fmla="*/ 50 h 129"/>
                <a:gd name="T28" fmla="*/ 71 w 120"/>
                <a:gd name="T29" fmla="*/ 43 h 129"/>
                <a:gd name="T30" fmla="*/ 78 w 120"/>
                <a:gd name="T31" fmla="*/ 2 h 129"/>
                <a:gd name="T32" fmla="*/ 68 w 120"/>
                <a:gd name="T33" fmla="*/ 0 h 129"/>
                <a:gd name="T34" fmla="*/ 51 w 120"/>
                <a:gd name="T35" fmla="*/ 5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9">
                  <a:moveTo>
                    <a:pt x="51" y="55"/>
                  </a:moveTo>
                  <a:cubicBezTo>
                    <a:pt x="49" y="57"/>
                    <a:pt x="46" y="58"/>
                    <a:pt x="43" y="59"/>
                  </a:cubicBezTo>
                  <a:cubicBezTo>
                    <a:pt x="41" y="44"/>
                    <a:pt x="27" y="46"/>
                    <a:pt x="15" y="49"/>
                  </a:cubicBezTo>
                  <a:cubicBezTo>
                    <a:pt x="9" y="50"/>
                    <a:pt x="4" y="51"/>
                    <a:pt x="0" y="50"/>
                  </a:cubicBezTo>
                  <a:cubicBezTo>
                    <a:pt x="18" y="70"/>
                    <a:pt x="32" y="73"/>
                    <a:pt x="42" y="60"/>
                  </a:cubicBezTo>
                  <a:cubicBezTo>
                    <a:pt x="44" y="60"/>
                    <a:pt x="46" y="60"/>
                    <a:pt x="48" y="59"/>
                  </a:cubicBezTo>
                  <a:cubicBezTo>
                    <a:pt x="43" y="64"/>
                    <a:pt x="40" y="70"/>
                    <a:pt x="39" y="77"/>
                  </a:cubicBezTo>
                  <a:cubicBezTo>
                    <a:pt x="18" y="98"/>
                    <a:pt x="35" y="97"/>
                    <a:pt x="47" y="129"/>
                  </a:cubicBezTo>
                  <a:cubicBezTo>
                    <a:pt x="54" y="96"/>
                    <a:pt x="58" y="87"/>
                    <a:pt x="41" y="76"/>
                  </a:cubicBezTo>
                  <a:cubicBezTo>
                    <a:pt x="44" y="69"/>
                    <a:pt x="48" y="62"/>
                    <a:pt x="55" y="57"/>
                  </a:cubicBezTo>
                  <a:cubicBezTo>
                    <a:pt x="60" y="54"/>
                    <a:pt x="64" y="50"/>
                    <a:pt x="68" y="47"/>
                  </a:cubicBezTo>
                  <a:cubicBezTo>
                    <a:pt x="68" y="48"/>
                    <a:pt x="68" y="50"/>
                    <a:pt x="68" y="51"/>
                  </a:cubicBezTo>
                  <a:cubicBezTo>
                    <a:pt x="59" y="73"/>
                    <a:pt x="82" y="96"/>
                    <a:pt x="110" y="93"/>
                  </a:cubicBezTo>
                  <a:cubicBezTo>
                    <a:pt x="80" y="78"/>
                    <a:pt x="120" y="51"/>
                    <a:pt x="70" y="50"/>
                  </a:cubicBezTo>
                  <a:cubicBezTo>
                    <a:pt x="70" y="48"/>
                    <a:pt x="70" y="46"/>
                    <a:pt x="71" y="43"/>
                  </a:cubicBezTo>
                  <a:cubicBezTo>
                    <a:pt x="80" y="32"/>
                    <a:pt x="83" y="17"/>
                    <a:pt x="78" y="2"/>
                  </a:cubicBezTo>
                  <a:cubicBezTo>
                    <a:pt x="68" y="0"/>
                    <a:pt x="68" y="0"/>
                    <a:pt x="68" y="0"/>
                  </a:cubicBezTo>
                  <a:cubicBezTo>
                    <a:pt x="76" y="20"/>
                    <a:pt x="70" y="43"/>
                    <a:pt x="51" y="55"/>
                  </a:cubicBezTo>
                </a:path>
              </a:pathLst>
            </a:custGeom>
            <a:gradFill flip="none" rotWithShape="1">
              <a:gsLst>
                <a:gs pos="0">
                  <a:schemeClr val="bg1"/>
                </a:gs>
                <a:gs pos="32000">
                  <a:schemeClr val="bg1"/>
                </a:gs>
                <a:gs pos="90000">
                  <a:srgbClr val="00447C"/>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0" name="Oval 4669"/>
            <p:cNvSpPr>
              <a:spLocks noChangeArrowheads="1"/>
            </p:cNvSpPr>
            <p:nvPr/>
          </p:nvSpPr>
          <p:spPr bwMode="auto">
            <a:xfrm>
              <a:off x="972" y="3476"/>
              <a:ext cx="1" cy="1"/>
            </a:xfrm>
            <a:prstGeom prst="ellipse">
              <a:avLst/>
            </a:prstGeom>
            <a:gradFill flip="none" rotWithShape="1">
              <a:gsLst>
                <a:gs pos="58000">
                  <a:schemeClr val="accent3"/>
                </a:gs>
                <a:gs pos="0">
                  <a:schemeClr val="accent3">
                    <a:lumMod val="75000"/>
                  </a:schemeClr>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1" name="Freeform 4671"/>
            <p:cNvSpPr>
              <a:spLocks/>
            </p:cNvSpPr>
            <p:nvPr/>
          </p:nvSpPr>
          <p:spPr bwMode="auto">
            <a:xfrm>
              <a:off x="989" y="3005"/>
              <a:ext cx="116" cy="166"/>
            </a:xfrm>
            <a:custGeom>
              <a:avLst/>
              <a:gdLst>
                <a:gd name="T0" fmla="*/ 28 w 48"/>
                <a:gd name="T1" fmla="*/ 28 h 69"/>
                <a:gd name="T2" fmla="*/ 11 w 48"/>
                <a:gd name="T3" fmla="*/ 47 h 69"/>
                <a:gd name="T4" fmla="*/ 10 w 48"/>
                <a:gd name="T5" fmla="*/ 27 h 69"/>
                <a:gd name="T6" fmla="*/ 6 w 48"/>
                <a:gd name="T7" fmla="*/ 11 h 69"/>
                <a:gd name="T8" fmla="*/ 8 w 48"/>
                <a:gd name="T9" fmla="*/ 27 h 69"/>
                <a:gd name="T10" fmla="*/ 13 w 48"/>
                <a:gd name="T11" fmla="*/ 53 h 69"/>
                <a:gd name="T12" fmla="*/ 13 w 48"/>
                <a:gd name="T13" fmla="*/ 66 h 69"/>
                <a:gd name="T14" fmla="*/ 21 w 48"/>
                <a:gd name="T15" fmla="*/ 68 h 69"/>
                <a:gd name="T16" fmla="*/ 23 w 48"/>
                <a:gd name="T17" fmla="*/ 69 h 69"/>
                <a:gd name="T18" fmla="*/ 19 w 48"/>
                <a:gd name="T19" fmla="*/ 60 h 69"/>
                <a:gd name="T20" fmla="*/ 33 w 48"/>
                <a:gd name="T21" fmla="*/ 46 h 69"/>
                <a:gd name="T22" fmla="*/ 48 w 48"/>
                <a:gd name="T23" fmla="*/ 37 h 69"/>
                <a:gd name="T24" fmla="*/ 32 w 48"/>
                <a:gd name="T25" fmla="*/ 44 h 69"/>
                <a:gd name="T26" fmla="*/ 18 w 48"/>
                <a:gd name="T27" fmla="*/ 56 h 69"/>
                <a:gd name="T28" fmla="*/ 32 w 48"/>
                <a:gd name="T29" fmla="*/ 29 h 69"/>
                <a:gd name="T30" fmla="*/ 36 w 48"/>
                <a:gd name="T31" fmla="*/ 0 h 69"/>
                <a:gd name="T32" fmla="*/ 28 w 48"/>
                <a:gd name="T33" fmla="*/ 2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69">
                  <a:moveTo>
                    <a:pt x="28" y="28"/>
                  </a:moveTo>
                  <a:cubicBezTo>
                    <a:pt x="18" y="32"/>
                    <a:pt x="13" y="39"/>
                    <a:pt x="11" y="47"/>
                  </a:cubicBezTo>
                  <a:cubicBezTo>
                    <a:pt x="5" y="41"/>
                    <a:pt x="5" y="33"/>
                    <a:pt x="10" y="27"/>
                  </a:cubicBezTo>
                  <a:cubicBezTo>
                    <a:pt x="13" y="21"/>
                    <a:pt x="12" y="15"/>
                    <a:pt x="6" y="11"/>
                  </a:cubicBezTo>
                  <a:cubicBezTo>
                    <a:pt x="11" y="15"/>
                    <a:pt x="12" y="22"/>
                    <a:pt x="8" y="27"/>
                  </a:cubicBezTo>
                  <a:cubicBezTo>
                    <a:pt x="0" y="35"/>
                    <a:pt x="4" y="46"/>
                    <a:pt x="13" y="53"/>
                  </a:cubicBezTo>
                  <a:cubicBezTo>
                    <a:pt x="13" y="58"/>
                    <a:pt x="11" y="61"/>
                    <a:pt x="13" y="66"/>
                  </a:cubicBezTo>
                  <a:cubicBezTo>
                    <a:pt x="16" y="67"/>
                    <a:pt x="18" y="68"/>
                    <a:pt x="21" y="68"/>
                  </a:cubicBezTo>
                  <a:cubicBezTo>
                    <a:pt x="22" y="69"/>
                    <a:pt x="22" y="69"/>
                    <a:pt x="23" y="69"/>
                  </a:cubicBezTo>
                  <a:cubicBezTo>
                    <a:pt x="21" y="66"/>
                    <a:pt x="20" y="63"/>
                    <a:pt x="19" y="60"/>
                  </a:cubicBezTo>
                  <a:cubicBezTo>
                    <a:pt x="26" y="59"/>
                    <a:pt x="31" y="54"/>
                    <a:pt x="33" y="46"/>
                  </a:cubicBezTo>
                  <a:cubicBezTo>
                    <a:pt x="35" y="39"/>
                    <a:pt x="41" y="36"/>
                    <a:pt x="48" y="37"/>
                  </a:cubicBezTo>
                  <a:cubicBezTo>
                    <a:pt x="40" y="35"/>
                    <a:pt x="34" y="38"/>
                    <a:pt x="32" y="44"/>
                  </a:cubicBezTo>
                  <a:cubicBezTo>
                    <a:pt x="30" y="51"/>
                    <a:pt x="25" y="55"/>
                    <a:pt x="18" y="56"/>
                  </a:cubicBezTo>
                  <a:cubicBezTo>
                    <a:pt x="16" y="45"/>
                    <a:pt x="21" y="35"/>
                    <a:pt x="32" y="29"/>
                  </a:cubicBezTo>
                  <a:cubicBezTo>
                    <a:pt x="41" y="22"/>
                    <a:pt x="43" y="11"/>
                    <a:pt x="36" y="0"/>
                  </a:cubicBezTo>
                  <a:cubicBezTo>
                    <a:pt x="41" y="11"/>
                    <a:pt x="38" y="21"/>
                    <a:pt x="28" y="28"/>
                  </a:cubicBezTo>
                </a:path>
              </a:pathLst>
            </a:custGeom>
            <a:noFill/>
            <a:ln w="9525">
              <a:gradFill flip="none" rotWithShape="1">
                <a:gsLst>
                  <a:gs pos="0">
                    <a:schemeClr val="accent3">
                      <a:lumMod val="50000"/>
                    </a:schemeClr>
                  </a:gs>
                  <a:gs pos="0">
                    <a:schemeClr val="bg1"/>
                  </a:gs>
                  <a:gs pos="100000">
                    <a:srgbClr val="00447C"/>
                  </a:gs>
                </a:gsLst>
                <a:lin ang="0" scaled="1"/>
                <a:tileRect/>
              </a:grad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2" name="Freeform 4672"/>
            <p:cNvSpPr>
              <a:spLocks/>
            </p:cNvSpPr>
            <p:nvPr/>
          </p:nvSpPr>
          <p:spPr bwMode="auto">
            <a:xfrm>
              <a:off x="1076" y="300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adFill flip="none" rotWithShape="1">
              <a:gsLst>
                <a:gs pos="58000">
                  <a:schemeClr val="accent3"/>
                </a:gs>
                <a:gs pos="0">
                  <a:schemeClr val="accent3">
                    <a:lumMod val="75000"/>
                  </a:schemeClr>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3" name="Freeform 4673"/>
            <p:cNvSpPr>
              <a:spLocks/>
            </p:cNvSpPr>
            <p:nvPr/>
          </p:nvSpPr>
          <p:spPr bwMode="auto">
            <a:xfrm>
              <a:off x="1105" y="309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adFill flip="none" rotWithShape="1">
              <a:gsLst>
                <a:gs pos="58000">
                  <a:schemeClr val="accent3"/>
                </a:gs>
                <a:gs pos="0">
                  <a:schemeClr val="accent3">
                    <a:lumMod val="75000"/>
                  </a:schemeClr>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4" name="Oval 4674"/>
            <p:cNvSpPr>
              <a:spLocks noChangeArrowheads="1"/>
            </p:cNvSpPr>
            <p:nvPr/>
          </p:nvSpPr>
          <p:spPr bwMode="auto">
            <a:xfrm>
              <a:off x="1045" y="3171"/>
              <a:ext cx="1" cy="1"/>
            </a:xfrm>
            <a:prstGeom prst="ellipse">
              <a:avLst/>
            </a:prstGeom>
            <a:gradFill flip="none" rotWithShape="1">
              <a:gsLst>
                <a:gs pos="58000">
                  <a:schemeClr val="accent3"/>
                </a:gs>
                <a:gs pos="0">
                  <a:schemeClr val="accent3">
                    <a:lumMod val="75000"/>
                  </a:schemeClr>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465" name="Group 464"/>
          <p:cNvGrpSpPr/>
          <p:nvPr/>
        </p:nvGrpSpPr>
        <p:grpSpPr>
          <a:xfrm rot="404631">
            <a:off x="3676003" y="1779785"/>
            <a:ext cx="567454" cy="545270"/>
            <a:chOff x="1749426" y="1303339"/>
            <a:chExt cx="771526" cy="741363"/>
          </a:xfrm>
        </p:grpSpPr>
        <p:sp>
          <p:nvSpPr>
            <p:cNvPr id="466" name="Freeform 4334"/>
            <p:cNvSpPr>
              <a:spLocks/>
            </p:cNvSpPr>
            <p:nvPr/>
          </p:nvSpPr>
          <p:spPr bwMode="auto">
            <a:xfrm>
              <a:off x="2022476" y="1682752"/>
              <a:ext cx="68263" cy="84138"/>
            </a:xfrm>
            <a:custGeom>
              <a:avLst/>
              <a:gdLst>
                <a:gd name="T0" fmla="*/ 1 w 18"/>
                <a:gd name="T1" fmla="*/ 1 h 22"/>
                <a:gd name="T2" fmla="*/ 0 w 18"/>
                <a:gd name="T3" fmla="*/ 5 h 22"/>
                <a:gd name="T4" fmla="*/ 12 w 18"/>
                <a:gd name="T5" fmla="*/ 21 h 22"/>
                <a:gd name="T6" fmla="*/ 16 w 18"/>
                <a:gd name="T7" fmla="*/ 21 h 22"/>
                <a:gd name="T8" fmla="*/ 17 w 18"/>
                <a:gd name="T9" fmla="*/ 17 h 22"/>
                <a:gd name="T10" fmla="*/ 6 w 18"/>
                <a:gd name="T11" fmla="*/ 1 h 22"/>
                <a:gd name="T12" fmla="*/ 4 w 18"/>
                <a:gd name="T13" fmla="*/ 0 h 22"/>
                <a:gd name="T14" fmla="*/ 1 w 18"/>
                <a:gd name="T15" fmla="*/ 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1" y="1"/>
                  </a:moveTo>
                  <a:cubicBezTo>
                    <a:pt x="0" y="2"/>
                    <a:pt x="0" y="4"/>
                    <a:pt x="0" y="5"/>
                  </a:cubicBezTo>
                  <a:cubicBezTo>
                    <a:pt x="12" y="21"/>
                    <a:pt x="12" y="21"/>
                    <a:pt x="12" y="21"/>
                  </a:cubicBezTo>
                  <a:cubicBezTo>
                    <a:pt x="13" y="22"/>
                    <a:pt x="15" y="22"/>
                    <a:pt x="16" y="21"/>
                  </a:cubicBezTo>
                  <a:cubicBezTo>
                    <a:pt x="18" y="20"/>
                    <a:pt x="18" y="18"/>
                    <a:pt x="17" y="17"/>
                  </a:cubicBezTo>
                  <a:cubicBezTo>
                    <a:pt x="6" y="1"/>
                    <a:pt x="6" y="1"/>
                    <a:pt x="6" y="1"/>
                  </a:cubicBezTo>
                  <a:cubicBezTo>
                    <a:pt x="5" y="1"/>
                    <a:pt x="4" y="0"/>
                    <a:pt x="4" y="0"/>
                  </a:cubicBezTo>
                  <a:cubicBezTo>
                    <a:pt x="3" y="0"/>
                    <a:pt x="2" y="1"/>
                    <a:pt x="1" y="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7" name="Freeform 4336"/>
            <p:cNvSpPr>
              <a:spLocks/>
            </p:cNvSpPr>
            <p:nvPr/>
          </p:nvSpPr>
          <p:spPr bwMode="auto">
            <a:xfrm>
              <a:off x="1749426" y="1576389"/>
              <a:ext cx="103188" cy="182563"/>
            </a:xfrm>
            <a:custGeom>
              <a:avLst/>
              <a:gdLst>
                <a:gd name="T0" fmla="*/ 0 w 27"/>
                <a:gd name="T1" fmla="*/ 11 h 48"/>
                <a:gd name="T2" fmla="*/ 6 w 27"/>
                <a:gd name="T3" fmla="*/ 43 h 48"/>
                <a:gd name="T4" fmla="*/ 20 w 27"/>
                <a:gd name="T5" fmla="*/ 44 h 48"/>
                <a:gd name="T6" fmla="*/ 24 w 27"/>
                <a:gd name="T7" fmla="*/ 30 h 48"/>
                <a:gd name="T8" fmla="*/ 15 w 27"/>
                <a:gd name="T9" fmla="*/ 0 h 48"/>
                <a:gd name="T10" fmla="*/ 0 w 27"/>
                <a:gd name="T11" fmla="*/ 11 h 48"/>
              </a:gdLst>
              <a:ahLst/>
              <a:cxnLst>
                <a:cxn ang="0">
                  <a:pos x="T0" y="T1"/>
                </a:cxn>
                <a:cxn ang="0">
                  <a:pos x="T2" y="T3"/>
                </a:cxn>
                <a:cxn ang="0">
                  <a:pos x="T4" y="T5"/>
                </a:cxn>
                <a:cxn ang="0">
                  <a:pos x="T6" y="T7"/>
                </a:cxn>
                <a:cxn ang="0">
                  <a:pos x="T8" y="T9"/>
                </a:cxn>
                <a:cxn ang="0">
                  <a:pos x="T10" y="T11"/>
                </a:cxn>
              </a:cxnLst>
              <a:rect l="0" t="0" r="r" b="b"/>
              <a:pathLst>
                <a:path w="27" h="48">
                  <a:moveTo>
                    <a:pt x="0" y="11"/>
                  </a:moveTo>
                  <a:cubicBezTo>
                    <a:pt x="6" y="43"/>
                    <a:pt x="6" y="43"/>
                    <a:pt x="6" y="43"/>
                  </a:cubicBezTo>
                  <a:cubicBezTo>
                    <a:pt x="8" y="47"/>
                    <a:pt x="15" y="48"/>
                    <a:pt x="20" y="44"/>
                  </a:cubicBezTo>
                  <a:cubicBezTo>
                    <a:pt x="25" y="40"/>
                    <a:pt x="27" y="34"/>
                    <a:pt x="24" y="30"/>
                  </a:cubicBezTo>
                  <a:cubicBezTo>
                    <a:pt x="15" y="0"/>
                    <a:pt x="15" y="0"/>
                    <a:pt x="15" y="0"/>
                  </a:cubicBezTo>
                  <a:cubicBezTo>
                    <a:pt x="0" y="11"/>
                    <a:pt x="0" y="11"/>
                    <a:pt x="0" y="1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8" name="Freeform 4338"/>
            <p:cNvSpPr>
              <a:spLocks/>
            </p:cNvSpPr>
            <p:nvPr/>
          </p:nvSpPr>
          <p:spPr bwMode="auto">
            <a:xfrm>
              <a:off x="1822451" y="1519239"/>
              <a:ext cx="117475" cy="171450"/>
            </a:xfrm>
            <a:custGeom>
              <a:avLst/>
              <a:gdLst>
                <a:gd name="T0" fmla="*/ 0 w 31"/>
                <a:gd name="T1" fmla="*/ 12 h 45"/>
                <a:gd name="T2" fmla="*/ 10 w 31"/>
                <a:gd name="T3" fmla="*/ 41 h 45"/>
                <a:gd name="T4" fmla="*/ 25 w 31"/>
                <a:gd name="T5" fmla="*/ 41 h 45"/>
                <a:gd name="T6" fmla="*/ 28 w 31"/>
                <a:gd name="T7" fmla="*/ 27 h 45"/>
                <a:gd name="T8" fmla="*/ 15 w 31"/>
                <a:gd name="T9" fmla="*/ 0 h 45"/>
                <a:gd name="T10" fmla="*/ 0 w 31"/>
                <a:gd name="T11" fmla="*/ 12 h 45"/>
              </a:gdLst>
              <a:ahLst/>
              <a:cxnLst>
                <a:cxn ang="0">
                  <a:pos x="T0" y="T1"/>
                </a:cxn>
                <a:cxn ang="0">
                  <a:pos x="T2" y="T3"/>
                </a:cxn>
                <a:cxn ang="0">
                  <a:pos x="T4" y="T5"/>
                </a:cxn>
                <a:cxn ang="0">
                  <a:pos x="T6" y="T7"/>
                </a:cxn>
                <a:cxn ang="0">
                  <a:pos x="T8" y="T9"/>
                </a:cxn>
                <a:cxn ang="0">
                  <a:pos x="T10" y="T11"/>
                </a:cxn>
              </a:cxnLst>
              <a:rect l="0" t="0" r="r" b="b"/>
              <a:pathLst>
                <a:path w="31" h="45">
                  <a:moveTo>
                    <a:pt x="0" y="12"/>
                  </a:moveTo>
                  <a:cubicBezTo>
                    <a:pt x="10" y="41"/>
                    <a:pt x="10" y="41"/>
                    <a:pt x="10" y="41"/>
                  </a:cubicBezTo>
                  <a:cubicBezTo>
                    <a:pt x="13" y="45"/>
                    <a:pt x="20" y="45"/>
                    <a:pt x="25" y="41"/>
                  </a:cubicBezTo>
                  <a:cubicBezTo>
                    <a:pt x="30" y="38"/>
                    <a:pt x="31" y="31"/>
                    <a:pt x="28" y="27"/>
                  </a:cubicBezTo>
                  <a:cubicBezTo>
                    <a:pt x="15" y="0"/>
                    <a:pt x="15" y="0"/>
                    <a:pt x="15" y="0"/>
                  </a:cubicBezTo>
                  <a:cubicBezTo>
                    <a:pt x="0" y="12"/>
                    <a:pt x="0" y="12"/>
                    <a:pt x="0" y="12"/>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69" name="Freeform 4340"/>
            <p:cNvSpPr>
              <a:spLocks/>
            </p:cNvSpPr>
            <p:nvPr/>
          </p:nvSpPr>
          <p:spPr bwMode="auto">
            <a:xfrm>
              <a:off x="1897064" y="1466852"/>
              <a:ext cx="133350" cy="158750"/>
            </a:xfrm>
            <a:custGeom>
              <a:avLst/>
              <a:gdLst>
                <a:gd name="T0" fmla="*/ 0 w 35"/>
                <a:gd name="T1" fmla="*/ 11 h 42"/>
                <a:gd name="T2" fmla="*/ 13 w 35"/>
                <a:gd name="T3" fmla="*/ 37 h 42"/>
                <a:gd name="T4" fmla="*/ 28 w 35"/>
                <a:gd name="T5" fmla="*/ 38 h 42"/>
                <a:gd name="T6" fmla="*/ 32 w 35"/>
                <a:gd name="T7" fmla="*/ 24 h 42"/>
                <a:gd name="T8" fmla="*/ 15 w 35"/>
                <a:gd name="T9" fmla="*/ 0 h 42"/>
                <a:gd name="T10" fmla="*/ 0 w 35"/>
                <a:gd name="T11" fmla="*/ 11 h 42"/>
              </a:gdLst>
              <a:ahLst/>
              <a:cxnLst>
                <a:cxn ang="0">
                  <a:pos x="T0" y="T1"/>
                </a:cxn>
                <a:cxn ang="0">
                  <a:pos x="T2" y="T3"/>
                </a:cxn>
                <a:cxn ang="0">
                  <a:pos x="T4" y="T5"/>
                </a:cxn>
                <a:cxn ang="0">
                  <a:pos x="T6" y="T7"/>
                </a:cxn>
                <a:cxn ang="0">
                  <a:pos x="T8" y="T9"/>
                </a:cxn>
                <a:cxn ang="0">
                  <a:pos x="T10" y="T11"/>
                </a:cxn>
              </a:cxnLst>
              <a:rect l="0" t="0" r="r" b="b"/>
              <a:pathLst>
                <a:path w="35" h="42">
                  <a:moveTo>
                    <a:pt x="0" y="11"/>
                  </a:moveTo>
                  <a:cubicBezTo>
                    <a:pt x="13" y="37"/>
                    <a:pt x="13" y="37"/>
                    <a:pt x="13" y="37"/>
                  </a:cubicBezTo>
                  <a:cubicBezTo>
                    <a:pt x="16" y="41"/>
                    <a:pt x="23" y="42"/>
                    <a:pt x="28" y="38"/>
                  </a:cubicBezTo>
                  <a:cubicBezTo>
                    <a:pt x="33" y="34"/>
                    <a:pt x="35" y="28"/>
                    <a:pt x="32" y="24"/>
                  </a:cubicBezTo>
                  <a:cubicBezTo>
                    <a:pt x="15" y="0"/>
                    <a:pt x="15" y="0"/>
                    <a:pt x="15" y="0"/>
                  </a:cubicBezTo>
                  <a:cubicBezTo>
                    <a:pt x="0" y="11"/>
                    <a:pt x="0" y="11"/>
                    <a:pt x="0" y="1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0" name="Freeform 4342"/>
            <p:cNvSpPr>
              <a:spLocks/>
            </p:cNvSpPr>
            <p:nvPr/>
          </p:nvSpPr>
          <p:spPr bwMode="auto">
            <a:xfrm>
              <a:off x="1970089" y="1409702"/>
              <a:ext cx="147638" cy="147638"/>
            </a:xfrm>
            <a:custGeom>
              <a:avLst/>
              <a:gdLst>
                <a:gd name="T0" fmla="*/ 0 w 39"/>
                <a:gd name="T1" fmla="*/ 12 h 39"/>
                <a:gd name="T2" fmla="*/ 18 w 39"/>
                <a:gd name="T3" fmla="*/ 35 h 39"/>
                <a:gd name="T4" fmla="*/ 33 w 39"/>
                <a:gd name="T5" fmla="*/ 35 h 39"/>
                <a:gd name="T6" fmla="*/ 36 w 39"/>
                <a:gd name="T7" fmla="*/ 21 h 39"/>
                <a:gd name="T8" fmla="*/ 15 w 39"/>
                <a:gd name="T9" fmla="*/ 0 h 39"/>
                <a:gd name="T10" fmla="*/ 0 w 39"/>
                <a:gd name="T11" fmla="*/ 12 h 39"/>
              </a:gdLst>
              <a:ahLst/>
              <a:cxnLst>
                <a:cxn ang="0">
                  <a:pos x="T0" y="T1"/>
                </a:cxn>
                <a:cxn ang="0">
                  <a:pos x="T2" y="T3"/>
                </a:cxn>
                <a:cxn ang="0">
                  <a:pos x="T4" y="T5"/>
                </a:cxn>
                <a:cxn ang="0">
                  <a:pos x="T6" y="T7"/>
                </a:cxn>
                <a:cxn ang="0">
                  <a:pos x="T8" y="T9"/>
                </a:cxn>
                <a:cxn ang="0">
                  <a:pos x="T10" y="T11"/>
                </a:cxn>
              </a:cxnLst>
              <a:rect l="0" t="0" r="r" b="b"/>
              <a:pathLst>
                <a:path w="39" h="39">
                  <a:moveTo>
                    <a:pt x="0" y="12"/>
                  </a:moveTo>
                  <a:cubicBezTo>
                    <a:pt x="18" y="35"/>
                    <a:pt x="18" y="35"/>
                    <a:pt x="18" y="35"/>
                  </a:cubicBezTo>
                  <a:cubicBezTo>
                    <a:pt x="21" y="39"/>
                    <a:pt x="28" y="39"/>
                    <a:pt x="33" y="35"/>
                  </a:cubicBezTo>
                  <a:cubicBezTo>
                    <a:pt x="38" y="32"/>
                    <a:pt x="39" y="25"/>
                    <a:pt x="36" y="21"/>
                  </a:cubicBezTo>
                  <a:cubicBezTo>
                    <a:pt x="15" y="0"/>
                    <a:pt x="15" y="0"/>
                    <a:pt x="15" y="0"/>
                  </a:cubicBezTo>
                  <a:cubicBezTo>
                    <a:pt x="0" y="12"/>
                    <a:pt x="0" y="12"/>
                    <a:pt x="0" y="12"/>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1" name="Freeform 4344"/>
            <p:cNvSpPr>
              <a:spLocks/>
            </p:cNvSpPr>
            <p:nvPr/>
          </p:nvSpPr>
          <p:spPr bwMode="auto">
            <a:xfrm>
              <a:off x="2041526" y="1355727"/>
              <a:ext cx="168275" cy="136525"/>
            </a:xfrm>
            <a:custGeom>
              <a:avLst/>
              <a:gdLst>
                <a:gd name="T0" fmla="*/ 0 w 44"/>
                <a:gd name="T1" fmla="*/ 11 h 36"/>
                <a:gd name="T2" fmla="*/ 22 w 44"/>
                <a:gd name="T3" fmla="*/ 32 h 36"/>
                <a:gd name="T4" fmla="*/ 37 w 44"/>
                <a:gd name="T5" fmla="*/ 32 h 36"/>
                <a:gd name="T6" fmla="*/ 41 w 44"/>
                <a:gd name="T7" fmla="*/ 18 h 36"/>
                <a:gd name="T8" fmla="*/ 16 w 44"/>
                <a:gd name="T9" fmla="*/ 0 h 36"/>
                <a:gd name="T10" fmla="*/ 0 w 44"/>
                <a:gd name="T11" fmla="*/ 11 h 36"/>
              </a:gdLst>
              <a:ahLst/>
              <a:cxnLst>
                <a:cxn ang="0">
                  <a:pos x="T0" y="T1"/>
                </a:cxn>
                <a:cxn ang="0">
                  <a:pos x="T2" y="T3"/>
                </a:cxn>
                <a:cxn ang="0">
                  <a:pos x="T4" y="T5"/>
                </a:cxn>
                <a:cxn ang="0">
                  <a:pos x="T6" y="T7"/>
                </a:cxn>
                <a:cxn ang="0">
                  <a:pos x="T8" y="T9"/>
                </a:cxn>
                <a:cxn ang="0">
                  <a:pos x="T10" y="T11"/>
                </a:cxn>
              </a:cxnLst>
              <a:rect l="0" t="0" r="r" b="b"/>
              <a:pathLst>
                <a:path w="44" h="36">
                  <a:moveTo>
                    <a:pt x="0" y="11"/>
                  </a:moveTo>
                  <a:cubicBezTo>
                    <a:pt x="22" y="32"/>
                    <a:pt x="22" y="32"/>
                    <a:pt x="22" y="32"/>
                  </a:cubicBezTo>
                  <a:cubicBezTo>
                    <a:pt x="25" y="36"/>
                    <a:pt x="32" y="36"/>
                    <a:pt x="37" y="32"/>
                  </a:cubicBezTo>
                  <a:cubicBezTo>
                    <a:pt x="42" y="28"/>
                    <a:pt x="44" y="22"/>
                    <a:pt x="41" y="18"/>
                  </a:cubicBezTo>
                  <a:cubicBezTo>
                    <a:pt x="16" y="0"/>
                    <a:pt x="16" y="0"/>
                    <a:pt x="16" y="0"/>
                  </a:cubicBezTo>
                  <a:cubicBezTo>
                    <a:pt x="0" y="11"/>
                    <a:pt x="0" y="11"/>
                    <a:pt x="0" y="1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2" name="Freeform 4346"/>
            <p:cNvSpPr>
              <a:spLocks/>
            </p:cNvSpPr>
            <p:nvPr/>
          </p:nvSpPr>
          <p:spPr bwMode="auto">
            <a:xfrm>
              <a:off x="2117726" y="1303339"/>
              <a:ext cx="179388" cy="120650"/>
            </a:xfrm>
            <a:custGeom>
              <a:avLst/>
              <a:gdLst>
                <a:gd name="T0" fmla="*/ 0 w 47"/>
                <a:gd name="T1" fmla="*/ 11 h 32"/>
                <a:gd name="T2" fmla="*/ 26 w 47"/>
                <a:gd name="T3" fmla="*/ 28 h 32"/>
                <a:gd name="T4" fmla="*/ 41 w 47"/>
                <a:gd name="T5" fmla="*/ 28 h 32"/>
                <a:gd name="T6" fmla="*/ 44 w 47"/>
                <a:gd name="T7" fmla="*/ 14 h 32"/>
                <a:gd name="T8" fmla="*/ 15 w 47"/>
                <a:gd name="T9" fmla="*/ 0 h 32"/>
                <a:gd name="T10" fmla="*/ 0 w 47"/>
                <a:gd name="T11" fmla="*/ 11 h 32"/>
              </a:gdLst>
              <a:ahLst/>
              <a:cxnLst>
                <a:cxn ang="0">
                  <a:pos x="T0" y="T1"/>
                </a:cxn>
                <a:cxn ang="0">
                  <a:pos x="T2" y="T3"/>
                </a:cxn>
                <a:cxn ang="0">
                  <a:pos x="T4" y="T5"/>
                </a:cxn>
                <a:cxn ang="0">
                  <a:pos x="T6" y="T7"/>
                </a:cxn>
                <a:cxn ang="0">
                  <a:pos x="T8" y="T9"/>
                </a:cxn>
                <a:cxn ang="0">
                  <a:pos x="T10" y="T11"/>
                </a:cxn>
              </a:cxnLst>
              <a:rect l="0" t="0" r="r" b="b"/>
              <a:pathLst>
                <a:path w="47" h="32">
                  <a:moveTo>
                    <a:pt x="0" y="11"/>
                  </a:moveTo>
                  <a:cubicBezTo>
                    <a:pt x="26" y="28"/>
                    <a:pt x="26" y="28"/>
                    <a:pt x="26" y="28"/>
                  </a:cubicBezTo>
                  <a:cubicBezTo>
                    <a:pt x="29" y="32"/>
                    <a:pt x="35" y="32"/>
                    <a:pt x="41" y="28"/>
                  </a:cubicBezTo>
                  <a:cubicBezTo>
                    <a:pt x="46" y="25"/>
                    <a:pt x="47" y="18"/>
                    <a:pt x="44" y="14"/>
                  </a:cubicBezTo>
                  <a:cubicBezTo>
                    <a:pt x="15" y="0"/>
                    <a:pt x="15" y="0"/>
                    <a:pt x="15" y="0"/>
                  </a:cubicBezTo>
                  <a:cubicBezTo>
                    <a:pt x="0" y="11"/>
                    <a:pt x="0" y="11"/>
                    <a:pt x="0" y="1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3" name="Freeform 4348"/>
            <p:cNvSpPr>
              <a:spLocks/>
            </p:cNvSpPr>
            <p:nvPr/>
          </p:nvSpPr>
          <p:spPr bwMode="auto">
            <a:xfrm>
              <a:off x="1973264" y="1633539"/>
              <a:ext cx="547688" cy="411163"/>
            </a:xfrm>
            <a:custGeom>
              <a:avLst/>
              <a:gdLst>
                <a:gd name="T0" fmla="*/ 132 w 144"/>
                <a:gd name="T1" fmla="*/ 0 h 108"/>
                <a:gd name="T2" fmla="*/ 109 w 144"/>
                <a:gd name="T3" fmla="*/ 18 h 108"/>
                <a:gd name="T4" fmla="*/ 25 w 144"/>
                <a:gd name="T5" fmla="*/ 80 h 108"/>
                <a:gd name="T6" fmla="*/ 2 w 144"/>
                <a:gd name="T7" fmla="*/ 97 h 108"/>
                <a:gd name="T8" fmla="*/ 1 w 144"/>
                <a:gd name="T9" fmla="*/ 102 h 108"/>
                <a:gd name="T10" fmla="*/ 9 w 144"/>
                <a:gd name="T11" fmla="*/ 107 h 108"/>
                <a:gd name="T12" fmla="*/ 67 w 144"/>
                <a:gd name="T13" fmla="*/ 58 h 108"/>
                <a:gd name="T14" fmla="*/ 142 w 144"/>
                <a:gd name="T15" fmla="*/ 9 h 108"/>
                <a:gd name="T16" fmla="*/ 137 w 144"/>
                <a:gd name="T17" fmla="*/ 1 h 108"/>
                <a:gd name="T18" fmla="*/ 135 w 144"/>
                <a:gd name="T19" fmla="*/ 0 h 108"/>
                <a:gd name="T20" fmla="*/ 132 w 144"/>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08">
                  <a:moveTo>
                    <a:pt x="132" y="0"/>
                  </a:moveTo>
                  <a:cubicBezTo>
                    <a:pt x="109" y="18"/>
                    <a:pt x="109" y="18"/>
                    <a:pt x="109" y="18"/>
                  </a:cubicBezTo>
                  <a:cubicBezTo>
                    <a:pt x="25" y="80"/>
                    <a:pt x="25" y="80"/>
                    <a:pt x="25" y="80"/>
                  </a:cubicBezTo>
                  <a:cubicBezTo>
                    <a:pt x="2" y="97"/>
                    <a:pt x="2" y="97"/>
                    <a:pt x="2" y="97"/>
                  </a:cubicBezTo>
                  <a:cubicBezTo>
                    <a:pt x="1" y="98"/>
                    <a:pt x="0" y="100"/>
                    <a:pt x="1" y="102"/>
                  </a:cubicBezTo>
                  <a:cubicBezTo>
                    <a:pt x="2" y="103"/>
                    <a:pt x="7" y="108"/>
                    <a:pt x="9" y="107"/>
                  </a:cubicBezTo>
                  <a:cubicBezTo>
                    <a:pt x="67" y="58"/>
                    <a:pt x="67" y="58"/>
                    <a:pt x="67" y="58"/>
                  </a:cubicBezTo>
                  <a:cubicBezTo>
                    <a:pt x="142" y="9"/>
                    <a:pt x="142" y="9"/>
                    <a:pt x="142" y="9"/>
                  </a:cubicBezTo>
                  <a:cubicBezTo>
                    <a:pt x="144" y="7"/>
                    <a:pt x="138" y="2"/>
                    <a:pt x="137" y="1"/>
                  </a:cubicBezTo>
                  <a:cubicBezTo>
                    <a:pt x="136" y="0"/>
                    <a:pt x="136" y="0"/>
                    <a:pt x="135" y="0"/>
                  </a:cubicBezTo>
                  <a:cubicBezTo>
                    <a:pt x="134" y="0"/>
                    <a:pt x="133" y="0"/>
                    <a:pt x="132" y="0"/>
                  </a:cubicBezTo>
                </a:path>
              </a:pathLst>
            </a:custGeom>
            <a:gradFill flip="none" rotWithShape="1">
              <a:gsLst>
                <a:gs pos="18920">
                  <a:schemeClr val="bg1"/>
                </a:gs>
                <a:gs pos="0">
                  <a:schemeClr val="bg1"/>
                </a:gs>
                <a:gs pos="86000">
                  <a:srgbClr val="00447C"/>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74" name="Freeform 4350"/>
            <p:cNvSpPr>
              <a:spLocks/>
            </p:cNvSpPr>
            <p:nvPr/>
          </p:nvSpPr>
          <p:spPr bwMode="auto">
            <a:xfrm>
              <a:off x="1847851" y="1435102"/>
              <a:ext cx="569913" cy="509588"/>
            </a:xfrm>
            <a:custGeom>
              <a:avLst/>
              <a:gdLst>
                <a:gd name="T0" fmla="*/ 100 w 150"/>
                <a:gd name="T1" fmla="*/ 1 h 134"/>
                <a:gd name="T2" fmla="*/ 120 w 150"/>
                <a:gd name="T3" fmla="*/ 29 h 134"/>
                <a:gd name="T4" fmla="*/ 120 w 150"/>
                <a:gd name="T5" fmla="*/ 29 h 134"/>
                <a:gd name="T6" fmla="*/ 126 w 150"/>
                <a:gd name="T7" fmla="*/ 38 h 134"/>
                <a:gd name="T8" fmla="*/ 78 w 150"/>
                <a:gd name="T9" fmla="*/ 73 h 134"/>
                <a:gd name="T10" fmla="*/ 72 w 150"/>
                <a:gd name="T11" fmla="*/ 65 h 134"/>
                <a:gd name="T12" fmla="*/ 56 w 150"/>
                <a:gd name="T13" fmla="*/ 43 h 134"/>
                <a:gd name="T14" fmla="*/ 52 w 150"/>
                <a:gd name="T15" fmla="*/ 38 h 134"/>
                <a:gd name="T16" fmla="*/ 46 w 150"/>
                <a:gd name="T17" fmla="*/ 48 h 134"/>
                <a:gd name="T18" fmla="*/ 82 w 150"/>
                <a:gd name="T19" fmla="*/ 96 h 134"/>
                <a:gd name="T20" fmla="*/ 44 w 150"/>
                <a:gd name="T21" fmla="*/ 124 h 134"/>
                <a:gd name="T22" fmla="*/ 44 w 150"/>
                <a:gd name="T23" fmla="*/ 124 h 134"/>
                <a:gd name="T24" fmla="*/ 5 w 150"/>
                <a:gd name="T25" fmla="*/ 72 h 134"/>
                <a:gd name="T26" fmla="*/ 0 w 150"/>
                <a:gd name="T27" fmla="*/ 82 h 134"/>
                <a:gd name="T28" fmla="*/ 36 w 150"/>
                <a:gd name="T29" fmla="*/ 130 h 134"/>
                <a:gd name="T30" fmla="*/ 49 w 150"/>
                <a:gd name="T31" fmla="*/ 131 h 134"/>
                <a:gd name="T32" fmla="*/ 143 w 150"/>
                <a:gd name="T33" fmla="*/ 61 h 134"/>
                <a:gd name="T34" fmla="*/ 147 w 150"/>
                <a:gd name="T35" fmla="*/ 47 h 134"/>
                <a:gd name="T36" fmla="*/ 111 w 150"/>
                <a:gd name="T37" fmla="*/ 0 h 134"/>
                <a:gd name="T38" fmla="*/ 100 w 150"/>
                <a:gd name="T39" fmla="*/ 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34">
                  <a:moveTo>
                    <a:pt x="100" y="1"/>
                  </a:moveTo>
                  <a:cubicBezTo>
                    <a:pt x="120" y="29"/>
                    <a:pt x="120" y="29"/>
                    <a:pt x="120" y="29"/>
                  </a:cubicBezTo>
                  <a:cubicBezTo>
                    <a:pt x="120" y="29"/>
                    <a:pt x="120" y="29"/>
                    <a:pt x="120" y="29"/>
                  </a:cubicBezTo>
                  <a:cubicBezTo>
                    <a:pt x="126" y="38"/>
                    <a:pt x="126" y="38"/>
                    <a:pt x="126" y="38"/>
                  </a:cubicBezTo>
                  <a:cubicBezTo>
                    <a:pt x="78" y="73"/>
                    <a:pt x="78" y="73"/>
                    <a:pt x="78" y="73"/>
                  </a:cubicBezTo>
                  <a:cubicBezTo>
                    <a:pt x="72" y="65"/>
                    <a:pt x="72" y="65"/>
                    <a:pt x="72" y="65"/>
                  </a:cubicBezTo>
                  <a:cubicBezTo>
                    <a:pt x="56" y="43"/>
                    <a:pt x="56" y="43"/>
                    <a:pt x="56" y="43"/>
                  </a:cubicBezTo>
                  <a:cubicBezTo>
                    <a:pt x="52" y="38"/>
                    <a:pt x="52" y="38"/>
                    <a:pt x="52" y="38"/>
                  </a:cubicBezTo>
                  <a:cubicBezTo>
                    <a:pt x="51" y="42"/>
                    <a:pt x="49" y="45"/>
                    <a:pt x="46" y="48"/>
                  </a:cubicBezTo>
                  <a:cubicBezTo>
                    <a:pt x="82" y="96"/>
                    <a:pt x="82" y="96"/>
                    <a:pt x="82" y="96"/>
                  </a:cubicBezTo>
                  <a:cubicBezTo>
                    <a:pt x="44" y="124"/>
                    <a:pt x="44" y="124"/>
                    <a:pt x="44" y="124"/>
                  </a:cubicBezTo>
                  <a:cubicBezTo>
                    <a:pt x="44" y="124"/>
                    <a:pt x="44" y="124"/>
                    <a:pt x="44" y="124"/>
                  </a:cubicBezTo>
                  <a:cubicBezTo>
                    <a:pt x="5" y="72"/>
                    <a:pt x="5" y="72"/>
                    <a:pt x="5" y="72"/>
                  </a:cubicBezTo>
                  <a:cubicBezTo>
                    <a:pt x="5" y="75"/>
                    <a:pt x="3" y="79"/>
                    <a:pt x="0" y="82"/>
                  </a:cubicBezTo>
                  <a:cubicBezTo>
                    <a:pt x="36" y="130"/>
                    <a:pt x="36" y="130"/>
                    <a:pt x="36" y="130"/>
                  </a:cubicBezTo>
                  <a:cubicBezTo>
                    <a:pt x="38" y="134"/>
                    <a:pt x="45" y="134"/>
                    <a:pt x="49" y="131"/>
                  </a:cubicBezTo>
                  <a:cubicBezTo>
                    <a:pt x="143" y="61"/>
                    <a:pt x="143" y="61"/>
                    <a:pt x="143" y="61"/>
                  </a:cubicBezTo>
                  <a:cubicBezTo>
                    <a:pt x="148" y="57"/>
                    <a:pt x="150" y="51"/>
                    <a:pt x="147" y="47"/>
                  </a:cubicBezTo>
                  <a:cubicBezTo>
                    <a:pt x="111" y="0"/>
                    <a:pt x="111" y="0"/>
                    <a:pt x="111" y="0"/>
                  </a:cubicBezTo>
                  <a:cubicBezTo>
                    <a:pt x="107" y="2"/>
                    <a:pt x="103" y="2"/>
                    <a:pt x="100" y="1"/>
                  </a:cubicBezTo>
                </a:path>
              </a:pathLst>
            </a:custGeom>
            <a:gradFill flip="none" rotWithShape="1">
              <a:gsLst>
                <a:gs pos="0">
                  <a:srgbClr val="00447C"/>
                </a:gs>
                <a:gs pos="100000">
                  <a:schemeClr val="bg1"/>
                </a:gs>
              </a:gsLst>
              <a:path path="circle">
                <a:fillToRect r="100000" b="100000"/>
              </a:path>
              <a:tileRect l="-100000" t="-100000"/>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475" name="Group 474"/>
          <p:cNvGrpSpPr/>
          <p:nvPr/>
        </p:nvGrpSpPr>
        <p:grpSpPr>
          <a:xfrm>
            <a:off x="3353210" y="1920684"/>
            <a:ext cx="3010794" cy="3019572"/>
            <a:chOff x="3386172" y="1857241"/>
            <a:chExt cx="3136392" cy="3145536"/>
          </a:xfrm>
        </p:grpSpPr>
        <p:sp>
          <p:nvSpPr>
            <p:cNvPr id="476" name="Donut 475"/>
            <p:cNvSpPr/>
            <p:nvPr/>
          </p:nvSpPr>
          <p:spPr>
            <a:xfrm rot="16200000">
              <a:off x="3381600" y="1861813"/>
              <a:ext cx="3145536" cy="3136392"/>
            </a:xfrm>
            <a:prstGeom prst="donut">
              <a:avLst>
                <a:gd name="adj" fmla="val 12164"/>
              </a:avLst>
            </a:prstGeom>
            <a:gradFill flip="none" rotWithShape="1">
              <a:gsLst>
                <a:gs pos="100000">
                  <a:schemeClr val="bg1"/>
                </a:gs>
                <a:gs pos="67000">
                  <a:srgbClr val="FFFFFF"/>
                </a:gs>
                <a:gs pos="51000">
                  <a:srgbClr val="185A8D">
                    <a:alpha val="1000"/>
                  </a:srgbClr>
                </a:gs>
                <a:gs pos="0">
                  <a:srgbClr val="185A8D"/>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sp>
          <p:nvSpPr>
            <p:cNvPr id="477" name="Freeform 476"/>
            <p:cNvSpPr/>
            <p:nvPr/>
          </p:nvSpPr>
          <p:spPr>
            <a:xfrm>
              <a:off x="4954368" y="1861813"/>
              <a:ext cx="1568196" cy="3136392"/>
            </a:xfrm>
            <a:custGeom>
              <a:avLst/>
              <a:gdLst>
                <a:gd name="connsiteX0" fmla="*/ 0 w 1568196"/>
                <a:gd name="connsiteY0" fmla="*/ 0 h 3136392"/>
                <a:gd name="connsiteX1" fmla="*/ 1568196 w 1568196"/>
                <a:gd name="connsiteY1" fmla="*/ 1568196 h 3136392"/>
                <a:gd name="connsiteX2" fmla="*/ 0 w 1568196"/>
                <a:gd name="connsiteY2" fmla="*/ 3136392 h 3136392"/>
                <a:gd name="connsiteX3" fmla="*/ 0 w 1568196"/>
                <a:gd name="connsiteY3" fmla="*/ 0 h 3136392"/>
              </a:gdLst>
              <a:ahLst/>
              <a:cxnLst>
                <a:cxn ang="0">
                  <a:pos x="connsiteX0" y="connsiteY0"/>
                </a:cxn>
                <a:cxn ang="0">
                  <a:pos x="connsiteX1" y="connsiteY1"/>
                </a:cxn>
                <a:cxn ang="0">
                  <a:pos x="connsiteX2" y="connsiteY2"/>
                </a:cxn>
                <a:cxn ang="0">
                  <a:pos x="connsiteX3" y="connsiteY3"/>
                </a:cxn>
              </a:cxnLst>
              <a:rect l="l" t="t" r="r" b="b"/>
              <a:pathLst>
                <a:path w="1568196" h="3136392">
                  <a:moveTo>
                    <a:pt x="0" y="0"/>
                  </a:moveTo>
                  <a:cubicBezTo>
                    <a:pt x="866091" y="0"/>
                    <a:pt x="1568196" y="702105"/>
                    <a:pt x="1568196" y="1568196"/>
                  </a:cubicBezTo>
                  <a:cubicBezTo>
                    <a:pt x="1568196" y="2434287"/>
                    <a:pt x="866091" y="3136392"/>
                    <a:pt x="0" y="3136392"/>
                  </a:cubicBezTo>
                  <a:lnTo>
                    <a:pt x="0" y="0"/>
                  </a:lnTo>
                  <a:close/>
                </a:path>
              </a:pathLst>
            </a:custGeom>
            <a:solidFill>
              <a:srgbClr val="0F528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grpSp>
      <p:pic>
        <p:nvPicPr>
          <p:cNvPr id="478" name="Picture 477"/>
          <p:cNvPicPr>
            <a:picLocks noChangeAspect="1"/>
          </p:cNvPicPr>
          <p:nvPr/>
        </p:nvPicPr>
        <p:blipFill rotWithShape="1">
          <a:blip r:embed="rId12" cstate="print">
            <a:extLst>
              <a:ext uri="{28A0092B-C50C-407E-A947-70E740481C1C}">
                <a14:useLocalDpi xmlns:a14="http://schemas.microsoft.com/office/drawing/2010/main"/>
              </a:ext>
            </a:extLst>
          </a:blip>
          <a:srcRect l="50196"/>
          <a:stretch/>
        </p:blipFill>
        <p:spPr>
          <a:xfrm>
            <a:off x="4857295" y="1925074"/>
            <a:ext cx="1502573" cy="3008857"/>
          </a:xfrm>
          <a:prstGeom prst="rect">
            <a:avLst/>
          </a:prstGeom>
        </p:spPr>
      </p:pic>
      <p:grpSp>
        <p:nvGrpSpPr>
          <p:cNvPr id="480" name="Group 4408"/>
          <p:cNvGrpSpPr>
            <a:grpSpLocks noChangeAspect="1"/>
          </p:cNvGrpSpPr>
          <p:nvPr/>
        </p:nvGrpSpPr>
        <p:grpSpPr bwMode="auto">
          <a:xfrm>
            <a:off x="3357954" y="4255963"/>
            <a:ext cx="802746" cy="746349"/>
            <a:chOff x="535" y="2866"/>
            <a:chExt cx="669" cy="622"/>
          </a:xfrm>
          <a:gradFill flip="none" rotWithShape="1">
            <a:gsLst>
              <a:gs pos="28000">
                <a:schemeClr val="bg1"/>
              </a:gs>
              <a:gs pos="0">
                <a:schemeClr val="bg1"/>
              </a:gs>
              <a:gs pos="71000">
                <a:srgbClr val="00447C"/>
              </a:gs>
            </a:gsLst>
            <a:lin ang="18900000" scaled="1"/>
            <a:tileRect/>
          </a:gradFill>
        </p:grpSpPr>
        <p:grpSp>
          <p:nvGrpSpPr>
            <p:cNvPr id="481" name="Group 4609"/>
            <p:cNvGrpSpPr>
              <a:grpSpLocks/>
            </p:cNvGrpSpPr>
            <p:nvPr/>
          </p:nvGrpSpPr>
          <p:grpSpPr bwMode="auto">
            <a:xfrm>
              <a:off x="604" y="2866"/>
              <a:ext cx="549" cy="577"/>
              <a:chOff x="604" y="2866"/>
              <a:chExt cx="549" cy="577"/>
            </a:xfrm>
            <a:grpFill/>
          </p:grpSpPr>
          <p:sp>
            <p:nvSpPr>
              <p:cNvPr id="519" name="Freeform 4409"/>
              <p:cNvSpPr>
                <a:spLocks noEditPoints="1"/>
              </p:cNvSpPr>
              <p:nvPr/>
            </p:nvSpPr>
            <p:spPr bwMode="auto">
              <a:xfrm>
                <a:off x="905" y="3249"/>
                <a:ext cx="43" cy="36"/>
              </a:xfrm>
              <a:custGeom>
                <a:avLst/>
                <a:gdLst>
                  <a:gd name="T0" fmla="*/ 4 w 18"/>
                  <a:gd name="T1" fmla="*/ 4 h 15"/>
                  <a:gd name="T2" fmla="*/ 5 w 18"/>
                  <a:gd name="T3" fmla="*/ 3 h 15"/>
                  <a:gd name="T4" fmla="*/ 14 w 18"/>
                  <a:gd name="T5" fmla="*/ 10 h 15"/>
                  <a:gd name="T6" fmla="*/ 13 w 18"/>
                  <a:gd name="T7" fmla="*/ 11 h 15"/>
                  <a:gd name="T8" fmla="*/ 4 w 18"/>
                  <a:gd name="T9" fmla="*/ 4 h 15"/>
                  <a:gd name="T10" fmla="*/ 3 w 18"/>
                  <a:gd name="T11" fmla="*/ 0 h 15"/>
                  <a:gd name="T12" fmla="*/ 1 w 18"/>
                  <a:gd name="T13" fmla="*/ 4 h 15"/>
                  <a:gd name="T14" fmla="*/ 0 w 18"/>
                  <a:gd name="T15" fmla="*/ 5 h 15"/>
                  <a:gd name="T16" fmla="*/ 1 w 18"/>
                  <a:gd name="T17" fmla="*/ 6 h 15"/>
                  <a:gd name="T18" fmla="*/ 13 w 18"/>
                  <a:gd name="T19" fmla="*/ 14 h 15"/>
                  <a:gd name="T20" fmla="*/ 14 w 18"/>
                  <a:gd name="T21" fmla="*/ 15 h 15"/>
                  <a:gd name="T22" fmla="*/ 15 w 18"/>
                  <a:gd name="T23" fmla="*/ 14 h 15"/>
                  <a:gd name="T24" fmla="*/ 18 w 18"/>
                  <a:gd name="T25" fmla="*/ 10 h 15"/>
                  <a:gd name="T26" fmla="*/ 17 w 18"/>
                  <a:gd name="T27" fmla="*/ 9 h 15"/>
                  <a:gd name="T28" fmla="*/ 5 w 18"/>
                  <a:gd name="T29" fmla="*/ 0 h 15"/>
                  <a:gd name="T30" fmla="*/ 4 w 18"/>
                  <a:gd name="T31" fmla="*/ 0 h 15"/>
                  <a:gd name="T32" fmla="*/ 3 w 18"/>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5">
                    <a:moveTo>
                      <a:pt x="4" y="4"/>
                    </a:moveTo>
                    <a:cubicBezTo>
                      <a:pt x="5" y="3"/>
                      <a:pt x="5" y="3"/>
                      <a:pt x="5" y="3"/>
                    </a:cubicBezTo>
                    <a:cubicBezTo>
                      <a:pt x="14" y="10"/>
                      <a:pt x="14" y="10"/>
                      <a:pt x="14" y="10"/>
                    </a:cubicBezTo>
                    <a:cubicBezTo>
                      <a:pt x="13" y="11"/>
                      <a:pt x="13" y="11"/>
                      <a:pt x="13" y="11"/>
                    </a:cubicBezTo>
                    <a:cubicBezTo>
                      <a:pt x="4" y="4"/>
                      <a:pt x="4" y="4"/>
                      <a:pt x="4" y="4"/>
                    </a:cubicBezTo>
                    <a:moveTo>
                      <a:pt x="3" y="0"/>
                    </a:moveTo>
                    <a:cubicBezTo>
                      <a:pt x="1" y="4"/>
                      <a:pt x="1" y="4"/>
                      <a:pt x="1" y="4"/>
                    </a:cubicBezTo>
                    <a:cubicBezTo>
                      <a:pt x="0" y="5"/>
                      <a:pt x="0" y="5"/>
                      <a:pt x="0" y="5"/>
                    </a:cubicBezTo>
                    <a:cubicBezTo>
                      <a:pt x="1" y="5"/>
                      <a:pt x="1" y="5"/>
                      <a:pt x="1" y="6"/>
                    </a:cubicBezTo>
                    <a:cubicBezTo>
                      <a:pt x="13" y="14"/>
                      <a:pt x="13" y="14"/>
                      <a:pt x="13" y="14"/>
                    </a:cubicBezTo>
                    <a:cubicBezTo>
                      <a:pt x="13" y="15"/>
                      <a:pt x="14" y="15"/>
                      <a:pt x="14" y="15"/>
                    </a:cubicBezTo>
                    <a:cubicBezTo>
                      <a:pt x="14" y="15"/>
                      <a:pt x="15" y="14"/>
                      <a:pt x="15" y="14"/>
                    </a:cubicBezTo>
                    <a:cubicBezTo>
                      <a:pt x="18" y="10"/>
                      <a:pt x="18" y="10"/>
                      <a:pt x="18" y="10"/>
                    </a:cubicBezTo>
                    <a:cubicBezTo>
                      <a:pt x="18" y="10"/>
                      <a:pt x="18" y="9"/>
                      <a:pt x="17" y="9"/>
                    </a:cubicBezTo>
                    <a:cubicBezTo>
                      <a:pt x="5" y="0"/>
                      <a:pt x="5" y="0"/>
                      <a:pt x="5" y="0"/>
                    </a:cubicBezTo>
                    <a:cubicBezTo>
                      <a:pt x="4" y="0"/>
                      <a:pt x="4" y="0"/>
                      <a:pt x="4"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0" name="Freeform 4411"/>
              <p:cNvSpPr>
                <a:spLocks/>
              </p:cNvSpPr>
              <p:nvPr/>
            </p:nvSpPr>
            <p:spPr bwMode="auto">
              <a:xfrm>
                <a:off x="1020" y="3397"/>
                <a:ext cx="19" cy="46"/>
              </a:xfrm>
              <a:custGeom>
                <a:avLst/>
                <a:gdLst>
                  <a:gd name="T0" fmla="*/ 3 w 8"/>
                  <a:gd name="T1" fmla="*/ 1 h 19"/>
                  <a:gd name="T2" fmla="*/ 5 w 8"/>
                  <a:gd name="T3" fmla="*/ 18 h 19"/>
                  <a:gd name="T4" fmla="*/ 7 w 8"/>
                  <a:gd name="T5" fmla="*/ 18 h 19"/>
                  <a:gd name="T6" fmla="*/ 7 w 8"/>
                  <a:gd name="T7" fmla="*/ 16 h 19"/>
                  <a:gd name="T8" fmla="*/ 6 w 8"/>
                  <a:gd name="T9" fmla="*/ 2 h 19"/>
                  <a:gd name="T10" fmla="*/ 5 w 8"/>
                  <a:gd name="T11" fmla="*/ 0 h 19"/>
                  <a:gd name="T12" fmla="*/ 5 w 8"/>
                  <a:gd name="T13" fmla="*/ 0 h 19"/>
                  <a:gd name="T14" fmla="*/ 4 w 8"/>
                  <a:gd name="T15" fmla="*/ 0 h 19"/>
                  <a:gd name="T16" fmla="*/ 3 w 8"/>
                  <a:gd name="T17"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9">
                    <a:moveTo>
                      <a:pt x="3" y="1"/>
                    </a:moveTo>
                    <a:cubicBezTo>
                      <a:pt x="0" y="9"/>
                      <a:pt x="5" y="17"/>
                      <a:pt x="5" y="18"/>
                    </a:cubicBezTo>
                    <a:cubicBezTo>
                      <a:pt x="5" y="18"/>
                      <a:pt x="6" y="19"/>
                      <a:pt x="7" y="18"/>
                    </a:cubicBezTo>
                    <a:cubicBezTo>
                      <a:pt x="7" y="18"/>
                      <a:pt x="8" y="17"/>
                      <a:pt x="7" y="16"/>
                    </a:cubicBezTo>
                    <a:cubicBezTo>
                      <a:pt x="7" y="16"/>
                      <a:pt x="3" y="8"/>
                      <a:pt x="6" y="2"/>
                    </a:cubicBezTo>
                    <a:cubicBezTo>
                      <a:pt x="6" y="1"/>
                      <a:pt x="6" y="0"/>
                      <a:pt x="5" y="0"/>
                    </a:cubicBezTo>
                    <a:cubicBezTo>
                      <a:pt x="5" y="0"/>
                      <a:pt x="5" y="0"/>
                      <a:pt x="5" y="0"/>
                    </a:cubicBezTo>
                    <a:cubicBezTo>
                      <a:pt x="4" y="0"/>
                      <a:pt x="4" y="0"/>
                      <a:pt x="4" y="0"/>
                    </a:cubicBezTo>
                    <a:cubicBezTo>
                      <a:pt x="4" y="0"/>
                      <a:pt x="3" y="0"/>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1" name="Freeform 4413"/>
              <p:cNvSpPr>
                <a:spLocks/>
              </p:cNvSpPr>
              <p:nvPr/>
            </p:nvSpPr>
            <p:spPr bwMode="auto">
              <a:xfrm>
                <a:off x="776" y="3218"/>
                <a:ext cx="24" cy="21"/>
              </a:xfrm>
              <a:custGeom>
                <a:avLst/>
                <a:gdLst>
                  <a:gd name="T0" fmla="*/ 6 w 10"/>
                  <a:gd name="T1" fmla="*/ 0 h 9"/>
                  <a:gd name="T2" fmla="*/ 0 w 10"/>
                  <a:gd name="T3" fmla="*/ 5 h 9"/>
                  <a:gd name="T4" fmla="*/ 0 w 10"/>
                  <a:gd name="T5" fmla="*/ 6 h 9"/>
                  <a:gd name="T6" fmla="*/ 3 w 10"/>
                  <a:gd name="T7" fmla="*/ 9 h 9"/>
                  <a:gd name="T8" fmla="*/ 4 w 10"/>
                  <a:gd name="T9" fmla="*/ 9 h 9"/>
                  <a:gd name="T10" fmla="*/ 9 w 10"/>
                  <a:gd name="T11" fmla="*/ 4 h 9"/>
                  <a:gd name="T12" fmla="*/ 10 w 10"/>
                  <a:gd name="T13" fmla="*/ 3 h 9"/>
                  <a:gd name="T14" fmla="*/ 7 w 10"/>
                  <a:gd name="T15" fmla="*/ 0 h 9"/>
                  <a:gd name="T16" fmla="*/ 6 w 10"/>
                  <a:gd name="T17" fmla="*/ 0 h 9"/>
                  <a:gd name="T18" fmla="*/ 6 w 10"/>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6" y="0"/>
                    </a:moveTo>
                    <a:cubicBezTo>
                      <a:pt x="0" y="5"/>
                      <a:pt x="0" y="5"/>
                      <a:pt x="0" y="5"/>
                    </a:cubicBezTo>
                    <a:cubicBezTo>
                      <a:pt x="0" y="5"/>
                      <a:pt x="0" y="6"/>
                      <a:pt x="0" y="6"/>
                    </a:cubicBezTo>
                    <a:cubicBezTo>
                      <a:pt x="3" y="9"/>
                      <a:pt x="3" y="9"/>
                      <a:pt x="3" y="9"/>
                    </a:cubicBezTo>
                    <a:cubicBezTo>
                      <a:pt x="3" y="9"/>
                      <a:pt x="4" y="9"/>
                      <a:pt x="4" y="9"/>
                    </a:cubicBezTo>
                    <a:cubicBezTo>
                      <a:pt x="9" y="4"/>
                      <a:pt x="9" y="4"/>
                      <a:pt x="9" y="4"/>
                    </a:cubicBezTo>
                    <a:cubicBezTo>
                      <a:pt x="10" y="4"/>
                      <a:pt x="10" y="3"/>
                      <a:pt x="10" y="3"/>
                    </a:cubicBezTo>
                    <a:cubicBezTo>
                      <a:pt x="7" y="0"/>
                      <a:pt x="7" y="0"/>
                      <a:pt x="7"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2" name="Freeform 4415"/>
              <p:cNvSpPr>
                <a:spLocks/>
              </p:cNvSpPr>
              <p:nvPr/>
            </p:nvSpPr>
            <p:spPr bwMode="auto">
              <a:xfrm>
                <a:off x="908" y="3101"/>
                <a:ext cx="21" cy="21"/>
              </a:xfrm>
              <a:custGeom>
                <a:avLst/>
                <a:gdLst>
                  <a:gd name="T0" fmla="*/ 5 w 9"/>
                  <a:gd name="T1" fmla="*/ 0 h 9"/>
                  <a:gd name="T2" fmla="*/ 0 w 9"/>
                  <a:gd name="T3" fmla="*/ 5 h 9"/>
                  <a:gd name="T4" fmla="*/ 0 w 9"/>
                  <a:gd name="T5" fmla="*/ 6 h 9"/>
                  <a:gd name="T6" fmla="*/ 2 w 9"/>
                  <a:gd name="T7" fmla="*/ 9 h 9"/>
                  <a:gd name="T8" fmla="*/ 4 w 9"/>
                  <a:gd name="T9" fmla="*/ 9 h 9"/>
                  <a:gd name="T10" fmla="*/ 9 w 9"/>
                  <a:gd name="T11" fmla="*/ 4 h 9"/>
                  <a:gd name="T12" fmla="*/ 9 w 9"/>
                  <a:gd name="T13" fmla="*/ 3 h 9"/>
                  <a:gd name="T14" fmla="*/ 6 w 9"/>
                  <a:gd name="T15" fmla="*/ 1 h 9"/>
                  <a:gd name="T16" fmla="*/ 6 w 9"/>
                  <a:gd name="T17" fmla="*/ 0 h 9"/>
                  <a:gd name="T18" fmla="*/ 5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5" y="0"/>
                    </a:moveTo>
                    <a:cubicBezTo>
                      <a:pt x="0" y="5"/>
                      <a:pt x="0" y="5"/>
                      <a:pt x="0" y="5"/>
                    </a:cubicBezTo>
                    <a:cubicBezTo>
                      <a:pt x="0" y="5"/>
                      <a:pt x="0" y="6"/>
                      <a:pt x="0" y="6"/>
                    </a:cubicBezTo>
                    <a:cubicBezTo>
                      <a:pt x="2" y="9"/>
                      <a:pt x="2" y="9"/>
                      <a:pt x="2" y="9"/>
                    </a:cubicBezTo>
                    <a:cubicBezTo>
                      <a:pt x="3" y="9"/>
                      <a:pt x="3" y="9"/>
                      <a:pt x="4" y="9"/>
                    </a:cubicBezTo>
                    <a:cubicBezTo>
                      <a:pt x="9" y="4"/>
                      <a:pt x="9" y="4"/>
                      <a:pt x="9" y="4"/>
                    </a:cubicBezTo>
                    <a:cubicBezTo>
                      <a:pt x="9" y="4"/>
                      <a:pt x="9" y="4"/>
                      <a:pt x="9" y="3"/>
                    </a:cubicBezTo>
                    <a:cubicBezTo>
                      <a:pt x="6" y="1"/>
                      <a:pt x="6" y="1"/>
                      <a:pt x="6" y="1"/>
                    </a:cubicBezTo>
                    <a:cubicBezTo>
                      <a:pt x="6" y="0"/>
                      <a:pt x="6" y="0"/>
                      <a:pt x="6"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3" name="Freeform 4417"/>
              <p:cNvSpPr>
                <a:spLocks/>
              </p:cNvSpPr>
              <p:nvPr/>
            </p:nvSpPr>
            <p:spPr bwMode="auto">
              <a:xfrm>
                <a:off x="783" y="3094"/>
                <a:ext cx="24" cy="23"/>
              </a:xfrm>
              <a:custGeom>
                <a:avLst/>
                <a:gdLst>
                  <a:gd name="T0" fmla="*/ 4 w 10"/>
                  <a:gd name="T1" fmla="*/ 0 h 10"/>
                  <a:gd name="T2" fmla="*/ 1 w 10"/>
                  <a:gd name="T3" fmla="*/ 3 h 10"/>
                  <a:gd name="T4" fmla="*/ 1 w 10"/>
                  <a:gd name="T5" fmla="*/ 4 h 10"/>
                  <a:gd name="T6" fmla="*/ 5 w 10"/>
                  <a:gd name="T7" fmla="*/ 9 h 10"/>
                  <a:gd name="T8" fmla="*/ 7 w 10"/>
                  <a:gd name="T9" fmla="*/ 9 h 10"/>
                  <a:gd name="T10" fmla="*/ 9 w 10"/>
                  <a:gd name="T11" fmla="*/ 7 h 10"/>
                  <a:gd name="T12" fmla="*/ 9 w 10"/>
                  <a:gd name="T13" fmla="*/ 6 h 10"/>
                  <a:gd name="T14" fmla="*/ 5 w 10"/>
                  <a:gd name="T15" fmla="*/ 0 h 10"/>
                  <a:gd name="T16" fmla="*/ 4 w 10"/>
                  <a:gd name="T17" fmla="*/ 0 h 10"/>
                  <a:gd name="T18" fmla="*/ 4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4" y="0"/>
                    </a:moveTo>
                    <a:cubicBezTo>
                      <a:pt x="1" y="3"/>
                      <a:pt x="1" y="3"/>
                      <a:pt x="1" y="3"/>
                    </a:cubicBezTo>
                    <a:cubicBezTo>
                      <a:pt x="0" y="3"/>
                      <a:pt x="0" y="4"/>
                      <a:pt x="1" y="4"/>
                    </a:cubicBezTo>
                    <a:cubicBezTo>
                      <a:pt x="5" y="9"/>
                      <a:pt x="5" y="9"/>
                      <a:pt x="5" y="9"/>
                    </a:cubicBezTo>
                    <a:cubicBezTo>
                      <a:pt x="6" y="10"/>
                      <a:pt x="6" y="10"/>
                      <a:pt x="7" y="9"/>
                    </a:cubicBezTo>
                    <a:cubicBezTo>
                      <a:pt x="9" y="7"/>
                      <a:pt x="9" y="7"/>
                      <a:pt x="9" y="7"/>
                    </a:cubicBezTo>
                    <a:cubicBezTo>
                      <a:pt x="10" y="7"/>
                      <a:pt x="10" y="6"/>
                      <a:pt x="9" y="6"/>
                    </a:cubicBezTo>
                    <a:cubicBezTo>
                      <a:pt x="5" y="0"/>
                      <a:pt x="5" y="0"/>
                      <a:pt x="5" y="0"/>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4" name="Freeform 4419"/>
              <p:cNvSpPr>
                <a:spLocks/>
              </p:cNvSpPr>
              <p:nvPr/>
            </p:nvSpPr>
            <p:spPr bwMode="auto">
              <a:xfrm>
                <a:off x="900" y="3223"/>
                <a:ext cx="22" cy="24"/>
              </a:xfrm>
              <a:custGeom>
                <a:avLst/>
                <a:gdLst>
                  <a:gd name="T0" fmla="*/ 3 w 9"/>
                  <a:gd name="T1" fmla="*/ 1 h 10"/>
                  <a:gd name="T2" fmla="*/ 0 w 9"/>
                  <a:gd name="T3" fmla="*/ 3 h 10"/>
                  <a:gd name="T4" fmla="*/ 0 w 9"/>
                  <a:gd name="T5" fmla="*/ 4 h 10"/>
                  <a:gd name="T6" fmla="*/ 5 w 9"/>
                  <a:gd name="T7" fmla="*/ 9 h 10"/>
                  <a:gd name="T8" fmla="*/ 6 w 9"/>
                  <a:gd name="T9" fmla="*/ 10 h 10"/>
                  <a:gd name="T10" fmla="*/ 9 w 9"/>
                  <a:gd name="T11" fmla="*/ 7 h 10"/>
                  <a:gd name="T12" fmla="*/ 9 w 9"/>
                  <a:gd name="T13" fmla="*/ 6 h 10"/>
                  <a:gd name="T14" fmla="*/ 4 w 9"/>
                  <a:gd name="T15" fmla="*/ 1 h 10"/>
                  <a:gd name="T16" fmla="*/ 4 w 9"/>
                  <a:gd name="T17" fmla="*/ 0 h 10"/>
                  <a:gd name="T18" fmla="*/ 3 w 9"/>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3" y="1"/>
                    </a:moveTo>
                    <a:cubicBezTo>
                      <a:pt x="0" y="3"/>
                      <a:pt x="0" y="3"/>
                      <a:pt x="0" y="3"/>
                    </a:cubicBezTo>
                    <a:cubicBezTo>
                      <a:pt x="0" y="3"/>
                      <a:pt x="0" y="4"/>
                      <a:pt x="0" y="4"/>
                    </a:cubicBezTo>
                    <a:cubicBezTo>
                      <a:pt x="5" y="9"/>
                      <a:pt x="5" y="9"/>
                      <a:pt x="5" y="9"/>
                    </a:cubicBezTo>
                    <a:cubicBezTo>
                      <a:pt x="5" y="10"/>
                      <a:pt x="6" y="10"/>
                      <a:pt x="6" y="10"/>
                    </a:cubicBezTo>
                    <a:cubicBezTo>
                      <a:pt x="9" y="7"/>
                      <a:pt x="9" y="7"/>
                      <a:pt x="9" y="7"/>
                    </a:cubicBezTo>
                    <a:cubicBezTo>
                      <a:pt x="9" y="7"/>
                      <a:pt x="9" y="6"/>
                      <a:pt x="9" y="6"/>
                    </a:cubicBezTo>
                    <a:cubicBezTo>
                      <a:pt x="4" y="1"/>
                      <a:pt x="4" y="1"/>
                      <a:pt x="4" y="1"/>
                    </a:cubicBezTo>
                    <a:cubicBezTo>
                      <a:pt x="4" y="0"/>
                      <a:pt x="4" y="0"/>
                      <a:pt x="4" y="0"/>
                    </a:cubicBezTo>
                    <a:cubicBezTo>
                      <a:pt x="3" y="1"/>
                      <a:pt x="3" y="1"/>
                      <a:pt x="3"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5" name="Freeform 4421"/>
              <p:cNvSpPr>
                <a:spLocks/>
              </p:cNvSpPr>
              <p:nvPr/>
            </p:nvSpPr>
            <p:spPr bwMode="auto">
              <a:xfrm>
                <a:off x="755" y="3158"/>
                <a:ext cx="21" cy="14"/>
              </a:xfrm>
              <a:custGeom>
                <a:avLst/>
                <a:gdLst>
                  <a:gd name="T0" fmla="*/ 0 w 9"/>
                  <a:gd name="T1" fmla="*/ 1 h 6"/>
                  <a:gd name="T2" fmla="*/ 0 w 9"/>
                  <a:gd name="T3" fmla="*/ 5 h 6"/>
                  <a:gd name="T4" fmla="*/ 1 w 9"/>
                  <a:gd name="T5" fmla="*/ 6 h 6"/>
                  <a:gd name="T6" fmla="*/ 8 w 9"/>
                  <a:gd name="T7" fmla="*/ 6 h 6"/>
                  <a:gd name="T8" fmla="*/ 9 w 9"/>
                  <a:gd name="T9" fmla="*/ 5 h 6"/>
                  <a:gd name="T10" fmla="*/ 9 w 9"/>
                  <a:gd name="T11" fmla="*/ 1 h 6"/>
                  <a:gd name="T12" fmla="*/ 8 w 9"/>
                  <a:gd name="T13" fmla="*/ 0 h 6"/>
                  <a:gd name="T14" fmla="*/ 1 w 9"/>
                  <a:gd name="T15" fmla="*/ 0 h 6"/>
                  <a:gd name="T16" fmla="*/ 1 w 9"/>
                  <a:gd name="T17" fmla="*/ 0 h 6"/>
                  <a:gd name="T18" fmla="*/ 0 w 9"/>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6">
                    <a:moveTo>
                      <a:pt x="0" y="1"/>
                    </a:moveTo>
                    <a:cubicBezTo>
                      <a:pt x="0" y="5"/>
                      <a:pt x="0" y="5"/>
                      <a:pt x="0" y="5"/>
                    </a:cubicBezTo>
                    <a:cubicBezTo>
                      <a:pt x="0" y="5"/>
                      <a:pt x="0" y="5"/>
                      <a:pt x="1" y="6"/>
                    </a:cubicBezTo>
                    <a:cubicBezTo>
                      <a:pt x="8" y="6"/>
                      <a:pt x="8" y="6"/>
                      <a:pt x="8" y="6"/>
                    </a:cubicBezTo>
                    <a:cubicBezTo>
                      <a:pt x="9" y="6"/>
                      <a:pt x="9" y="6"/>
                      <a:pt x="9" y="5"/>
                    </a:cubicBezTo>
                    <a:cubicBezTo>
                      <a:pt x="9" y="1"/>
                      <a:pt x="9" y="1"/>
                      <a:pt x="9" y="1"/>
                    </a:cubicBezTo>
                    <a:cubicBezTo>
                      <a:pt x="9" y="1"/>
                      <a:pt x="9" y="1"/>
                      <a:pt x="8" y="0"/>
                    </a:cubicBezTo>
                    <a:cubicBezTo>
                      <a:pt x="1" y="0"/>
                      <a:pt x="1" y="0"/>
                      <a:pt x="1" y="0"/>
                    </a:cubicBezTo>
                    <a:cubicBezTo>
                      <a:pt x="1" y="0"/>
                      <a:pt x="1" y="0"/>
                      <a:pt x="1" y="0"/>
                    </a:cubicBezTo>
                    <a:cubicBezTo>
                      <a:pt x="1" y="0"/>
                      <a:pt x="0" y="0"/>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6" name="Freeform 4422"/>
              <p:cNvSpPr>
                <a:spLocks/>
              </p:cNvSpPr>
              <p:nvPr/>
            </p:nvSpPr>
            <p:spPr bwMode="auto">
              <a:xfrm>
                <a:off x="757" y="315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7" name="Freeform 4424"/>
              <p:cNvSpPr>
                <a:spLocks/>
              </p:cNvSpPr>
              <p:nvPr/>
            </p:nvSpPr>
            <p:spPr bwMode="auto">
              <a:xfrm>
                <a:off x="929" y="3168"/>
                <a:ext cx="22" cy="14"/>
              </a:xfrm>
              <a:custGeom>
                <a:avLst/>
                <a:gdLst>
                  <a:gd name="T0" fmla="*/ 1 w 9"/>
                  <a:gd name="T1" fmla="*/ 0 h 6"/>
                  <a:gd name="T2" fmla="*/ 0 w 9"/>
                  <a:gd name="T3" fmla="*/ 1 h 6"/>
                  <a:gd name="T4" fmla="*/ 0 w 9"/>
                  <a:gd name="T5" fmla="*/ 4 h 6"/>
                  <a:gd name="T6" fmla="*/ 1 w 9"/>
                  <a:gd name="T7" fmla="*/ 5 h 6"/>
                  <a:gd name="T8" fmla="*/ 8 w 9"/>
                  <a:gd name="T9" fmla="*/ 6 h 6"/>
                  <a:gd name="T10" fmla="*/ 9 w 9"/>
                  <a:gd name="T11" fmla="*/ 5 h 6"/>
                  <a:gd name="T12" fmla="*/ 9 w 9"/>
                  <a:gd name="T13" fmla="*/ 1 h 6"/>
                  <a:gd name="T14" fmla="*/ 8 w 9"/>
                  <a:gd name="T15" fmla="*/ 0 h 6"/>
                  <a:gd name="T16" fmla="*/ 1 w 9"/>
                  <a:gd name="T17" fmla="*/ 0 h 6"/>
                  <a:gd name="T18" fmla="*/ 1 w 9"/>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6">
                    <a:moveTo>
                      <a:pt x="1" y="0"/>
                    </a:moveTo>
                    <a:cubicBezTo>
                      <a:pt x="1" y="0"/>
                      <a:pt x="0" y="0"/>
                      <a:pt x="0" y="1"/>
                    </a:cubicBezTo>
                    <a:cubicBezTo>
                      <a:pt x="0" y="4"/>
                      <a:pt x="0" y="4"/>
                      <a:pt x="0" y="4"/>
                    </a:cubicBezTo>
                    <a:cubicBezTo>
                      <a:pt x="0" y="5"/>
                      <a:pt x="0" y="5"/>
                      <a:pt x="1" y="5"/>
                    </a:cubicBezTo>
                    <a:cubicBezTo>
                      <a:pt x="8" y="6"/>
                      <a:pt x="8" y="6"/>
                      <a:pt x="8" y="6"/>
                    </a:cubicBezTo>
                    <a:cubicBezTo>
                      <a:pt x="8" y="6"/>
                      <a:pt x="9" y="5"/>
                      <a:pt x="9" y="5"/>
                    </a:cubicBezTo>
                    <a:cubicBezTo>
                      <a:pt x="9" y="1"/>
                      <a:pt x="9" y="1"/>
                      <a:pt x="9" y="1"/>
                    </a:cubicBezTo>
                    <a:cubicBezTo>
                      <a:pt x="9" y="1"/>
                      <a:pt x="9" y="0"/>
                      <a:pt x="8"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8" name="Freeform 4426"/>
              <p:cNvSpPr>
                <a:spLocks/>
              </p:cNvSpPr>
              <p:nvPr/>
            </p:nvSpPr>
            <p:spPr bwMode="auto">
              <a:xfrm>
                <a:off x="850" y="3072"/>
                <a:ext cx="15" cy="22"/>
              </a:xfrm>
              <a:custGeom>
                <a:avLst/>
                <a:gdLst>
                  <a:gd name="T0" fmla="*/ 1 w 6"/>
                  <a:gd name="T1" fmla="*/ 0 h 9"/>
                  <a:gd name="T2" fmla="*/ 1 w 6"/>
                  <a:gd name="T3" fmla="*/ 1 h 9"/>
                  <a:gd name="T4" fmla="*/ 0 w 6"/>
                  <a:gd name="T5" fmla="*/ 8 h 9"/>
                  <a:gd name="T6" fmla="*/ 1 w 6"/>
                  <a:gd name="T7" fmla="*/ 9 h 9"/>
                  <a:gd name="T8" fmla="*/ 5 w 6"/>
                  <a:gd name="T9" fmla="*/ 9 h 9"/>
                  <a:gd name="T10" fmla="*/ 6 w 6"/>
                  <a:gd name="T11" fmla="*/ 8 h 9"/>
                  <a:gd name="T12" fmla="*/ 6 w 6"/>
                  <a:gd name="T13" fmla="*/ 1 h 9"/>
                  <a:gd name="T14" fmla="*/ 5 w 6"/>
                  <a:gd name="T15" fmla="*/ 0 h 9"/>
                  <a:gd name="T16" fmla="*/ 2 w 6"/>
                  <a:gd name="T17" fmla="*/ 0 h 9"/>
                  <a:gd name="T18" fmla="*/ 1 w 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
                    <a:moveTo>
                      <a:pt x="1" y="0"/>
                    </a:moveTo>
                    <a:cubicBezTo>
                      <a:pt x="1" y="0"/>
                      <a:pt x="1" y="0"/>
                      <a:pt x="1" y="1"/>
                    </a:cubicBezTo>
                    <a:cubicBezTo>
                      <a:pt x="0" y="8"/>
                      <a:pt x="0" y="8"/>
                      <a:pt x="0" y="8"/>
                    </a:cubicBezTo>
                    <a:cubicBezTo>
                      <a:pt x="0" y="8"/>
                      <a:pt x="1" y="9"/>
                      <a:pt x="1" y="9"/>
                    </a:cubicBezTo>
                    <a:cubicBezTo>
                      <a:pt x="5" y="9"/>
                      <a:pt x="5" y="9"/>
                      <a:pt x="5" y="9"/>
                    </a:cubicBezTo>
                    <a:cubicBezTo>
                      <a:pt x="5" y="9"/>
                      <a:pt x="6" y="9"/>
                      <a:pt x="6" y="8"/>
                    </a:cubicBezTo>
                    <a:cubicBezTo>
                      <a:pt x="6" y="1"/>
                      <a:pt x="6" y="1"/>
                      <a:pt x="6" y="1"/>
                    </a:cubicBezTo>
                    <a:cubicBezTo>
                      <a:pt x="6" y="1"/>
                      <a:pt x="6" y="0"/>
                      <a:pt x="5" y="0"/>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29" name="Freeform 4427"/>
              <p:cNvSpPr>
                <a:spLocks/>
              </p:cNvSpPr>
              <p:nvPr/>
            </p:nvSpPr>
            <p:spPr bwMode="auto">
              <a:xfrm>
                <a:off x="853" y="3072"/>
                <a:ext cx="2" cy="0"/>
              </a:xfrm>
              <a:custGeom>
                <a:avLst/>
                <a:gdLst>
                  <a:gd name="T0" fmla="*/ 1 w 1"/>
                  <a:gd name="T1" fmla="*/ 0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0" y="0"/>
                      <a:pt x="0" y="0"/>
                      <a:pt x="0" y="0"/>
                    </a:cubicBezTo>
                    <a:cubicBezTo>
                      <a:pt x="0" y="0"/>
                      <a:pt x="0" y="0"/>
                      <a:pt x="0"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0" name="Freeform 4429"/>
              <p:cNvSpPr>
                <a:spLocks/>
              </p:cNvSpPr>
              <p:nvPr/>
            </p:nvSpPr>
            <p:spPr bwMode="auto">
              <a:xfrm>
                <a:off x="841" y="3247"/>
                <a:ext cx="14" cy="21"/>
              </a:xfrm>
              <a:custGeom>
                <a:avLst/>
                <a:gdLst>
                  <a:gd name="T0" fmla="*/ 2 w 6"/>
                  <a:gd name="T1" fmla="*/ 0 h 9"/>
                  <a:gd name="T2" fmla="*/ 1 w 6"/>
                  <a:gd name="T3" fmla="*/ 1 h 9"/>
                  <a:gd name="T4" fmla="*/ 0 w 6"/>
                  <a:gd name="T5" fmla="*/ 8 h 9"/>
                  <a:gd name="T6" fmla="*/ 1 w 6"/>
                  <a:gd name="T7" fmla="*/ 9 h 9"/>
                  <a:gd name="T8" fmla="*/ 5 w 6"/>
                  <a:gd name="T9" fmla="*/ 9 h 9"/>
                  <a:gd name="T10" fmla="*/ 6 w 6"/>
                  <a:gd name="T11" fmla="*/ 8 h 9"/>
                  <a:gd name="T12" fmla="*/ 6 w 6"/>
                  <a:gd name="T13" fmla="*/ 1 h 9"/>
                  <a:gd name="T14" fmla="*/ 5 w 6"/>
                  <a:gd name="T15" fmla="*/ 0 h 9"/>
                  <a:gd name="T16" fmla="*/ 2 w 6"/>
                  <a:gd name="T17" fmla="*/ 0 h 9"/>
                  <a:gd name="T18" fmla="*/ 2 w 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9">
                    <a:moveTo>
                      <a:pt x="2" y="0"/>
                    </a:moveTo>
                    <a:cubicBezTo>
                      <a:pt x="1" y="0"/>
                      <a:pt x="1" y="0"/>
                      <a:pt x="1" y="1"/>
                    </a:cubicBezTo>
                    <a:cubicBezTo>
                      <a:pt x="0" y="8"/>
                      <a:pt x="0" y="8"/>
                      <a:pt x="0" y="8"/>
                    </a:cubicBezTo>
                    <a:cubicBezTo>
                      <a:pt x="0" y="8"/>
                      <a:pt x="1" y="9"/>
                      <a:pt x="1" y="9"/>
                    </a:cubicBezTo>
                    <a:cubicBezTo>
                      <a:pt x="5" y="9"/>
                      <a:pt x="5" y="9"/>
                      <a:pt x="5" y="9"/>
                    </a:cubicBezTo>
                    <a:cubicBezTo>
                      <a:pt x="5" y="9"/>
                      <a:pt x="6" y="9"/>
                      <a:pt x="6" y="8"/>
                    </a:cubicBezTo>
                    <a:cubicBezTo>
                      <a:pt x="6" y="1"/>
                      <a:pt x="6" y="1"/>
                      <a:pt x="6" y="1"/>
                    </a:cubicBezTo>
                    <a:cubicBezTo>
                      <a:pt x="6" y="1"/>
                      <a:pt x="6" y="0"/>
                      <a:pt x="5"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6" name="Freeform 4431"/>
              <p:cNvSpPr>
                <a:spLocks/>
              </p:cNvSpPr>
              <p:nvPr/>
            </p:nvSpPr>
            <p:spPr bwMode="auto">
              <a:xfrm>
                <a:off x="762" y="3199"/>
                <a:ext cx="26" cy="21"/>
              </a:xfrm>
              <a:custGeom>
                <a:avLst/>
                <a:gdLst>
                  <a:gd name="T0" fmla="*/ 7 w 11"/>
                  <a:gd name="T1" fmla="*/ 0 h 9"/>
                  <a:gd name="T2" fmla="*/ 1 w 11"/>
                  <a:gd name="T3" fmla="*/ 4 h 9"/>
                  <a:gd name="T4" fmla="*/ 1 w 11"/>
                  <a:gd name="T5" fmla="*/ 5 h 9"/>
                  <a:gd name="T6" fmla="*/ 2 w 11"/>
                  <a:gd name="T7" fmla="*/ 8 h 9"/>
                  <a:gd name="T8" fmla="*/ 4 w 11"/>
                  <a:gd name="T9" fmla="*/ 8 h 9"/>
                  <a:gd name="T10" fmla="*/ 10 w 11"/>
                  <a:gd name="T11" fmla="*/ 5 h 9"/>
                  <a:gd name="T12" fmla="*/ 10 w 11"/>
                  <a:gd name="T13" fmla="*/ 4 h 9"/>
                  <a:gd name="T14" fmla="*/ 9 w 11"/>
                  <a:gd name="T15" fmla="*/ 1 h 9"/>
                  <a:gd name="T16" fmla="*/ 8 w 11"/>
                  <a:gd name="T17" fmla="*/ 0 h 9"/>
                  <a:gd name="T18" fmla="*/ 7 w 11"/>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7" y="0"/>
                    </a:moveTo>
                    <a:cubicBezTo>
                      <a:pt x="1" y="4"/>
                      <a:pt x="1" y="4"/>
                      <a:pt x="1" y="4"/>
                    </a:cubicBezTo>
                    <a:cubicBezTo>
                      <a:pt x="1" y="4"/>
                      <a:pt x="0" y="4"/>
                      <a:pt x="1" y="5"/>
                    </a:cubicBezTo>
                    <a:cubicBezTo>
                      <a:pt x="2" y="8"/>
                      <a:pt x="2" y="8"/>
                      <a:pt x="2" y="8"/>
                    </a:cubicBezTo>
                    <a:cubicBezTo>
                      <a:pt x="3" y="8"/>
                      <a:pt x="3" y="9"/>
                      <a:pt x="4" y="8"/>
                    </a:cubicBezTo>
                    <a:cubicBezTo>
                      <a:pt x="10" y="5"/>
                      <a:pt x="10" y="5"/>
                      <a:pt x="10" y="5"/>
                    </a:cubicBezTo>
                    <a:cubicBezTo>
                      <a:pt x="10" y="5"/>
                      <a:pt x="11" y="4"/>
                      <a:pt x="10" y="4"/>
                    </a:cubicBezTo>
                    <a:cubicBezTo>
                      <a:pt x="9" y="1"/>
                      <a:pt x="9" y="1"/>
                      <a:pt x="9" y="1"/>
                    </a:cubicBezTo>
                    <a:cubicBezTo>
                      <a:pt x="8" y="0"/>
                      <a:pt x="8" y="0"/>
                      <a:pt x="8" y="0"/>
                    </a:cubicBez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38" name="Freeform 4433"/>
              <p:cNvSpPr>
                <a:spLocks/>
              </p:cNvSpPr>
              <p:nvPr/>
            </p:nvSpPr>
            <p:spPr bwMode="auto">
              <a:xfrm>
                <a:off x="919" y="3120"/>
                <a:ext cx="24" cy="21"/>
              </a:xfrm>
              <a:custGeom>
                <a:avLst/>
                <a:gdLst>
                  <a:gd name="T0" fmla="*/ 7 w 10"/>
                  <a:gd name="T1" fmla="*/ 1 h 9"/>
                  <a:gd name="T2" fmla="*/ 0 w 10"/>
                  <a:gd name="T3" fmla="*/ 4 h 9"/>
                  <a:gd name="T4" fmla="*/ 0 w 10"/>
                  <a:gd name="T5" fmla="*/ 5 h 9"/>
                  <a:gd name="T6" fmla="*/ 1 w 10"/>
                  <a:gd name="T7" fmla="*/ 8 h 9"/>
                  <a:gd name="T8" fmla="*/ 3 w 10"/>
                  <a:gd name="T9" fmla="*/ 9 h 9"/>
                  <a:gd name="T10" fmla="*/ 9 w 10"/>
                  <a:gd name="T11" fmla="*/ 5 h 9"/>
                  <a:gd name="T12" fmla="*/ 9 w 10"/>
                  <a:gd name="T13" fmla="*/ 4 h 9"/>
                  <a:gd name="T14" fmla="*/ 8 w 10"/>
                  <a:gd name="T15" fmla="*/ 1 h 9"/>
                  <a:gd name="T16" fmla="*/ 7 w 10"/>
                  <a:gd name="T17" fmla="*/ 0 h 9"/>
                  <a:gd name="T18" fmla="*/ 7 w 10"/>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7" y="1"/>
                    </a:moveTo>
                    <a:cubicBezTo>
                      <a:pt x="0" y="4"/>
                      <a:pt x="0" y="4"/>
                      <a:pt x="0" y="4"/>
                    </a:cubicBezTo>
                    <a:cubicBezTo>
                      <a:pt x="0" y="4"/>
                      <a:pt x="0" y="5"/>
                      <a:pt x="0" y="5"/>
                    </a:cubicBezTo>
                    <a:cubicBezTo>
                      <a:pt x="1" y="8"/>
                      <a:pt x="1" y="8"/>
                      <a:pt x="1" y="8"/>
                    </a:cubicBezTo>
                    <a:cubicBezTo>
                      <a:pt x="2" y="9"/>
                      <a:pt x="2" y="9"/>
                      <a:pt x="3" y="9"/>
                    </a:cubicBezTo>
                    <a:cubicBezTo>
                      <a:pt x="9" y="5"/>
                      <a:pt x="9" y="5"/>
                      <a:pt x="9" y="5"/>
                    </a:cubicBezTo>
                    <a:cubicBezTo>
                      <a:pt x="10" y="5"/>
                      <a:pt x="10" y="5"/>
                      <a:pt x="9" y="4"/>
                    </a:cubicBezTo>
                    <a:cubicBezTo>
                      <a:pt x="8" y="1"/>
                      <a:pt x="8" y="1"/>
                      <a:pt x="8" y="1"/>
                    </a:cubicBezTo>
                    <a:cubicBezTo>
                      <a:pt x="7" y="0"/>
                      <a:pt x="7" y="0"/>
                      <a:pt x="7" y="0"/>
                    </a:cubicBezTo>
                    <a:cubicBezTo>
                      <a:pt x="7" y="1"/>
                      <a:pt x="7" y="1"/>
                      <a:pt x="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1" name="Rectangle 4434"/>
              <p:cNvSpPr>
                <a:spLocks noChangeArrowheads="1"/>
              </p:cNvSpPr>
              <p:nvPr/>
            </p:nvSpPr>
            <p:spPr bwMode="auto">
              <a:xfrm>
                <a:off x="936" y="312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5" name="Freeform 4435"/>
              <p:cNvSpPr>
                <a:spLocks/>
              </p:cNvSpPr>
              <p:nvPr/>
            </p:nvSpPr>
            <p:spPr bwMode="auto">
              <a:xfrm>
                <a:off x="936" y="312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6" name="Freeform 4437"/>
              <p:cNvSpPr>
                <a:spLocks/>
              </p:cNvSpPr>
              <p:nvPr/>
            </p:nvSpPr>
            <p:spPr bwMode="auto">
              <a:xfrm>
                <a:off x="802" y="3079"/>
                <a:ext cx="22" cy="24"/>
              </a:xfrm>
              <a:custGeom>
                <a:avLst/>
                <a:gdLst>
                  <a:gd name="T0" fmla="*/ 4 w 9"/>
                  <a:gd name="T1" fmla="*/ 1 h 10"/>
                  <a:gd name="T2" fmla="*/ 1 w 9"/>
                  <a:gd name="T3" fmla="*/ 2 h 10"/>
                  <a:gd name="T4" fmla="*/ 1 w 9"/>
                  <a:gd name="T5" fmla="*/ 3 h 10"/>
                  <a:gd name="T6" fmla="*/ 4 w 9"/>
                  <a:gd name="T7" fmla="*/ 10 h 10"/>
                  <a:gd name="T8" fmla="*/ 5 w 9"/>
                  <a:gd name="T9" fmla="*/ 10 h 10"/>
                  <a:gd name="T10" fmla="*/ 8 w 9"/>
                  <a:gd name="T11" fmla="*/ 9 h 10"/>
                  <a:gd name="T12" fmla="*/ 9 w 9"/>
                  <a:gd name="T13" fmla="*/ 7 h 10"/>
                  <a:gd name="T14" fmla="*/ 5 w 9"/>
                  <a:gd name="T15" fmla="*/ 1 h 10"/>
                  <a:gd name="T16" fmla="*/ 5 w 9"/>
                  <a:gd name="T17" fmla="*/ 0 h 10"/>
                  <a:gd name="T18" fmla="*/ 4 w 9"/>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4" y="1"/>
                    </a:moveTo>
                    <a:cubicBezTo>
                      <a:pt x="1" y="2"/>
                      <a:pt x="1" y="2"/>
                      <a:pt x="1" y="2"/>
                    </a:cubicBezTo>
                    <a:cubicBezTo>
                      <a:pt x="1" y="2"/>
                      <a:pt x="0" y="3"/>
                      <a:pt x="1" y="3"/>
                    </a:cubicBezTo>
                    <a:cubicBezTo>
                      <a:pt x="4" y="10"/>
                      <a:pt x="4" y="10"/>
                      <a:pt x="4" y="10"/>
                    </a:cubicBezTo>
                    <a:cubicBezTo>
                      <a:pt x="4" y="10"/>
                      <a:pt x="5" y="10"/>
                      <a:pt x="5" y="10"/>
                    </a:cubicBezTo>
                    <a:cubicBezTo>
                      <a:pt x="8" y="9"/>
                      <a:pt x="8" y="9"/>
                      <a:pt x="8" y="9"/>
                    </a:cubicBezTo>
                    <a:cubicBezTo>
                      <a:pt x="9" y="8"/>
                      <a:pt x="9" y="8"/>
                      <a:pt x="9" y="7"/>
                    </a:cubicBezTo>
                    <a:cubicBezTo>
                      <a:pt x="5" y="1"/>
                      <a:pt x="5" y="1"/>
                      <a:pt x="5" y="1"/>
                    </a:cubicBezTo>
                    <a:cubicBezTo>
                      <a:pt x="5" y="0"/>
                      <a:pt x="5" y="0"/>
                      <a:pt x="5" y="0"/>
                    </a:cubicBezTo>
                    <a:cubicBezTo>
                      <a:pt x="4" y="1"/>
                      <a:pt x="4" y="1"/>
                      <a:pt x="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7" name="Freeform 4439"/>
              <p:cNvSpPr>
                <a:spLocks/>
              </p:cNvSpPr>
              <p:nvPr/>
            </p:nvSpPr>
            <p:spPr bwMode="auto">
              <a:xfrm>
                <a:off x="881" y="3237"/>
                <a:ext cx="22" cy="24"/>
              </a:xfrm>
              <a:custGeom>
                <a:avLst/>
                <a:gdLst>
                  <a:gd name="T0" fmla="*/ 4 w 9"/>
                  <a:gd name="T1" fmla="*/ 0 h 10"/>
                  <a:gd name="T2" fmla="*/ 1 w 9"/>
                  <a:gd name="T3" fmla="*/ 1 h 10"/>
                  <a:gd name="T4" fmla="*/ 0 w 9"/>
                  <a:gd name="T5" fmla="*/ 3 h 10"/>
                  <a:gd name="T6" fmla="*/ 4 w 9"/>
                  <a:gd name="T7" fmla="*/ 9 h 10"/>
                  <a:gd name="T8" fmla="*/ 5 w 9"/>
                  <a:gd name="T9" fmla="*/ 9 h 10"/>
                  <a:gd name="T10" fmla="*/ 8 w 9"/>
                  <a:gd name="T11" fmla="*/ 8 h 10"/>
                  <a:gd name="T12" fmla="*/ 8 w 9"/>
                  <a:gd name="T13" fmla="*/ 7 h 10"/>
                  <a:gd name="T14" fmla="*/ 5 w 9"/>
                  <a:gd name="T15" fmla="*/ 0 h 10"/>
                  <a:gd name="T16" fmla="*/ 4 w 9"/>
                  <a:gd name="T17" fmla="*/ 0 h 10"/>
                  <a:gd name="T18" fmla="*/ 4 w 9"/>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4" y="0"/>
                    </a:moveTo>
                    <a:cubicBezTo>
                      <a:pt x="1" y="1"/>
                      <a:pt x="1" y="1"/>
                      <a:pt x="1" y="1"/>
                    </a:cubicBezTo>
                    <a:cubicBezTo>
                      <a:pt x="0" y="2"/>
                      <a:pt x="0" y="2"/>
                      <a:pt x="0" y="3"/>
                    </a:cubicBezTo>
                    <a:cubicBezTo>
                      <a:pt x="4" y="9"/>
                      <a:pt x="4" y="9"/>
                      <a:pt x="4" y="9"/>
                    </a:cubicBezTo>
                    <a:cubicBezTo>
                      <a:pt x="4" y="9"/>
                      <a:pt x="4" y="10"/>
                      <a:pt x="5" y="9"/>
                    </a:cubicBezTo>
                    <a:cubicBezTo>
                      <a:pt x="8" y="8"/>
                      <a:pt x="8" y="8"/>
                      <a:pt x="8" y="8"/>
                    </a:cubicBezTo>
                    <a:cubicBezTo>
                      <a:pt x="9" y="8"/>
                      <a:pt x="9" y="7"/>
                      <a:pt x="8" y="7"/>
                    </a:cubicBezTo>
                    <a:cubicBezTo>
                      <a:pt x="5" y="0"/>
                      <a:pt x="5" y="0"/>
                      <a:pt x="5" y="0"/>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8" name="Freeform 4441"/>
              <p:cNvSpPr>
                <a:spLocks/>
              </p:cNvSpPr>
              <p:nvPr/>
            </p:nvSpPr>
            <p:spPr bwMode="auto">
              <a:xfrm>
                <a:off x="757" y="3134"/>
                <a:ext cx="24" cy="17"/>
              </a:xfrm>
              <a:custGeom>
                <a:avLst/>
                <a:gdLst>
                  <a:gd name="T0" fmla="*/ 2 w 10"/>
                  <a:gd name="T1" fmla="*/ 0 h 7"/>
                  <a:gd name="T2" fmla="*/ 1 w 10"/>
                  <a:gd name="T3" fmla="*/ 4 h 7"/>
                  <a:gd name="T4" fmla="*/ 1 w 10"/>
                  <a:gd name="T5" fmla="*/ 5 h 7"/>
                  <a:gd name="T6" fmla="*/ 8 w 10"/>
                  <a:gd name="T7" fmla="*/ 7 h 7"/>
                  <a:gd name="T8" fmla="*/ 9 w 10"/>
                  <a:gd name="T9" fmla="*/ 7 h 7"/>
                  <a:gd name="T10" fmla="*/ 10 w 10"/>
                  <a:gd name="T11" fmla="*/ 3 h 7"/>
                  <a:gd name="T12" fmla="*/ 10 w 10"/>
                  <a:gd name="T13" fmla="*/ 2 h 7"/>
                  <a:gd name="T14" fmla="*/ 3 w 10"/>
                  <a:gd name="T15" fmla="*/ 0 h 7"/>
                  <a:gd name="T16" fmla="*/ 3 w 10"/>
                  <a:gd name="T17" fmla="*/ 0 h 7"/>
                  <a:gd name="T18" fmla="*/ 2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2" y="0"/>
                    </a:moveTo>
                    <a:cubicBezTo>
                      <a:pt x="1" y="4"/>
                      <a:pt x="1" y="4"/>
                      <a:pt x="1" y="4"/>
                    </a:cubicBezTo>
                    <a:cubicBezTo>
                      <a:pt x="0" y="4"/>
                      <a:pt x="1" y="5"/>
                      <a:pt x="1" y="5"/>
                    </a:cubicBezTo>
                    <a:cubicBezTo>
                      <a:pt x="8" y="7"/>
                      <a:pt x="8" y="7"/>
                      <a:pt x="8" y="7"/>
                    </a:cubicBezTo>
                    <a:cubicBezTo>
                      <a:pt x="8" y="7"/>
                      <a:pt x="9" y="7"/>
                      <a:pt x="9" y="7"/>
                    </a:cubicBezTo>
                    <a:cubicBezTo>
                      <a:pt x="10" y="3"/>
                      <a:pt x="10" y="3"/>
                      <a:pt x="10" y="3"/>
                    </a:cubicBezTo>
                    <a:cubicBezTo>
                      <a:pt x="10" y="3"/>
                      <a:pt x="10" y="2"/>
                      <a:pt x="10" y="2"/>
                    </a:cubicBezTo>
                    <a:cubicBezTo>
                      <a:pt x="3" y="0"/>
                      <a:pt x="3" y="0"/>
                      <a:pt x="3" y="0"/>
                    </a:cubicBezTo>
                    <a:cubicBezTo>
                      <a:pt x="3" y="0"/>
                      <a:pt x="3"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49" name="Freeform 4442"/>
              <p:cNvSpPr>
                <a:spLocks/>
              </p:cNvSpPr>
              <p:nvPr/>
            </p:nvSpPr>
            <p:spPr bwMode="auto">
              <a:xfrm>
                <a:off x="764" y="313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0" name="Freeform 4444"/>
              <p:cNvSpPr>
                <a:spLocks/>
              </p:cNvSpPr>
              <p:nvPr/>
            </p:nvSpPr>
            <p:spPr bwMode="auto">
              <a:xfrm>
                <a:off x="924" y="3189"/>
                <a:ext cx="24" cy="17"/>
              </a:xfrm>
              <a:custGeom>
                <a:avLst/>
                <a:gdLst>
                  <a:gd name="T0" fmla="*/ 1 w 10"/>
                  <a:gd name="T1" fmla="*/ 0 h 7"/>
                  <a:gd name="T2" fmla="*/ 0 w 10"/>
                  <a:gd name="T3" fmla="*/ 4 h 7"/>
                  <a:gd name="T4" fmla="*/ 0 w 10"/>
                  <a:gd name="T5" fmla="*/ 5 h 7"/>
                  <a:gd name="T6" fmla="*/ 7 w 10"/>
                  <a:gd name="T7" fmla="*/ 7 h 7"/>
                  <a:gd name="T8" fmla="*/ 8 w 10"/>
                  <a:gd name="T9" fmla="*/ 7 h 7"/>
                  <a:gd name="T10" fmla="*/ 10 w 10"/>
                  <a:gd name="T11" fmla="*/ 3 h 7"/>
                  <a:gd name="T12" fmla="*/ 9 w 10"/>
                  <a:gd name="T13" fmla="*/ 2 h 7"/>
                  <a:gd name="T14" fmla="*/ 2 w 10"/>
                  <a:gd name="T15" fmla="*/ 0 h 7"/>
                  <a:gd name="T16" fmla="*/ 2 w 10"/>
                  <a:gd name="T17" fmla="*/ 0 h 7"/>
                  <a:gd name="T18" fmla="*/ 1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 y="0"/>
                    </a:moveTo>
                    <a:cubicBezTo>
                      <a:pt x="0" y="4"/>
                      <a:pt x="0" y="4"/>
                      <a:pt x="0" y="4"/>
                    </a:cubicBezTo>
                    <a:cubicBezTo>
                      <a:pt x="0" y="4"/>
                      <a:pt x="0" y="5"/>
                      <a:pt x="0" y="5"/>
                    </a:cubicBezTo>
                    <a:cubicBezTo>
                      <a:pt x="7" y="7"/>
                      <a:pt x="7" y="7"/>
                      <a:pt x="7" y="7"/>
                    </a:cubicBezTo>
                    <a:cubicBezTo>
                      <a:pt x="8" y="7"/>
                      <a:pt x="8" y="7"/>
                      <a:pt x="8" y="7"/>
                    </a:cubicBezTo>
                    <a:cubicBezTo>
                      <a:pt x="10" y="3"/>
                      <a:pt x="10" y="3"/>
                      <a:pt x="10" y="3"/>
                    </a:cubicBezTo>
                    <a:cubicBezTo>
                      <a:pt x="10" y="3"/>
                      <a:pt x="9" y="2"/>
                      <a:pt x="9" y="2"/>
                    </a:cubicBezTo>
                    <a:cubicBezTo>
                      <a:pt x="2" y="0"/>
                      <a:pt x="2" y="0"/>
                      <a:pt x="2" y="0"/>
                    </a:cubicBezTo>
                    <a:cubicBezTo>
                      <a:pt x="2" y="0"/>
                      <a:pt x="2" y="0"/>
                      <a:pt x="2" y="0"/>
                    </a:cubicBezTo>
                    <a:cubicBezTo>
                      <a:pt x="2"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1" name="Freeform 4446"/>
              <p:cNvSpPr>
                <a:spLocks/>
              </p:cNvSpPr>
              <p:nvPr/>
            </p:nvSpPr>
            <p:spPr bwMode="auto">
              <a:xfrm>
                <a:off x="872" y="3074"/>
                <a:ext cx="16" cy="24"/>
              </a:xfrm>
              <a:custGeom>
                <a:avLst/>
                <a:gdLst>
                  <a:gd name="T0" fmla="*/ 2 w 7"/>
                  <a:gd name="T1" fmla="*/ 1 h 10"/>
                  <a:gd name="T2" fmla="*/ 0 w 7"/>
                  <a:gd name="T3" fmla="*/ 8 h 10"/>
                  <a:gd name="T4" fmla="*/ 0 w 7"/>
                  <a:gd name="T5" fmla="*/ 9 h 10"/>
                  <a:gd name="T6" fmla="*/ 4 w 7"/>
                  <a:gd name="T7" fmla="*/ 10 h 10"/>
                  <a:gd name="T8" fmla="*/ 5 w 7"/>
                  <a:gd name="T9" fmla="*/ 10 h 10"/>
                  <a:gd name="T10" fmla="*/ 7 w 7"/>
                  <a:gd name="T11" fmla="*/ 3 h 10"/>
                  <a:gd name="T12" fmla="*/ 7 w 7"/>
                  <a:gd name="T13" fmla="*/ 2 h 10"/>
                  <a:gd name="T14" fmla="*/ 3 w 7"/>
                  <a:gd name="T15" fmla="*/ 1 h 10"/>
                  <a:gd name="T16" fmla="*/ 3 w 7"/>
                  <a:gd name="T17" fmla="*/ 0 h 10"/>
                  <a:gd name="T18" fmla="*/ 2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2" y="1"/>
                    </a:moveTo>
                    <a:cubicBezTo>
                      <a:pt x="0" y="8"/>
                      <a:pt x="0" y="8"/>
                      <a:pt x="0" y="8"/>
                    </a:cubicBezTo>
                    <a:cubicBezTo>
                      <a:pt x="0" y="8"/>
                      <a:pt x="0" y="9"/>
                      <a:pt x="0" y="9"/>
                    </a:cubicBezTo>
                    <a:cubicBezTo>
                      <a:pt x="4" y="10"/>
                      <a:pt x="4" y="10"/>
                      <a:pt x="4" y="10"/>
                    </a:cubicBezTo>
                    <a:cubicBezTo>
                      <a:pt x="4" y="10"/>
                      <a:pt x="5" y="10"/>
                      <a:pt x="5" y="10"/>
                    </a:cubicBezTo>
                    <a:cubicBezTo>
                      <a:pt x="7" y="3"/>
                      <a:pt x="7" y="3"/>
                      <a:pt x="7" y="3"/>
                    </a:cubicBezTo>
                    <a:cubicBezTo>
                      <a:pt x="7" y="2"/>
                      <a:pt x="7" y="2"/>
                      <a:pt x="7" y="2"/>
                    </a:cubicBezTo>
                    <a:cubicBezTo>
                      <a:pt x="3" y="1"/>
                      <a:pt x="3" y="1"/>
                      <a:pt x="3" y="1"/>
                    </a:cubicBezTo>
                    <a:cubicBezTo>
                      <a:pt x="3" y="0"/>
                      <a:pt x="3" y="0"/>
                      <a:pt x="3" y="0"/>
                    </a:cubicBezTo>
                    <a:cubicBezTo>
                      <a:pt x="3" y="0"/>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2" name="Freeform 4447"/>
              <p:cNvSpPr>
                <a:spLocks/>
              </p:cNvSpPr>
              <p:nvPr/>
            </p:nvSpPr>
            <p:spPr bwMode="auto">
              <a:xfrm>
                <a:off x="879" y="307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3" name="Freeform 4449"/>
              <p:cNvSpPr>
                <a:spLocks/>
              </p:cNvSpPr>
              <p:nvPr/>
            </p:nvSpPr>
            <p:spPr bwMode="auto">
              <a:xfrm>
                <a:off x="817" y="3242"/>
                <a:ext cx="17" cy="24"/>
              </a:xfrm>
              <a:custGeom>
                <a:avLst/>
                <a:gdLst>
                  <a:gd name="T0" fmla="*/ 2 w 7"/>
                  <a:gd name="T1" fmla="*/ 0 h 10"/>
                  <a:gd name="T2" fmla="*/ 0 w 7"/>
                  <a:gd name="T3" fmla="*/ 7 h 10"/>
                  <a:gd name="T4" fmla="*/ 1 w 7"/>
                  <a:gd name="T5" fmla="*/ 8 h 10"/>
                  <a:gd name="T6" fmla="*/ 4 w 7"/>
                  <a:gd name="T7" fmla="*/ 9 h 10"/>
                  <a:gd name="T8" fmla="*/ 5 w 7"/>
                  <a:gd name="T9" fmla="*/ 9 h 10"/>
                  <a:gd name="T10" fmla="*/ 7 w 7"/>
                  <a:gd name="T11" fmla="*/ 2 h 10"/>
                  <a:gd name="T12" fmla="*/ 7 w 7"/>
                  <a:gd name="T13" fmla="*/ 1 h 10"/>
                  <a:gd name="T14" fmla="*/ 3 w 7"/>
                  <a:gd name="T15" fmla="*/ 0 h 10"/>
                  <a:gd name="T16" fmla="*/ 3 w 7"/>
                  <a:gd name="T17" fmla="*/ 0 h 10"/>
                  <a:gd name="T18" fmla="*/ 2 w 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2" y="0"/>
                    </a:moveTo>
                    <a:cubicBezTo>
                      <a:pt x="0" y="7"/>
                      <a:pt x="0" y="7"/>
                      <a:pt x="0" y="7"/>
                    </a:cubicBezTo>
                    <a:cubicBezTo>
                      <a:pt x="0" y="8"/>
                      <a:pt x="0" y="8"/>
                      <a:pt x="1" y="8"/>
                    </a:cubicBezTo>
                    <a:cubicBezTo>
                      <a:pt x="4" y="9"/>
                      <a:pt x="4" y="9"/>
                      <a:pt x="4" y="9"/>
                    </a:cubicBezTo>
                    <a:cubicBezTo>
                      <a:pt x="4" y="10"/>
                      <a:pt x="5" y="9"/>
                      <a:pt x="5" y="9"/>
                    </a:cubicBezTo>
                    <a:cubicBezTo>
                      <a:pt x="7" y="2"/>
                      <a:pt x="7" y="2"/>
                      <a:pt x="7" y="2"/>
                    </a:cubicBezTo>
                    <a:cubicBezTo>
                      <a:pt x="7" y="2"/>
                      <a:pt x="7" y="1"/>
                      <a:pt x="7" y="1"/>
                    </a:cubicBezTo>
                    <a:cubicBezTo>
                      <a:pt x="3" y="0"/>
                      <a:pt x="3" y="0"/>
                      <a:pt x="3" y="0"/>
                    </a:cubicBezTo>
                    <a:cubicBezTo>
                      <a:pt x="3" y="0"/>
                      <a:pt x="3" y="0"/>
                      <a:pt x="3" y="0"/>
                    </a:cubicBezTo>
                    <a:cubicBezTo>
                      <a:pt x="3"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57" name="Freeform 4451"/>
              <p:cNvSpPr>
                <a:spLocks/>
              </p:cNvSpPr>
              <p:nvPr/>
            </p:nvSpPr>
            <p:spPr bwMode="auto">
              <a:xfrm>
                <a:off x="755" y="3180"/>
                <a:ext cx="24" cy="16"/>
              </a:xfrm>
              <a:custGeom>
                <a:avLst/>
                <a:gdLst>
                  <a:gd name="T0" fmla="*/ 8 w 10"/>
                  <a:gd name="T1" fmla="*/ 0 h 7"/>
                  <a:gd name="T2" fmla="*/ 1 w 10"/>
                  <a:gd name="T3" fmla="*/ 1 h 7"/>
                  <a:gd name="T4" fmla="*/ 1 w 10"/>
                  <a:gd name="T5" fmla="*/ 2 h 7"/>
                  <a:gd name="T6" fmla="*/ 1 w 10"/>
                  <a:gd name="T7" fmla="*/ 6 h 7"/>
                  <a:gd name="T8" fmla="*/ 2 w 10"/>
                  <a:gd name="T9" fmla="*/ 6 h 7"/>
                  <a:gd name="T10" fmla="*/ 9 w 10"/>
                  <a:gd name="T11" fmla="*/ 5 h 7"/>
                  <a:gd name="T12" fmla="*/ 10 w 10"/>
                  <a:gd name="T13" fmla="*/ 4 h 7"/>
                  <a:gd name="T14" fmla="*/ 9 w 10"/>
                  <a:gd name="T15" fmla="*/ 1 h 7"/>
                  <a:gd name="T16" fmla="*/ 8 w 10"/>
                  <a:gd name="T17" fmla="*/ 0 h 7"/>
                  <a:gd name="T18" fmla="*/ 8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8" y="0"/>
                    </a:moveTo>
                    <a:cubicBezTo>
                      <a:pt x="1" y="1"/>
                      <a:pt x="1" y="1"/>
                      <a:pt x="1" y="1"/>
                    </a:cubicBezTo>
                    <a:cubicBezTo>
                      <a:pt x="1" y="1"/>
                      <a:pt x="0" y="2"/>
                      <a:pt x="1" y="2"/>
                    </a:cubicBezTo>
                    <a:cubicBezTo>
                      <a:pt x="1" y="6"/>
                      <a:pt x="1" y="6"/>
                      <a:pt x="1" y="6"/>
                    </a:cubicBezTo>
                    <a:cubicBezTo>
                      <a:pt x="1" y="6"/>
                      <a:pt x="2" y="7"/>
                      <a:pt x="2" y="6"/>
                    </a:cubicBezTo>
                    <a:cubicBezTo>
                      <a:pt x="9" y="5"/>
                      <a:pt x="9" y="5"/>
                      <a:pt x="9" y="5"/>
                    </a:cubicBezTo>
                    <a:cubicBezTo>
                      <a:pt x="10" y="5"/>
                      <a:pt x="10" y="4"/>
                      <a:pt x="10" y="4"/>
                    </a:cubicBezTo>
                    <a:cubicBezTo>
                      <a:pt x="9" y="1"/>
                      <a:pt x="9" y="1"/>
                      <a:pt x="9" y="1"/>
                    </a:cubicBezTo>
                    <a:cubicBezTo>
                      <a:pt x="9" y="0"/>
                      <a:pt x="9"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2" name="Freeform 4453"/>
              <p:cNvSpPr>
                <a:spLocks/>
              </p:cNvSpPr>
              <p:nvPr/>
            </p:nvSpPr>
            <p:spPr bwMode="auto">
              <a:xfrm>
                <a:off x="927" y="3144"/>
                <a:ext cx="24" cy="16"/>
              </a:xfrm>
              <a:custGeom>
                <a:avLst/>
                <a:gdLst>
                  <a:gd name="T0" fmla="*/ 8 w 10"/>
                  <a:gd name="T1" fmla="*/ 0 h 7"/>
                  <a:gd name="T2" fmla="*/ 1 w 10"/>
                  <a:gd name="T3" fmla="*/ 2 h 7"/>
                  <a:gd name="T4" fmla="*/ 0 w 10"/>
                  <a:gd name="T5" fmla="*/ 3 h 7"/>
                  <a:gd name="T6" fmla="*/ 1 w 10"/>
                  <a:gd name="T7" fmla="*/ 6 h 7"/>
                  <a:gd name="T8" fmla="*/ 2 w 10"/>
                  <a:gd name="T9" fmla="*/ 7 h 7"/>
                  <a:gd name="T10" fmla="*/ 9 w 10"/>
                  <a:gd name="T11" fmla="*/ 6 h 7"/>
                  <a:gd name="T12" fmla="*/ 10 w 10"/>
                  <a:gd name="T13" fmla="*/ 5 h 7"/>
                  <a:gd name="T14" fmla="*/ 9 w 10"/>
                  <a:gd name="T15" fmla="*/ 1 h 7"/>
                  <a:gd name="T16" fmla="*/ 8 w 10"/>
                  <a:gd name="T17" fmla="*/ 0 h 7"/>
                  <a:gd name="T18" fmla="*/ 8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8" y="0"/>
                    </a:moveTo>
                    <a:cubicBezTo>
                      <a:pt x="1" y="2"/>
                      <a:pt x="1" y="2"/>
                      <a:pt x="1" y="2"/>
                    </a:cubicBezTo>
                    <a:cubicBezTo>
                      <a:pt x="0" y="2"/>
                      <a:pt x="0" y="2"/>
                      <a:pt x="0" y="3"/>
                    </a:cubicBezTo>
                    <a:cubicBezTo>
                      <a:pt x="1" y="6"/>
                      <a:pt x="1" y="6"/>
                      <a:pt x="1" y="6"/>
                    </a:cubicBezTo>
                    <a:cubicBezTo>
                      <a:pt x="1" y="7"/>
                      <a:pt x="1" y="7"/>
                      <a:pt x="2" y="7"/>
                    </a:cubicBezTo>
                    <a:cubicBezTo>
                      <a:pt x="9" y="6"/>
                      <a:pt x="9" y="6"/>
                      <a:pt x="9" y="6"/>
                    </a:cubicBezTo>
                    <a:cubicBezTo>
                      <a:pt x="9" y="6"/>
                      <a:pt x="10" y="5"/>
                      <a:pt x="10" y="5"/>
                    </a:cubicBezTo>
                    <a:cubicBezTo>
                      <a:pt x="9" y="1"/>
                      <a:pt x="9" y="1"/>
                      <a:pt x="9" y="1"/>
                    </a:cubicBezTo>
                    <a:cubicBezTo>
                      <a:pt x="9" y="1"/>
                      <a:pt x="8"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3" name="Freeform 4454"/>
              <p:cNvSpPr>
                <a:spLocks/>
              </p:cNvSpPr>
              <p:nvPr/>
            </p:nvSpPr>
            <p:spPr bwMode="auto">
              <a:xfrm>
                <a:off x="946" y="314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4" name="Freeform 4456"/>
              <p:cNvSpPr>
                <a:spLocks/>
              </p:cNvSpPr>
              <p:nvPr/>
            </p:nvSpPr>
            <p:spPr bwMode="auto">
              <a:xfrm>
                <a:off x="826" y="3072"/>
                <a:ext cx="17" cy="24"/>
              </a:xfrm>
              <a:custGeom>
                <a:avLst/>
                <a:gdLst>
                  <a:gd name="T0" fmla="*/ 5 w 7"/>
                  <a:gd name="T1" fmla="*/ 0 h 10"/>
                  <a:gd name="T2" fmla="*/ 1 w 7"/>
                  <a:gd name="T3" fmla="*/ 1 h 10"/>
                  <a:gd name="T4" fmla="*/ 1 w 7"/>
                  <a:gd name="T5" fmla="*/ 2 h 10"/>
                  <a:gd name="T6" fmla="*/ 2 w 7"/>
                  <a:gd name="T7" fmla="*/ 9 h 10"/>
                  <a:gd name="T8" fmla="*/ 3 w 7"/>
                  <a:gd name="T9" fmla="*/ 10 h 10"/>
                  <a:gd name="T10" fmla="*/ 7 w 7"/>
                  <a:gd name="T11" fmla="*/ 9 h 10"/>
                  <a:gd name="T12" fmla="*/ 7 w 7"/>
                  <a:gd name="T13" fmla="*/ 8 h 10"/>
                  <a:gd name="T14" fmla="*/ 6 w 7"/>
                  <a:gd name="T15" fmla="*/ 1 h 10"/>
                  <a:gd name="T16" fmla="*/ 5 w 7"/>
                  <a:gd name="T17" fmla="*/ 0 h 10"/>
                  <a:gd name="T18" fmla="*/ 5 w 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5" y="0"/>
                    </a:moveTo>
                    <a:cubicBezTo>
                      <a:pt x="1" y="1"/>
                      <a:pt x="1" y="1"/>
                      <a:pt x="1" y="1"/>
                    </a:cubicBezTo>
                    <a:cubicBezTo>
                      <a:pt x="1" y="1"/>
                      <a:pt x="0" y="2"/>
                      <a:pt x="1" y="2"/>
                    </a:cubicBezTo>
                    <a:cubicBezTo>
                      <a:pt x="2" y="9"/>
                      <a:pt x="2" y="9"/>
                      <a:pt x="2" y="9"/>
                    </a:cubicBezTo>
                    <a:cubicBezTo>
                      <a:pt x="2" y="10"/>
                      <a:pt x="3" y="10"/>
                      <a:pt x="3" y="10"/>
                    </a:cubicBezTo>
                    <a:cubicBezTo>
                      <a:pt x="7" y="9"/>
                      <a:pt x="7" y="9"/>
                      <a:pt x="7" y="9"/>
                    </a:cubicBezTo>
                    <a:cubicBezTo>
                      <a:pt x="7" y="9"/>
                      <a:pt x="7" y="9"/>
                      <a:pt x="7" y="8"/>
                    </a:cubicBezTo>
                    <a:cubicBezTo>
                      <a:pt x="6" y="1"/>
                      <a:pt x="6" y="1"/>
                      <a:pt x="6" y="1"/>
                    </a:cubicBezTo>
                    <a:cubicBezTo>
                      <a:pt x="6" y="1"/>
                      <a:pt x="5" y="0"/>
                      <a:pt x="5" y="0"/>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5" name="Freeform 4457"/>
              <p:cNvSpPr>
                <a:spLocks/>
              </p:cNvSpPr>
              <p:nvPr/>
            </p:nvSpPr>
            <p:spPr bwMode="auto">
              <a:xfrm>
                <a:off x="838" y="307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6" name="Freeform 4459"/>
              <p:cNvSpPr>
                <a:spLocks/>
              </p:cNvSpPr>
              <p:nvPr/>
            </p:nvSpPr>
            <p:spPr bwMode="auto">
              <a:xfrm>
                <a:off x="862" y="3244"/>
                <a:ext cx="17" cy="24"/>
              </a:xfrm>
              <a:custGeom>
                <a:avLst/>
                <a:gdLst>
                  <a:gd name="T0" fmla="*/ 4 w 7"/>
                  <a:gd name="T1" fmla="*/ 0 h 10"/>
                  <a:gd name="T2" fmla="*/ 1 w 7"/>
                  <a:gd name="T3" fmla="*/ 1 h 10"/>
                  <a:gd name="T4" fmla="*/ 0 w 7"/>
                  <a:gd name="T5" fmla="*/ 2 h 10"/>
                  <a:gd name="T6" fmla="*/ 1 w 7"/>
                  <a:gd name="T7" fmla="*/ 9 h 10"/>
                  <a:gd name="T8" fmla="*/ 2 w 7"/>
                  <a:gd name="T9" fmla="*/ 10 h 10"/>
                  <a:gd name="T10" fmla="*/ 6 w 7"/>
                  <a:gd name="T11" fmla="*/ 9 h 10"/>
                  <a:gd name="T12" fmla="*/ 7 w 7"/>
                  <a:gd name="T13" fmla="*/ 8 h 10"/>
                  <a:gd name="T14" fmla="*/ 5 w 7"/>
                  <a:gd name="T15" fmla="*/ 1 h 10"/>
                  <a:gd name="T16" fmla="*/ 4 w 7"/>
                  <a:gd name="T17" fmla="*/ 0 h 10"/>
                  <a:gd name="T18" fmla="*/ 4 w 7"/>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0"/>
                    </a:moveTo>
                    <a:cubicBezTo>
                      <a:pt x="1" y="1"/>
                      <a:pt x="1" y="1"/>
                      <a:pt x="1" y="1"/>
                    </a:cubicBezTo>
                    <a:cubicBezTo>
                      <a:pt x="0" y="1"/>
                      <a:pt x="0" y="1"/>
                      <a:pt x="0" y="2"/>
                    </a:cubicBezTo>
                    <a:cubicBezTo>
                      <a:pt x="1" y="9"/>
                      <a:pt x="1" y="9"/>
                      <a:pt x="1" y="9"/>
                    </a:cubicBezTo>
                    <a:cubicBezTo>
                      <a:pt x="1" y="9"/>
                      <a:pt x="2" y="10"/>
                      <a:pt x="2" y="10"/>
                    </a:cubicBezTo>
                    <a:cubicBezTo>
                      <a:pt x="6" y="9"/>
                      <a:pt x="6" y="9"/>
                      <a:pt x="6" y="9"/>
                    </a:cubicBezTo>
                    <a:cubicBezTo>
                      <a:pt x="6" y="9"/>
                      <a:pt x="7" y="8"/>
                      <a:pt x="7" y="8"/>
                    </a:cubicBezTo>
                    <a:cubicBezTo>
                      <a:pt x="5" y="1"/>
                      <a:pt x="5" y="1"/>
                      <a:pt x="5" y="1"/>
                    </a:cubicBezTo>
                    <a:cubicBezTo>
                      <a:pt x="5" y="0"/>
                      <a:pt x="5"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7" name="Freeform 4461"/>
              <p:cNvSpPr>
                <a:spLocks/>
              </p:cNvSpPr>
              <p:nvPr/>
            </p:nvSpPr>
            <p:spPr bwMode="auto">
              <a:xfrm>
                <a:off x="769" y="3110"/>
                <a:ext cx="24" cy="22"/>
              </a:xfrm>
              <a:custGeom>
                <a:avLst/>
                <a:gdLst>
                  <a:gd name="T0" fmla="*/ 2 w 10"/>
                  <a:gd name="T1" fmla="*/ 1 h 9"/>
                  <a:gd name="T2" fmla="*/ 0 w 10"/>
                  <a:gd name="T3" fmla="*/ 4 h 9"/>
                  <a:gd name="T4" fmla="*/ 0 w 10"/>
                  <a:gd name="T5" fmla="*/ 5 h 9"/>
                  <a:gd name="T6" fmla="*/ 6 w 10"/>
                  <a:gd name="T7" fmla="*/ 9 h 9"/>
                  <a:gd name="T8" fmla="*/ 7 w 10"/>
                  <a:gd name="T9" fmla="*/ 9 h 9"/>
                  <a:gd name="T10" fmla="*/ 9 w 10"/>
                  <a:gd name="T11" fmla="*/ 6 h 9"/>
                  <a:gd name="T12" fmla="*/ 9 w 10"/>
                  <a:gd name="T13" fmla="*/ 4 h 9"/>
                  <a:gd name="T14" fmla="*/ 3 w 10"/>
                  <a:gd name="T15" fmla="*/ 1 h 9"/>
                  <a:gd name="T16" fmla="*/ 3 w 10"/>
                  <a:gd name="T17" fmla="*/ 0 h 9"/>
                  <a:gd name="T18" fmla="*/ 2 w 10"/>
                  <a:gd name="T19"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2" y="1"/>
                    </a:moveTo>
                    <a:cubicBezTo>
                      <a:pt x="0" y="4"/>
                      <a:pt x="0" y="4"/>
                      <a:pt x="0" y="4"/>
                    </a:cubicBezTo>
                    <a:cubicBezTo>
                      <a:pt x="0" y="4"/>
                      <a:pt x="0" y="5"/>
                      <a:pt x="0" y="5"/>
                    </a:cubicBezTo>
                    <a:cubicBezTo>
                      <a:pt x="6" y="9"/>
                      <a:pt x="6" y="9"/>
                      <a:pt x="6" y="9"/>
                    </a:cubicBezTo>
                    <a:cubicBezTo>
                      <a:pt x="7" y="9"/>
                      <a:pt x="7" y="9"/>
                      <a:pt x="7" y="9"/>
                    </a:cubicBezTo>
                    <a:cubicBezTo>
                      <a:pt x="9" y="6"/>
                      <a:pt x="9" y="6"/>
                      <a:pt x="9" y="6"/>
                    </a:cubicBezTo>
                    <a:cubicBezTo>
                      <a:pt x="10" y="5"/>
                      <a:pt x="10" y="5"/>
                      <a:pt x="9" y="4"/>
                    </a:cubicBezTo>
                    <a:cubicBezTo>
                      <a:pt x="3" y="1"/>
                      <a:pt x="3" y="1"/>
                      <a:pt x="3" y="1"/>
                    </a:cubicBezTo>
                    <a:cubicBezTo>
                      <a:pt x="3" y="0"/>
                      <a:pt x="3" y="0"/>
                      <a:pt x="3" y="0"/>
                    </a:cubicBez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8" name="Freeform 4463"/>
              <p:cNvSpPr>
                <a:spLocks/>
              </p:cNvSpPr>
              <p:nvPr/>
            </p:nvSpPr>
            <p:spPr bwMode="auto">
              <a:xfrm>
                <a:off x="912" y="3208"/>
                <a:ext cx="24" cy="22"/>
              </a:xfrm>
              <a:custGeom>
                <a:avLst/>
                <a:gdLst>
                  <a:gd name="T0" fmla="*/ 3 w 10"/>
                  <a:gd name="T1" fmla="*/ 0 h 9"/>
                  <a:gd name="T2" fmla="*/ 1 w 10"/>
                  <a:gd name="T3" fmla="*/ 3 h 9"/>
                  <a:gd name="T4" fmla="*/ 1 w 10"/>
                  <a:gd name="T5" fmla="*/ 5 h 9"/>
                  <a:gd name="T6" fmla="*/ 7 w 10"/>
                  <a:gd name="T7" fmla="*/ 8 h 9"/>
                  <a:gd name="T8" fmla="*/ 8 w 10"/>
                  <a:gd name="T9" fmla="*/ 8 h 9"/>
                  <a:gd name="T10" fmla="*/ 10 w 10"/>
                  <a:gd name="T11" fmla="*/ 5 h 9"/>
                  <a:gd name="T12" fmla="*/ 10 w 10"/>
                  <a:gd name="T13" fmla="*/ 4 h 9"/>
                  <a:gd name="T14" fmla="*/ 4 w 10"/>
                  <a:gd name="T15" fmla="*/ 0 h 9"/>
                  <a:gd name="T16" fmla="*/ 3 w 10"/>
                  <a:gd name="T17" fmla="*/ 0 h 9"/>
                  <a:gd name="T18" fmla="*/ 3 w 10"/>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9">
                    <a:moveTo>
                      <a:pt x="3" y="0"/>
                    </a:moveTo>
                    <a:cubicBezTo>
                      <a:pt x="1" y="3"/>
                      <a:pt x="1" y="3"/>
                      <a:pt x="1" y="3"/>
                    </a:cubicBezTo>
                    <a:cubicBezTo>
                      <a:pt x="0" y="4"/>
                      <a:pt x="1" y="4"/>
                      <a:pt x="1" y="5"/>
                    </a:cubicBezTo>
                    <a:cubicBezTo>
                      <a:pt x="7" y="8"/>
                      <a:pt x="7" y="8"/>
                      <a:pt x="7" y="8"/>
                    </a:cubicBezTo>
                    <a:cubicBezTo>
                      <a:pt x="7" y="9"/>
                      <a:pt x="8" y="9"/>
                      <a:pt x="8" y="8"/>
                    </a:cubicBezTo>
                    <a:cubicBezTo>
                      <a:pt x="10" y="5"/>
                      <a:pt x="10" y="5"/>
                      <a:pt x="10" y="5"/>
                    </a:cubicBezTo>
                    <a:cubicBezTo>
                      <a:pt x="10" y="5"/>
                      <a:pt x="10" y="4"/>
                      <a:pt x="10" y="4"/>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69" name="Freeform 4465"/>
              <p:cNvSpPr>
                <a:spLocks/>
              </p:cNvSpPr>
              <p:nvPr/>
            </p:nvSpPr>
            <p:spPr bwMode="auto">
              <a:xfrm>
                <a:off x="891" y="3086"/>
                <a:ext cx="21" cy="24"/>
              </a:xfrm>
              <a:custGeom>
                <a:avLst/>
                <a:gdLst>
                  <a:gd name="T0" fmla="*/ 4 w 9"/>
                  <a:gd name="T1" fmla="*/ 0 h 10"/>
                  <a:gd name="T2" fmla="*/ 0 w 9"/>
                  <a:gd name="T3" fmla="*/ 6 h 10"/>
                  <a:gd name="T4" fmla="*/ 0 w 9"/>
                  <a:gd name="T5" fmla="*/ 7 h 10"/>
                  <a:gd name="T6" fmla="*/ 3 w 9"/>
                  <a:gd name="T7" fmla="*/ 9 h 10"/>
                  <a:gd name="T8" fmla="*/ 5 w 9"/>
                  <a:gd name="T9" fmla="*/ 9 h 10"/>
                  <a:gd name="T10" fmla="*/ 9 w 9"/>
                  <a:gd name="T11" fmla="*/ 3 h 10"/>
                  <a:gd name="T12" fmla="*/ 8 w 9"/>
                  <a:gd name="T13" fmla="*/ 2 h 10"/>
                  <a:gd name="T14" fmla="*/ 5 w 9"/>
                  <a:gd name="T15" fmla="*/ 0 h 10"/>
                  <a:gd name="T16" fmla="*/ 5 w 9"/>
                  <a:gd name="T17" fmla="*/ 0 h 10"/>
                  <a:gd name="T18" fmla="*/ 4 w 9"/>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4" y="0"/>
                    </a:moveTo>
                    <a:cubicBezTo>
                      <a:pt x="0" y="6"/>
                      <a:pt x="0" y="6"/>
                      <a:pt x="0" y="6"/>
                    </a:cubicBezTo>
                    <a:cubicBezTo>
                      <a:pt x="0" y="7"/>
                      <a:pt x="0" y="7"/>
                      <a:pt x="0" y="7"/>
                    </a:cubicBezTo>
                    <a:cubicBezTo>
                      <a:pt x="3" y="9"/>
                      <a:pt x="3" y="9"/>
                      <a:pt x="3" y="9"/>
                    </a:cubicBezTo>
                    <a:cubicBezTo>
                      <a:pt x="4" y="10"/>
                      <a:pt x="4" y="10"/>
                      <a:pt x="5" y="9"/>
                    </a:cubicBezTo>
                    <a:cubicBezTo>
                      <a:pt x="9" y="3"/>
                      <a:pt x="9" y="3"/>
                      <a:pt x="9" y="3"/>
                    </a:cubicBezTo>
                    <a:cubicBezTo>
                      <a:pt x="9" y="3"/>
                      <a:pt x="9" y="2"/>
                      <a:pt x="8" y="2"/>
                    </a:cubicBezTo>
                    <a:cubicBezTo>
                      <a:pt x="5" y="0"/>
                      <a:pt x="5" y="0"/>
                      <a:pt x="5" y="0"/>
                    </a:cubicBezTo>
                    <a:cubicBezTo>
                      <a:pt x="5" y="0"/>
                      <a:pt x="5" y="0"/>
                      <a:pt x="5"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0" name="Rectangle 4466"/>
              <p:cNvSpPr>
                <a:spLocks noChangeArrowheads="1"/>
              </p:cNvSpPr>
              <p:nvPr/>
            </p:nvSpPr>
            <p:spPr bwMode="auto">
              <a:xfrm>
                <a:off x="903" y="3086"/>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1" name="Freeform 4467"/>
              <p:cNvSpPr>
                <a:spLocks/>
              </p:cNvSpPr>
              <p:nvPr/>
            </p:nvSpPr>
            <p:spPr bwMode="auto">
              <a:xfrm>
                <a:off x="903" y="3086"/>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2" name="Freeform 4469"/>
              <p:cNvSpPr>
                <a:spLocks/>
              </p:cNvSpPr>
              <p:nvPr/>
            </p:nvSpPr>
            <p:spPr bwMode="auto">
              <a:xfrm>
                <a:off x="793" y="3230"/>
                <a:ext cx="21" cy="24"/>
              </a:xfrm>
              <a:custGeom>
                <a:avLst/>
                <a:gdLst>
                  <a:gd name="T0" fmla="*/ 5 w 9"/>
                  <a:gd name="T1" fmla="*/ 1 h 10"/>
                  <a:gd name="T2" fmla="*/ 1 w 9"/>
                  <a:gd name="T3" fmla="*/ 7 h 10"/>
                  <a:gd name="T4" fmla="*/ 1 w 9"/>
                  <a:gd name="T5" fmla="*/ 8 h 10"/>
                  <a:gd name="T6" fmla="*/ 4 w 9"/>
                  <a:gd name="T7" fmla="*/ 10 h 10"/>
                  <a:gd name="T8" fmla="*/ 5 w 9"/>
                  <a:gd name="T9" fmla="*/ 10 h 10"/>
                  <a:gd name="T10" fmla="*/ 9 w 9"/>
                  <a:gd name="T11" fmla="*/ 4 h 10"/>
                  <a:gd name="T12" fmla="*/ 9 w 9"/>
                  <a:gd name="T13" fmla="*/ 3 h 10"/>
                  <a:gd name="T14" fmla="*/ 6 w 9"/>
                  <a:gd name="T15" fmla="*/ 1 h 10"/>
                  <a:gd name="T16" fmla="*/ 5 w 9"/>
                  <a:gd name="T17" fmla="*/ 0 h 10"/>
                  <a:gd name="T18" fmla="*/ 5 w 9"/>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5" y="1"/>
                    </a:moveTo>
                    <a:cubicBezTo>
                      <a:pt x="1" y="7"/>
                      <a:pt x="1" y="7"/>
                      <a:pt x="1" y="7"/>
                    </a:cubicBezTo>
                    <a:cubicBezTo>
                      <a:pt x="0" y="7"/>
                      <a:pt x="0" y="8"/>
                      <a:pt x="1" y="8"/>
                    </a:cubicBezTo>
                    <a:cubicBezTo>
                      <a:pt x="4" y="10"/>
                      <a:pt x="4" y="10"/>
                      <a:pt x="4" y="10"/>
                    </a:cubicBezTo>
                    <a:cubicBezTo>
                      <a:pt x="4" y="10"/>
                      <a:pt x="5" y="10"/>
                      <a:pt x="5" y="10"/>
                    </a:cubicBezTo>
                    <a:cubicBezTo>
                      <a:pt x="9" y="4"/>
                      <a:pt x="9" y="4"/>
                      <a:pt x="9" y="4"/>
                    </a:cubicBezTo>
                    <a:cubicBezTo>
                      <a:pt x="9" y="3"/>
                      <a:pt x="9" y="3"/>
                      <a:pt x="9" y="3"/>
                    </a:cubicBezTo>
                    <a:cubicBezTo>
                      <a:pt x="6" y="1"/>
                      <a:pt x="6" y="1"/>
                      <a:pt x="6" y="1"/>
                    </a:cubicBezTo>
                    <a:cubicBezTo>
                      <a:pt x="5" y="0"/>
                      <a:pt x="5" y="0"/>
                      <a:pt x="5" y="0"/>
                    </a:cubicBez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3" name="Freeform 4471"/>
              <p:cNvSpPr>
                <a:spLocks noEditPoints="1"/>
              </p:cNvSpPr>
              <p:nvPr/>
            </p:nvSpPr>
            <p:spPr bwMode="auto">
              <a:xfrm>
                <a:off x="750" y="3077"/>
                <a:ext cx="205" cy="196"/>
              </a:xfrm>
              <a:custGeom>
                <a:avLst/>
                <a:gdLst>
                  <a:gd name="T0" fmla="*/ 25 w 86"/>
                  <a:gd name="T1" fmla="*/ 55 h 82"/>
                  <a:gd name="T2" fmla="*/ 27 w 86"/>
                  <a:gd name="T3" fmla="*/ 21 h 82"/>
                  <a:gd name="T4" fmla="*/ 61 w 86"/>
                  <a:gd name="T5" fmla="*/ 23 h 82"/>
                  <a:gd name="T6" fmla="*/ 59 w 86"/>
                  <a:gd name="T7" fmla="*/ 57 h 82"/>
                  <a:gd name="T8" fmla="*/ 43 w 86"/>
                  <a:gd name="T9" fmla="*/ 63 h 82"/>
                  <a:gd name="T10" fmla="*/ 25 w 86"/>
                  <a:gd name="T11" fmla="*/ 55 h 82"/>
                  <a:gd name="T12" fmla="*/ 17 w 86"/>
                  <a:gd name="T13" fmla="*/ 10 h 82"/>
                  <a:gd name="T14" fmla="*/ 14 w 86"/>
                  <a:gd name="T15" fmla="*/ 65 h 82"/>
                  <a:gd name="T16" fmla="*/ 69 w 86"/>
                  <a:gd name="T17" fmla="*/ 68 h 82"/>
                  <a:gd name="T18" fmla="*/ 72 w 86"/>
                  <a:gd name="T19" fmla="*/ 13 h 82"/>
                  <a:gd name="T20" fmla="*/ 43 w 86"/>
                  <a:gd name="T21" fmla="*/ 0 h 82"/>
                  <a:gd name="T22" fmla="*/ 17 w 86"/>
                  <a:gd name="T23" fmla="*/ 1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82">
                    <a:moveTo>
                      <a:pt x="25" y="55"/>
                    </a:moveTo>
                    <a:cubicBezTo>
                      <a:pt x="17" y="45"/>
                      <a:pt x="18" y="30"/>
                      <a:pt x="27" y="21"/>
                    </a:cubicBezTo>
                    <a:cubicBezTo>
                      <a:pt x="37" y="13"/>
                      <a:pt x="52" y="14"/>
                      <a:pt x="61" y="23"/>
                    </a:cubicBezTo>
                    <a:cubicBezTo>
                      <a:pt x="69" y="33"/>
                      <a:pt x="69" y="48"/>
                      <a:pt x="59" y="57"/>
                    </a:cubicBezTo>
                    <a:cubicBezTo>
                      <a:pt x="54" y="61"/>
                      <a:pt x="49" y="63"/>
                      <a:pt x="43" y="63"/>
                    </a:cubicBezTo>
                    <a:cubicBezTo>
                      <a:pt x="37" y="63"/>
                      <a:pt x="30" y="60"/>
                      <a:pt x="25" y="55"/>
                    </a:cubicBezTo>
                    <a:moveTo>
                      <a:pt x="17" y="10"/>
                    </a:moveTo>
                    <a:cubicBezTo>
                      <a:pt x="1" y="24"/>
                      <a:pt x="0" y="49"/>
                      <a:pt x="14" y="65"/>
                    </a:cubicBezTo>
                    <a:cubicBezTo>
                      <a:pt x="28" y="81"/>
                      <a:pt x="53" y="82"/>
                      <a:pt x="69" y="68"/>
                    </a:cubicBezTo>
                    <a:cubicBezTo>
                      <a:pt x="85" y="54"/>
                      <a:pt x="86" y="29"/>
                      <a:pt x="72" y="13"/>
                    </a:cubicBezTo>
                    <a:cubicBezTo>
                      <a:pt x="64" y="4"/>
                      <a:pt x="54" y="0"/>
                      <a:pt x="43" y="0"/>
                    </a:cubicBezTo>
                    <a:cubicBezTo>
                      <a:pt x="34" y="0"/>
                      <a:pt x="25" y="3"/>
                      <a:pt x="17"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4" name="Freeform 4472"/>
              <p:cNvSpPr>
                <a:spLocks/>
              </p:cNvSpPr>
              <p:nvPr/>
            </p:nvSpPr>
            <p:spPr bwMode="auto">
              <a:xfrm>
                <a:off x="853" y="307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5" name="Freeform 4474"/>
              <p:cNvSpPr>
                <a:spLocks/>
              </p:cNvSpPr>
              <p:nvPr/>
            </p:nvSpPr>
            <p:spPr bwMode="auto">
              <a:xfrm>
                <a:off x="623" y="2979"/>
                <a:ext cx="15" cy="14"/>
              </a:xfrm>
              <a:custGeom>
                <a:avLst/>
                <a:gdLst>
                  <a:gd name="T0" fmla="*/ 10 w 15"/>
                  <a:gd name="T1" fmla="*/ 0 h 14"/>
                  <a:gd name="T2" fmla="*/ 0 w 15"/>
                  <a:gd name="T3" fmla="*/ 9 h 14"/>
                  <a:gd name="T4" fmla="*/ 0 w 15"/>
                  <a:gd name="T5" fmla="*/ 12 h 14"/>
                  <a:gd name="T6" fmla="*/ 3 w 15"/>
                  <a:gd name="T7" fmla="*/ 14 h 14"/>
                  <a:gd name="T8" fmla="*/ 5 w 15"/>
                  <a:gd name="T9" fmla="*/ 14 h 14"/>
                  <a:gd name="T10" fmla="*/ 15 w 15"/>
                  <a:gd name="T11" fmla="*/ 7 h 14"/>
                  <a:gd name="T12" fmla="*/ 15 w 15"/>
                  <a:gd name="T13" fmla="*/ 5 h 14"/>
                  <a:gd name="T14" fmla="*/ 12 w 15"/>
                  <a:gd name="T15" fmla="*/ 0 h 14"/>
                  <a:gd name="T16" fmla="*/ 10 w 15"/>
                  <a:gd name="T17" fmla="*/ 0 h 14"/>
                  <a:gd name="T18" fmla="*/ 10 w 1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0" y="0"/>
                    </a:moveTo>
                    <a:lnTo>
                      <a:pt x="0" y="9"/>
                    </a:lnTo>
                    <a:lnTo>
                      <a:pt x="0" y="12"/>
                    </a:lnTo>
                    <a:lnTo>
                      <a:pt x="3" y="14"/>
                    </a:lnTo>
                    <a:lnTo>
                      <a:pt x="5" y="14"/>
                    </a:lnTo>
                    <a:lnTo>
                      <a:pt x="15" y="7"/>
                    </a:lnTo>
                    <a:lnTo>
                      <a:pt x="15" y="5"/>
                    </a:lnTo>
                    <a:lnTo>
                      <a:pt x="12"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6" name="Freeform 4475"/>
              <p:cNvSpPr>
                <a:spLocks/>
              </p:cNvSpPr>
              <p:nvPr/>
            </p:nvSpPr>
            <p:spPr bwMode="auto">
              <a:xfrm>
                <a:off x="623" y="2979"/>
                <a:ext cx="15" cy="14"/>
              </a:xfrm>
              <a:custGeom>
                <a:avLst/>
                <a:gdLst>
                  <a:gd name="T0" fmla="*/ 10 w 15"/>
                  <a:gd name="T1" fmla="*/ 0 h 14"/>
                  <a:gd name="T2" fmla="*/ 0 w 15"/>
                  <a:gd name="T3" fmla="*/ 9 h 14"/>
                  <a:gd name="T4" fmla="*/ 0 w 15"/>
                  <a:gd name="T5" fmla="*/ 12 h 14"/>
                  <a:gd name="T6" fmla="*/ 3 w 15"/>
                  <a:gd name="T7" fmla="*/ 14 h 14"/>
                  <a:gd name="T8" fmla="*/ 5 w 15"/>
                  <a:gd name="T9" fmla="*/ 14 h 14"/>
                  <a:gd name="T10" fmla="*/ 15 w 15"/>
                  <a:gd name="T11" fmla="*/ 7 h 14"/>
                  <a:gd name="T12" fmla="*/ 15 w 15"/>
                  <a:gd name="T13" fmla="*/ 5 h 14"/>
                  <a:gd name="T14" fmla="*/ 12 w 15"/>
                  <a:gd name="T15" fmla="*/ 0 h 14"/>
                  <a:gd name="T16" fmla="*/ 10 w 15"/>
                  <a:gd name="T17" fmla="*/ 0 h 14"/>
                  <a:gd name="T18" fmla="*/ 10 w 15"/>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0" y="0"/>
                    </a:moveTo>
                    <a:lnTo>
                      <a:pt x="0" y="9"/>
                    </a:lnTo>
                    <a:lnTo>
                      <a:pt x="0" y="12"/>
                    </a:lnTo>
                    <a:lnTo>
                      <a:pt x="3" y="14"/>
                    </a:lnTo>
                    <a:lnTo>
                      <a:pt x="5" y="14"/>
                    </a:lnTo>
                    <a:lnTo>
                      <a:pt x="15" y="7"/>
                    </a:lnTo>
                    <a:lnTo>
                      <a:pt x="15" y="5"/>
                    </a:lnTo>
                    <a:lnTo>
                      <a:pt x="12" y="0"/>
                    </a:lnTo>
                    <a:lnTo>
                      <a:pt x="10"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7" name="Freeform 4477"/>
              <p:cNvSpPr>
                <a:spLocks/>
              </p:cNvSpPr>
              <p:nvPr/>
            </p:nvSpPr>
            <p:spPr bwMode="auto">
              <a:xfrm>
                <a:off x="721" y="2890"/>
                <a:ext cx="15" cy="15"/>
              </a:xfrm>
              <a:custGeom>
                <a:avLst/>
                <a:gdLst>
                  <a:gd name="T0" fmla="*/ 10 w 15"/>
                  <a:gd name="T1" fmla="*/ 0 h 15"/>
                  <a:gd name="T2" fmla="*/ 0 w 15"/>
                  <a:gd name="T3" fmla="*/ 8 h 15"/>
                  <a:gd name="T4" fmla="*/ 0 w 15"/>
                  <a:gd name="T5" fmla="*/ 10 h 15"/>
                  <a:gd name="T6" fmla="*/ 5 w 15"/>
                  <a:gd name="T7" fmla="*/ 15 h 15"/>
                  <a:gd name="T8" fmla="*/ 7 w 15"/>
                  <a:gd name="T9" fmla="*/ 15 h 15"/>
                  <a:gd name="T10" fmla="*/ 15 w 15"/>
                  <a:gd name="T11" fmla="*/ 8 h 15"/>
                  <a:gd name="T12" fmla="*/ 15 w 15"/>
                  <a:gd name="T13" fmla="*/ 5 h 15"/>
                  <a:gd name="T14" fmla="*/ 12 w 15"/>
                  <a:gd name="T15" fmla="*/ 0 h 15"/>
                  <a:gd name="T16" fmla="*/ 10 w 15"/>
                  <a:gd name="T17" fmla="*/ 0 h 15"/>
                  <a:gd name="T18" fmla="*/ 10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0" y="0"/>
                    </a:moveTo>
                    <a:lnTo>
                      <a:pt x="0" y="8"/>
                    </a:lnTo>
                    <a:lnTo>
                      <a:pt x="0" y="10"/>
                    </a:lnTo>
                    <a:lnTo>
                      <a:pt x="5" y="15"/>
                    </a:lnTo>
                    <a:lnTo>
                      <a:pt x="7" y="15"/>
                    </a:lnTo>
                    <a:lnTo>
                      <a:pt x="15" y="8"/>
                    </a:lnTo>
                    <a:lnTo>
                      <a:pt x="15" y="5"/>
                    </a:lnTo>
                    <a:lnTo>
                      <a:pt x="12"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8" name="Freeform 4478"/>
              <p:cNvSpPr>
                <a:spLocks/>
              </p:cNvSpPr>
              <p:nvPr/>
            </p:nvSpPr>
            <p:spPr bwMode="auto">
              <a:xfrm>
                <a:off x="721" y="2890"/>
                <a:ext cx="15" cy="15"/>
              </a:xfrm>
              <a:custGeom>
                <a:avLst/>
                <a:gdLst>
                  <a:gd name="T0" fmla="*/ 10 w 15"/>
                  <a:gd name="T1" fmla="*/ 0 h 15"/>
                  <a:gd name="T2" fmla="*/ 0 w 15"/>
                  <a:gd name="T3" fmla="*/ 8 h 15"/>
                  <a:gd name="T4" fmla="*/ 0 w 15"/>
                  <a:gd name="T5" fmla="*/ 10 h 15"/>
                  <a:gd name="T6" fmla="*/ 5 w 15"/>
                  <a:gd name="T7" fmla="*/ 15 h 15"/>
                  <a:gd name="T8" fmla="*/ 7 w 15"/>
                  <a:gd name="T9" fmla="*/ 15 h 15"/>
                  <a:gd name="T10" fmla="*/ 15 w 15"/>
                  <a:gd name="T11" fmla="*/ 8 h 15"/>
                  <a:gd name="T12" fmla="*/ 15 w 15"/>
                  <a:gd name="T13" fmla="*/ 5 h 15"/>
                  <a:gd name="T14" fmla="*/ 12 w 15"/>
                  <a:gd name="T15" fmla="*/ 0 h 15"/>
                  <a:gd name="T16" fmla="*/ 10 w 15"/>
                  <a:gd name="T17" fmla="*/ 0 h 15"/>
                  <a:gd name="T18" fmla="*/ 10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0" y="0"/>
                    </a:moveTo>
                    <a:lnTo>
                      <a:pt x="0" y="8"/>
                    </a:lnTo>
                    <a:lnTo>
                      <a:pt x="0" y="10"/>
                    </a:lnTo>
                    <a:lnTo>
                      <a:pt x="5" y="15"/>
                    </a:lnTo>
                    <a:lnTo>
                      <a:pt x="7" y="15"/>
                    </a:lnTo>
                    <a:lnTo>
                      <a:pt x="15" y="8"/>
                    </a:lnTo>
                    <a:lnTo>
                      <a:pt x="15" y="5"/>
                    </a:lnTo>
                    <a:lnTo>
                      <a:pt x="12" y="0"/>
                    </a:lnTo>
                    <a:lnTo>
                      <a:pt x="10"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79" name="Rectangle 4479"/>
              <p:cNvSpPr>
                <a:spLocks noChangeArrowheads="1"/>
              </p:cNvSpPr>
              <p:nvPr/>
            </p:nvSpPr>
            <p:spPr bwMode="auto">
              <a:xfrm>
                <a:off x="731" y="289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0" name="Freeform 4480"/>
              <p:cNvSpPr>
                <a:spLocks/>
              </p:cNvSpPr>
              <p:nvPr/>
            </p:nvSpPr>
            <p:spPr bwMode="auto">
              <a:xfrm>
                <a:off x="731" y="289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1" name="Freeform 4482"/>
              <p:cNvSpPr>
                <a:spLocks/>
              </p:cNvSpPr>
              <p:nvPr/>
            </p:nvSpPr>
            <p:spPr bwMode="auto">
              <a:xfrm>
                <a:off x="628" y="2886"/>
                <a:ext cx="15" cy="16"/>
              </a:xfrm>
              <a:custGeom>
                <a:avLst/>
                <a:gdLst>
                  <a:gd name="T0" fmla="*/ 5 w 15"/>
                  <a:gd name="T1" fmla="*/ 0 h 16"/>
                  <a:gd name="T2" fmla="*/ 0 w 15"/>
                  <a:gd name="T3" fmla="*/ 4 h 16"/>
                  <a:gd name="T4" fmla="*/ 0 w 15"/>
                  <a:gd name="T5" fmla="*/ 7 h 16"/>
                  <a:gd name="T6" fmla="*/ 7 w 15"/>
                  <a:gd name="T7" fmla="*/ 16 h 16"/>
                  <a:gd name="T8" fmla="*/ 12 w 15"/>
                  <a:gd name="T9" fmla="*/ 16 h 16"/>
                  <a:gd name="T10" fmla="*/ 15 w 15"/>
                  <a:gd name="T11" fmla="*/ 12 h 16"/>
                  <a:gd name="T12" fmla="*/ 15 w 15"/>
                  <a:gd name="T13" fmla="*/ 9 h 16"/>
                  <a:gd name="T14" fmla="*/ 7 w 15"/>
                  <a:gd name="T15" fmla="*/ 0 h 16"/>
                  <a:gd name="T16" fmla="*/ 7 w 15"/>
                  <a:gd name="T17" fmla="*/ 0 h 16"/>
                  <a:gd name="T18" fmla="*/ 5 w 15"/>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5" y="0"/>
                    </a:moveTo>
                    <a:lnTo>
                      <a:pt x="0" y="4"/>
                    </a:lnTo>
                    <a:lnTo>
                      <a:pt x="0" y="7"/>
                    </a:lnTo>
                    <a:lnTo>
                      <a:pt x="7" y="16"/>
                    </a:lnTo>
                    <a:lnTo>
                      <a:pt x="12" y="16"/>
                    </a:lnTo>
                    <a:lnTo>
                      <a:pt x="15" y="12"/>
                    </a:lnTo>
                    <a:lnTo>
                      <a:pt x="15" y="9"/>
                    </a:lnTo>
                    <a:lnTo>
                      <a:pt x="7" y="0"/>
                    </a:lnTo>
                    <a:lnTo>
                      <a:pt x="7"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2" name="Freeform 4483"/>
              <p:cNvSpPr>
                <a:spLocks/>
              </p:cNvSpPr>
              <p:nvPr/>
            </p:nvSpPr>
            <p:spPr bwMode="auto">
              <a:xfrm>
                <a:off x="628" y="2886"/>
                <a:ext cx="15" cy="16"/>
              </a:xfrm>
              <a:custGeom>
                <a:avLst/>
                <a:gdLst>
                  <a:gd name="T0" fmla="*/ 5 w 15"/>
                  <a:gd name="T1" fmla="*/ 0 h 16"/>
                  <a:gd name="T2" fmla="*/ 0 w 15"/>
                  <a:gd name="T3" fmla="*/ 4 h 16"/>
                  <a:gd name="T4" fmla="*/ 0 w 15"/>
                  <a:gd name="T5" fmla="*/ 7 h 16"/>
                  <a:gd name="T6" fmla="*/ 7 w 15"/>
                  <a:gd name="T7" fmla="*/ 16 h 16"/>
                  <a:gd name="T8" fmla="*/ 12 w 15"/>
                  <a:gd name="T9" fmla="*/ 16 h 16"/>
                  <a:gd name="T10" fmla="*/ 15 w 15"/>
                  <a:gd name="T11" fmla="*/ 12 h 16"/>
                  <a:gd name="T12" fmla="*/ 15 w 15"/>
                  <a:gd name="T13" fmla="*/ 9 h 16"/>
                  <a:gd name="T14" fmla="*/ 7 w 15"/>
                  <a:gd name="T15" fmla="*/ 0 h 16"/>
                  <a:gd name="T16" fmla="*/ 7 w 15"/>
                  <a:gd name="T17" fmla="*/ 0 h 16"/>
                  <a:gd name="T18" fmla="*/ 5 w 15"/>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6">
                    <a:moveTo>
                      <a:pt x="5" y="0"/>
                    </a:moveTo>
                    <a:lnTo>
                      <a:pt x="0" y="4"/>
                    </a:lnTo>
                    <a:lnTo>
                      <a:pt x="0" y="7"/>
                    </a:lnTo>
                    <a:lnTo>
                      <a:pt x="7" y="16"/>
                    </a:lnTo>
                    <a:lnTo>
                      <a:pt x="12" y="16"/>
                    </a:lnTo>
                    <a:lnTo>
                      <a:pt x="15" y="12"/>
                    </a:lnTo>
                    <a:lnTo>
                      <a:pt x="15" y="9"/>
                    </a:lnTo>
                    <a:lnTo>
                      <a:pt x="7" y="0"/>
                    </a:lnTo>
                    <a:lnTo>
                      <a:pt x="7"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3" name="Freeform 4485"/>
              <p:cNvSpPr>
                <a:spLocks/>
              </p:cNvSpPr>
              <p:nvPr/>
            </p:nvSpPr>
            <p:spPr bwMode="auto">
              <a:xfrm>
                <a:off x="717" y="2984"/>
                <a:ext cx="16" cy="16"/>
              </a:xfrm>
              <a:custGeom>
                <a:avLst/>
                <a:gdLst>
                  <a:gd name="T0" fmla="*/ 4 w 16"/>
                  <a:gd name="T1" fmla="*/ 0 h 16"/>
                  <a:gd name="T2" fmla="*/ 0 w 16"/>
                  <a:gd name="T3" fmla="*/ 4 h 16"/>
                  <a:gd name="T4" fmla="*/ 0 w 16"/>
                  <a:gd name="T5" fmla="*/ 7 h 16"/>
                  <a:gd name="T6" fmla="*/ 7 w 16"/>
                  <a:gd name="T7" fmla="*/ 16 h 16"/>
                  <a:gd name="T8" fmla="*/ 11 w 16"/>
                  <a:gd name="T9" fmla="*/ 16 h 16"/>
                  <a:gd name="T10" fmla="*/ 14 w 16"/>
                  <a:gd name="T11" fmla="*/ 12 h 16"/>
                  <a:gd name="T12" fmla="*/ 16 w 16"/>
                  <a:gd name="T13" fmla="*/ 9 h 16"/>
                  <a:gd name="T14" fmla="*/ 7 w 16"/>
                  <a:gd name="T15" fmla="*/ 0 h 16"/>
                  <a:gd name="T16" fmla="*/ 7 w 16"/>
                  <a:gd name="T17" fmla="*/ 0 h 16"/>
                  <a:gd name="T18" fmla="*/ 4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4" y="0"/>
                    </a:moveTo>
                    <a:lnTo>
                      <a:pt x="0" y="4"/>
                    </a:lnTo>
                    <a:lnTo>
                      <a:pt x="0" y="7"/>
                    </a:lnTo>
                    <a:lnTo>
                      <a:pt x="7" y="16"/>
                    </a:lnTo>
                    <a:lnTo>
                      <a:pt x="11" y="16"/>
                    </a:lnTo>
                    <a:lnTo>
                      <a:pt x="14" y="12"/>
                    </a:lnTo>
                    <a:lnTo>
                      <a:pt x="16" y="9"/>
                    </a:lnTo>
                    <a:lnTo>
                      <a:pt x="7" y="0"/>
                    </a:lnTo>
                    <a:lnTo>
                      <a:pt x="7"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5" name="Freeform 4486"/>
              <p:cNvSpPr>
                <a:spLocks/>
              </p:cNvSpPr>
              <p:nvPr/>
            </p:nvSpPr>
            <p:spPr bwMode="auto">
              <a:xfrm>
                <a:off x="717" y="2984"/>
                <a:ext cx="16" cy="16"/>
              </a:xfrm>
              <a:custGeom>
                <a:avLst/>
                <a:gdLst>
                  <a:gd name="T0" fmla="*/ 4 w 16"/>
                  <a:gd name="T1" fmla="*/ 0 h 16"/>
                  <a:gd name="T2" fmla="*/ 0 w 16"/>
                  <a:gd name="T3" fmla="*/ 4 h 16"/>
                  <a:gd name="T4" fmla="*/ 0 w 16"/>
                  <a:gd name="T5" fmla="*/ 7 h 16"/>
                  <a:gd name="T6" fmla="*/ 7 w 16"/>
                  <a:gd name="T7" fmla="*/ 16 h 16"/>
                  <a:gd name="T8" fmla="*/ 11 w 16"/>
                  <a:gd name="T9" fmla="*/ 16 h 16"/>
                  <a:gd name="T10" fmla="*/ 14 w 16"/>
                  <a:gd name="T11" fmla="*/ 12 h 16"/>
                  <a:gd name="T12" fmla="*/ 16 w 16"/>
                  <a:gd name="T13" fmla="*/ 9 h 16"/>
                  <a:gd name="T14" fmla="*/ 7 w 16"/>
                  <a:gd name="T15" fmla="*/ 0 h 16"/>
                  <a:gd name="T16" fmla="*/ 7 w 16"/>
                  <a:gd name="T17" fmla="*/ 0 h 16"/>
                  <a:gd name="T18" fmla="*/ 4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4" y="0"/>
                    </a:moveTo>
                    <a:lnTo>
                      <a:pt x="0" y="4"/>
                    </a:lnTo>
                    <a:lnTo>
                      <a:pt x="0" y="7"/>
                    </a:lnTo>
                    <a:lnTo>
                      <a:pt x="7" y="16"/>
                    </a:lnTo>
                    <a:lnTo>
                      <a:pt x="11" y="16"/>
                    </a:lnTo>
                    <a:lnTo>
                      <a:pt x="14" y="12"/>
                    </a:lnTo>
                    <a:lnTo>
                      <a:pt x="16" y="9"/>
                    </a:lnTo>
                    <a:lnTo>
                      <a:pt x="7" y="0"/>
                    </a:lnTo>
                    <a:lnTo>
                      <a:pt x="7"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6" name="Freeform 4488"/>
              <p:cNvSpPr>
                <a:spLocks/>
              </p:cNvSpPr>
              <p:nvPr/>
            </p:nvSpPr>
            <p:spPr bwMode="auto">
              <a:xfrm>
                <a:off x="604" y="2933"/>
                <a:ext cx="17" cy="10"/>
              </a:xfrm>
              <a:custGeom>
                <a:avLst/>
                <a:gdLst>
                  <a:gd name="T0" fmla="*/ 1 w 7"/>
                  <a:gd name="T1" fmla="*/ 0 h 4"/>
                  <a:gd name="T2" fmla="*/ 1 w 7"/>
                  <a:gd name="T3" fmla="*/ 1 h 4"/>
                  <a:gd name="T4" fmla="*/ 0 w 7"/>
                  <a:gd name="T5" fmla="*/ 3 h 4"/>
                  <a:gd name="T6" fmla="*/ 1 w 7"/>
                  <a:gd name="T7" fmla="*/ 4 h 4"/>
                  <a:gd name="T8" fmla="*/ 7 w 7"/>
                  <a:gd name="T9" fmla="*/ 4 h 4"/>
                  <a:gd name="T10" fmla="*/ 7 w 7"/>
                  <a:gd name="T11" fmla="*/ 4 h 4"/>
                  <a:gd name="T12" fmla="*/ 7 w 7"/>
                  <a:gd name="T13" fmla="*/ 1 h 4"/>
                  <a:gd name="T14" fmla="*/ 7 w 7"/>
                  <a:gd name="T15" fmla="*/ 0 h 4"/>
                  <a:gd name="T16" fmla="*/ 1 w 7"/>
                  <a:gd name="T17" fmla="*/ 0 h 4"/>
                  <a:gd name="T18" fmla="*/ 1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1" y="0"/>
                    </a:moveTo>
                    <a:cubicBezTo>
                      <a:pt x="1" y="0"/>
                      <a:pt x="1" y="0"/>
                      <a:pt x="1" y="1"/>
                    </a:cubicBezTo>
                    <a:cubicBezTo>
                      <a:pt x="0" y="3"/>
                      <a:pt x="0" y="3"/>
                      <a:pt x="0" y="3"/>
                    </a:cubicBezTo>
                    <a:cubicBezTo>
                      <a:pt x="0" y="4"/>
                      <a:pt x="1" y="4"/>
                      <a:pt x="1" y="4"/>
                    </a:cubicBezTo>
                    <a:cubicBezTo>
                      <a:pt x="7" y="4"/>
                      <a:pt x="7" y="4"/>
                      <a:pt x="7" y="4"/>
                    </a:cubicBezTo>
                    <a:cubicBezTo>
                      <a:pt x="7" y="4"/>
                      <a:pt x="7" y="4"/>
                      <a:pt x="7" y="4"/>
                    </a:cubicBezTo>
                    <a:cubicBezTo>
                      <a:pt x="7" y="1"/>
                      <a:pt x="7" y="1"/>
                      <a:pt x="7" y="1"/>
                    </a:cubicBezTo>
                    <a:cubicBezTo>
                      <a:pt x="7" y="1"/>
                      <a:pt x="7" y="0"/>
                      <a:pt x="7"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7" name="Oval 4489"/>
              <p:cNvSpPr>
                <a:spLocks noChangeArrowheads="1"/>
              </p:cNvSpPr>
              <p:nvPr/>
            </p:nvSpPr>
            <p:spPr bwMode="auto">
              <a:xfrm>
                <a:off x="607" y="2933"/>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8" name="Freeform 4491"/>
              <p:cNvSpPr>
                <a:spLocks/>
              </p:cNvSpPr>
              <p:nvPr/>
            </p:nvSpPr>
            <p:spPr bwMode="auto">
              <a:xfrm>
                <a:off x="738" y="2941"/>
                <a:ext cx="17" cy="9"/>
              </a:xfrm>
              <a:custGeom>
                <a:avLst/>
                <a:gdLst>
                  <a:gd name="T0" fmla="*/ 0 w 7"/>
                  <a:gd name="T1" fmla="*/ 1 h 4"/>
                  <a:gd name="T2" fmla="*/ 0 w 7"/>
                  <a:gd name="T3" fmla="*/ 3 h 4"/>
                  <a:gd name="T4" fmla="*/ 1 w 7"/>
                  <a:gd name="T5" fmla="*/ 4 h 4"/>
                  <a:gd name="T6" fmla="*/ 6 w 7"/>
                  <a:gd name="T7" fmla="*/ 4 h 4"/>
                  <a:gd name="T8" fmla="*/ 7 w 7"/>
                  <a:gd name="T9" fmla="*/ 4 h 4"/>
                  <a:gd name="T10" fmla="*/ 7 w 7"/>
                  <a:gd name="T11" fmla="*/ 1 h 4"/>
                  <a:gd name="T12" fmla="*/ 6 w 7"/>
                  <a:gd name="T13" fmla="*/ 0 h 4"/>
                  <a:gd name="T14" fmla="*/ 1 w 7"/>
                  <a:gd name="T15" fmla="*/ 0 h 4"/>
                  <a:gd name="T16" fmla="*/ 1 w 7"/>
                  <a:gd name="T17" fmla="*/ 0 h 4"/>
                  <a:gd name="T18" fmla="*/ 0 w 7"/>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1"/>
                    </a:moveTo>
                    <a:cubicBezTo>
                      <a:pt x="0" y="3"/>
                      <a:pt x="0" y="3"/>
                      <a:pt x="0" y="3"/>
                    </a:cubicBezTo>
                    <a:cubicBezTo>
                      <a:pt x="0" y="4"/>
                      <a:pt x="0" y="4"/>
                      <a:pt x="1" y="4"/>
                    </a:cubicBezTo>
                    <a:cubicBezTo>
                      <a:pt x="6" y="4"/>
                      <a:pt x="6" y="4"/>
                      <a:pt x="6" y="4"/>
                    </a:cubicBezTo>
                    <a:cubicBezTo>
                      <a:pt x="6" y="4"/>
                      <a:pt x="7" y="4"/>
                      <a:pt x="7" y="4"/>
                    </a:cubicBezTo>
                    <a:cubicBezTo>
                      <a:pt x="7" y="1"/>
                      <a:pt x="7" y="1"/>
                      <a:pt x="7" y="1"/>
                    </a:cubicBezTo>
                    <a:cubicBezTo>
                      <a:pt x="7" y="1"/>
                      <a:pt x="7" y="0"/>
                      <a:pt x="6" y="0"/>
                    </a:cubicBezTo>
                    <a:cubicBezTo>
                      <a:pt x="1" y="0"/>
                      <a:pt x="1" y="0"/>
                      <a:pt x="1" y="0"/>
                    </a:cubicBezTo>
                    <a:cubicBezTo>
                      <a:pt x="1" y="0"/>
                      <a:pt x="1" y="0"/>
                      <a:pt x="1" y="0"/>
                    </a:cubicBezTo>
                    <a:cubicBezTo>
                      <a:pt x="0" y="0"/>
                      <a:pt x="0" y="0"/>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99" name="Oval 4494"/>
              <p:cNvSpPr>
                <a:spLocks noChangeArrowheads="1"/>
              </p:cNvSpPr>
              <p:nvPr/>
            </p:nvSpPr>
            <p:spPr bwMode="auto">
              <a:xfrm>
                <a:off x="681" y="2866"/>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pic>
            <p:nvPicPr>
              <p:cNvPr id="601" name="Picture 4495"/>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671" y="2869"/>
                <a:ext cx="29" cy="1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603" name="Freeform 4496"/>
              <p:cNvSpPr>
                <a:spLocks/>
              </p:cNvSpPr>
              <p:nvPr/>
            </p:nvSpPr>
            <p:spPr bwMode="auto">
              <a:xfrm>
                <a:off x="671" y="3000"/>
                <a:ext cx="10" cy="17"/>
              </a:xfrm>
              <a:custGeom>
                <a:avLst/>
                <a:gdLst>
                  <a:gd name="T0" fmla="*/ 1 w 4"/>
                  <a:gd name="T1" fmla="*/ 0 h 7"/>
                  <a:gd name="T2" fmla="*/ 0 w 4"/>
                  <a:gd name="T3" fmla="*/ 1 h 7"/>
                  <a:gd name="T4" fmla="*/ 0 w 4"/>
                  <a:gd name="T5" fmla="*/ 6 h 7"/>
                  <a:gd name="T6" fmla="*/ 1 w 4"/>
                  <a:gd name="T7" fmla="*/ 7 h 7"/>
                  <a:gd name="T8" fmla="*/ 3 w 4"/>
                  <a:gd name="T9" fmla="*/ 7 h 7"/>
                  <a:gd name="T10" fmla="*/ 4 w 4"/>
                  <a:gd name="T11" fmla="*/ 6 h 7"/>
                  <a:gd name="T12" fmla="*/ 4 w 4"/>
                  <a:gd name="T13" fmla="*/ 1 h 7"/>
                  <a:gd name="T14" fmla="*/ 4 w 4"/>
                  <a:gd name="T15" fmla="*/ 0 h 7"/>
                  <a:gd name="T16" fmla="*/ 1 w 4"/>
                  <a:gd name="T17" fmla="*/ 0 h 7"/>
                  <a:gd name="T18" fmla="*/ 1 w 4"/>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7">
                    <a:moveTo>
                      <a:pt x="1" y="0"/>
                    </a:moveTo>
                    <a:cubicBezTo>
                      <a:pt x="1" y="0"/>
                      <a:pt x="0" y="0"/>
                      <a:pt x="0" y="1"/>
                    </a:cubicBezTo>
                    <a:cubicBezTo>
                      <a:pt x="0" y="6"/>
                      <a:pt x="0" y="6"/>
                      <a:pt x="0" y="6"/>
                    </a:cubicBezTo>
                    <a:cubicBezTo>
                      <a:pt x="0" y="6"/>
                      <a:pt x="0" y="7"/>
                      <a:pt x="1" y="7"/>
                    </a:cubicBezTo>
                    <a:cubicBezTo>
                      <a:pt x="3" y="7"/>
                      <a:pt x="3" y="7"/>
                      <a:pt x="3" y="7"/>
                    </a:cubicBezTo>
                    <a:cubicBezTo>
                      <a:pt x="4" y="7"/>
                      <a:pt x="4" y="7"/>
                      <a:pt x="4" y="6"/>
                    </a:cubicBezTo>
                    <a:cubicBezTo>
                      <a:pt x="4" y="1"/>
                      <a:pt x="4" y="1"/>
                      <a:pt x="4" y="1"/>
                    </a:cubicBezTo>
                    <a:cubicBezTo>
                      <a:pt x="4" y="0"/>
                      <a:pt x="4" y="0"/>
                      <a:pt x="4" y="0"/>
                    </a:cubicBezTo>
                    <a:cubicBezTo>
                      <a:pt x="1" y="0"/>
                      <a:pt x="1" y="0"/>
                      <a:pt x="1"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4" name="Freeform 4498"/>
              <p:cNvSpPr>
                <a:spLocks/>
              </p:cNvSpPr>
              <p:nvPr/>
            </p:nvSpPr>
            <p:spPr bwMode="auto">
              <a:xfrm>
                <a:off x="612" y="2964"/>
                <a:ext cx="19" cy="15"/>
              </a:xfrm>
              <a:custGeom>
                <a:avLst/>
                <a:gdLst>
                  <a:gd name="T0" fmla="*/ 11 w 19"/>
                  <a:gd name="T1" fmla="*/ 0 h 15"/>
                  <a:gd name="T2" fmla="*/ 2 w 19"/>
                  <a:gd name="T3" fmla="*/ 8 h 15"/>
                  <a:gd name="T4" fmla="*/ 0 w 19"/>
                  <a:gd name="T5" fmla="*/ 8 h 15"/>
                  <a:gd name="T6" fmla="*/ 2 w 19"/>
                  <a:gd name="T7" fmla="*/ 15 h 15"/>
                  <a:gd name="T8" fmla="*/ 4 w 19"/>
                  <a:gd name="T9" fmla="*/ 15 h 15"/>
                  <a:gd name="T10" fmla="*/ 16 w 19"/>
                  <a:gd name="T11" fmla="*/ 10 h 15"/>
                  <a:gd name="T12" fmla="*/ 19 w 19"/>
                  <a:gd name="T13" fmla="*/ 8 h 15"/>
                  <a:gd name="T14" fmla="*/ 14 w 19"/>
                  <a:gd name="T15" fmla="*/ 0 h 15"/>
                  <a:gd name="T16" fmla="*/ 14 w 19"/>
                  <a:gd name="T17" fmla="*/ 0 h 15"/>
                  <a:gd name="T18" fmla="*/ 11 w 19"/>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
                    <a:moveTo>
                      <a:pt x="11" y="0"/>
                    </a:moveTo>
                    <a:lnTo>
                      <a:pt x="2" y="8"/>
                    </a:lnTo>
                    <a:lnTo>
                      <a:pt x="0" y="8"/>
                    </a:lnTo>
                    <a:lnTo>
                      <a:pt x="2" y="15"/>
                    </a:lnTo>
                    <a:lnTo>
                      <a:pt x="4" y="15"/>
                    </a:lnTo>
                    <a:lnTo>
                      <a:pt x="16" y="10"/>
                    </a:lnTo>
                    <a:lnTo>
                      <a:pt x="19" y="8"/>
                    </a:lnTo>
                    <a:lnTo>
                      <a:pt x="14" y="0"/>
                    </a:lnTo>
                    <a:lnTo>
                      <a:pt x="14" y="0"/>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5" name="Freeform 4499"/>
              <p:cNvSpPr>
                <a:spLocks/>
              </p:cNvSpPr>
              <p:nvPr/>
            </p:nvSpPr>
            <p:spPr bwMode="auto">
              <a:xfrm>
                <a:off x="612" y="2964"/>
                <a:ext cx="19" cy="15"/>
              </a:xfrm>
              <a:custGeom>
                <a:avLst/>
                <a:gdLst>
                  <a:gd name="T0" fmla="*/ 11 w 19"/>
                  <a:gd name="T1" fmla="*/ 0 h 15"/>
                  <a:gd name="T2" fmla="*/ 2 w 19"/>
                  <a:gd name="T3" fmla="*/ 8 h 15"/>
                  <a:gd name="T4" fmla="*/ 0 w 19"/>
                  <a:gd name="T5" fmla="*/ 8 h 15"/>
                  <a:gd name="T6" fmla="*/ 2 w 19"/>
                  <a:gd name="T7" fmla="*/ 15 h 15"/>
                  <a:gd name="T8" fmla="*/ 4 w 19"/>
                  <a:gd name="T9" fmla="*/ 15 h 15"/>
                  <a:gd name="T10" fmla="*/ 16 w 19"/>
                  <a:gd name="T11" fmla="*/ 10 h 15"/>
                  <a:gd name="T12" fmla="*/ 19 w 19"/>
                  <a:gd name="T13" fmla="*/ 8 h 15"/>
                  <a:gd name="T14" fmla="*/ 14 w 19"/>
                  <a:gd name="T15" fmla="*/ 0 h 15"/>
                  <a:gd name="T16" fmla="*/ 14 w 19"/>
                  <a:gd name="T17" fmla="*/ 0 h 15"/>
                  <a:gd name="T18" fmla="*/ 11 w 19"/>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5">
                    <a:moveTo>
                      <a:pt x="11" y="0"/>
                    </a:moveTo>
                    <a:lnTo>
                      <a:pt x="2" y="8"/>
                    </a:lnTo>
                    <a:lnTo>
                      <a:pt x="0" y="8"/>
                    </a:lnTo>
                    <a:lnTo>
                      <a:pt x="2" y="15"/>
                    </a:lnTo>
                    <a:lnTo>
                      <a:pt x="4" y="15"/>
                    </a:lnTo>
                    <a:lnTo>
                      <a:pt x="16" y="10"/>
                    </a:lnTo>
                    <a:lnTo>
                      <a:pt x="19" y="8"/>
                    </a:lnTo>
                    <a:lnTo>
                      <a:pt x="14" y="0"/>
                    </a:lnTo>
                    <a:lnTo>
                      <a:pt x="14" y="0"/>
                    </a:lnTo>
                    <a:lnTo>
                      <a:pt x="1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6" name="Freeform 4501"/>
              <p:cNvSpPr>
                <a:spLocks/>
              </p:cNvSpPr>
              <p:nvPr/>
            </p:nvSpPr>
            <p:spPr bwMode="auto">
              <a:xfrm>
                <a:off x="731" y="2905"/>
                <a:ext cx="17" cy="14"/>
              </a:xfrm>
              <a:custGeom>
                <a:avLst/>
                <a:gdLst>
                  <a:gd name="T0" fmla="*/ 12 w 17"/>
                  <a:gd name="T1" fmla="*/ 0 h 14"/>
                  <a:gd name="T2" fmla="*/ 0 w 17"/>
                  <a:gd name="T3" fmla="*/ 7 h 14"/>
                  <a:gd name="T4" fmla="*/ 0 w 17"/>
                  <a:gd name="T5" fmla="*/ 7 h 14"/>
                  <a:gd name="T6" fmla="*/ 2 w 17"/>
                  <a:gd name="T7" fmla="*/ 14 h 14"/>
                  <a:gd name="T8" fmla="*/ 5 w 17"/>
                  <a:gd name="T9" fmla="*/ 14 h 14"/>
                  <a:gd name="T10" fmla="*/ 17 w 17"/>
                  <a:gd name="T11" fmla="*/ 9 h 14"/>
                  <a:gd name="T12" fmla="*/ 17 w 17"/>
                  <a:gd name="T13" fmla="*/ 7 h 14"/>
                  <a:gd name="T14" fmla="*/ 14 w 17"/>
                  <a:gd name="T15" fmla="*/ 0 h 14"/>
                  <a:gd name="T16" fmla="*/ 12 w 17"/>
                  <a:gd name="T17" fmla="*/ 0 h 14"/>
                  <a:gd name="T18" fmla="*/ 12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2" y="0"/>
                    </a:moveTo>
                    <a:lnTo>
                      <a:pt x="0" y="7"/>
                    </a:lnTo>
                    <a:lnTo>
                      <a:pt x="0" y="7"/>
                    </a:lnTo>
                    <a:lnTo>
                      <a:pt x="2" y="14"/>
                    </a:lnTo>
                    <a:lnTo>
                      <a:pt x="5" y="14"/>
                    </a:lnTo>
                    <a:lnTo>
                      <a:pt x="17" y="9"/>
                    </a:lnTo>
                    <a:lnTo>
                      <a:pt x="17" y="7"/>
                    </a:lnTo>
                    <a:lnTo>
                      <a:pt x="14" y="0"/>
                    </a:lnTo>
                    <a:lnTo>
                      <a:pt x="12"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7" name="Freeform 4502"/>
              <p:cNvSpPr>
                <a:spLocks/>
              </p:cNvSpPr>
              <p:nvPr/>
            </p:nvSpPr>
            <p:spPr bwMode="auto">
              <a:xfrm>
                <a:off x="731" y="2905"/>
                <a:ext cx="17" cy="14"/>
              </a:xfrm>
              <a:custGeom>
                <a:avLst/>
                <a:gdLst>
                  <a:gd name="T0" fmla="*/ 12 w 17"/>
                  <a:gd name="T1" fmla="*/ 0 h 14"/>
                  <a:gd name="T2" fmla="*/ 0 w 17"/>
                  <a:gd name="T3" fmla="*/ 7 h 14"/>
                  <a:gd name="T4" fmla="*/ 0 w 17"/>
                  <a:gd name="T5" fmla="*/ 7 h 14"/>
                  <a:gd name="T6" fmla="*/ 2 w 17"/>
                  <a:gd name="T7" fmla="*/ 14 h 14"/>
                  <a:gd name="T8" fmla="*/ 5 w 17"/>
                  <a:gd name="T9" fmla="*/ 14 h 14"/>
                  <a:gd name="T10" fmla="*/ 17 w 17"/>
                  <a:gd name="T11" fmla="*/ 9 h 14"/>
                  <a:gd name="T12" fmla="*/ 17 w 17"/>
                  <a:gd name="T13" fmla="*/ 7 h 14"/>
                  <a:gd name="T14" fmla="*/ 14 w 17"/>
                  <a:gd name="T15" fmla="*/ 0 h 14"/>
                  <a:gd name="T16" fmla="*/ 12 w 17"/>
                  <a:gd name="T17" fmla="*/ 0 h 14"/>
                  <a:gd name="T18" fmla="*/ 12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2" y="0"/>
                    </a:moveTo>
                    <a:lnTo>
                      <a:pt x="0" y="7"/>
                    </a:lnTo>
                    <a:lnTo>
                      <a:pt x="0" y="7"/>
                    </a:lnTo>
                    <a:lnTo>
                      <a:pt x="2" y="14"/>
                    </a:lnTo>
                    <a:lnTo>
                      <a:pt x="5" y="14"/>
                    </a:lnTo>
                    <a:lnTo>
                      <a:pt x="17" y="9"/>
                    </a:lnTo>
                    <a:lnTo>
                      <a:pt x="17" y="7"/>
                    </a:lnTo>
                    <a:lnTo>
                      <a:pt x="14" y="0"/>
                    </a:lnTo>
                    <a:lnTo>
                      <a:pt x="12" y="0"/>
                    </a:lnTo>
                    <a:lnTo>
                      <a:pt x="1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8" name="Freeform 4504"/>
              <p:cNvSpPr>
                <a:spLocks/>
              </p:cNvSpPr>
              <p:nvPr/>
            </p:nvSpPr>
            <p:spPr bwMode="auto">
              <a:xfrm>
                <a:off x="643" y="2874"/>
                <a:ext cx="14" cy="19"/>
              </a:xfrm>
              <a:custGeom>
                <a:avLst/>
                <a:gdLst>
                  <a:gd name="T0" fmla="*/ 7 w 14"/>
                  <a:gd name="T1" fmla="*/ 0 h 19"/>
                  <a:gd name="T2" fmla="*/ 0 w 14"/>
                  <a:gd name="T3" fmla="*/ 2 h 19"/>
                  <a:gd name="T4" fmla="*/ 0 w 14"/>
                  <a:gd name="T5" fmla="*/ 4 h 19"/>
                  <a:gd name="T6" fmla="*/ 7 w 14"/>
                  <a:gd name="T7" fmla="*/ 16 h 19"/>
                  <a:gd name="T8" fmla="*/ 9 w 14"/>
                  <a:gd name="T9" fmla="*/ 19 h 19"/>
                  <a:gd name="T10" fmla="*/ 14 w 14"/>
                  <a:gd name="T11" fmla="*/ 14 h 19"/>
                  <a:gd name="T12" fmla="*/ 14 w 14"/>
                  <a:gd name="T13" fmla="*/ 12 h 19"/>
                  <a:gd name="T14" fmla="*/ 9 w 14"/>
                  <a:gd name="T15" fmla="*/ 2 h 19"/>
                  <a:gd name="T16" fmla="*/ 7 w 14"/>
                  <a:gd name="T17" fmla="*/ 0 h 19"/>
                  <a:gd name="T18" fmla="*/ 7 w 14"/>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9">
                    <a:moveTo>
                      <a:pt x="7" y="0"/>
                    </a:moveTo>
                    <a:lnTo>
                      <a:pt x="0" y="2"/>
                    </a:lnTo>
                    <a:lnTo>
                      <a:pt x="0" y="4"/>
                    </a:lnTo>
                    <a:lnTo>
                      <a:pt x="7" y="16"/>
                    </a:lnTo>
                    <a:lnTo>
                      <a:pt x="9" y="19"/>
                    </a:lnTo>
                    <a:lnTo>
                      <a:pt x="14" y="14"/>
                    </a:lnTo>
                    <a:lnTo>
                      <a:pt x="14" y="12"/>
                    </a:lnTo>
                    <a:lnTo>
                      <a:pt x="9" y="2"/>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09" name="Freeform 4505"/>
              <p:cNvSpPr>
                <a:spLocks/>
              </p:cNvSpPr>
              <p:nvPr/>
            </p:nvSpPr>
            <p:spPr bwMode="auto">
              <a:xfrm>
                <a:off x="643" y="2874"/>
                <a:ext cx="14" cy="19"/>
              </a:xfrm>
              <a:custGeom>
                <a:avLst/>
                <a:gdLst>
                  <a:gd name="T0" fmla="*/ 7 w 14"/>
                  <a:gd name="T1" fmla="*/ 0 h 19"/>
                  <a:gd name="T2" fmla="*/ 0 w 14"/>
                  <a:gd name="T3" fmla="*/ 2 h 19"/>
                  <a:gd name="T4" fmla="*/ 0 w 14"/>
                  <a:gd name="T5" fmla="*/ 4 h 19"/>
                  <a:gd name="T6" fmla="*/ 7 w 14"/>
                  <a:gd name="T7" fmla="*/ 16 h 19"/>
                  <a:gd name="T8" fmla="*/ 9 w 14"/>
                  <a:gd name="T9" fmla="*/ 19 h 19"/>
                  <a:gd name="T10" fmla="*/ 14 w 14"/>
                  <a:gd name="T11" fmla="*/ 14 h 19"/>
                  <a:gd name="T12" fmla="*/ 14 w 14"/>
                  <a:gd name="T13" fmla="*/ 12 h 19"/>
                  <a:gd name="T14" fmla="*/ 9 w 14"/>
                  <a:gd name="T15" fmla="*/ 2 h 19"/>
                  <a:gd name="T16" fmla="*/ 7 w 14"/>
                  <a:gd name="T17" fmla="*/ 0 h 19"/>
                  <a:gd name="T18" fmla="*/ 7 w 14"/>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9">
                    <a:moveTo>
                      <a:pt x="7" y="0"/>
                    </a:moveTo>
                    <a:lnTo>
                      <a:pt x="0" y="2"/>
                    </a:lnTo>
                    <a:lnTo>
                      <a:pt x="0" y="4"/>
                    </a:lnTo>
                    <a:lnTo>
                      <a:pt x="7" y="16"/>
                    </a:lnTo>
                    <a:lnTo>
                      <a:pt x="9" y="19"/>
                    </a:lnTo>
                    <a:lnTo>
                      <a:pt x="14" y="14"/>
                    </a:lnTo>
                    <a:lnTo>
                      <a:pt x="14" y="12"/>
                    </a:lnTo>
                    <a:lnTo>
                      <a:pt x="9" y="2"/>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0" name="Rectangle 4506"/>
              <p:cNvSpPr>
                <a:spLocks noChangeArrowheads="1"/>
              </p:cNvSpPr>
              <p:nvPr/>
            </p:nvSpPr>
            <p:spPr bwMode="auto">
              <a:xfrm>
                <a:off x="650" y="287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1" name="Freeform 4507"/>
              <p:cNvSpPr>
                <a:spLocks/>
              </p:cNvSpPr>
              <p:nvPr/>
            </p:nvSpPr>
            <p:spPr bwMode="auto">
              <a:xfrm>
                <a:off x="650" y="287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2" name="Freeform 4509"/>
              <p:cNvSpPr>
                <a:spLocks/>
              </p:cNvSpPr>
              <p:nvPr/>
            </p:nvSpPr>
            <p:spPr bwMode="auto">
              <a:xfrm>
                <a:off x="702" y="2993"/>
                <a:ext cx="15" cy="17"/>
              </a:xfrm>
              <a:custGeom>
                <a:avLst/>
                <a:gdLst>
                  <a:gd name="T0" fmla="*/ 7 w 15"/>
                  <a:gd name="T1" fmla="*/ 0 h 17"/>
                  <a:gd name="T2" fmla="*/ 0 w 15"/>
                  <a:gd name="T3" fmla="*/ 3 h 17"/>
                  <a:gd name="T4" fmla="*/ 0 w 15"/>
                  <a:gd name="T5" fmla="*/ 5 h 17"/>
                  <a:gd name="T6" fmla="*/ 7 w 15"/>
                  <a:gd name="T7" fmla="*/ 17 h 17"/>
                  <a:gd name="T8" fmla="*/ 7 w 15"/>
                  <a:gd name="T9" fmla="*/ 17 h 17"/>
                  <a:gd name="T10" fmla="*/ 15 w 15"/>
                  <a:gd name="T11" fmla="*/ 14 h 17"/>
                  <a:gd name="T12" fmla="*/ 15 w 15"/>
                  <a:gd name="T13" fmla="*/ 12 h 17"/>
                  <a:gd name="T14" fmla="*/ 10 w 15"/>
                  <a:gd name="T15" fmla="*/ 0 h 17"/>
                  <a:gd name="T16" fmla="*/ 7 w 15"/>
                  <a:gd name="T17" fmla="*/ 0 h 17"/>
                  <a:gd name="T18" fmla="*/ 7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7" y="0"/>
                    </a:moveTo>
                    <a:lnTo>
                      <a:pt x="0" y="3"/>
                    </a:lnTo>
                    <a:lnTo>
                      <a:pt x="0" y="5"/>
                    </a:lnTo>
                    <a:lnTo>
                      <a:pt x="7" y="17"/>
                    </a:lnTo>
                    <a:lnTo>
                      <a:pt x="7" y="17"/>
                    </a:lnTo>
                    <a:lnTo>
                      <a:pt x="15" y="14"/>
                    </a:lnTo>
                    <a:lnTo>
                      <a:pt x="15" y="12"/>
                    </a:lnTo>
                    <a:lnTo>
                      <a:pt x="10"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3" name="Freeform 4510"/>
              <p:cNvSpPr>
                <a:spLocks/>
              </p:cNvSpPr>
              <p:nvPr/>
            </p:nvSpPr>
            <p:spPr bwMode="auto">
              <a:xfrm>
                <a:off x="702" y="2993"/>
                <a:ext cx="15" cy="17"/>
              </a:xfrm>
              <a:custGeom>
                <a:avLst/>
                <a:gdLst>
                  <a:gd name="T0" fmla="*/ 7 w 15"/>
                  <a:gd name="T1" fmla="*/ 0 h 17"/>
                  <a:gd name="T2" fmla="*/ 0 w 15"/>
                  <a:gd name="T3" fmla="*/ 3 h 17"/>
                  <a:gd name="T4" fmla="*/ 0 w 15"/>
                  <a:gd name="T5" fmla="*/ 5 h 17"/>
                  <a:gd name="T6" fmla="*/ 7 w 15"/>
                  <a:gd name="T7" fmla="*/ 17 h 17"/>
                  <a:gd name="T8" fmla="*/ 7 w 15"/>
                  <a:gd name="T9" fmla="*/ 17 h 17"/>
                  <a:gd name="T10" fmla="*/ 15 w 15"/>
                  <a:gd name="T11" fmla="*/ 14 h 17"/>
                  <a:gd name="T12" fmla="*/ 15 w 15"/>
                  <a:gd name="T13" fmla="*/ 12 h 17"/>
                  <a:gd name="T14" fmla="*/ 10 w 15"/>
                  <a:gd name="T15" fmla="*/ 0 h 17"/>
                  <a:gd name="T16" fmla="*/ 7 w 15"/>
                  <a:gd name="T17" fmla="*/ 0 h 17"/>
                  <a:gd name="T18" fmla="*/ 7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7" y="0"/>
                    </a:moveTo>
                    <a:lnTo>
                      <a:pt x="0" y="3"/>
                    </a:lnTo>
                    <a:lnTo>
                      <a:pt x="0" y="5"/>
                    </a:lnTo>
                    <a:lnTo>
                      <a:pt x="7" y="17"/>
                    </a:lnTo>
                    <a:lnTo>
                      <a:pt x="7" y="17"/>
                    </a:lnTo>
                    <a:lnTo>
                      <a:pt x="15" y="14"/>
                    </a:lnTo>
                    <a:lnTo>
                      <a:pt x="15" y="12"/>
                    </a:lnTo>
                    <a:lnTo>
                      <a:pt x="10"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4" name="Freeform 4512"/>
              <p:cNvSpPr>
                <a:spLocks/>
              </p:cNvSpPr>
              <p:nvPr/>
            </p:nvSpPr>
            <p:spPr bwMode="auto">
              <a:xfrm>
                <a:off x="609" y="2914"/>
                <a:ext cx="17" cy="15"/>
              </a:xfrm>
              <a:custGeom>
                <a:avLst/>
                <a:gdLst>
                  <a:gd name="T0" fmla="*/ 0 w 7"/>
                  <a:gd name="T1" fmla="*/ 1 h 6"/>
                  <a:gd name="T2" fmla="*/ 0 w 7"/>
                  <a:gd name="T3" fmla="*/ 3 h 6"/>
                  <a:gd name="T4" fmla="*/ 0 w 7"/>
                  <a:gd name="T5" fmla="*/ 4 h 6"/>
                  <a:gd name="T6" fmla="*/ 5 w 7"/>
                  <a:gd name="T7" fmla="*/ 6 h 6"/>
                  <a:gd name="T8" fmla="*/ 6 w 7"/>
                  <a:gd name="T9" fmla="*/ 5 h 6"/>
                  <a:gd name="T10" fmla="*/ 7 w 7"/>
                  <a:gd name="T11" fmla="*/ 3 h 6"/>
                  <a:gd name="T12" fmla="*/ 7 w 7"/>
                  <a:gd name="T13" fmla="*/ 2 h 6"/>
                  <a:gd name="T14" fmla="*/ 1 w 7"/>
                  <a:gd name="T15" fmla="*/ 0 h 6"/>
                  <a:gd name="T16" fmla="*/ 1 w 7"/>
                  <a:gd name="T17" fmla="*/ 0 h 6"/>
                  <a:gd name="T18" fmla="*/ 0 w 7"/>
                  <a:gd name="T19"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0" y="1"/>
                    </a:moveTo>
                    <a:cubicBezTo>
                      <a:pt x="0" y="3"/>
                      <a:pt x="0" y="3"/>
                      <a:pt x="0" y="3"/>
                    </a:cubicBezTo>
                    <a:cubicBezTo>
                      <a:pt x="0" y="4"/>
                      <a:pt x="0" y="4"/>
                      <a:pt x="0" y="4"/>
                    </a:cubicBezTo>
                    <a:cubicBezTo>
                      <a:pt x="5" y="6"/>
                      <a:pt x="5" y="6"/>
                      <a:pt x="5" y="6"/>
                    </a:cubicBezTo>
                    <a:cubicBezTo>
                      <a:pt x="6" y="6"/>
                      <a:pt x="6" y="6"/>
                      <a:pt x="6" y="5"/>
                    </a:cubicBezTo>
                    <a:cubicBezTo>
                      <a:pt x="7" y="3"/>
                      <a:pt x="7" y="3"/>
                      <a:pt x="7" y="3"/>
                    </a:cubicBezTo>
                    <a:cubicBezTo>
                      <a:pt x="7" y="2"/>
                      <a:pt x="7" y="2"/>
                      <a:pt x="7" y="2"/>
                    </a:cubicBezTo>
                    <a:cubicBezTo>
                      <a:pt x="1" y="0"/>
                      <a:pt x="1" y="0"/>
                      <a:pt x="1" y="0"/>
                    </a:cubicBezTo>
                    <a:cubicBezTo>
                      <a:pt x="1" y="0"/>
                      <a:pt x="1" y="0"/>
                      <a:pt x="1" y="0"/>
                    </a:cubicBezTo>
                    <a:cubicBezTo>
                      <a:pt x="0" y="1"/>
                      <a:pt x="0" y="1"/>
                      <a:pt x="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5" name="Rectangle 4513"/>
              <p:cNvSpPr>
                <a:spLocks noChangeArrowheads="1"/>
              </p:cNvSpPr>
              <p:nvPr/>
            </p:nvSpPr>
            <p:spPr bwMode="auto">
              <a:xfrm>
                <a:off x="612" y="291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6" name="Freeform 4514"/>
              <p:cNvSpPr>
                <a:spLocks/>
              </p:cNvSpPr>
              <p:nvPr/>
            </p:nvSpPr>
            <p:spPr bwMode="auto">
              <a:xfrm>
                <a:off x="612" y="291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7" name="Freeform 4516"/>
              <p:cNvSpPr>
                <a:spLocks/>
              </p:cNvSpPr>
              <p:nvPr/>
            </p:nvSpPr>
            <p:spPr bwMode="auto">
              <a:xfrm>
                <a:off x="733" y="2957"/>
                <a:ext cx="19" cy="12"/>
              </a:xfrm>
              <a:custGeom>
                <a:avLst/>
                <a:gdLst>
                  <a:gd name="T0" fmla="*/ 1 w 8"/>
                  <a:gd name="T1" fmla="*/ 0 h 5"/>
                  <a:gd name="T2" fmla="*/ 0 w 8"/>
                  <a:gd name="T3" fmla="*/ 3 h 5"/>
                  <a:gd name="T4" fmla="*/ 1 w 8"/>
                  <a:gd name="T5" fmla="*/ 3 h 5"/>
                  <a:gd name="T6" fmla="*/ 6 w 8"/>
                  <a:gd name="T7" fmla="*/ 5 h 5"/>
                  <a:gd name="T8" fmla="*/ 7 w 8"/>
                  <a:gd name="T9" fmla="*/ 5 h 5"/>
                  <a:gd name="T10" fmla="*/ 8 w 8"/>
                  <a:gd name="T11" fmla="*/ 2 h 5"/>
                  <a:gd name="T12" fmla="*/ 7 w 8"/>
                  <a:gd name="T13" fmla="*/ 1 h 5"/>
                  <a:gd name="T14" fmla="*/ 2 w 8"/>
                  <a:gd name="T15" fmla="*/ 0 h 5"/>
                  <a:gd name="T16" fmla="*/ 2 w 8"/>
                  <a:gd name="T17" fmla="*/ 0 h 5"/>
                  <a:gd name="T18" fmla="*/ 1 w 8"/>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1" y="0"/>
                    </a:moveTo>
                    <a:cubicBezTo>
                      <a:pt x="0" y="3"/>
                      <a:pt x="0" y="3"/>
                      <a:pt x="0" y="3"/>
                    </a:cubicBezTo>
                    <a:cubicBezTo>
                      <a:pt x="0" y="3"/>
                      <a:pt x="0" y="3"/>
                      <a:pt x="1" y="3"/>
                    </a:cubicBezTo>
                    <a:cubicBezTo>
                      <a:pt x="6" y="5"/>
                      <a:pt x="6" y="5"/>
                      <a:pt x="6" y="5"/>
                    </a:cubicBezTo>
                    <a:cubicBezTo>
                      <a:pt x="6" y="5"/>
                      <a:pt x="7" y="5"/>
                      <a:pt x="7" y="5"/>
                    </a:cubicBezTo>
                    <a:cubicBezTo>
                      <a:pt x="8" y="2"/>
                      <a:pt x="8" y="2"/>
                      <a:pt x="8" y="2"/>
                    </a:cubicBezTo>
                    <a:cubicBezTo>
                      <a:pt x="8" y="2"/>
                      <a:pt x="8" y="1"/>
                      <a:pt x="7" y="1"/>
                    </a:cubicBezTo>
                    <a:cubicBezTo>
                      <a:pt x="2" y="0"/>
                      <a:pt x="2" y="0"/>
                      <a:pt x="2" y="0"/>
                    </a:cubicBezTo>
                    <a:cubicBezTo>
                      <a:pt x="2" y="0"/>
                      <a:pt x="2" y="0"/>
                      <a:pt x="2" y="0"/>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8" name="Freeform 4518"/>
              <p:cNvSpPr>
                <a:spLocks/>
              </p:cNvSpPr>
              <p:nvPr/>
            </p:nvSpPr>
            <p:spPr bwMode="auto">
              <a:xfrm>
                <a:off x="693" y="2871"/>
                <a:ext cx="14" cy="17"/>
              </a:xfrm>
              <a:custGeom>
                <a:avLst/>
                <a:gdLst>
                  <a:gd name="T0" fmla="*/ 2 w 6"/>
                  <a:gd name="T1" fmla="*/ 0 h 7"/>
                  <a:gd name="T2" fmla="*/ 1 w 6"/>
                  <a:gd name="T3" fmla="*/ 5 h 7"/>
                  <a:gd name="T4" fmla="*/ 1 w 6"/>
                  <a:gd name="T5" fmla="*/ 6 h 7"/>
                  <a:gd name="T6" fmla="*/ 4 w 6"/>
                  <a:gd name="T7" fmla="*/ 7 h 7"/>
                  <a:gd name="T8" fmla="*/ 4 w 6"/>
                  <a:gd name="T9" fmla="*/ 6 h 7"/>
                  <a:gd name="T10" fmla="*/ 6 w 6"/>
                  <a:gd name="T11" fmla="*/ 1 h 7"/>
                  <a:gd name="T12" fmla="*/ 6 w 6"/>
                  <a:gd name="T13" fmla="*/ 0 h 7"/>
                  <a:gd name="T14" fmla="*/ 3 w 6"/>
                  <a:gd name="T15" fmla="*/ 0 h 7"/>
                  <a:gd name="T16" fmla="*/ 3 w 6"/>
                  <a:gd name="T17" fmla="*/ 0 h 7"/>
                  <a:gd name="T18" fmla="*/ 2 w 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2" y="0"/>
                    </a:moveTo>
                    <a:cubicBezTo>
                      <a:pt x="1" y="5"/>
                      <a:pt x="1" y="5"/>
                      <a:pt x="1" y="5"/>
                    </a:cubicBezTo>
                    <a:cubicBezTo>
                      <a:pt x="0" y="6"/>
                      <a:pt x="1" y="6"/>
                      <a:pt x="1" y="6"/>
                    </a:cubicBezTo>
                    <a:cubicBezTo>
                      <a:pt x="4" y="7"/>
                      <a:pt x="4" y="7"/>
                      <a:pt x="4" y="7"/>
                    </a:cubicBezTo>
                    <a:cubicBezTo>
                      <a:pt x="4" y="7"/>
                      <a:pt x="4" y="7"/>
                      <a:pt x="4" y="6"/>
                    </a:cubicBezTo>
                    <a:cubicBezTo>
                      <a:pt x="6" y="1"/>
                      <a:pt x="6" y="1"/>
                      <a:pt x="6" y="1"/>
                    </a:cubicBezTo>
                    <a:cubicBezTo>
                      <a:pt x="6" y="1"/>
                      <a:pt x="6" y="1"/>
                      <a:pt x="6" y="0"/>
                    </a:cubicBezTo>
                    <a:cubicBezTo>
                      <a:pt x="3" y="0"/>
                      <a:pt x="3" y="0"/>
                      <a:pt x="3" y="0"/>
                    </a:cubicBezTo>
                    <a:cubicBezTo>
                      <a:pt x="3" y="0"/>
                      <a:pt x="3" y="0"/>
                      <a:pt x="3"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19" name="Rectangle 4519"/>
              <p:cNvSpPr>
                <a:spLocks noChangeArrowheads="1"/>
              </p:cNvSpPr>
              <p:nvPr/>
            </p:nvSpPr>
            <p:spPr bwMode="auto">
              <a:xfrm>
                <a:off x="700" y="287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0" name="Freeform 4520"/>
              <p:cNvSpPr>
                <a:spLocks/>
              </p:cNvSpPr>
              <p:nvPr/>
            </p:nvSpPr>
            <p:spPr bwMode="auto">
              <a:xfrm>
                <a:off x="700" y="287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1" name="Freeform 4522"/>
              <p:cNvSpPr>
                <a:spLocks/>
              </p:cNvSpPr>
              <p:nvPr/>
            </p:nvSpPr>
            <p:spPr bwMode="auto">
              <a:xfrm>
                <a:off x="652" y="2996"/>
                <a:ext cx="14" cy="19"/>
              </a:xfrm>
              <a:custGeom>
                <a:avLst/>
                <a:gdLst>
                  <a:gd name="T0" fmla="*/ 2 w 6"/>
                  <a:gd name="T1" fmla="*/ 1 h 8"/>
                  <a:gd name="T2" fmla="*/ 0 w 6"/>
                  <a:gd name="T3" fmla="*/ 6 h 8"/>
                  <a:gd name="T4" fmla="*/ 1 w 6"/>
                  <a:gd name="T5" fmla="*/ 7 h 8"/>
                  <a:gd name="T6" fmla="*/ 3 w 6"/>
                  <a:gd name="T7" fmla="*/ 8 h 8"/>
                  <a:gd name="T8" fmla="*/ 4 w 6"/>
                  <a:gd name="T9" fmla="*/ 7 h 8"/>
                  <a:gd name="T10" fmla="*/ 6 w 6"/>
                  <a:gd name="T11" fmla="*/ 2 h 8"/>
                  <a:gd name="T12" fmla="*/ 5 w 6"/>
                  <a:gd name="T13" fmla="*/ 1 h 8"/>
                  <a:gd name="T14" fmla="*/ 3 w 6"/>
                  <a:gd name="T15" fmla="*/ 0 h 8"/>
                  <a:gd name="T16" fmla="*/ 3 w 6"/>
                  <a:gd name="T17" fmla="*/ 0 h 8"/>
                  <a:gd name="T18" fmla="*/ 2 w 6"/>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1"/>
                    </a:moveTo>
                    <a:cubicBezTo>
                      <a:pt x="0" y="6"/>
                      <a:pt x="0" y="6"/>
                      <a:pt x="0" y="6"/>
                    </a:cubicBezTo>
                    <a:cubicBezTo>
                      <a:pt x="0" y="6"/>
                      <a:pt x="0" y="7"/>
                      <a:pt x="1" y="7"/>
                    </a:cubicBezTo>
                    <a:cubicBezTo>
                      <a:pt x="3" y="8"/>
                      <a:pt x="3" y="8"/>
                      <a:pt x="3" y="8"/>
                    </a:cubicBezTo>
                    <a:cubicBezTo>
                      <a:pt x="4" y="8"/>
                      <a:pt x="4" y="8"/>
                      <a:pt x="4" y="7"/>
                    </a:cubicBezTo>
                    <a:cubicBezTo>
                      <a:pt x="6" y="2"/>
                      <a:pt x="6" y="2"/>
                      <a:pt x="6" y="2"/>
                    </a:cubicBezTo>
                    <a:cubicBezTo>
                      <a:pt x="6" y="2"/>
                      <a:pt x="6" y="1"/>
                      <a:pt x="5" y="1"/>
                    </a:cubicBezTo>
                    <a:cubicBezTo>
                      <a:pt x="3" y="0"/>
                      <a:pt x="3" y="0"/>
                      <a:pt x="3" y="0"/>
                    </a:cubicBezTo>
                    <a:cubicBezTo>
                      <a:pt x="3" y="0"/>
                      <a:pt x="3" y="0"/>
                      <a:pt x="3" y="0"/>
                    </a:cubicBez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2" name="Freeform 4524"/>
              <p:cNvSpPr>
                <a:spLocks/>
              </p:cNvSpPr>
              <p:nvPr/>
            </p:nvSpPr>
            <p:spPr bwMode="auto">
              <a:xfrm>
                <a:off x="607" y="2950"/>
                <a:ext cx="16" cy="12"/>
              </a:xfrm>
              <a:custGeom>
                <a:avLst/>
                <a:gdLst>
                  <a:gd name="T0" fmla="*/ 6 w 7"/>
                  <a:gd name="T1" fmla="*/ 0 h 5"/>
                  <a:gd name="T2" fmla="*/ 0 w 7"/>
                  <a:gd name="T3" fmla="*/ 1 h 5"/>
                  <a:gd name="T4" fmla="*/ 0 w 7"/>
                  <a:gd name="T5" fmla="*/ 1 h 5"/>
                  <a:gd name="T6" fmla="*/ 0 w 7"/>
                  <a:gd name="T7" fmla="*/ 4 h 5"/>
                  <a:gd name="T8" fmla="*/ 1 w 7"/>
                  <a:gd name="T9" fmla="*/ 5 h 5"/>
                  <a:gd name="T10" fmla="*/ 6 w 7"/>
                  <a:gd name="T11" fmla="*/ 4 h 5"/>
                  <a:gd name="T12" fmla="*/ 7 w 7"/>
                  <a:gd name="T13" fmla="*/ 3 h 5"/>
                  <a:gd name="T14" fmla="*/ 7 w 7"/>
                  <a:gd name="T15" fmla="*/ 0 h 5"/>
                  <a:gd name="T16" fmla="*/ 6 w 7"/>
                  <a:gd name="T17" fmla="*/ 0 h 5"/>
                  <a:gd name="T18" fmla="*/ 6 w 7"/>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5">
                    <a:moveTo>
                      <a:pt x="6" y="0"/>
                    </a:moveTo>
                    <a:cubicBezTo>
                      <a:pt x="0" y="1"/>
                      <a:pt x="0" y="1"/>
                      <a:pt x="0" y="1"/>
                    </a:cubicBezTo>
                    <a:cubicBezTo>
                      <a:pt x="0" y="1"/>
                      <a:pt x="0" y="1"/>
                      <a:pt x="0" y="1"/>
                    </a:cubicBezTo>
                    <a:cubicBezTo>
                      <a:pt x="0" y="4"/>
                      <a:pt x="0" y="4"/>
                      <a:pt x="0" y="4"/>
                    </a:cubicBezTo>
                    <a:cubicBezTo>
                      <a:pt x="0" y="4"/>
                      <a:pt x="1" y="5"/>
                      <a:pt x="1" y="5"/>
                    </a:cubicBezTo>
                    <a:cubicBezTo>
                      <a:pt x="6" y="4"/>
                      <a:pt x="6" y="4"/>
                      <a:pt x="6" y="4"/>
                    </a:cubicBezTo>
                    <a:cubicBezTo>
                      <a:pt x="7" y="4"/>
                      <a:pt x="7" y="3"/>
                      <a:pt x="7" y="3"/>
                    </a:cubicBezTo>
                    <a:cubicBezTo>
                      <a:pt x="7" y="0"/>
                      <a:pt x="7" y="0"/>
                      <a:pt x="7"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3" name="Freeform 4526"/>
              <p:cNvSpPr>
                <a:spLocks/>
              </p:cNvSpPr>
              <p:nvPr/>
            </p:nvSpPr>
            <p:spPr bwMode="auto">
              <a:xfrm>
                <a:off x="736" y="2924"/>
                <a:ext cx="19" cy="12"/>
              </a:xfrm>
              <a:custGeom>
                <a:avLst/>
                <a:gdLst>
                  <a:gd name="T0" fmla="*/ 6 w 8"/>
                  <a:gd name="T1" fmla="*/ 0 h 5"/>
                  <a:gd name="T2" fmla="*/ 1 w 8"/>
                  <a:gd name="T3" fmla="*/ 1 h 5"/>
                  <a:gd name="T4" fmla="*/ 0 w 8"/>
                  <a:gd name="T5" fmla="*/ 2 h 5"/>
                  <a:gd name="T6" fmla="*/ 1 w 8"/>
                  <a:gd name="T7" fmla="*/ 4 h 5"/>
                  <a:gd name="T8" fmla="*/ 2 w 8"/>
                  <a:gd name="T9" fmla="*/ 5 h 5"/>
                  <a:gd name="T10" fmla="*/ 7 w 8"/>
                  <a:gd name="T11" fmla="*/ 4 h 5"/>
                  <a:gd name="T12" fmla="*/ 7 w 8"/>
                  <a:gd name="T13" fmla="*/ 3 h 5"/>
                  <a:gd name="T14" fmla="*/ 7 w 8"/>
                  <a:gd name="T15" fmla="*/ 0 h 5"/>
                  <a:gd name="T16" fmla="*/ 6 w 8"/>
                  <a:gd name="T17" fmla="*/ 0 h 5"/>
                  <a:gd name="T18" fmla="*/ 6 w 8"/>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5">
                    <a:moveTo>
                      <a:pt x="6" y="0"/>
                    </a:moveTo>
                    <a:cubicBezTo>
                      <a:pt x="1" y="1"/>
                      <a:pt x="1" y="1"/>
                      <a:pt x="1" y="1"/>
                    </a:cubicBezTo>
                    <a:cubicBezTo>
                      <a:pt x="0" y="1"/>
                      <a:pt x="0" y="1"/>
                      <a:pt x="0" y="2"/>
                    </a:cubicBezTo>
                    <a:cubicBezTo>
                      <a:pt x="1" y="4"/>
                      <a:pt x="1" y="4"/>
                      <a:pt x="1" y="4"/>
                    </a:cubicBezTo>
                    <a:cubicBezTo>
                      <a:pt x="1" y="5"/>
                      <a:pt x="1" y="5"/>
                      <a:pt x="2" y="5"/>
                    </a:cubicBezTo>
                    <a:cubicBezTo>
                      <a:pt x="7" y="4"/>
                      <a:pt x="7" y="4"/>
                      <a:pt x="7" y="4"/>
                    </a:cubicBezTo>
                    <a:cubicBezTo>
                      <a:pt x="7" y="4"/>
                      <a:pt x="8" y="3"/>
                      <a:pt x="7" y="3"/>
                    </a:cubicBezTo>
                    <a:cubicBezTo>
                      <a:pt x="7" y="0"/>
                      <a:pt x="7" y="0"/>
                      <a:pt x="7" y="0"/>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4" name="Freeform 4528"/>
              <p:cNvSpPr>
                <a:spLocks/>
              </p:cNvSpPr>
              <p:nvPr/>
            </p:nvSpPr>
            <p:spPr bwMode="auto">
              <a:xfrm>
                <a:off x="662" y="2869"/>
                <a:ext cx="12" cy="17"/>
              </a:xfrm>
              <a:custGeom>
                <a:avLst/>
                <a:gdLst>
                  <a:gd name="T0" fmla="*/ 3 w 5"/>
                  <a:gd name="T1" fmla="*/ 0 h 7"/>
                  <a:gd name="T2" fmla="*/ 0 w 5"/>
                  <a:gd name="T3" fmla="*/ 0 h 7"/>
                  <a:gd name="T4" fmla="*/ 0 w 5"/>
                  <a:gd name="T5" fmla="*/ 1 h 7"/>
                  <a:gd name="T6" fmla="*/ 1 w 5"/>
                  <a:gd name="T7" fmla="*/ 6 h 7"/>
                  <a:gd name="T8" fmla="*/ 2 w 5"/>
                  <a:gd name="T9" fmla="*/ 7 h 7"/>
                  <a:gd name="T10" fmla="*/ 4 w 5"/>
                  <a:gd name="T11" fmla="*/ 7 h 7"/>
                  <a:gd name="T12" fmla="*/ 5 w 5"/>
                  <a:gd name="T13" fmla="*/ 6 h 7"/>
                  <a:gd name="T14" fmla="*/ 4 w 5"/>
                  <a:gd name="T15" fmla="*/ 0 h 7"/>
                  <a:gd name="T16" fmla="*/ 3 w 5"/>
                  <a:gd name="T17" fmla="*/ 0 h 7"/>
                  <a:gd name="T18" fmla="*/ 3 w 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7">
                    <a:moveTo>
                      <a:pt x="3" y="0"/>
                    </a:moveTo>
                    <a:cubicBezTo>
                      <a:pt x="0" y="0"/>
                      <a:pt x="0" y="0"/>
                      <a:pt x="0" y="0"/>
                    </a:cubicBezTo>
                    <a:cubicBezTo>
                      <a:pt x="0" y="0"/>
                      <a:pt x="0" y="1"/>
                      <a:pt x="0" y="1"/>
                    </a:cubicBezTo>
                    <a:cubicBezTo>
                      <a:pt x="1" y="6"/>
                      <a:pt x="1" y="6"/>
                      <a:pt x="1" y="6"/>
                    </a:cubicBezTo>
                    <a:cubicBezTo>
                      <a:pt x="1" y="7"/>
                      <a:pt x="1" y="7"/>
                      <a:pt x="2" y="7"/>
                    </a:cubicBezTo>
                    <a:cubicBezTo>
                      <a:pt x="4" y="7"/>
                      <a:pt x="4" y="7"/>
                      <a:pt x="4" y="7"/>
                    </a:cubicBezTo>
                    <a:cubicBezTo>
                      <a:pt x="5" y="6"/>
                      <a:pt x="5" y="6"/>
                      <a:pt x="5" y="6"/>
                    </a:cubicBezTo>
                    <a:cubicBezTo>
                      <a:pt x="4" y="0"/>
                      <a:pt x="4" y="0"/>
                      <a:pt x="4" y="0"/>
                    </a:cubicBezTo>
                    <a:cubicBezTo>
                      <a:pt x="3" y="0"/>
                      <a:pt x="3" y="0"/>
                      <a:pt x="3"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5" name="Freeform 4530"/>
              <p:cNvSpPr>
                <a:spLocks/>
              </p:cNvSpPr>
              <p:nvPr/>
            </p:nvSpPr>
            <p:spPr bwMode="auto">
              <a:xfrm>
                <a:off x="686" y="2998"/>
                <a:ext cx="14" cy="19"/>
              </a:xfrm>
              <a:custGeom>
                <a:avLst/>
                <a:gdLst>
                  <a:gd name="T0" fmla="*/ 4 w 6"/>
                  <a:gd name="T1" fmla="*/ 0 h 8"/>
                  <a:gd name="T2" fmla="*/ 1 w 6"/>
                  <a:gd name="T3" fmla="*/ 1 h 8"/>
                  <a:gd name="T4" fmla="*/ 1 w 6"/>
                  <a:gd name="T5" fmla="*/ 2 h 8"/>
                  <a:gd name="T6" fmla="*/ 2 w 6"/>
                  <a:gd name="T7" fmla="*/ 7 h 8"/>
                  <a:gd name="T8" fmla="*/ 2 w 6"/>
                  <a:gd name="T9" fmla="*/ 7 h 8"/>
                  <a:gd name="T10" fmla="*/ 5 w 6"/>
                  <a:gd name="T11" fmla="*/ 7 h 8"/>
                  <a:gd name="T12" fmla="*/ 6 w 6"/>
                  <a:gd name="T13" fmla="*/ 6 h 8"/>
                  <a:gd name="T14" fmla="*/ 5 w 6"/>
                  <a:gd name="T15" fmla="*/ 1 h 8"/>
                  <a:gd name="T16" fmla="*/ 4 w 6"/>
                  <a:gd name="T17" fmla="*/ 0 h 8"/>
                  <a:gd name="T18" fmla="*/ 4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4" y="0"/>
                    </a:moveTo>
                    <a:cubicBezTo>
                      <a:pt x="1" y="1"/>
                      <a:pt x="1" y="1"/>
                      <a:pt x="1" y="1"/>
                    </a:cubicBezTo>
                    <a:cubicBezTo>
                      <a:pt x="1" y="1"/>
                      <a:pt x="0" y="1"/>
                      <a:pt x="1" y="2"/>
                    </a:cubicBezTo>
                    <a:cubicBezTo>
                      <a:pt x="2" y="7"/>
                      <a:pt x="2" y="7"/>
                      <a:pt x="2" y="7"/>
                    </a:cubicBezTo>
                    <a:cubicBezTo>
                      <a:pt x="2" y="7"/>
                      <a:pt x="2" y="8"/>
                      <a:pt x="2" y="7"/>
                    </a:cubicBezTo>
                    <a:cubicBezTo>
                      <a:pt x="5" y="7"/>
                      <a:pt x="5" y="7"/>
                      <a:pt x="5" y="7"/>
                    </a:cubicBezTo>
                    <a:cubicBezTo>
                      <a:pt x="5" y="7"/>
                      <a:pt x="6" y="7"/>
                      <a:pt x="6" y="6"/>
                    </a:cubicBezTo>
                    <a:cubicBezTo>
                      <a:pt x="5" y="1"/>
                      <a:pt x="5" y="1"/>
                      <a:pt x="5" y="1"/>
                    </a:cubicBezTo>
                    <a:cubicBezTo>
                      <a:pt x="4" y="0"/>
                      <a:pt x="4" y="0"/>
                      <a:pt x="4" y="0"/>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6" name="Freeform 4532"/>
              <p:cNvSpPr>
                <a:spLocks/>
              </p:cNvSpPr>
              <p:nvPr/>
            </p:nvSpPr>
            <p:spPr bwMode="auto">
              <a:xfrm>
                <a:off x="616" y="2898"/>
                <a:ext cx="17" cy="14"/>
              </a:xfrm>
              <a:custGeom>
                <a:avLst/>
                <a:gdLst>
                  <a:gd name="T0" fmla="*/ 3 w 17"/>
                  <a:gd name="T1" fmla="*/ 0 h 14"/>
                  <a:gd name="T2" fmla="*/ 0 w 17"/>
                  <a:gd name="T3" fmla="*/ 4 h 14"/>
                  <a:gd name="T4" fmla="*/ 0 w 17"/>
                  <a:gd name="T5" fmla="*/ 7 h 14"/>
                  <a:gd name="T6" fmla="*/ 12 w 17"/>
                  <a:gd name="T7" fmla="*/ 14 h 14"/>
                  <a:gd name="T8" fmla="*/ 15 w 17"/>
                  <a:gd name="T9" fmla="*/ 14 h 14"/>
                  <a:gd name="T10" fmla="*/ 17 w 17"/>
                  <a:gd name="T11" fmla="*/ 9 h 14"/>
                  <a:gd name="T12" fmla="*/ 17 w 17"/>
                  <a:gd name="T13" fmla="*/ 7 h 14"/>
                  <a:gd name="T14" fmla="*/ 5 w 17"/>
                  <a:gd name="T15" fmla="*/ 0 h 14"/>
                  <a:gd name="T16" fmla="*/ 5 w 17"/>
                  <a:gd name="T17" fmla="*/ 0 h 14"/>
                  <a:gd name="T18" fmla="*/ 3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3" y="0"/>
                    </a:moveTo>
                    <a:lnTo>
                      <a:pt x="0" y="4"/>
                    </a:lnTo>
                    <a:lnTo>
                      <a:pt x="0" y="7"/>
                    </a:lnTo>
                    <a:lnTo>
                      <a:pt x="12" y="14"/>
                    </a:lnTo>
                    <a:lnTo>
                      <a:pt x="15" y="14"/>
                    </a:lnTo>
                    <a:lnTo>
                      <a:pt x="17" y="9"/>
                    </a:lnTo>
                    <a:lnTo>
                      <a:pt x="17" y="7"/>
                    </a:lnTo>
                    <a:lnTo>
                      <a:pt x="5" y="0"/>
                    </a:lnTo>
                    <a:lnTo>
                      <a:pt x="5"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7" name="Freeform 4533"/>
              <p:cNvSpPr>
                <a:spLocks/>
              </p:cNvSpPr>
              <p:nvPr/>
            </p:nvSpPr>
            <p:spPr bwMode="auto">
              <a:xfrm>
                <a:off x="616" y="2898"/>
                <a:ext cx="17" cy="14"/>
              </a:xfrm>
              <a:custGeom>
                <a:avLst/>
                <a:gdLst>
                  <a:gd name="T0" fmla="*/ 3 w 17"/>
                  <a:gd name="T1" fmla="*/ 0 h 14"/>
                  <a:gd name="T2" fmla="*/ 0 w 17"/>
                  <a:gd name="T3" fmla="*/ 4 h 14"/>
                  <a:gd name="T4" fmla="*/ 0 w 17"/>
                  <a:gd name="T5" fmla="*/ 7 h 14"/>
                  <a:gd name="T6" fmla="*/ 12 w 17"/>
                  <a:gd name="T7" fmla="*/ 14 h 14"/>
                  <a:gd name="T8" fmla="*/ 15 w 17"/>
                  <a:gd name="T9" fmla="*/ 14 h 14"/>
                  <a:gd name="T10" fmla="*/ 17 w 17"/>
                  <a:gd name="T11" fmla="*/ 9 h 14"/>
                  <a:gd name="T12" fmla="*/ 17 w 17"/>
                  <a:gd name="T13" fmla="*/ 7 h 14"/>
                  <a:gd name="T14" fmla="*/ 5 w 17"/>
                  <a:gd name="T15" fmla="*/ 0 h 14"/>
                  <a:gd name="T16" fmla="*/ 5 w 17"/>
                  <a:gd name="T17" fmla="*/ 0 h 14"/>
                  <a:gd name="T18" fmla="*/ 3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3" y="0"/>
                    </a:moveTo>
                    <a:lnTo>
                      <a:pt x="0" y="4"/>
                    </a:lnTo>
                    <a:lnTo>
                      <a:pt x="0" y="7"/>
                    </a:lnTo>
                    <a:lnTo>
                      <a:pt x="12" y="14"/>
                    </a:lnTo>
                    <a:lnTo>
                      <a:pt x="15" y="14"/>
                    </a:lnTo>
                    <a:lnTo>
                      <a:pt x="17" y="9"/>
                    </a:lnTo>
                    <a:lnTo>
                      <a:pt x="17" y="7"/>
                    </a:lnTo>
                    <a:lnTo>
                      <a:pt x="5" y="0"/>
                    </a:lnTo>
                    <a:lnTo>
                      <a:pt x="5"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8" name="Rectangle 4534"/>
              <p:cNvSpPr>
                <a:spLocks noChangeArrowheads="1"/>
              </p:cNvSpPr>
              <p:nvPr/>
            </p:nvSpPr>
            <p:spPr bwMode="auto">
              <a:xfrm>
                <a:off x="621" y="2898"/>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29" name="Freeform 4535"/>
              <p:cNvSpPr>
                <a:spLocks/>
              </p:cNvSpPr>
              <p:nvPr/>
            </p:nvSpPr>
            <p:spPr bwMode="auto">
              <a:xfrm>
                <a:off x="621" y="289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0" name="Freeform 4537"/>
              <p:cNvSpPr>
                <a:spLocks/>
              </p:cNvSpPr>
              <p:nvPr/>
            </p:nvSpPr>
            <p:spPr bwMode="auto">
              <a:xfrm>
                <a:off x="726" y="2972"/>
                <a:ext cx="17" cy="14"/>
              </a:xfrm>
              <a:custGeom>
                <a:avLst/>
                <a:gdLst>
                  <a:gd name="T0" fmla="*/ 5 w 17"/>
                  <a:gd name="T1" fmla="*/ 0 h 14"/>
                  <a:gd name="T2" fmla="*/ 0 w 17"/>
                  <a:gd name="T3" fmla="*/ 4 h 14"/>
                  <a:gd name="T4" fmla="*/ 0 w 17"/>
                  <a:gd name="T5" fmla="*/ 7 h 14"/>
                  <a:gd name="T6" fmla="*/ 12 w 17"/>
                  <a:gd name="T7" fmla="*/ 14 h 14"/>
                  <a:gd name="T8" fmla="*/ 14 w 17"/>
                  <a:gd name="T9" fmla="*/ 14 h 14"/>
                  <a:gd name="T10" fmla="*/ 17 w 17"/>
                  <a:gd name="T11" fmla="*/ 9 h 14"/>
                  <a:gd name="T12" fmla="*/ 17 w 17"/>
                  <a:gd name="T13" fmla="*/ 7 h 14"/>
                  <a:gd name="T14" fmla="*/ 7 w 17"/>
                  <a:gd name="T15" fmla="*/ 0 h 14"/>
                  <a:gd name="T16" fmla="*/ 5 w 17"/>
                  <a:gd name="T17" fmla="*/ 0 h 14"/>
                  <a:gd name="T18" fmla="*/ 5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5" y="0"/>
                    </a:moveTo>
                    <a:lnTo>
                      <a:pt x="0" y="4"/>
                    </a:lnTo>
                    <a:lnTo>
                      <a:pt x="0" y="7"/>
                    </a:lnTo>
                    <a:lnTo>
                      <a:pt x="12" y="14"/>
                    </a:lnTo>
                    <a:lnTo>
                      <a:pt x="14" y="14"/>
                    </a:lnTo>
                    <a:lnTo>
                      <a:pt x="17" y="9"/>
                    </a:lnTo>
                    <a:lnTo>
                      <a:pt x="17" y="7"/>
                    </a:lnTo>
                    <a:lnTo>
                      <a:pt x="7"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1" name="Freeform 4538"/>
              <p:cNvSpPr>
                <a:spLocks/>
              </p:cNvSpPr>
              <p:nvPr/>
            </p:nvSpPr>
            <p:spPr bwMode="auto">
              <a:xfrm>
                <a:off x="726" y="2972"/>
                <a:ext cx="17" cy="14"/>
              </a:xfrm>
              <a:custGeom>
                <a:avLst/>
                <a:gdLst>
                  <a:gd name="T0" fmla="*/ 5 w 17"/>
                  <a:gd name="T1" fmla="*/ 0 h 14"/>
                  <a:gd name="T2" fmla="*/ 0 w 17"/>
                  <a:gd name="T3" fmla="*/ 4 h 14"/>
                  <a:gd name="T4" fmla="*/ 0 w 17"/>
                  <a:gd name="T5" fmla="*/ 7 h 14"/>
                  <a:gd name="T6" fmla="*/ 12 w 17"/>
                  <a:gd name="T7" fmla="*/ 14 h 14"/>
                  <a:gd name="T8" fmla="*/ 14 w 17"/>
                  <a:gd name="T9" fmla="*/ 14 h 14"/>
                  <a:gd name="T10" fmla="*/ 17 w 17"/>
                  <a:gd name="T11" fmla="*/ 9 h 14"/>
                  <a:gd name="T12" fmla="*/ 17 w 17"/>
                  <a:gd name="T13" fmla="*/ 7 h 14"/>
                  <a:gd name="T14" fmla="*/ 7 w 17"/>
                  <a:gd name="T15" fmla="*/ 0 h 14"/>
                  <a:gd name="T16" fmla="*/ 5 w 17"/>
                  <a:gd name="T17" fmla="*/ 0 h 14"/>
                  <a:gd name="T18" fmla="*/ 5 w 1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5" y="0"/>
                    </a:moveTo>
                    <a:lnTo>
                      <a:pt x="0" y="4"/>
                    </a:lnTo>
                    <a:lnTo>
                      <a:pt x="0" y="7"/>
                    </a:lnTo>
                    <a:lnTo>
                      <a:pt x="12" y="14"/>
                    </a:lnTo>
                    <a:lnTo>
                      <a:pt x="14" y="14"/>
                    </a:lnTo>
                    <a:lnTo>
                      <a:pt x="17" y="9"/>
                    </a:lnTo>
                    <a:lnTo>
                      <a:pt x="17" y="7"/>
                    </a:lnTo>
                    <a:lnTo>
                      <a:pt x="7" y="0"/>
                    </a:lnTo>
                    <a:lnTo>
                      <a:pt x="5"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2" name="Freeform 4540"/>
              <p:cNvSpPr>
                <a:spLocks/>
              </p:cNvSpPr>
              <p:nvPr/>
            </p:nvSpPr>
            <p:spPr bwMode="auto">
              <a:xfrm>
                <a:off x="709" y="2878"/>
                <a:ext cx="15" cy="17"/>
              </a:xfrm>
              <a:custGeom>
                <a:avLst/>
                <a:gdLst>
                  <a:gd name="T0" fmla="*/ 8 w 15"/>
                  <a:gd name="T1" fmla="*/ 0 h 17"/>
                  <a:gd name="T2" fmla="*/ 0 w 15"/>
                  <a:gd name="T3" fmla="*/ 12 h 17"/>
                  <a:gd name="T4" fmla="*/ 0 w 15"/>
                  <a:gd name="T5" fmla="*/ 15 h 17"/>
                  <a:gd name="T6" fmla="*/ 5 w 15"/>
                  <a:gd name="T7" fmla="*/ 17 h 17"/>
                  <a:gd name="T8" fmla="*/ 8 w 15"/>
                  <a:gd name="T9" fmla="*/ 17 h 17"/>
                  <a:gd name="T10" fmla="*/ 15 w 15"/>
                  <a:gd name="T11" fmla="*/ 5 h 17"/>
                  <a:gd name="T12" fmla="*/ 15 w 15"/>
                  <a:gd name="T13" fmla="*/ 3 h 17"/>
                  <a:gd name="T14" fmla="*/ 10 w 15"/>
                  <a:gd name="T15" fmla="*/ 0 h 17"/>
                  <a:gd name="T16" fmla="*/ 8 w 15"/>
                  <a:gd name="T17" fmla="*/ 0 h 17"/>
                  <a:gd name="T18" fmla="*/ 8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8" y="0"/>
                    </a:moveTo>
                    <a:lnTo>
                      <a:pt x="0" y="12"/>
                    </a:lnTo>
                    <a:lnTo>
                      <a:pt x="0" y="15"/>
                    </a:lnTo>
                    <a:lnTo>
                      <a:pt x="5" y="17"/>
                    </a:lnTo>
                    <a:lnTo>
                      <a:pt x="8" y="17"/>
                    </a:lnTo>
                    <a:lnTo>
                      <a:pt x="15" y="5"/>
                    </a:lnTo>
                    <a:lnTo>
                      <a:pt x="15" y="3"/>
                    </a:lnTo>
                    <a:lnTo>
                      <a:pt x="10" y="0"/>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3" name="Freeform 4541"/>
              <p:cNvSpPr>
                <a:spLocks/>
              </p:cNvSpPr>
              <p:nvPr/>
            </p:nvSpPr>
            <p:spPr bwMode="auto">
              <a:xfrm>
                <a:off x="709" y="2878"/>
                <a:ext cx="15" cy="17"/>
              </a:xfrm>
              <a:custGeom>
                <a:avLst/>
                <a:gdLst>
                  <a:gd name="T0" fmla="*/ 8 w 15"/>
                  <a:gd name="T1" fmla="*/ 0 h 17"/>
                  <a:gd name="T2" fmla="*/ 0 w 15"/>
                  <a:gd name="T3" fmla="*/ 12 h 17"/>
                  <a:gd name="T4" fmla="*/ 0 w 15"/>
                  <a:gd name="T5" fmla="*/ 15 h 17"/>
                  <a:gd name="T6" fmla="*/ 5 w 15"/>
                  <a:gd name="T7" fmla="*/ 17 h 17"/>
                  <a:gd name="T8" fmla="*/ 8 w 15"/>
                  <a:gd name="T9" fmla="*/ 17 h 17"/>
                  <a:gd name="T10" fmla="*/ 15 w 15"/>
                  <a:gd name="T11" fmla="*/ 5 h 17"/>
                  <a:gd name="T12" fmla="*/ 15 w 15"/>
                  <a:gd name="T13" fmla="*/ 3 h 17"/>
                  <a:gd name="T14" fmla="*/ 10 w 15"/>
                  <a:gd name="T15" fmla="*/ 0 h 17"/>
                  <a:gd name="T16" fmla="*/ 8 w 15"/>
                  <a:gd name="T17" fmla="*/ 0 h 17"/>
                  <a:gd name="T18" fmla="*/ 8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8" y="0"/>
                    </a:moveTo>
                    <a:lnTo>
                      <a:pt x="0" y="12"/>
                    </a:lnTo>
                    <a:lnTo>
                      <a:pt x="0" y="15"/>
                    </a:lnTo>
                    <a:lnTo>
                      <a:pt x="5" y="17"/>
                    </a:lnTo>
                    <a:lnTo>
                      <a:pt x="8" y="17"/>
                    </a:lnTo>
                    <a:lnTo>
                      <a:pt x="15" y="5"/>
                    </a:lnTo>
                    <a:lnTo>
                      <a:pt x="15" y="3"/>
                    </a:lnTo>
                    <a:lnTo>
                      <a:pt x="10" y="0"/>
                    </a:lnTo>
                    <a:lnTo>
                      <a:pt x="8" y="0"/>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4" name="Freeform 4543"/>
              <p:cNvSpPr>
                <a:spLocks/>
              </p:cNvSpPr>
              <p:nvPr/>
            </p:nvSpPr>
            <p:spPr bwMode="auto">
              <a:xfrm>
                <a:off x="635" y="2988"/>
                <a:ext cx="15" cy="17"/>
              </a:xfrm>
              <a:custGeom>
                <a:avLst/>
                <a:gdLst>
                  <a:gd name="T0" fmla="*/ 8 w 15"/>
                  <a:gd name="T1" fmla="*/ 0 h 17"/>
                  <a:gd name="T2" fmla="*/ 0 w 15"/>
                  <a:gd name="T3" fmla="*/ 12 h 17"/>
                  <a:gd name="T4" fmla="*/ 0 w 15"/>
                  <a:gd name="T5" fmla="*/ 15 h 17"/>
                  <a:gd name="T6" fmla="*/ 8 w 15"/>
                  <a:gd name="T7" fmla="*/ 17 h 17"/>
                  <a:gd name="T8" fmla="*/ 8 w 15"/>
                  <a:gd name="T9" fmla="*/ 17 h 17"/>
                  <a:gd name="T10" fmla="*/ 15 w 15"/>
                  <a:gd name="T11" fmla="*/ 8 h 17"/>
                  <a:gd name="T12" fmla="*/ 15 w 15"/>
                  <a:gd name="T13" fmla="*/ 5 h 17"/>
                  <a:gd name="T14" fmla="*/ 10 w 15"/>
                  <a:gd name="T15" fmla="*/ 0 h 17"/>
                  <a:gd name="T16" fmla="*/ 10 w 15"/>
                  <a:gd name="T17" fmla="*/ 0 h 17"/>
                  <a:gd name="T18" fmla="*/ 8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8" y="0"/>
                    </a:moveTo>
                    <a:lnTo>
                      <a:pt x="0" y="12"/>
                    </a:lnTo>
                    <a:lnTo>
                      <a:pt x="0" y="15"/>
                    </a:lnTo>
                    <a:lnTo>
                      <a:pt x="8" y="17"/>
                    </a:lnTo>
                    <a:lnTo>
                      <a:pt x="8" y="17"/>
                    </a:lnTo>
                    <a:lnTo>
                      <a:pt x="15" y="8"/>
                    </a:lnTo>
                    <a:lnTo>
                      <a:pt x="15" y="5"/>
                    </a:lnTo>
                    <a:lnTo>
                      <a:pt x="10" y="0"/>
                    </a:lnTo>
                    <a:lnTo>
                      <a:pt x="10"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5" name="Freeform 4544"/>
              <p:cNvSpPr>
                <a:spLocks/>
              </p:cNvSpPr>
              <p:nvPr/>
            </p:nvSpPr>
            <p:spPr bwMode="auto">
              <a:xfrm>
                <a:off x="635" y="2988"/>
                <a:ext cx="15" cy="17"/>
              </a:xfrm>
              <a:custGeom>
                <a:avLst/>
                <a:gdLst>
                  <a:gd name="T0" fmla="*/ 8 w 15"/>
                  <a:gd name="T1" fmla="*/ 0 h 17"/>
                  <a:gd name="T2" fmla="*/ 0 w 15"/>
                  <a:gd name="T3" fmla="*/ 12 h 17"/>
                  <a:gd name="T4" fmla="*/ 0 w 15"/>
                  <a:gd name="T5" fmla="*/ 15 h 17"/>
                  <a:gd name="T6" fmla="*/ 8 w 15"/>
                  <a:gd name="T7" fmla="*/ 17 h 17"/>
                  <a:gd name="T8" fmla="*/ 8 w 15"/>
                  <a:gd name="T9" fmla="*/ 17 h 17"/>
                  <a:gd name="T10" fmla="*/ 15 w 15"/>
                  <a:gd name="T11" fmla="*/ 8 h 17"/>
                  <a:gd name="T12" fmla="*/ 15 w 15"/>
                  <a:gd name="T13" fmla="*/ 5 h 17"/>
                  <a:gd name="T14" fmla="*/ 10 w 15"/>
                  <a:gd name="T15" fmla="*/ 0 h 17"/>
                  <a:gd name="T16" fmla="*/ 10 w 15"/>
                  <a:gd name="T17" fmla="*/ 0 h 17"/>
                  <a:gd name="T18" fmla="*/ 8 w 15"/>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7">
                    <a:moveTo>
                      <a:pt x="8" y="0"/>
                    </a:moveTo>
                    <a:lnTo>
                      <a:pt x="0" y="12"/>
                    </a:lnTo>
                    <a:lnTo>
                      <a:pt x="0" y="15"/>
                    </a:lnTo>
                    <a:lnTo>
                      <a:pt x="8" y="17"/>
                    </a:lnTo>
                    <a:lnTo>
                      <a:pt x="8" y="17"/>
                    </a:lnTo>
                    <a:lnTo>
                      <a:pt x="15" y="8"/>
                    </a:lnTo>
                    <a:lnTo>
                      <a:pt x="15" y="5"/>
                    </a:lnTo>
                    <a:lnTo>
                      <a:pt x="10" y="0"/>
                    </a:lnTo>
                    <a:lnTo>
                      <a:pt x="10" y="0"/>
                    </a:lnTo>
                    <a:lnTo>
                      <a:pt x="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6" name="Freeform 4546"/>
              <p:cNvSpPr>
                <a:spLocks noEditPoints="1"/>
              </p:cNvSpPr>
              <p:nvPr/>
            </p:nvSpPr>
            <p:spPr bwMode="auto">
              <a:xfrm>
                <a:off x="635" y="2902"/>
                <a:ext cx="89" cy="84"/>
              </a:xfrm>
              <a:custGeom>
                <a:avLst/>
                <a:gdLst>
                  <a:gd name="T0" fmla="*/ 14 w 37"/>
                  <a:gd name="T1" fmla="*/ 21 h 35"/>
                  <a:gd name="T2" fmla="*/ 15 w 37"/>
                  <a:gd name="T3" fmla="*/ 12 h 35"/>
                  <a:gd name="T4" fmla="*/ 23 w 37"/>
                  <a:gd name="T5" fmla="*/ 13 h 35"/>
                  <a:gd name="T6" fmla="*/ 23 w 37"/>
                  <a:gd name="T7" fmla="*/ 21 h 35"/>
                  <a:gd name="T8" fmla="*/ 19 w 37"/>
                  <a:gd name="T9" fmla="*/ 23 h 35"/>
                  <a:gd name="T10" fmla="*/ 14 w 37"/>
                  <a:gd name="T11" fmla="*/ 21 h 35"/>
                  <a:gd name="T12" fmla="*/ 8 w 37"/>
                  <a:gd name="T13" fmla="*/ 5 h 35"/>
                  <a:gd name="T14" fmla="*/ 7 w 37"/>
                  <a:gd name="T15" fmla="*/ 28 h 35"/>
                  <a:gd name="T16" fmla="*/ 30 w 37"/>
                  <a:gd name="T17" fmla="*/ 29 h 35"/>
                  <a:gd name="T18" fmla="*/ 31 w 37"/>
                  <a:gd name="T19" fmla="*/ 6 h 35"/>
                  <a:gd name="T20" fmla="*/ 19 w 37"/>
                  <a:gd name="T21" fmla="*/ 0 h 35"/>
                  <a:gd name="T22" fmla="*/ 8 w 37"/>
                  <a:gd name="T23"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35">
                    <a:moveTo>
                      <a:pt x="14" y="21"/>
                    </a:moveTo>
                    <a:cubicBezTo>
                      <a:pt x="12" y="18"/>
                      <a:pt x="12" y="14"/>
                      <a:pt x="15" y="12"/>
                    </a:cubicBezTo>
                    <a:cubicBezTo>
                      <a:pt x="17" y="10"/>
                      <a:pt x="21" y="10"/>
                      <a:pt x="23" y="13"/>
                    </a:cubicBezTo>
                    <a:cubicBezTo>
                      <a:pt x="25" y="15"/>
                      <a:pt x="25" y="19"/>
                      <a:pt x="23" y="21"/>
                    </a:cubicBezTo>
                    <a:cubicBezTo>
                      <a:pt x="22" y="22"/>
                      <a:pt x="20" y="23"/>
                      <a:pt x="19" y="23"/>
                    </a:cubicBezTo>
                    <a:cubicBezTo>
                      <a:pt x="17" y="23"/>
                      <a:pt x="15" y="22"/>
                      <a:pt x="14" y="21"/>
                    </a:cubicBezTo>
                    <a:moveTo>
                      <a:pt x="8" y="5"/>
                    </a:moveTo>
                    <a:cubicBezTo>
                      <a:pt x="1" y="11"/>
                      <a:pt x="0" y="21"/>
                      <a:pt x="7" y="28"/>
                    </a:cubicBezTo>
                    <a:cubicBezTo>
                      <a:pt x="13" y="34"/>
                      <a:pt x="23" y="35"/>
                      <a:pt x="30" y="29"/>
                    </a:cubicBezTo>
                    <a:cubicBezTo>
                      <a:pt x="36" y="23"/>
                      <a:pt x="37" y="13"/>
                      <a:pt x="31" y="6"/>
                    </a:cubicBezTo>
                    <a:cubicBezTo>
                      <a:pt x="28" y="2"/>
                      <a:pt x="23" y="0"/>
                      <a:pt x="19" y="0"/>
                    </a:cubicBezTo>
                    <a:cubicBezTo>
                      <a:pt x="15" y="0"/>
                      <a:pt x="11" y="2"/>
                      <a:pt x="8"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7" name="Freeform 4548"/>
              <p:cNvSpPr>
                <a:spLocks/>
              </p:cNvSpPr>
              <p:nvPr/>
            </p:nvSpPr>
            <p:spPr bwMode="auto">
              <a:xfrm>
                <a:off x="1063" y="3342"/>
                <a:ext cx="12" cy="12"/>
              </a:xfrm>
              <a:custGeom>
                <a:avLst/>
                <a:gdLst>
                  <a:gd name="T0" fmla="*/ 4 w 12"/>
                  <a:gd name="T1" fmla="*/ 0 h 12"/>
                  <a:gd name="T2" fmla="*/ 0 w 12"/>
                  <a:gd name="T3" fmla="*/ 7 h 12"/>
                  <a:gd name="T4" fmla="*/ 0 w 12"/>
                  <a:gd name="T5" fmla="*/ 10 h 12"/>
                  <a:gd name="T6" fmla="*/ 4 w 12"/>
                  <a:gd name="T7" fmla="*/ 12 h 12"/>
                  <a:gd name="T8" fmla="*/ 4 w 12"/>
                  <a:gd name="T9" fmla="*/ 12 h 12"/>
                  <a:gd name="T10" fmla="*/ 12 w 12"/>
                  <a:gd name="T11" fmla="*/ 5 h 12"/>
                  <a:gd name="T12" fmla="*/ 12 w 12"/>
                  <a:gd name="T13" fmla="*/ 3 h 12"/>
                  <a:gd name="T14" fmla="*/ 7 w 12"/>
                  <a:gd name="T15" fmla="*/ 0 h 12"/>
                  <a:gd name="T16" fmla="*/ 7 w 12"/>
                  <a:gd name="T17" fmla="*/ 0 h 12"/>
                  <a:gd name="T18" fmla="*/ 4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4" y="0"/>
                    </a:moveTo>
                    <a:lnTo>
                      <a:pt x="0" y="7"/>
                    </a:lnTo>
                    <a:lnTo>
                      <a:pt x="0" y="10"/>
                    </a:lnTo>
                    <a:lnTo>
                      <a:pt x="4" y="12"/>
                    </a:lnTo>
                    <a:lnTo>
                      <a:pt x="4" y="12"/>
                    </a:lnTo>
                    <a:lnTo>
                      <a:pt x="12" y="5"/>
                    </a:lnTo>
                    <a:lnTo>
                      <a:pt x="12" y="3"/>
                    </a:lnTo>
                    <a:lnTo>
                      <a:pt x="7" y="0"/>
                    </a:lnTo>
                    <a:lnTo>
                      <a:pt x="7"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8" name="Freeform 4549"/>
              <p:cNvSpPr>
                <a:spLocks/>
              </p:cNvSpPr>
              <p:nvPr/>
            </p:nvSpPr>
            <p:spPr bwMode="auto">
              <a:xfrm>
                <a:off x="1063" y="3342"/>
                <a:ext cx="12" cy="12"/>
              </a:xfrm>
              <a:custGeom>
                <a:avLst/>
                <a:gdLst>
                  <a:gd name="T0" fmla="*/ 4 w 12"/>
                  <a:gd name="T1" fmla="*/ 0 h 12"/>
                  <a:gd name="T2" fmla="*/ 0 w 12"/>
                  <a:gd name="T3" fmla="*/ 7 h 12"/>
                  <a:gd name="T4" fmla="*/ 0 w 12"/>
                  <a:gd name="T5" fmla="*/ 10 h 12"/>
                  <a:gd name="T6" fmla="*/ 4 w 12"/>
                  <a:gd name="T7" fmla="*/ 12 h 12"/>
                  <a:gd name="T8" fmla="*/ 4 w 12"/>
                  <a:gd name="T9" fmla="*/ 12 h 12"/>
                  <a:gd name="T10" fmla="*/ 12 w 12"/>
                  <a:gd name="T11" fmla="*/ 5 h 12"/>
                  <a:gd name="T12" fmla="*/ 12 w 12"/>
                  <a:gd name="T13" fmla="*/ 3 h 12"/>
                  <a:gd name="T14" fmla="*/ 7 w 12"/>
                  <a:gd name="T15" fmla="*/ 0 h 12"/>
                  <a:gd name="T16" fmla="*/ 7 w 12"/>
                  <a:gd name="T17" fmla="*/ 0 h 12"/>
                  <a:gd name="T18" fmla="*/ 4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4" y="0"/>
                    </a:moveTo>
                    <a:lnTo>
                      <a:pt x="0" y="7"/>
                    </a:lnTo>
                    <a:lnTo>
                      <a:pt x="0" y="10"/>
                    </a:lnTo>
                    <a:lnTo>
                      <a:pt x="4" y="12"/>
                    </a:lnTo>
                    <a:lnTo>
                      <a:pt x="4" y="12"/>
                    </a:lnTo>
                    <a:lnTo>
                      <a:pt x="12" y="5"/>
                    </a:lnTo>
                    <a:lnTo>
                      <a:pt x="12" y="3"/>
                    </a:lnTo>
                    <a:lnTo>
                      <a:pt x="7" y="0"/>
                    </a:lnTo>
                    <a:lnTo>
                      <a:pt x="7"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39" name="Freeform 4551"/>
              <p:cNvSpPr>
                <a:spLocks/>
              </p:cNvSpPr>
              <p:nvPr/>
            </p:nvSpPr>
            <p:spPr bwMode="auto">
              <a:xfrm>
                <a:off x="1120" y="3261"/>
                <a:ext cx="12" cy="12"/>
              </a:xfrm>
              <a:custGeom>
                <a:avLst/>
                <a:gdLst>
                  <a:gd name="T0" fmla="*/ 7 w 12"/>
                  <a:gd name="T1" fmla="*/ 0 h 12"/>
                  <a:gd name="T2" fmla="*/ 0 w 12"/>
                  <a:gd name="T3" fmla="*/ 7 h 12"/>
                  <a:gd name="T4" fmla="*/ 2 w 12"/>
                  <a:gd name="T5" fmla="*/ 9 h 12"/>
                  <a:gd name="T6" fmla="*/ 5 w 12"/>
                  <a:gd name="T7" fmla="*/ 12 h 12"/>
                  <a:gd name="T8" fmla="*/ 7 w 12"/>
                  <a:gd name="T9" fmla="*/ 12 h 12"/>
                  <a:gd name="T10" fmla="*/ 12 w 12"/>
                  <a:gd name="T11" fmla="*/ 5 h 12"/>
                  <a:gd name="T12" fmla="*/ 12 w 12"/>
                  <a:gd name="T13" fmla="*/ 2 h 12"/>
                  <a:gd name="T14" fmla="*/ 10 w 12"/>
                  <a:gd name="T15" fmla="*/ 0 h 12"/>
                  <a:gd name="T16" fmla="*/ 7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0" y="7"/>
                    </a:lnTo>
                    <a:lnTo>
                      <a:pt x="2" y="9"/>
                    </a:lnTo>
                    <a:lnTo>
                      <a:pt x="5" y="12"/>
                    </a:lnTo>
                    <a:lnTo>
                      <a:pt x="7" y="12"/>
                    </a:lnTo>
                    <a:lnTo>
                      <a:pt x="12" y="5"/>
                    </a:lnTo>
                    <a:lnTo>
                      <a:pt x="12" y="2"/>
                    </a:lnTo>
                    <a:lnTo>
                      <a:pt x="10"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0" name="Freeform 4552"/>
              <p:cNvSpPr>
                <a:spLocks/>
              </p:cNvSpPr>
              <p:nvPr/>
            </p:nvSpPr>
            <p:spPr bwMode="auto">
              <a:xfrm>
                <a:off x="1120" y="3261"/>
                <a:ext cx="12" cy="12"/>
              </a:xfrm>
              <a:custGeom>
                <a:avLst/>
                <a:gdLst>
                  <a:gd name="T0" fmla="*/ 7 w 12"/>
                  <a:gd name="T1" fmla="*/ 0 h 12"/>
                  <a:gd name="T2" fmla="*/ 0 w 12"/>
                  <a:gd name="T3" fmla="*/ 7 h 12"/>
                  <a:gd name="T4" fmla="*/ 2 w 12"/>
                  <a:gd name="T5" fmla="*/ 9 h 12"/>
                  <a:gd name="T6" fmla="*/ 5 w 12"/>
                  <a:gd name="T7" fmla="*/ 12 h 12"/>
                  <a:gd name="T8" fmla="*/ 7 w 12"/>
                  <a:gd name="T9" fmla="*/ 12 h 12"/>
                  <a:gd name="T10" fmla="*/ 12 w 12"/>
                  <a:gd name="T11" fmla="*/ 5 h 12"/>
                  <a:gd name="T12" fmla="*/ 12 w 12"/>
                  <a:gd name="T13" fmla="*/ 2 h 12"/>
                  <a:gd name="T14" fmla="*/ 10 w 12"/>
                  <a:gd name="T15" fmla="*/ 0 h 12"/>
                  <a:gd name="T16" fmla="*/ 7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0" y="7"/>
                    </a:lnTo>
                    <a:lnTo>
                      <a:pt x="2" y="9"/>
                    </a:lnTo>
                    <a:lnTo>
                      <a:pt x="5" y="12"/>
                    </a:lnTo>
                    <a:lnTo>
                      <a:pt x="7" y="12"/>
                    </a:lnTo>
                    <a:lnTo>
                      <a:pt x="12" y="5"/>
                    </a:lnTo>
                    <a:lnTo>
                      <a:pt x="12" y="2"/>
                    </a:lnTo>
                    <a:lnTo>
                      <a:pt x="10"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1" name="Rectangle 4553"/>
              <p:cNvSpPr>
                <a:spLocks noChangeArrowheads="1"/>
              </p:cNvSpPr>
              <p:nvPr/>
            </p:nvSpPr>
            <p:spPr bwMode="auto">
              <a:xfrm>
                <a:off x="1127" y="32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2" name="Freeform 4554"/>
              <p:cNvSpPr>
                <a:spLocks/>
              </p:cNvSpPr>
              <p:nvPr/>
            </p:nvSpPr>
            <p:spPr bwMode="auto">
              <a:xfrm>
                <a:off x="1127" y="326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3" name="Freeform 4556"/>
              <p:cNvSpPr>
                <a:spLocks/>
              </p:cNvSpPr>
              <p:nvPr/>
            </p:nvSpPr>
            <p:spPr bwMode="auto">
              <a:xfrm>
                <a:off x="1051" y="3273"/>
                <a:ext cx="14" cy="12"/>
              </a:xfrm>
              <a:custGeom>
                <a:avLst/>
                <a:gdLst>
                  <a:gd name="T0" fmla="*/ 2 w 14"/>
                  <a:gd name="T1" fmla="*/ 0 h 12"/>
                  <a:gd name="T2" fmla="*/ 0 w 14"/>
                  <a:gd name="T3" fmla="*/ 2 h 12"/>
                  <a:gd name="T4" fmla="*/ 2 w 14"/>
                  <a:gd name="T5" fmla="*/ 5 h 12"/>
                  <a:gd name="T6" fmla="*/ 9 w 14"/>
                  <a:gd name="T7" fmla="*/ 12 h 12"/>
                  <a:gd name="T8" fmla="*/ 9 w 14"/>
                  <a:gd name="T9" fmla="*/ 9 h 12"/>
                  <a:gd name="T10" fmla="*/ 14 w 14"/>
                  <a:gd name="T11" fmla="*/ 7 h 12"/>
                  <a:gd name="T12" fmla="*/ 12 w 14"/>
                  <a:gd name="T13" fmla="*/ 5 h 12"/>
                  <a:gd name="T14" fmla="*/ 5 w 14"/>
                  <a:gd name="T15" fmla="*/ 0 h 12"/>
                  <a:gd name="T16" fmla="*/ 5 w 14"/>
                  <a:gd name="T17" fmla="*/ 0 h 12"/>
                  <a:gd name="T18" fmla="*/ 2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2" y="0"/>
                    </a:moveTo>
                    <a:lnTo>
                      <a:pt x="0" y="2"/>
                    </a:lnTo>
                    <a:lnTo>
                      <a:pt x="2" y="5"/>
                    </a:lnTo>
                    <a:lnTo>
                      <a:pt x="9" y="12"/>
                    </a:lnTo>
                    <a:lnTo>
                      <a:pt x="9" y="9"/>
                    </a:lnTo>
                    <a:lnTo>
                      <a:pt x="14" y="7"/>
                    </a:lnTo>
                    <a:lnTo>
                      <a:pt x="12" y="5"/>
                    </a:lnTo>
                    <a:lnTo>
                      <a:pt x="5" y="0"/>
                    </a:lnTo>
                    <a:lnTo>
                      <a:pt x="5"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4" name="Freeform 4557"/>
              <p:cNvSpPr>
                <a:spLocks/>
              </p:cNvSpPr>
              <p:nvPr/>
            </p:nvSpPr>
            <p:spPr bwMode="auto">
              <a:xfrm>
                <a:off x="1051" y="3273"/>
                <a:ext cx="14" cy="12"/>
              </a:xfrm>
              <a:custGeom>
                <a:avLst/>
                <a:gdLst>
                  <a:gd name="T0" fmla="*/ 2 w 14"/>
                  <a:gd name="T1" fmla="*/ 0 h 12"/>
                  <a:gd name="T2" fmla="*/ 0 w 14"/>
                  <a:gd name="T3" fmla="*/ 2 h 12"/>
                  <a:gd name="T4" fmla="*/ 2 w 14"/>
                  <a:gd name="T5" fmla="*/ 5 h 12"/>
                  <a:gd name="T6" fmla="*/ 9 w 14"/>
                  <a:gd name="T7" fmla="*/ 12 h 12"/>
                  <a:gd name="T8" fmla="*/ 9 w 14"/>
                  <a:gd name="T9" fmla="*/ 9 h 12"/>
                  <a:gd name="T10" fmla="*/ 14 w 14"/>
                  <a:gd name="T11" fmla="*/ 7 h 12"/>
                  <a:gd name="T12" fmla="*/ 12 w 14"/>
                  <a:gd name="T13" fmla="*/ 5 h 12"/>
                  <a:gd name="T14" fmla="*/ 5 w 14"/>
                  <a:gd name="T15" fmla="*/ 0 h 12"/>
                  <a:gd name="T16" fmla="*/ 5 w 14"/>
                  <a:gd name="T17" fmla="*/ 0 h 12"/>
                  <a:gd name="T18" fmla="*/ 2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2" y="0"/>
                    </a:moveTo>
                    <a:lnTo>
                      <a:pt x="0" y="2"/>
                    </a:lnTo>
                    <a:lnTo>
                      <a:pt x="2" y="5"/>
                    </a:lnTo>
                    <a:lnTo>
                      <a:pt x="9" y="12"/>
                    </a:lnTo>
                    <a:lnTo>
                      <a:pt x="9" y="9"/>
                    </a:lnTo>
                    <a:lnTo>
                      <a:pt x="14" y="7"/>
                    </a:lnTo>
                    <a:lnTo>
                      <a:pt x="12" y="5"/>
                    </a:lnTo>
                    <a:lnTo>
                      <a:pt x="5" y="0"/>
                    </a:lnTo>
                    <a:lnTo>
                      <a:pt x="5"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5" name="Rectangle 4558"/>
              <p:cNvSpPr>
                <a:spLocks noChangeArrowheads="1"/>
              </p:cNvSpPr>
              <p:nvPr/>
            </p:nvSpPr>
            <p:spPr bwMode="auto">
              <a:xfrm>
                <a:off x="1056" y="3273"/>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6" name="Freeform 4559"/>
              <p:cNvSpPr>
                <a:spLocks/>
              </p:cNvSpPr>
              <p:nvPr/>
            </p:nvSpPr>
            <p:spPr bwMode="auto">
              <a:xfrm>
                <a:off x="1056" y="327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7" name="Freeform 4561"/>
              <p:cNvSpPr>
                <a:spLocks/>
              </p:cNvSpPr>
              <p:nvPr/>
            </p:nvSpPr>
            <p:spPr bwMode="auto">
              <a:xfrm>
                <a:off x="1132" y="3330"/>
                <a:ext cx="12" cy="12"/>
              </a:xfrm>
              <a:custGeom>
                <a:avLst/>
                <a:gdLst>
                  <a:gd name="T0" fmla="*/ 2 w 12"/>
                  <a:gd name="T1" fmla="*/ 0 h 12"/>
                  <a:gd name="T2" fmla="*/ 0 w 12"/>
                  <a:gd name="T3" fmla="*/ 5 h 12"/>
                  <a:gd name="T4" fmla="*/ 0 w 12"/>
                  <a:gd name="T5" fmla="*/ 7 h 12"/>
                  <a:gd name="T6" fmla="*/ 7 w 12"/>
                  <a:gd name="T7" fmla="*/ 12 h 12"/>
                  <a:gd name="T8" fmla="*/ 9 w 12"/>
                  <a:gd name="T9" fmla="*/ 12 h 12"/>
                  <a:gd name="T10" fmla="*/ 12 w 12"/>
                  <a:gd name="T11" fmla="*/ 7 h 12"/>
                  <a:gd name="T12" fmla="*/ 12 w 12"/>
                  <a:gd name="T13" fmla="*/ 7 h 12"/>
                  <a:gd name="T14" fmla="*/ 5 w 12"/>
                  <a:gd name="T15" fmla="*/ 0 h 12"/>
                  <a:gd name="T16" fmla="*/ 2 w 12"/>
                  <a:gd name="T17" fmla="*/ 0 h 12"/>
                  <a:gd name="T18" fmla="*/ 2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2" y="0"/>
                    </a:moveTo>
                    <a:lnTo>
                      <a:pt x="0" y="5"/>
                    </a:lnTo>
                    <a:lnTo>
                      <a:pt x="0" y="7"/>
                    </a:lnTo>
                    <a:lnTo>
                      <a:pt x="7" y="12"/>
                    </a:lnTo>
                    <a:lnTo>
                      <a:pt x="9" y="12"/>
                    </a:lnTo>
                    <a:lnTo>
                      <a:pt x="12" y="7"/>
                    </a:lnTo>
                    <a:lnTo>
                      <a:pt x="12" y="7"/>
                    </a:lnTo>
                    <a:lnTo>
                      <a:pt x="5"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8" name="Freeform 4562"/>
              <p:cNvSpPr>
                <a:spLocks/>
              </p:cNvSpPr>
              <p:nvPr/>
            </p:nvSpPr>
            <p:spPr bwMode="auto">
              <a:xfrm>
                <a:off x="1132" y="3330"/>
                <a:ext cx="12" cy="12"/>
              </a:xfrm>
              <a:custGeom>
                <a:avLst/>
                <a:gdLst>
                  <a:gd name="T0" fmla="*/ 2 w 12"/>
                  <a:gd name="T1" fmla="*/ 0 h 12"/>
                  <a:gd name="T2" fmla="*/ 0 w 12"/>
                  <a:gd name="T3" fmla="*/ 5 h 12"/>
                  <a:gd name="T4" fmla="*/ 0 w 12"/>
                  <a:gd name="T5" fmla="*/ 7 h 12"/>
                  <a:gd name="T6" fmla="*/ 7 w 12"/>
                  <a:gd name="T7" fmla="*/ 12 h 12"/>
                  <a:gd name="T8" fmla="*/ 9 w 12"/>
                  <a:gd name="T9" fmla="*/ 12 h 12"/>
                  <a:gd name="T10" fmla="*/ 12 w 12"/>
                  <a:gd name="T11" fmla="*/ 7 h 12"/>
                  <a:gd name="T12" fmla="*/ 12 w 12"/>
                  <a:gd name="T13" fmla="*/ 7 h 12"/>
                  <a:gd name="T14" fmla="*/ 5 w 12"/>
                  <a:gd name="T15" fmla="*/ 0 h 12"/>
                  <a:gd name="T16" fmla="*/ 2 w 12"/>
                  <a:gd name="T17" fmla="*/ 0 h 12"/>
                  <a:gd name="T18" fmla="*/ 2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2" y="0"/>
                    </a:moveTo>
                    <a:lnTo>
                      <a:pt x="0" y="5"/>
                    </a:lnTo>
                    <a:lnTo>
                      <a:pt x="0" y="7"/>
                    </a:lnTo>
                    <a:lnTo>
                      <a:pt x="7" y="12"/>
                    </a:lnTo>
                    <a:lnTo>
                      <a:pt x="9" y="12"/>
                    </a:lnTo>
                    <a:lnTo>
                      <a:pt x="12" y="7"/>
                    </a:lnTo>
                    <a:lnTo>
                      <a:pt x="12" y="7"/>
                    </a:lnTo>
                    <a:lnTo>
                      <a:pt x="5"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49" name="Freeform 4564"/>
              <p:cNvSpPr>
                <a:spLocks/>
              </p:cNvSpPr>
              <p:nvPr/>
            </p:nvSpPr>
            <p:spPr bwMode="auto">
              <a:xfrm>
                <a:off x="1044" y="3311"/>
                <a:ext cx="12" cy="7"/>
              </a:xfrm>
              <a:custGeom>
                <a:avLst/>
                <a:gdLst>
                  <a:gd name="T0" fmla="*/ 9 w 12"/>
                  <a:gd name="T1" fmla="*/ 0 h 7"/>
                  <a:gd name="T2" fmla="*/ 0 w 12"/>
                  <a:gd name="T3" fmla="*/ 0 h 7"/>
                  <a:gd name="T4" fmla="*/ 0 w 12"/>
                  <a:gd name="T5" fmla="*/ 2 h 7"/>
                  <a:gd name="T6" fmla="*/ 0 w 12"/>
                  <a:gd name="T7" fmla="*/ 7 h 7"/>
                  <a:gd name="T8" fmla="*/ 2 w 12"/>
                  <a:gd name="T9" fmla="*/ 7 h 7"/>
                  <a:gd name="T10" fmla="*/ 12 w 12"/>
                  <a:gd name="T11" fmla="*/ 7 h 7"/>
                  <a:gd name="T12" fmla="*/ 12 w 12"/>
                  <a:gd name="T13" fmla="*/ 5 h 7"/>
                  <a:gd name="T14" fmla="*/ 12 w 12"/>
                  <a:gd name="T15" fmla="*/ 0 h 7"/>
                  <a:gd name="T16" fmla="*/ 9 w 12"/>
                  <a:gd name="T17" fmla="*/ 0 h 7"/>
                  <a:gd name="T18" fmla="*/ 9 w 1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9" y="0"/>
                    </a:moveTo>
                    <a:lnTo>
                      <a:pt x="0" y="0"/>
                    </a:lnTo>
                    <a:lnTo>
                      <a:pt x="0" y="2"/>
                    </a:lnTo>
                    <a:lnTo>
                      <a:pt x="0" y="7"/>
                    </a:lnTo>
                    <a:lnTo>
                      <a:pt x="2" y="7"/>
                    </a:lnTo>
                    <a:lnTo>
                      <a:pt x="12" y="7"/>
                    </a:lnTo>
                    <a:lnTo>
                      <a:pt x="12" y="5"/>
                    </a:lnTo>
                    <a:lnTo>
                      <a:pt x="12"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0" name="Freeform 4565"/>
              <p:cNvSpPr>
                <a:spLocks/>
              </p:cNvSpPr>
              <p:nvPr/>
            </p:nvSpPr>
            <p:spPr bwMode="auto">
              <a:xfrm>
                <a:off x="1044" y="3311"/>
                <a:ext cx="12" cy="7"/>
              </a:xfrm>
              <a:custGeom>
                <a:avLst/>
                <a:gdLst>
                  <a:gd name="T0" fmla="*/ 9 w 12"/>
                  <a:gd name="T1" fmla="*/ 0 h 7"/>
                  <a:gd name="T2" fmla="*/ 0 w 12"/>
                  <a:gd name="T3" fmla="*/ 0 h 7"/>
                  <a:gd name="T4" fmla="*/ 0 w 12"/>
                  <a:gd name="T5" fmla="*/ 2 h 7"/>
                  <a:gd name="T6" fmla="*/ 0 w 12"/>
                  <a:gd name="T7" fmla="*/ 7 h 7"/>
                  <a:gd name="T8" fmla="*/ 2 w 12"/>
                  <a:gd name="T9" fmla="*/ 7 h 7"/>
                  <a:gd name="T10" fmla="*/ 12 w 12"/>
                  <a:gd name="T11" fmla="*/ 7 h 7"/>
                  <a:gd name="T12" fmla="*/ 12 w 12"/>
                  <a:gd name="T13" fmla="*/ 5 h 7"/>
                  <a:gd name="T14" fmla="*/ 12 w 12"/>
                  <a:gd name="T15" fmla="*/ 0 h 7"/>
                  <a:gd name="T16" fmla="*/ 9 w 12"/>
                  <a:gd name="T17" fmla="*/ 0 h 7"/>
                  <a:gd name="T18" fmla="*/ 9 w 1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9" y="0"/>
                    </a:moveTo>
                    <a:lnTo>
                      <a:pt x="0" y="0"/>
                    </a:lnTo>
                    <a:lnTo>
                      <a:pt x="0" y="2"/>
                    </a:lnTo>
                    <a:lnTo>
                      <a:pt x="0" y="7"/>
                    </a:lnTo>
                    <a:lnTo>
                      <a:pt x="2" y="7"/>
                    </a:lnTo>
                    <a:lnTo>
                      <a:pt x="12" y="7"/>
                    </a:lnTo>
                    <a:lnTo>
                      <a:pt x="12" y="5"/>
                    </a:lnTo>
                    <a:lnTo>
                      <a:pt x="12" y="0"/>
                    </a:lnTo>
                    <a:lnTo>
                      <a:pt x="9"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1" name="Freeform 4566"/>
              <p:cNvSpPr>
                <a:spLocks/>
              </p:cNvSpPr>
              <p:nvPr/>
            </p:nvSpPr>
            <p:spPr bwMode="auto">
              <a:xfrm>
                <a:off x="1141" y="3294"/>
                <a:ext cx="12" cy="10"/>
              </a:xfrm>
              <a:custGeom>
                <a:avLst/>
                <a:gdLst>
                  <a:gd name="T0" fmla="*/ 10 w 12"/>
                  <a:gd name="T1" fmla="*/ 0 h 10"/>
                  <a:gd name="T2" fmla="*/ 0 w 12"/>
                  <a:gd name="T3" fmla="*/ 3 h 10"/>
                  <a:gd name="T4" fmla="*/ 0 w 12"/>
                  <a:gd name="T5" fmla="*/ 5 h 10"/>
                  <a:gd name="T6" fmla="*/ 0 w 12"/>
                  <a:gd name="T7" fmla="*/ 10 h 10"/>
                  <a:gd name="T8" fmla="*/ 3 w 12"/>
                  <a:gd name="T9" fmla="*/ 10 h 10"/>
                  <a:gd name="T10" fmla="*/ 12 w 12"/>
                  <a:gd name="T11" fmla="*/ 8 h 10"/>
                  <a:gd name="T12" fmla="*/ 12 w 12"/>
                  <a:gd name="T13" fmla="*/ 8 h 10"/>
                  <a:gd name="T14" fmla="*/ 12 w 12"/>
                  <a:gd name="T15" fmla="*/ 3 h 10"/>
                  <a:gd name="T16" fmla="*/ 10 w 12"/>
                  <a:gd name="T17" fmla="*/ 0 h 10"/>
                  <a:gd name="T18" fmla="*/ 10 w 1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0" y="0"/>
                    </a:moveTo>
                    <a:lnTo>
                      <a:pt x="0" y="3"/>
                    </a:lnTo>
                    <a:lnTo>
                      <a:pt x="0" y="5"/>
                    </a:lnTo>
                    <a:lnTo>
                      <a:pt x="0" y="10"/>
                    </a:lnTo>
                    <a:lnTo>
                      <a:pt x="3" y="10"/>
                    </a:lnTo>
                    <a:lnTo>
                      <a:pt x="12" y="8"/>
                    </a:lnTo>
                    <a:lnTo>
                      <a:pt x="12" y="8"/>
                    </a:lnTo>
                    <a:lnTo>
                      <a:pt x="12" y="3"/>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2" name="Freeform 4567"/>
              <p:cNvSpPr>
                <a:spLocks/>
              </p:cNvSpPr>
              <p:nvPr/>
            </p:nvSpPr>
            <p:spPr bwMode="auto">
              <a:xfrm>
                <a:off x="1141" y="3294"/>
                <a:ext cx="12" cy="10"/>
              </a:xfrm>
              <a:custGeom>
                <a:avLst/>
                <a:gdLst>
                  <a:gd name="T0" fmla="*/ 10 w 12"/>
                  <a:gd name="T1" fmla="*/ 0 h 10"/>
                  <a:gd name="T2" fmla="*/ 0 w 12"/>
                  <a:gd name="T3" fmla="*/ 3 h 10"/>
                  <a:gd name="T4" fmla="*/ 0 w 12"/>
                  <a:gd name="T5" fmla="*/ 5 h 10"/>
                  <a:gd name="T6" fmla="*/ 0 w 12"/>
                  <a:gd name="T7" fmla="*/ 10 h 10"/>
                  <a:gd name="T8" fmla="*/ 3 w 12"/>
                  <a:gd name="T9" fmla="*/ 10 h 10"/>
                  <a:gd name="T10" fmla="*/ 12 w 12"/>
                  <a:gd name="T11" fmla="*/ 8 h 10"/>
                  <a:gd name="T12" fmla="*/ 12 w 12"/>
                  <a:gd name="T13" fmla="*/ 8 h 10"/>
                  <a:gd name="T14" fmla="*/ 12 w 12"/>
                  <a:gd name="T15" fmla="*/ 3 h 10"/>
                  <a:gd name="T16" fmla="*/ 10 w 12"/>
                  <a:gd name="T17" fmla="*/ 0 h 10"/>
                  <a:gd name="T18" fmla="*/ 10 w 1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10" y="0"/>
                    </a:moveTo>
                    <a:lnTo>
                      <a:pt x="0" y="3"/>
                    </a:lnTo>
                    <a:lnTo>
                      <a:pt x="0" y="5"/>
                    </a:lnTo>
                    <a:lnTo>
                      <a:pt x="0" y="10"/>
                    </a:lnTo>
                    <a:lnTo>
                      <a:pt x="3" y="10"/>
                    </a:lnTo>
                    <a:lnTo>
                      <a:pt x="12" y="8"/>
                    </a:lnTo>
                    <a:lnTo>
                      <a:pt x="12" y="8"/>
                    </a:lnTo>
                    <a:lnTo>
                      <a:pt x="12" y="3"/>
                    </a:lnTo>
                    <a:lnTo>
                      <a:pt x="10"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3" name="Rectangle 4568"/>
              <p:cNvSpPr>
                <a:spLocks noChangeArrowheads="1"/>
              </p:cNvSpPr>
              <p:nvPr/>
            </p:nvSpPr>
            <p:spPr bwMode="auto">
              <a:xfrm>
                <a:off x="1151" y="329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4" name="Freeform 4569"/>
              <p:cNvSpPr>
                <a:spLocks/>
              </p:cNvSpPr>
              <p:nvPr/>
            </p:nvSpPr>
            <p:spPr bwMode="auto">
              <a:xfrm>
                <a:off x="1151" y="329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5" name="Freeform 4571"/>
              <p:cNvSpPr>
                <a:spLocks/>
              </p:cNvSpPr>
              <p:nvPr/>
            </p:nvSpPr>
            <p:spPr bwMode="auto">
              <a:xfrm>
                <a:off x="1087" y="3251"/>
                <a:ext cx="7" cy="15"/>
              </a:xfrm>
              <a:custGeom>
                <a:avLst/>
                <a:gdLst>
                  <a:gd name="T0" fmla="*/ 4 w 7"/>
                  <a:gd name="T1" fmla="*/ 0 h 15"/>
                  <a:gd name="T2" fmla="*/ 0 w 7"/>
                  <a:gd name="T3" fmla="*/ 3 h 15"/>
                  <a:gd name="T4" fmla="*/ 0 w 7"/>
                  <a:gd name="T5" fmla="*/ 3 h 15"/>
                  <a:gd name="T6" fmla="*/ 0 w 7"/>
                  <a:gd name="T7" fmla="*/ 12 h 15"/>
                  <a:gd name="T8" fmla="*/ 2 w 7"/>
                  <a:gd name="T9" fmla="*/ 15 h 15"/>
                  <a:gd name="T10" fmla="*/ 7 w 7"/>
                  <a:gd name="T11" fmla="*/ 12 h 15"/>
                  <a:gd name="T12" fmla="*/ 7 w 7"/>
                  <a:gd name="T13" fmla="*/ 12 h 15"/>
                  <a:gd name="T14" fmla="*/ 7 w 7"/>
                  <a:gd name="T15" fmla="*/ 3 h 15"/>
                  <a:gd name="T16" fmla="*/ 4 w 7"/>
                  <a:gd name="T17" fmla="*/ 0 h 15"/>
                  <a:gd name="T18" fmla="*/ 4 w 7"/>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5">
                    <a:moveTo>
                      <a:pt x="4" y="0"/>
                    </a:moveTo>
                    <a:lnTo>
                      <a:pt x="0" y="3"/>
                    </a:lnTo>
                    <a:lnTo>
                      <a:pt x="0" y="3"/>
                    </a:lnTo>
                    <a:lnTo>
                      <a:pt x="0" y="12"/>
                    </a:lnTo>
                    <a:lnTo>
                      <a:pt x="2" y="15"/>
                    </a:lnTo>
                    <a:lnTo>
                      <a:pt x="7" y="12"/>
                    </a:lnTo>
                    <a:lnTo>
                      <a:pt x="7" y="12"/>
                    </a:lnTo>
                    <a:lnTo>
                      <a:pt x="7" y="3"/>
                    </a:lnTo>
                    <a:lnTo>
                      <a:pt x="4"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6" name="Freeform 4572"/>
              <p:cNvSpPr>
                <a:spLocks/>
              </p:cNvSpPr>
              <p:nvPr/>
            </p:nvSpPr>
            <p:spPr bwMode="auto">
              <a:xfrm>
                <a:off x="1087" y="3251"/>
                <a:ext cx="7" cy="15"/>
              </a:xfrm>
              <a:custGeom>
                <a:avLst/>
                <a:gdLst>
                  <a:gd name="T0" fmla="*/ 4 w 7"/>
                  <a:gd name="T1" fmla="*/ 0 h 15"/>
                  <a:gd name="T2" fmla="*/ 0 w 7"/>
                  <a:gd name="T3" fmla="*/ 3 h 15"/>
                  <a:gd name="T4" fmla="*/ 0 w 7"/>
                  <a:gd name="T5" fmla="*/ 3 h 15"/>
                  <a:gd name="T6" fmla="*/ 0 w 7"/>
                  <a:gd name="T7" fmla="*/ 12 h 15"/>
                  <a:gd name="T8" fmla="*/ 2 w 7"/>
                  <a:gd name="T9" fmla="*/ 15 h 15"/>
                  <a:gd name="T10" fmla="*/ 7 w 7"/>
                  <a:gd name="T11" fmla="*/ 12 h 15"/>
                  <a:gd name="T12" fmla="*/ 7 w 7"/>
                  <a:gd name="T13" fmla="*/ 12 h 15"/>
                  <a:gd name="T14" fmla="*/ 7 w 7"/>
                  <a:gd name="T15" fmla="*/ 3 h 15"/>
                  <a:gd name="T16" fmla="*/ 4 w 7"/>
                  <a:gd name="T17" fmla="*/ 0 h 15"/>
                  <a:gd name="T18" fmla="*/ 4 w 7"/>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5">
                    <a:moveTo>
                      <a:pt x="4" y="0"/>
                    </a:moveTo>
                    <a:lnTo>
                      <a:pt x="0" y="3"/>
                    </a:lnTo>
                    <a:lnTo>
                      <a:pt x="0" y="3"/>
                    </a:lnTo>
                    <a:lnTo>
                      <a:pt x="0" y="12"/>
                    </a:lnTo>
                    <a:lnTo>
                      <a:pt x="2" y="15"/>
                    </a:lnTo>
                    <a:lnTo>
                      <a:pt x="7" y="12"/>
                    </a:lnTo>
                    <a:lnTo>
                      <a:pt x="7" y="12"/>
                    </a:lnTo>
                    <a:lnTo>
                      <a:pt x="7" y="3"/>
                    </a:lnTo>
                    <a:lnTo>
                      <a:pt x="4" y="0"/>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7" name="Freeform 4574"/>
              <p:cNvSpPr>
                <a:spLocks/>
              </p:cNvSpPr>
              <p:nvPr/>
            </p:nvSpPr>
            <p:spPr bwMode="auto">
              <a:xfrm>
                <a:off x="1101" y="3349"/>
                <a:ext cx="9" cy="15"/>
              </a:xfrm>
              <a:custGeom>
                <a:avLst/>
                <a:gdLst>
                  <a:gd name="T0" fmla="*/ 7 w 9"/>
                  <a:gd name="T1" fmla="*/ 0 h 15"/>
                  <a:gd name="T2" fmla="*/ 2 w 9"/>
                  <a:gd name="T3" fmla="*/ 3 h 15"/>
                  <a:gd name="T4" fmla="*/ 0 w 9"/>
                  <a:gd name="T5" fmla="*/ 3 h 15"/>
                  <a:gd name="T6" fmla="*/ 2 w 9"/>
                  <a:gd name="T7" fmla="*/ 12 h 15"/>
                  <a:gd name="T8" fmla="*/ 2 w 9"/>
                  <a:gd name="T9" fmla="*/ 15 h 15"/>
                  <a:gd name="T10" fmla="*/ 7 w 9"/>
                  <a:gd name="T11" fmla="*/ 12 h 15"/>
                  <a:gd name="T12" fmla="*/ 9 w 9"/>
                  <a:gd name="T13" fmla="*/ 12 h 15"/>
                  <a:gd name="T14" fmla="*/ 7 w 9"/>
                  <a:gd name="T15" fmla="*/ 3 h 15"/>
                  <a:gd name="T16" fmla="*/ 7 w 9"/>
                  <a:gd name="T17" fmla="*/ 0 h 15"/>
                  <a:gd name="T18" fmla="*/ 7 w 9"/>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5">
                    <a:moveTo>
                      <a:pt x="7" y="0"/>
                    </a:moveTo>
                    <a:lnTo>
                      <a:pt x="2" y="3"/>
                    </a:lnTo>
                    <a:lnTo>
                      <a:pt x="0" y="3"/>
                    </a:lnTo>
                    <a:lnTo>
                      <a:pt x="2" y="12"/>
                    </a:lnTo>
                    <a:lnTo>
                      <a:pt x="2" y="15"/>
                    </a:lnTo>
                    <a:lnTo>
                      <a:pt x="7" y="12"/>
                    </a:lnTo>
                    <a:lnTo>
                      <a:pt x="9" y="12"/>
                    </a:lnTo>
                    <a:lnTo>
                      <a:pt x="7" y="3"/>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8" name="Freeform 4575"/>
              <p:cNvSpPr>
                <a:spLocks/>
              </p:cNvSpPr>
              <p:nvPr/>
            </p:nvSpPr>
            <p:spPr bwMode="auto">
              <a:xfrm>
                <a:off x="1101" y="3349"/>
                <a:ext cx="9" cy="15"/>
              </a:xfrm>
              <a:custGeom>
                <a:avLst/>
                <a:gdLst>
                  <a:gd name="T0" fmla="*/ 7 w 9"/>
                  <a:gd name="T1" fmla="*/ 0 h 15"/>
                  <a:gd name="T2" fmla="*/ 2 w 9"/>
                  <a:gd name="T3" fmla="*/ 3 h 15"/>
                  <a:gd name="T4" fmla="*/ 0 w 9"/>
                  <a:gd name="T5" fmla="*/ 3 h 15"/>
                  <a:gd name="T6" fmla="*/ 2 w 9"/>
                  <a:gd name="T7" fmla="*/ 12 h 15"/>
                  <a:gd name="T8" fmla="*/ 2 w 9"/>
                  <a:gd name="T9" fmla="*/ 15 h 15"/>
                  <a:gd name="T10" fmla="*/ 7 w 9"/>
                  <a:gd name="T11" fmla="*/ 12 h 15"/>
                  <a:gd name="T12" fmla="*/ 9 w 9"/>
                  <a:gd name="T13" fmla="*/ 12 h 15"/>
                  <a:gd name="T14" fmla="*/ 7 w 9"/>
                  <a:gd name="T15" fmla="*/ 3 h 15"/>
                  <a:gd name="T16" fmla="*/ 7 w 9"/>
                  <a:gd name="T17" fmla="*/ 0 h 15"/>
                  <a:gd name="T18" fmla="*/ 7 w 9"/>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5">
                    <a:moveTo>
                      <a:pt x="7" y="0"/>
                    </a:moveTo>
                    <a:lnTo>
                      <a:pt x="2" y="3"/>
                    </a:lnTo>
                    <a:lnTo>
                      <a:pt x="0" y="3"/>
                    </a:lnTo>
                    <a:lnTo>
                      <a:pt x="2" y="12"/>
                    </a:lnTo>
                    <a:lnTo>
                      <a:pt x="2" y="15"/>
                    </a:lnTo>
                    <a:lnTo>
                      <a:pt x="7" y="12"/>
                    </a:lnTo>
                    <a:lnTo>
                      <a:pt x="9" y="12"/>
                    </a:lnTo>
                    <a:lnTo>
                      <a:pt x="7" y="3"/>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59" name="Freeform 4576"/>
              <p:cNvSpPr>
                <a:spLocks/>
              </p:cNvSpPr>
              <p:nvPr/>
            </p:nvSpPr>
            <p:spPr bwMode="auto">
              <a:xfrm>
                <a:off x="1053" y="3333"/>
                <a:ext cx="12" cy="12"/>
              </a:xfrm>
              <a:custGeom>
                <a:avLst/>
                <a:gdLst>
                  <a:gd name="T0" fmla="*/ 7 w 12"/>
                  <a:gd name="T1" fmla="*/ 0 h 12"/>
                  <a:gd name="T2" fmla="*/ 0 w 12"/>
                  <a:gd name="T3" fmla="*/ 4 h 12"/>
                  <a:gd name="T4" fmla="*/ 0 w 12"/>
                  <a:gd name="T5" fmla="*/ 7 h 12"/>
                  <a:gd name="T6" fmla="*/ 3 w 12"/>
                  <a:gd name="T7" fmla="*/ 12 h 12"/>
                  <a:gd name="T8" fmla="*/ 5 w 12"/>
                  <a:gd name="T9" fmla="*/ 12 h 12"/>
                  <a:gd name="T10" fmla="*/ 12 w 12"/>
                  <a:gd name="T11" fmla="*/ 4 h 12"/>
                  <a:gd name="T12" fmla="*/ 12 w 12"/>
                  <a:gd name="T13" fmla="*/ 4 h 12"/>
                  <a:gd name="T14" fmla="*/ 10 w 12"/>
                  <a:gd name="T15" fmla="*/ 0 h 12"/>
                  <a:gd name="T16" fmla="*/ 10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0" y="4"/>
                    </a:lnTo>
                    <a:lnTo>
                      <a:pt x="0" y="7"/>
                    </a:lnTo>
                    <a:lnTo>
                      <a:pt x="3" y="12"/>
                    </a:lnTo>
                    <a:lnTo>
                      <a:pt x="5" y="12"/>
                    </a:lnTo>
                    <a:lnTo>
                      <a:pt x="12" y="4"/>
                    </a:lnTo>
                    <a:lnTo>
                      <a:pt x="12" y="4"/>
                    </a:lnTo>
                    <a:lnTo>
                      <a:pt x="10" y="0"/>
                    </a:lnTo>
                    <a:lnTo>
                      <a:pt x="10"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0" name="Freeform 4577"/>
              <p:cNvSpPr>
                <a:spLocks/>
              </p:cNvSpPr>
              <p:nvPr/>
            </p:nvSpPr>
            <p:spPr bwMode="auto">
              <a:xfrm>
                <a:off x="1053" y="3333"/>
                <a:ext cx="12" cy="12"/>
              </a:xfrm>
              <a:custGeom>
                <a:avLst/>
                <a:gdLst>
                  <a:gd name="T0" fmla="*/ 7 w 12"/>
                  <a:gd name="T1" fmla="*/ 0 h 12"/>
                  <a:gd name="T2" fmla="*/ 0 w 12"/>
                  <a:gd name="T3" fmla="*/ 4 h 12"/>
                  <a:gd name="T4" fmla="*/ 0 w 12"/>
                  <a:gd name="T5" fmla="*/ 7 h 12"/>
                  <a:gd name="T6" fmla="*/ 3 w 12"/>
                  <a:gd name="T7" fmla="*/ 12 h 12"/>
                  <a:gd name="T8" fmla="*/ 5 w 12"/>
                  <a:gd name="T9" fmla="*/ 12 h 12"/>
                  <a:gd name="T10" fmla="*/ 12 w 12"/>
                  <a:gd name="T11" fmla="*/ 4 h 12"/>
                  <a:gd name="T12" fmla="*/ 12 w 12"/>
                  <a:gd name="T13" fmla="*/ 4 h 12"/>
                  <a:gd name="T14" fmla="*/ 10 w 12"/>
                  <a:gd name="T15" fmla="*/ 0 h 12"/>
                  <a:gd name="T16" fmla="*/ 10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0" y="4"/>
                    </a:lnTo>
                    <a:lnTo>
                      <a:pt x="0" y="7"/>
                    </a:lnTo>
                    <a:lnTo>
                      <a:pt x="3" y="12"/>
                    </a:lnTo>
                    <a:lnTo>
                      <a:pt x="5" y="12"/>
                    </a:lnTo>
                    <a:lnTo>
                      <a:pt x="12" y="4"/>
                    </a:lnTo>
                    <a:lnTo>
                      <a:pt x="12" y="4"/>
                    </a:lnTo>
                    <a:lnTo>
                      <a:pt x="10" y="0"/>
                    </a:lnTo>
                    <a:lnTo>
                      <a:pt x="10"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1" name="Freeform 4578"/>
              <p:cNvSpPr>
                <a:spLocks/>
              </p:cNvSpPr>
              <p:nvPr/>
            </p:nvSpPr>
            <p:spPr bwMode="auto">
              <a:xfrm>
                <a:off x="1130" y="3270"/>
                <a:ext cx="14" cy="12"/>
              </a:xfrm>
              <a:custGeom>
                <a:avLst/>
                <a:gdLst>
                  <a:gd name="T0" fmla="*/ 9 w 14"/>
                  <a:gd name="T1" fmla="*/ 0 h 12"/>
                  <a:gd name="T2" fmla="*/ 2 w 14"/>
                  <a:gd name="T3" fmla="*/ 8 h 12"/>
                  <a:gd name="T4" fmla="*/ 0 w 14"/>
                  <a:gd name="T5" fmla="*/ 8 h 12"/>
                  <a:gd name="T6" fmla="*/ 4 w 14"/>
                  <a:gd name="T7" fmla="*/ 12 h 12"/>
                  <a:gd name="T8" fmla="*/ 4 w 14"/>
                  <a:gd name="T9" fmla="*/ 12 h 12"/>
                  <a:gd name="T10" fmla="*/ 14 w 14"/>
                  <a:gd name="T11" fmla="*/ 5 h 12"/>
                  <a:gd name="T12" fmla="*/ 14 w 14"/>
                  <a:gd name="T13" fmla="*/ 5 h 12"/>
                  <a:gd name="T14" fmla="*/ 9 w 14"/>
                  <a:gd name="T15" fmla="*/ 0 h 12"/>
                  <a:gd name="T16" fmla="*/ 9 w 14"/>
                  <a:gd name="T17" fmla="*/ 0 h 12"/>
                  <a:gd name="T18" fmla="*/ 9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9" y="0"/>
                    </a:moveTo>
                    <a:lnTo>
                      <a:pt x="2" y="8"/>
                    </a:lnTo>
                    <a:lnTo>
                      <a:pt x="0" y="8"/>
                    </a:lnTo>
                    <a:lnTo>
                      <a:pt x="4" y="12"/>
                    </a:lnTo>
                    <a:lnTo>
                      <a:pt x="4" y="12"/>
                    </a:lnTo>
                    <a:lnTo>
                      <a:pt x="14" y="5"/>
                    </a:lnTo>
                    <a:lnTo>
                      <a:pt x="14" y="5"/>
                    </a:lnTo>
                    <a:lnTo>
                      <a:pt x="9"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2" name="Freeform 4579"/>
              <p:cNvSpPr>
                <a:spLocks/>
              </p:cNvSpPr>
              <p:nvPr/>
            </p:nvSpPr>
            <p:spPr bwMode="auto">
              <a:xfrm>
                <a:off x="1130" y="3270"/>
                <a:ext cx="14" cy="12"/>
              </a:xfrm>
              <a:custGeom>
                <a:avLst/>
                <a:gdLst>
                  <a:gd name="T0" fmla="*/ 9 w 14"/>
                  <a:gd name="T1" fmla="*/ 0 h 12"/>
                  <a:gd name="T2" fmla="*/ 2 w 14"/>
                  <a:gd name="T3" fmla="*/ 8 h 12"/>
                  <a:gd name="T4" fmla="*/ 0 w 14"/>
                  <a:gd name="T5" fmla="*/ 8 h 12"/>
                  <a:gd name="T6" fmla="*/ 4 w 14"/>
                  <a:gd name="T7" fmla="*/ 12 h 12"/>
                  <a:gd name="T8" fmla="*/ 4 w 14"/>
                  <a:gd name="T9" fmla="*/ 12 h 12"/>
                  <a:gd name="T10" fmla="*/ 14 w 14"/>
                  <a:gd name="T11" fmla="*/ 5 h 12"/>
                  <a:gd name="T12" fmla="*/ 14 w 14"/>
                  <a:gd name="T13" fmla="*/ 5 h 12"/>
                  <a:gd name="T14" fmla="*/ 9 w 14"/>
                  <a:gd name="T15" fmla="*/ 0 h 12"/>
                  <a:gd name="T16" fmla="*/ 9 w 14"/>
                  <a:gd name="T17" fmla="*/ 0 h 12"/>
                  <a:gd name="T18" fmla="*/ 9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9" y="0"/>
                    </a:moveTo>
                    <a:lnTo>
                      <a:pt x="2" y="8"/>
                    </a:lnTo>
                    <a:lnTo>
                      <a:pt x="0" y="8"/>
                    </a:lnTo>
                    <a:lnTo>
                      <a:pt x="4" y="12"/>
                    </a:lnTo>
                    <a:lnTo>
                      <a:pt x="4" y="12"/>
                    </a:lnTo>
                    <a:lnTo>
                      <a:pt x="14" y="5"/>
                    </a:lnTo>
                    <a:lnTo>
                      <a:pt x="14" y="5"/>
                    </a:lnTo>
                    <a:lnTo>
                      <a:pt x="9" y="0"/>
                    </a:lnTo>
                    <a:lnTo>
                      <a:pt x="9"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3" name="Freeform 4581"/>
              <p:cNvSpPr>
                <a:spLocks/>
              </p:cNvSpPr>
              <p:nvPr/>
            </p:nvSpPr>
            <p:spPr bwMode="auto">
              <a:xfrm>
                <a:off x="1060" y="3261"/>
                <a:ext cx="12" cy="14"/>
              </a:xfrm>
              <a:custGeom>
                <a:avLst/>
                <a:gdLst>
                  <a:gd name="T0" fmla="*/ 5 w 12"/>
                  <a:gd name="T1" fmla="*/ 2 h 14"/>
                  <a:gd name="T2" fmla="*/ 3 w 12"/>
                  <a:gd name="T3" fmla="*/ 5 h 14"/>
                  <a:gd name="T4" fmla="*/ 0 w 12"/>
                  <a:gd name="T5" fmla="*/ 7 h 14"/>
                  <a:gd name="T6" fmla="*/ 7 w 12"/>
                  <a:gd name="T7" fmla="*/ 14 h 14"/>
                  <a:gd name="T8" fmla="*/ 10 w 12"/>
                  <a:gd name="T9" fmla="*/ 14 h 14"/>
                  <a:gd name="T10" fmla="*/ 12 w 12"/>
                  <a:gd name="T11" fmla="*/ 12 h 14"/>
                  <a:gd name="T12" fmla="*/ 12 w 12"/>
                  <a:gd name="T13" fmla="*/ 9 h 14"/>
                  <a:gd name="T14" fmla="*/ 7 w 12"/>
                  <a:gd name="T15" fmla="*/ 2 h 14"/>
                  <a:gd name="T16" fmla="*/ 5 w 12"/>
                  <a:gd name="T17" fmla="*/ 0 h 14"/>
                  <a:gd name="T18" fmla="*/ 5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5" y="2"/>
                    </a:moveTo>
                    <a:lnTo>
                      <a:pt x="3" y="5"/>
                    </a:lnTo>
                    <a:lnTo>
                      <a:pt x="0" y="7"/>
                    </a:lnTo>
                    <a:lnTo>
                      <a:pt x="7" y="14"/>
                    </a:lnTo>
                    <a:lnTo>
                      <a:pt x="10" y="14"/>
                    </a:lnTo>
                    <a:lnTo>
                      <a:pt x="12" y="12"/>
                    </a:lnTo>
                    <a:lnTo>
                      <a:pt x="12" y="9"/>
                    </a:lnTo>
                    <a:lnTo>
                      <a:pt x="7" y="2"/>
                    </a:lnTo>
                    <a:lnTo>
                      <a:pt x="5" y="0"/>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4" name="Freeform 4582"/>
              <p:cNvSpPr>
                <a:spLocks/>
              </p:cNvSpPr>
              <p:nvPr/>
            </p:nvSpPr>
            <p:spPr bwMode="auto">
              <a:xfrm>
                <a:off x="1060" y="3261"/>
                <a:ext cx="12" cy="14"/>
              </a:xfrm>
              <a:custGeom>
                <a:avLst/>
                <a:gdLst>
                  <a:gd name="T0" fmla="*/ 5 w 12"/>
                  <a:gd name="T1" fmla="*/ 2 h 14"/>
                  <a:gd name="T2" fmla="*/ 3 w 12"/>
                  <a:gd name="T3" fmla="*/ 5 h 14"/>
                  <a:gd name="T4" fmla="*/ 0 w 12"/>
                  <a:gd name="T5" fmla="*/ 7 h 14"/>
                  <a:gd name="T6" fmla="*/ 7 w 12"/>
                  <a:gd name="T7" fmla="*/ 14 h 14"/>
                  <a:gd name="T8" fmla="*/ 10 w 12"/>
                  <a:gd name="T9" fmla="*/ 14 h 14"/>
                  <a:gd name="T10" fmla="*/ 12 w 12"/>
                  <a:gd name="T11" fmla="*/ 12 h 14"/>
                  <a:gd name="T12" fmla="*/ 12 w 12"/>
                  <a:gd name="T13" fmla="*/ 9 h 14"/>
                  <a:gd name="T14" fmla="*/ 7 w 12"/>
                  <a:gd name="T15" fmla="*/ 2 h 14"/>
                  <a:gd name="T16" fmla="*/ 5 w 12"/>
                  <a:gd name="T17" fmla="*/ 0 h 14"/>
                  <a:gd name="T18" fmla="*/ 5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5" y="2"/>
                    </a:moveTo>
                    <a:lnTo>
                      <a:pt x="3" y="5"/>
                    </a:lnTo>
                    <a:lnTo>
                      <a:pt x="0" y="7"/>
                    </a:lnTo>
                    <a:lnTo>
                      <a:pt x="7" y="14"/>
                    </a:lnTo>
                    <a:lnTo>
                      <a:pt x="10" y="14"/>
                    </a:lnTo>
                    <a:lnTo>
                      <a:pt x="12" y="12"/>
                    </a:lnTo>
                    <a:lnTo>
                      <a:pt x="12" y="9"/>
                    </a:lnTo>
                    <a:lnTo>
                      <a:pt x="7" y="2"/>
                    </a:lnTo>
                    <a:lnTo>
                      <a:pt x="5" y="0"/>
                    </a:lnTo>
                    <a:lnTo>
                      <a:pt x="5"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5" name="Rectangle 4583"/>
              <p:cNvSpPr>
                <a:spLocks noChangeArrowheads="1"/>
              </p:cNvSpPr>
              <p:nvPr/>
            </p:nvSpPr>
            <p:spPr bwMode="auto">
              <a:xfrm>
                <a:off x="1065" y="326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6" name="Freeform 4584"/>
              <p:cNvSpPr>
                <a:spLocks/>
              </p:cNvSpPr>
              <p:nvPr/>
            </p:nvSpPr>
            <p:spPr bwMode="auto">
              <a:xfrm>
                <a:off x="1065" y="3261"/>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7" name="Freeform 4586"/>
              <p:cNvSpPr>
                <a:spLocks/>
              </p:cNvSpPr>
              <p:nvPr/>
            </p:nvSpPr>
            <p:spPr bwMode="auto">
              <a:xfrm>
                <a:off x="1122" y="3340"/>
                <a:ext cx="12" cy="12"/>
              </a:xfrm>
              <a:custGeom>
                <a:avLst/>
                <a:gdLst>
                  <a:gd name="T0" fmla="*/ 5 w 12"/>
                  <a:gd name="T1" fmla="*/ 0 h 12"/>
                  <a:gd name="T2" fmla="*/ 0 w 12"/>
                  <a:gd name="T3" fmla="*/ 2 h 12"/>
                  <a:gd name="T4" fmla="*/ 0 w 12"/>
                  <a:gd name="T5" fmla="*/ 5 h 12"/>
                  <a:gd name="T6" fmla="*/ 8 w 12"/>
                  <a:gd name="T7" fmla="*/ 12 h 12"/>
                  <a:gd name="T8" fmla="*/ 10 w 12"/>
                  <a:gd name="T9" fmla="*/ 12 h 12"/>
                  <a:gd name="T10" fmla="*/ 12 w 12"/>
                  <a:gd name="T11" fmla="*/ 9 h 12"/>
                  <a:gd name="T12" fmla="*/ 12 w 12"/>
                  <a:gd name="T13" fmla="*/ 7 h 12"/>
                  <a:gd name="T14" fmla="*/ 8 w 12"/>
                  <a:gd name="T15" fmla="*/ 0 h 12"/>
                  <a:gd name="T16" fmla="*/ 5 w 12"/>
                  <a:gd name="T17" fmla="*/ 0 h 12"/>
                  <a:gd name="T18" fmla="*/ 5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5" y="0"/>
                    </a:moveTo>
                    <a:lnTo>
                      <a:pt x="0" y="2"/>
                    </a:lnTo>
                    <a:lnTo>
                      <a:pt x="0" y="5"/>
                    </a:lnTo>
                    <a:lnTo>
                      <a:pt x="8" y="12"/>
                    </a:lnTo>
                    <a:lnTo>
                      <a:pt x="10" y="12"/>
                    </a:lnTo>
                    <a:lnTo>
                      <a:pt x="12" y="9"/>
                    </a:lnTo>
                    <a:lnTo>
                      <a:pt x="12" y="7"/>
                    </a:lnTo>
                    <a:lnTo>
                      <a:pt x="8"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8" name="Freeform 4587"/>
              <p:cNvSpPr>
                <a:spLocks/>
              </p:cNvSpPr>
              <p:nvPr/>
            </p:nvSpPr>
            <p:spPr bwMode="auto">
              <a:xfrm>
                <a:off x="1122" y="3340"/>
                <a:ext cx="12" cy="12"/>
              </a:xfrm>
              <a:custGeom>
                <a:avLst/>
                <a:gdLst>
                  <a:gd name="T0" fmla="*/ 5 w 12"/>
                  <a:gd name="T1" fmla="*/ 0 h 12"/>
                  <a:gd name="T2" fmla="*/ 0 w 12"/>
                  <a:gd name="T3" fmla="*/ 2 h 12"/>
                  <a:gd name="T4" fmla="*/ 0 w 12"/>
                  <a:gd name="T5" fmla="*/ 5 h 12"/>
                  <a:gd name="T6" fmla="*/ 8 w 12"/>
                  <a:gd name="T7" fmla="*/ 12 h 12"/>
                  <a:gd name="T8" fmla="*/ 10 w 12"/>
                  <a:gd name="T9" fmla="*/ 12 h 12"/>
                  <a:gd name="T10" fmla="*/ 12 w 12"/>
                  <a:gd name="T11" fmla="*/ 9 h 12"/>
                  <a:gd name="T12" fmla="*/ 12 w 12"/>
                  <a:gd name="T13" fmla="*/ 7 h 12"/>
                  <a:gd name="T14" fmla="*/ 8 w 12"/>
                  <a:gd name="T15" fmla="*/ 0 h 12"/>
                  <a:gd name="T16" fmla="*/ 5 w 12"/>
                  <a:gd name="T17" fmla="*/ 0 h 12"/>
                  <a:gd name="T18" fmla="*/ 5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5" y="0"/>
                    </a:moveTo>
                    <a:lnTo>
                      <a:pt x="0" y="2"/>
                    </a:lnTo>
                    <a:lnTo>
                      <a:pt x="0" y="5"/>
                    </a:lnTo>
                    <a:lnTo>
                      <a:pt x="8" y="12"/>
                    </a:lnTo>
                    <a:lnTo>
                      <a:pt x="10" y="12"/>
                    </a:lnTo>
                    <a:lnTo>
                      <a:pt x="12" y="9"/>
                    </a:lnTo>
                    <a:lnTo>
                      <a:pt x="12" y="7"/>
                    </a:lnTo>
                    <a:lnTo>
                      <a:pt x="8" y="0"/>
                    </a:lnTo>
                    <a:lnTo>
                      <a:pt x="5"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69" name="Freeform 4588"/>
              <p:cNvSpPr>
                <a:spLocks/>
              </p:cNvSpPr>
              <p:nvPr/>
            </p:nvSpPr>
            <p:spPr bwMode="auto">
              <a:xfrm>
                <a:off x="1044" y="3297"/>
                <a:ext cx="12" cy="9"/>
              </a:xfrm>
              <a:custGeom>
                <a:avLst/>
                <a:gdLst>
                  <a:gd name="T0" fmla="*/ 0 w 12"/>
                  <a:gd name="T1" fmla="*/ 2 h 9"/>
                  <a:gd name="T2" fmla="*/ 0 w 12"/>
                  <a:gd name="T3" fmla="*/ 7 h 9"/>
                  <a:gd name="T4" fmla="*/ 0 w 12"/>
                  <a:gd name="T5" fmla="*/ 7 h 9"/>
                  <a:gd name="T6" fmla="*/ 9 w 12"/>
                  <a:gd name="T7" fmla="*/ 9 h 9"/>
                  <a:gd name="T8" fmla="*/ 12 w 12"/>
                  <a:gd name="T9" fmla="*/ 7 h 9"/>
                  <a:gd name="T10" fmla="*/ 12 w 12"/>
                  <a:gd name="T11" fmla="*/ 2 h 9"/>
                  <a:gd name="T12" fmla="*/ 9 w 12"/>
                  <a:gd name="T13" fmla="*/ 2 h 9"/>
                  <a:gd name="T14" fmla="*/ 0 w 12"/>
                  <a:gd name="T15" fmla="*/ 0 h 9"/>
                  <a:gd name="T16" fmla="*/ 0 w 12"/>
                  <a:gd name="T17" fmla="*/ 0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7"/>
                    </a:lnTo>
                    <a:lnTo>
                      <a:pt x="0" y="7"/>
                    </a:lnTo>
                    <a:lnTo>
                      <a:pt x="9" y="9"/>
                    </a:lnTo>
                    <a:lnTo>
                      <a:pt x="12" y="7"/>
                    </a:lnTo>
                    <a:lnTo>
                      <a:pt x="12" y="2"/>
                    </a:lnTo>
                    <a:lnTo>
                      <a:pt x="9" y="2"/>
                    </a:lnTo>
                    <a:lnTo>
                      <a:pt x="0" y="0"/>
                    </a:ln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0" name="Freeform 4589"/>
              <p:cNvSpPr>
                <a:spLocks/>
              </p:cNvSpPr>
              <p:nvPr/>
            </p:nvSpPr>
            <p:spPr bwMode="auto">
              <a:xfrm>
                <a:off x="1044" y="3297"/>
                <a:ext cx="12" cy="9"/>
              </a:xfrm>
              <a:custGeom>
                <a:avLst/>
                <a:gdLst>
                  <a:gd name="T0" fmla="*/ 0 w 12"/>
                  <a:gd name="T1" fmla="*/ 2 h 9"/>
                  <a:gd name="T2" fmla="*/ 0 w 12"/>
                  <a:gd name="T3" fmla="*/ 7 h 9"/>
                  <a:gd name="T4" fmla="*/ 0 w 12"/>
                  <a:gd name="T5" fmla="*/ 7 h 9"/>
                  <a:gd name="T6" fmla="*/ 9 w 12"/>
                  <a:gd name="T7" fmla="*/ 9 h 9"/>
                  <a:gd name="T8" fmla="*/ 12 w 12"/>
                  <a:gd name="T9" fmla="*/ 7 h 9"/>
                  <a:gd name="T10" fmla="*/ 12 w 12"/>
                  <a:gd name="T11" fmla="*/ 2 h 9"/>
                  <a:gd name="T12" fmla="*/ 9 w 12"/>
                  <a:gd name="T13" fmla="*/ 2 h 9"/>
                  <a:gd name="T14" fmla="*/ 0 w 12"/>
                  <a:gd name="T15" fmla="*/ 0 h 9"/>
                  <a:gd name="T16" fmla="*/ 0 w 12"/>
                  <a:gd name="T17" fmla="*/ 0 h 9"/>
                  <a:gd name="T18" fmla="*/ 0 w 12"/>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9">
                    <a:moveTo>
                      <a:pt x="0" y="2"/>
                    </a:moveTo>
                    <a:lnTo>
                      <a:pt x="0" y="7"/>
                    </a:lnTo>
                    <a:lnTo>
                      <a:pt x="0" y="7"/>
                    </a:lnTo>
                    <a:lnTo>
                      <a:pt x="9" y="9"/>
                    </a:lnTo>
                    <a:lnTo>
                      <a:pt x="12" y="7"/>
                    </a:lnTo>
                    <a:lnTo>
                      <a:pt x="12" y="2"/>
                    </a:lnTo>
                    <a:lnTo>
                      <a:pt x="9" y="2"/>
                    </a:lnTo>
                    <a:lnTo>
                      <a:pt x="0" y="0"/>
                    </a:lnTo>
                    <a:lnTo>
                      <a:pt x="0" y="0"/>
                    </a:lnTo>
                    <a:lnTo>
                      <a:pt x="0"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1" name="Freeform 4590"/>
              <p:cNvSpPr>
                <a:spLocks/>
              </p:cNvSpPr>
              <p:nvPr/>
            </p:nvSpPr>
            <p:spPr bwMode="auto">
              <a:xfrm>
                <a:off x="1141" y="3309"/>
                <a:ext cx="12" cy="7"/>
              </a:xfrm>
              <a:custGeom>
                <a:avLst/>
                <a:gdLst>
                  <a:gd name="T0" fmla="*/ 0 w 12"/>
                  <a:gd name="T1" fmla="*/ 0 h 7"/>
                  <a:gd name="T2" fmla="*/ 0 w 12"/>
                  <a:gd name="T3" fmla="*/ 4 h 7"/>
                  <a:gd name="T4" fmla="*/ 0 w 12"/>
                  <a:gd name="T5" fmla="*/ 7 h 7"/>
                  <a:gd name="T6" fmla="*/ 10 w 12"/>
                  <a:gd name="T7" fmla="*/ 7 h 7"/>
                  <a:gd name="T8" fmla="*/ 12 w 12"/>
                  <a:gd name="T9" fmla="*/ 7 h 7"/>
                  <a:gd name="T10" fmla="*/ 12 w 12"/>
                  <a:gd name="T11" fmla="*/ 2 h 7"/>
                  <a:gd name="T12" fmla="*/ 12 w 12"/>
                  <a:gd name="T13" fmla="*/ 0 h 7"/>
                  <a:gd name="T14" fmla="*/ 3 w 12"/>
                  <a:gd name="T15" fmla="*/ 0 h 7"/>
                  <a:gd name="T16" fmla="*/ 3 w 12"/>
                  <a:gd name="T17" fmla="*/ 0 h 7"/>
                  <a:gd name="T18" fmla="*/ 0 w 1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0" y="0"/>
                    </a:moveTo>
                    <a:lnTo>
                      <a:pt x="0" y="4"/>
                    </a:lnTo>
                    <a:lnTo>
                      <a:pt x="0" y="7"/>
                    </a:lnTo>
                    <a:lnTo>
                      <a:pt x="10" y="7"/>
                    </a:lnTo>
                    <a:lnTo>
                      <a:pt x="12" y="7"/>
                    </a:lnTo>
                    <a:lnTo>
                      <a:pt x="12" y="2"/>
                    </a:lnTo>
                    <a:lnTo>
                      <a:pt x="12" y="0"/>
                    </a:lnTo>
                    <a:lnTo>
                      <a:pt x="3" y="0"/>
                    </a:lnTo>
                    <a:lnTo>
                      <a:pt x="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2" name="Freeform 4591"/>
              <p:cNvSpPr>
                <a:spLocks/>
              </p:cNvSpPr>
              <p:nvPr/>
            </p:nvSpPr>
            <p:spPr bwMode="auto">
              <a:xfrm>
                <a:off x="1141" y="3309"/>
                <a:ext cx="12" cy="7"/>
              </a:xfrm>
              <a:custGeom>
                <a:avLst/>
                <a:gdLst>
                  <a:gd name="T0" fmla="*/ 0 w 12"/>
                  <a:gd name="T1" fmla="*/ 0 h 7"/>
                  <a:gd name="T2" fmla="*/ 0 w 12"/>
                  <a:gd name="T3" fmla="*/ 4 h 7"/>
                  <a:gd name="T4" fmla="*/ 0 w 12"/>
                  <a:gd name="T5" fmla="*/ 7 h 7"/>
                  <a:gd name="T6" fmla="*/ 10 w 12"/>
                  <a:gd name="T7" fmla="*/ 7 h 7"/>
                  <a:gd name="T8" fmla="*/ 12 w 12"/>
                  <a:gd name="T9" fmla="*/ 7 h 7"/>
                  <a:gd name="T10" fmla="*/ 12 w 12"/>
                  <a:gd name="T11" fmla="*/ 2 h 7"/>
                  <a:gd name="T12" fmla="*/ 12 w 12"/>
                  <a:gd name="T13" fmla="*/ 0 h 7"/>
                  <a:gd name="T14" fmla="*/ 3 w 12"/>
                  <a:gd name="T15" fmla="*/ 0 h 7"/>
                  <a:gd name="T16" fmla="*/ 3 w 12"/>
                  <a:gd name="T17" fmla="*/ 0 h 7"/>
                  <a:gd name="T18" fmla="*/ 0 w 12"/>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7">
                    <a:moveTo>
                      <a:pt x="0" y="0"/>
                    </a:moveTo>
                    <a:lnTo>
                      <a:pt x="0" y="4"/>
                    </a:lnTo>
                    <a:lnTo>
                      <a:pt x="0" y="7"/>
                    </a:lnTo>
                    <a:lnTo>
                      <a:pt x="10" y="7"/>
                    </a:lnTo>
                    <a:lnTo>
                      <a:pt x="12" y="7"/>
                    </a:lnTo>
                    <a:lnTo>
                      <a:pt x="12" y="2"/>
                    </a:lnTo>
                    <a:lnTo>
                      <a:pt x="12" y="0"/>
                    </a:lnTo>
                    <a:lnTo>
                      <a:pt x="3" y="0"/>
                    </a:lnTo>
                    <a:lnTo>
                      <a:pt x="3"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3" name="Freeform 4593"/>
              <p:cNvSpPr>
                <a:spLocks/>
              </p:cNvSpPr>
              <p:nvPr/>
            </p:nvSpPr>
            <p:spPr bwMode="auto">
              <a:xfrm>
                <a:off x="1099" y="3251"/>
                <a:ext cx="9" cy="12"/>
              </a:xfrm>
              <a:custGeom>
                <a:avLst/>
                <a:gdLst>
                  <a:gd name="T0" fmla="*/ 2 w 9"/>
                  <a:gd name="T1" fmla="*/ 0 h 12"/>
                  <a:gd name="T2" fmla="*/ 2 w 9"/>
                  <a:gd name="T3" fmla="*/ 3 h 12"/>
                  <a:gd name="T4" fmla="*/ 0 w 9"/>
                  <a:gd name="T5" fmla="*/ 12 h 12"/>
                  <a:gd name="T6" fmla="*/ 2 w 9"/>
                  <a:gd name="T7" fmla="*/ 12 h 12"/>
                  <a:gd name="T8" fmla="*/ 7 w 9"/>
                  <a:gd name="T9" fmla="*/ 12 h 12"/>
                  <a:gd name="T10" fmla="*/ 7 w 9"/>
                  <a:gd name="T11" fmla="*/ 12 h 12"/>
                  <a:gd name="T12" fmla="*/ 9 w 9"/>
                  <a:gd name="T13" fmla="*/ 3 h 12"/>
                  <a:gd name="T14" fmla="*/ 7 w 9"/>
                  <a:gd name="T15" fmla="*/ 0 h 12"/>
                  <a:gd name="T16" fmla="*/ 2 w 9"/>
                  <a:gd name="T17" fmla="*/ 0 h 12"/>
                  <a:gd name="T18" fmla="*/ 2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0"/>
                    </a:moveTo>
                    <a:lnTo>
                      <a:pt x="2" y="3"/>
                    </a:lnTo>
                    <a:lnTo>
                      <a:pt x="0" y="12"/>
                    </a:lnTo>
                    <a:lnTo>
                      <a:pt x="2" y="12"/>
                    </a:lnTo>
                    <a:lnTo>
                      <a:pt x="7" y="12"/>
                    </a:lnTo>
                    <a:lnTo>
                      <a:pt x="7" y="12"/>
                    </a:lnTo>
                    <a:lnTo>
                      <a:pt x="9" y="3"/>
                    </a:lnTo>
                    <a:lnTo>
                      <a:pt x="7" y="0"/>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4" name="Freeform 4594"/>
              <p:cNvSpPr>
                <a:spLocks/>
              </p:cNvSpPr>
              <p:nvPr/>
            </p:nvSpPr>
            <p:spPr bwMode="auto">
              <a:xfrm>
                <a:off x="1099" y="3251"/>
                <a:ext cx="9" cy="12"/>
              </a:xfrm>
              <a:custGeom>
                <a:avLst/>
                <a:gdLst>
                  <a:gd name="T0" fmla="*/ 2 w 9"/>
                  <a:gd name="T1" fmla="*/ 0 h 12"/>
                  <a:gd name="T2" fmla="*/ 2 w 9"/>
                  <a:gd name="T3" fmla="*/ 3 h 12"/>
                  <a:gd name="T4" fmla="*/ 0 w 9"/>
                  <a:gd name="T5" fmla="*/ 12 h 12"/>
                  <a:gd name="T6" fmla="*/ 2 w 9"/>
                  <a:gd name="T7" fmla="*/ 12 h 12"/>
                  <a:gd name="T8" fmla="*/ 7 w 9"/>
                  <a:gd name="T9" fmla="*/ 12 h 12"/>
                  <a:gd name="T10" fmla="*/ 7 w 9"/>
                  <a:gd name="T11" fmla="*/ 12 h 12"/>
                  <a:gd name="T12" fmla="*/ 9 w 9"/>
                  <a:gd name="T13" fmla="*/ 3 h 12"/>
                  <a:gd name="T14" fmla="*/ 7 w 9"/>
                  <a:gd name="T15" fmla="*/ 0 h 12"/>
                  <a:gd name="T16" fmla="*/ 2 w 9"/>
                  <a:gd name="T17" fmla="*/ 0 h 12"/>
                  <a:gd name="T18" fmla="*/ 2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0"/>
                    </a:moveTo>
                    <a:lnTo>
                      <a:pt x="2" y="3"/>
                    </a:lnTo>
                    <a:lnTo>
                      <a:pt x="0" y="12"/>
                    </a:lnTo>
                    <a:lnTo>
                      <a:pt x="2" y="12"/>
                    </a:lnTo>
                    <a:lnTo>
                      <a:pt x="7" y="12"/>
                    </a:lnTo>
                    <a:lnTo>
                      <a:pt x="7" y="12"/>
                    </a:lnTo>
                    <a:lnTo>
                      <a:pt x="9" y="3"/>
                    </a:lnTo>
                    <a:lnTo>
                      <a:pt x="7" y="0"/>
                    </a:lnTo>
                    <a:lnTo>
                      <a:pt x="2"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5" name="Rectangle 4595"/>
              <p:cNvSpPr>
                <a:spLocks noChangeArrowheads="1"/>
              </p:cNvSpPr>
              <p:nvPr/>
            </p:nvSpPr>
            <p:spPr bwMode="auto">
              <a:xfrm>
                <a:off x="1101" y="32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6" name="Rectangle 4596"/>
              <p:cNvSpPr>
                <a:spLocks noChangeArrowheads="1"/>
              </p:cNvSpPr>
              <p:nvPr/>
            </p:nvSpPr>
            <p:spPr bwMode="auto">
              <a:xfrm>
                <a:off x="1101" y="32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7" name="Rectangle 4597"/>
              <p:cNvSpPr>
                <a:spLocks noChangeArrowheads="1"/>
              </p:cNvSpPr>
              <p:nvPr/>
            </p:nvSpPr>
            <p:spPr bwMode="auto">
              <a:xfrm>
                <a:off x="1101" y="32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8" name="Rectangle 4598"/>
              <p:cNvSpPr>
                <a:spLocks noChangeArrowheads="1"/>
              </p:cNvSpPr>
              <p:nvPr/>
            </p:nvSpPr>
            <p:spPr bwMode="auto">
              <a:xfrm>
                <a:off x="1101" y="3251"/>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79" name="Freeform 4600"/>
              <p:cNvSpPr>
                <a:spLocks/>
              </p:cNvSpPr>
              <p:nvPr/>
            </p:nvSpPr>
            <p:spPr bwMode="auto">
              <a:xfrm>
                <a:off x="1089" y="3349"/>
                <a:ext cx="7" cy="15"/>
              </a:xfrm>
              <a:custGeom>
                <a:avLst/>
                <a:gdLst>
                  <a:gd name="T0" fmla="*/ 0 w 7"/>
                  <a:gd name="T1" fmla="*/ 3 h 15"/>
                  <a:gd name="T2" fmla="*/ 0 w 7"/>
                  <a:gd name="T3" fmla="*/ 12 h 15"/>
                  <a:gd name="T4" fmla="*/ 0 w 7"/>
                  <a:gd name="T5" fmla="*/ 12 h 15"/>
                  <a:gd name="T6" fmla="*/ 5 w 7"/>
                  <a:gd name="T7" fmla="*/ 15 h 15"/>
                  <a:gd name="T8" fmla="*/ 7 w 7"/>
                  <a:gd name="T9" fmla="*/ 12 h 15"/>
                  <a:gd name="T10" fmla="*/ 7 w 7"/>
                  <a:gd name="T11" fmla="*/ 3 h 15"/>
                  <a:gd name="T12" fmla="*/ 7 w 7"/>
                  <a:gd name="T13" fmla="*/ 3 h 15"/>
                  <a:gd name="T14" fmla="*/ 2 w 7"/>
                  <a:gd name="T15" fmla="*/ 0 h 15"/>
                  <a:gd name="T16" fmla="*/ 2 w 7"/>
                  <a:gd name="T17" fmla="*/ 0 h 15"/>
                  <a:gd name="T18" fmla="*/ 0 w 7"/>
                  <a:gd name="T1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5">
                    <a:moveTo>
                      <a:pt x="0" y="3"/>
                    </a:moveTo>
                    <a:lnTo>
                      <a:pt x="0" y="12"/>
                    </a:lnTo>
                    <a:lnTo>
                      <a:pt x="0" y="12"/>
                    </a:lnTo>
                    <a:lnTo>
                      <a:pt x="5" y="15"/>
                    </a:lnTo>
                    <a:lnTo>
                      <a:pt x="7" y="12"/>
                    </a:lnTo>
                    <a:lnTo>
                      <a:pt x="7" y="3"/>
                    </a:lnTo>
                    <a:lnTo>
                      <a:pt x="7" y="3"/>
                    </a:lnTo>
                    <a:lnTo>
                      <a:pt x="2" y="0"/>
                    </a:lnTo>
                    <a:lnTo>
                      <a:pt x="2"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0" name="Freeform 4601"/>
              <p:cNvSpPr>
                <a:spLocks/>
              </p:cNvSpPr>
              <p:nvPr/>
            </p:nvSpPr>
            <p:spPr bwMode="auto">
              <a:xfrm>
                <a:off x="1089" y="3349"/>
                <a:ext cx="7" cy="15"/>
              </a:xfrm>
              <a:custGeom>
                <a:avLst/>
                <a:gdLst>
                  <a:gd name="T0" fmla="*/ 0 w 7"/>
                  <a:gd name="T1" fmla="*/ 3 h 15"/>
                  <a:gd name="T2" fmla="*/ 0 w 7"/>
                  <a:gd name="T3" fmla="*/ 12 h 15"/>
                  <a:gd name="T4" fmla="*/ 0 w 7"/>
                  <a:gd name="T5" fmla="*/ 12 h 15"/>
                  <a:gd name="T6" fmla="*/ 5 w 7"/>
                  <a:gd name="T7" fmla="*/ 15 h 15"/>
                  <a:gd name="T8" fmla="*/ 7 w 7"/>
                  <a:gd name="T9" fmla="*/ 12 h 15"/>
                  <a:gd name="T10" fmla="*/ 7 w 7"/>
                  <a:gd name="T11" fmla="*/ 3 h 15"/>
                  <a:gd name="T12" fmla="*/ 7 w 7"/>
                  <a:gd name="T13" fmla="*/ 3 h 15"/>
                  <a:gd name="T14" fmla="*/ 2 w 7"/>
                  <a:gd name="T15" fmla="*/ 0 h 15"/>
                  <a:gd name="T16" fmla="*/ 2 w 7"/>
                  <a:gd name="T17" fmla="*/ 0 h 15"/>
                  <a:gd name="T18" fmla="*/ 0 w 7"/>
                  <a:gd name="T1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5">
                    <a:moveTo>
                      <a:pt x="0" y="3"/>
                    </a:moveTo>
                    <a:lnTo>
                      <a:pt x="0" y="12"/>
                    </a:lnTo>
                    <a:lnTo>
                      <a:pt x="0" y="12"/>
                    </a:lnTo>
                    <a:lnTo>
                      <a:pt x="5" y="15"/>
                    </a:lnTo>
                    <a:lnTo>
                      <a:pt x="7" y="12"/>
                    </a:lnTo>
                    <a:lnTo>
                      <a:pt x="7" y="3"/>
                    </a:lnTo>
                    <a:lnTo>
                      <a:pt x="7" y="3"/>
                    </a:lnTo>
                    <a:lnTo>
                      <a:pt x="2" y="0"/>
                    </a:lnTo>
                    <a:lnTo>
                      <a:pt x="2" y="0"/>
                    </a:lnTo>
                    <a:lnTo>
                      <a:pt x="0"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1" name="Freeform 4602"/>
              <p:cNvSpPr>
                <a:spLocks/>
              </p:cNvSpPr>
              <p:nvPr/>
            </p:nvSpPr>
            <p:spPr bwMode="auto">
              <a:xfrm>
                <a:off x="1046" y="3321"/>
                <a:ext cx="14" cy="12"/>
              </a:xfrm>
              <a:custGeom>
                <a:avLst/>
                <a:gdLst>
                  <a:gd name="T0" fmla="*/ 10 w 14"/>
                  <a:gd name="T1" fmla="*/ 0 h 12"/>
                  <a:gd name="T2" fmla="*/ 0 w 14"/>
                  <a:gd name="T3" fmla="*/ 4 h 12"/>
                  <a:gd name="T4" fmla="*/ 0 w 14"/>
                  <a:gd name="T5" fmla="*/ 7 h 12"/>
                  <a:gd name="T6" fmla="*/ 2 w 14"/>
                  <a:gd name="T7" fmla="*/ 12 h 12"/>
                  <a:gd name="T8" fmla="*/ 5 w 14"/>
                  <a:gd name="T9" fmla="*/ 12 h 12"/>
                  <a:gd name="T10" fmla="*/ 12 w 14"/>
                  <a:gd name="T11" fmla="*/ 7 h 12"/>
                  <a:gd name="T12" fmla="*/ 14 w 14"/>
                  <a:gd name="T13" fmla="*/ 7 h 12"/>
                  <a:gd name="T14" fmla="*/ 12 w 14"/>
                  <a:gd name="T15" fmla="*/ 2 h 12"/>
                  <a:gd name="T16" fmla="*/ 10 w 14"/>
                  <a:gd name="T17" fmla="*/ 0 h 12"/>
                  <a:gd name="T18" fmla="*/ 10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10" y="0"/>
                    </a:moveTo>
                    <a:lnTo>
                      <a:pt x="0" y="4"/>
                    </a:lnTo>
                    <a:lnTo>
                      <a:pt x="0" y="7"/>
                    </a:lnTo>
                    <a:lnTo>
                      <a:pt x="2" y="12"/>
                    </a:lnTo>
                    <a:lnTo>
                      <a:pt x="5" y="12"/>
                    </a:lnTo>
                    <a:lnTo>
                      <a:pt x="12" y="7"/>
                    </a:lnTo>
                    <a:lnTo>
                      <a:pt x="14" y="7"/>
                    </a:lnTo>
                    <a:lnTo>
                      <a:pt x="12" y="2"/>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2" name="Freeform 4603"/>
              <p:cNvSpPr>
                <a:spLocks/>
              </p:cNvSpPr>
              <p:nvPr/>
            </p:nvSpPr>
            <p:spPr bwMode="auto">
              <a:xfrm>
                <a:off x="1046" y="3321"/>
                <a:ext cx="14" cy="12"/>
              </a:xfrm>
              <a:custGeom>
                <a:avLst/>
                <a:gdLst>
                  <a:gd name="T0" fmla="*/ 10 w 14"/>
                  <a:gd name="T1" fmla="*/ 0 h 12"/>
                  <a:gd name="T2" fmla="*/ 0 w 14"/>
                  <a:gd name="T3" fmla="*/ 4 h 12"/>
                  <a:gd name="T4" fmla="*/ 0 w 14"/>
                  <a:gd name="T5" fmla="*/ 7 h 12"/>
                  <a:gd name="T6" fmla="*/ 2 w 14"/>
                  <a:gd name="T7" fmla="*/ 12 h 12"/>
                  <a:gd name="T8" fmla="*/ 5 w 14"/>
                  <a:gd name="T9" fmla="*/ 12 h 12"/>
                  <a:gd name="T10" fmla="*/ 12 w 14"/>
                  <a:gd name="T11" fmla="*/ 7 h 12"/>
                  <a:gd name="T12" fmla="*/ 14 w 14"/>
                  <a:gd name="T13" fmla="*/ 7 h 12"/>
                  <a:gd name="T14" fmla="*/ 12 w 14"/>
                  <a:gd name="T15" fmla="*/ 2 h 12"/>
                  <a:gd name="T16" fmla="*/ 10 w 14"/>
                  <a:gd name="T17" fmla="*/ 0 h 12"/>
                  <a:gd name="T18" fmla="*/ 10 w 14"/>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10" y="0"/>
                    </a:moveTo>
                    <a:lnTo>
                      <a:pt x="0" y="4"/>
                    </a:lnTo>
                    <a:lnTo>
                      <a:pt x="0" y="7"/>
                    </a:lnTo>
                    <a:lnTo>
                      <a:pt x="2" y="12"/>
                    </a:lnTo>
                    <a:lnTo>
                      <a:pt x="5" y="12"/>
                    </a:lnTo>
                    <a:lnTo>
                      <a:pt x="12" y="7"/>
                    </a:lnTo>
                    <a:lnTo>
                      <a:pt x="14" y="7"/>
                    </a:lnTo>
                    <a:lnTo>
                      <a:pt x="12" y="2"/>
                    </a:lnTo>
                    <a:lnTo>
                      <a:pt x="10" y="0"/>
                    </a:lnTo>
                    <a:lnTo>
                      <a:pt x="1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3" name="Freeform 4604"/>
              <p:cNvSpPr>
                <a:spLocks/>
              </p:cNvSpPr>
              <p:nvPr/>
            </p:nvSpPr>
            <p:spPr bwMode="auto">
              <a:xfrm>
                <a:off x="1137" y="3282"/>
                <a:ext cx="14" cy="10"/>
              </a:xfrm>
              <a:custGeom>
                <a:avLst/>
                <a:gdLst>
                  <a:gd name="T0" fmla="*/ 9 w 14"/>
                  <a:gd name="T1" fmla="*/ 0 h 10"/>
                  <a:gd name="T2" fmla="*/ 0 w 14"/>
                  <a:gd name="T3" fmla="*/ 5 h 10"/>
                  <a:gd name="T4" fmla="*/ 0 w 14"/>
                  <a:gd name="T5" fmla="*/ 5 h 10"/>
                  <a:gd name="T6" fmla="*/ 2 w 14"/>
                  <a:gd name="T7" fmla="*/ 10 h 10"/>
                  <a:gd name="T8" fmla="*/ 4 w 14"/>
                  <a:gd name="T9" fmla="*/ 10 h 10"/>
                  <a:gd name="T10" fmla="*/ 12 w 14"/>
                  <a:gd name="T11" fmla="*/ 8 h 10"/>
                  <a:gd name="T12" fmla="*/ 14 w 14"/>
                  <a:gd name="T13" fmla="*/ 5 h 10"/>
                  <a:gd name="T14" fmla="*/ 12 w 14"/>
                  <a:gd name="T15" fmla="*/ 0 h 10"/>
                  <a:gd name="T16" fmla="*/ 9 w 14"/>
                  <a:gd name="T17" fmla="*/ 0 h 10"/>
                  <a:gd name="T18" fmla="*/ 9 w 1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0">
                    <a:moveTo>
                      <a:pt x="9" y="0"/>
                    </a:moveTo>
                    <a:lnTo>
                      <a:pt x="0" y="5"/>
                    </a:lnTo>
                    <a:lnTo>
                      <a:pt x="0" y="5"/>
                    </a:lnTo>
                    <a:lnTo>
                      <a:pt x="2" y="10"/>
                    </a:lnTo>
                    <a:lnTo>
                      <a:pt x="4" y="10"/>
                    </a:lnTo>
                    <a:lnTo>
                      <a:pt x="12" y="8"/>
                    </a:lnTo>
                    <a:lnTo>
                      <a:pt x="14" y="5"/>
                    </a:lnTo>
                    <a:lnTo>
                      <a:pt x="12"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4" name="Freeform 4605"/>
              <p:cNvSpPr>
                <a:spLocks/>
              </p:cNvSpPr>
              <p:nvPr/>
            </p:nvSpPr>
            <p:spPr bwMode="auto">
              <a:xfrm>
                <a:off x="1137" y="3282"/>
                <a:ext cx="14" cy="10"/>
              </a:xfrm>
              <a:custGeom>
                <a:avLst/>
                <a:gdLst>
                  <a:gd name="T0" fmla="*/ 9 w 14"/>
                  <a:gd name="T1" fmla="*/ 0 h 10"/>
                  <a:gd name="T2" fmla="*/ 0 w 14"/>
                  <a:gd name="T3" fmla="*/ 5 h 10"/>
                  <a:gd name="T4" fmla="*/ 0 w 14"/>
                  <a:gd name="T5" fmla="*/ 5 h 10"/>
                  <a:gd name="T6" fmla="*/ 2 w 14"/>
                  <a:gd name="T7" fmla="*/ 10 h 10"/>
                  <a:gd name="T8" fmla="*/ 4 w 14"/>
                  <a:gd name="T9" fmla="*/ 10 h 10"/>
                  <a:gd name="T10" fmla="*/ 12 w 14"/>
                  <a:gd name="T11" fmla="*/ 8 h 10"/>
                  <a:gd name="T12" fmla="*/ 14 w 14"/>
                  <a:gd name="T13" fmla="*/ 5 h 10"/>
                  <a:gd name="T14" fmla="*/ 12 w 14"/>
                  <a:gd name="T15" fmla="*/ 0 h 10"/>
                  <a:gd name="T16" fmla="*/ 9 w 14"/>
                  <a:gd name="T17" fmla="*/ 0 h 10"/>
                  <a:gd name="T18" fmla="*/ 9 w 1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0">
                    <a:moveTo>
                      <a:pt x="9" y="0"/>
                    </a:moveTo>
                    <a:lnTo>
                      <a:pt x="0" y="5"/>
                    </a:lnTo>
                    <a:lnTo>
                      <a:pt x="0" y="5"/>
                    </a:lnTo>
                    <a:lnTo>
                      <a:pt x="2" y="10"/>
                    </a:lnTo>
                    <a:lnTo>
                      <a:pt x="4" y="10"/>
                    </a:lnTo>
                    <a:lnTo>
                      <a:pt x="12" y="8"/>
                    </a:lnTo>
                    <a:lnTo>
                      <a:pt x="14" y="5"/>
                    </a:lnTo>
                    <a:lnTo>
                      <a:pt x="12" y="0"/>
                    </a:lnTo>
                    <a:lnTo>
                      <a:pt x="9" y="0"/>
                    </a:lnTo>
                    <a:lnTo>
                      <a:pt x="9"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5" name="Freeform 4607"/>
              <p:cNvSpPr>
                <a:spLocks/>
              </p:cNvSpPr>
              <p:nvPr/>
            </p:nvSpPr>
            <p:spPr bwMode="auto">
              <a:xfrm>
                <a:off x="1072" y="3256"/>
                <a:ext cx="12" cy="12"/>
              </a:xfrm>
              <a:custGeom>
                <a:avLst/>
                <a:gdLst>
                  <a:gd name="T0" fmla="*/ 7 w 12"/>
                  <a:gd name="T1" fmla="*/ 0 h 12"/>
                  <a:gd name="T2" fmla="*/ 3 w 12"/>
                  <a:gd name="T3" fmla="*/ 0 h 12"/>
                  <a:gd name="T4" fmla="*/ 0 w 12"/>
                  <a:gd name="T5" fmla="*/ 2 h 12"/>
                  <a:gd name="T6" fmla="*/ 5 w 12"/>
                  <a:gd name="T7" fmla="*/ 12 h 12"/>
                  <a:gd name="T8" fmla="*/ 7 w 12"/>
                  <a:gd name="T9" fmla="*/ 12 h 12"/>
                  <a:gd name="T10" fmla="*/ 12 w 12"/>
                  <a:gd name="T11" fmla="*/ 10 h 12"/>
                  <a:gd name="T12" fmla="*/ 12 w 12"/>
                  <a:gd name="T13" fmla="*/ 10 h 12"/>
                  <a:gd name="T14" fmla="*/ 7 w 12"/>
                  <a:gd name="T15" fmla="*/ 0 h 12"/>
                  <a:gd name="T16" fmla="*/ 7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3" y="0"/>
                    </a:lnTo>
                    <a:lnTo>
                      <a:pt x="0" y="2"/>
                    </a:lnTo>
                    <a:lnTo>
                      <a:pt x="5" y="12"/>
                    </a:lnTo>
                    <a:lnTo>
                      <a:pt x="7" y="12"/>
                    </a:lnTo>
                    <a:lnTo>
                      <a:pt x="12" y="10"/>
                    </a:lnTo>
                    <a:lnTo>
                      <a:pt x="12" y="10"/>
                    </a:lnTo>
                    <a:lnTo>
                      <a:pt x="7"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86" name="Freeform 4608"/>
              <p:cNvSpPr>
                <a:spLocks/>
              </p:cNvSpPr>
              <p:nvPr/>
            </p:nvSpPr>
            <p:spPr bwMode="auto">
              <a:xfrm>
                <a:off x="1072" y="3256"/>
                <a:ext cx="12" cy="12"/>
              </a:xfrm>
              <a:custGeom>
                <a:avLst/>
                <a:gdLst>
                  <a:gd name="T0" fmla="*/ 7 w 12"/>
                  <a:gd name="T1" fmla="*/ 0 h 12"/>
                  <a:gd name="T2" fmla="*/ 3 w 12"/>
                  <a:gd name="T3" fmla="*/ 0 h 12"/>
                  <a:gd name="T4" fmla="*/ 0 w 12"/>
                  <a:gd name="T5" fmla="*/ 2 h 12"/>
                  <a:gd name="T6" fmla="*/ 5 w 12"/>
                  <a:gd name="T7" fmla="*/ 12 h 12"/>
                  <a:gd name="T8" fmla="*/ 7 w 12"/>
                  <a:gd name="T9" fmla="*/ 12 h 12"/>
                  <a:gd name="T10" fmla="*/ 12 w 12"/>
                  <a:gd name="T11" fmla="*/ 10 h 12"/>
                  <a:gd name="T12" fmla="*/ 12 w 12"/>
                  <a:gd name="T13" fmla="*/ 10 h 12"/>
                  <a:gd name="T14" fmla="*/ 7 w 12"/>
                  <a:gd name="T15" fmla="*/ 0 h 12"/>
                  <a:gd name="T16" fmla="*/ 7 w 12"/>
                  <a:gd name="T17" fmla="*/ 0 h 12"/>
                  <a:gd name="T18" fmla="*/ 7 w 1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7" y="0"/>
                    </a:moveTo>
                    <a:lnTo>
                      <a:pt x="3" y="0"/>
                    </a:lnTo>
                    <a:lnTo>
                      <a:pt x="0" y="2"/>
                    </a:lnTo>
                    <a:lnTo>
                      <a:pt x="5" y="12"/>
                    </a:lnTo>
                    <a:lnTo>
                      <a:pt x="7" y="12"/>
                    </a:lnTo>
                    <a:lnTo>
                      <a:pt x="12" y="10"/>
                    </a:lnTo>
                    <a:lnTo>
                      <a:pt x="12" y="10"/>
                    </a:lnTo>
                    <a:lnTo>
                      <a:pt x="7" y="0"/>
                    </a:lnTo>
                    <a:lnTo>
                      <a:pt x="7" y="0"/>
                    </a:lnTo>
                    <a:lnTo>
                      <a:pt x="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482" name="Freeform 4611"/>
            <p:cNvSpPr>
              <a:spLocks/>
            </p:cNvSpPr>
            <p:nvPr/>
          </p:nvSpPr>
          <p:spPr bwMode="auto">
            <a:xfrm>
              <a:off x="1113" y="3347"/>
              <a:ext cx="9" cy="12"/>
            </a:xfrm>
            <a:custGeom>
              <a:avLst/>
              <a:gdLst>
                <a:gd name="T0" fmla="*/ 5 w 9"/>
                <a:gd name="T1" fmla="*/ 0 h 12"/>
                <a:gd name="T2" fmla="*/ 0 w 9"/>
                <a:gd name="T3" fmla="*/ 2 h 12"/>
                <a:gd name="T4" fmla="*/ 0 w 9"/>
                <a:gd name="T5" fmla="*/ 2 h 12"/>
                <a:gd name="T6" fmla="*/ 2 w 9"/>
                <a:gd name="T7" fmla="*/ 12 h 12"/>
                <a:gd name="T8" fmla="*/ 5 w 9"/>
                <a:gd name="T9" fmla="*/ 12 h 12"/>
                <a:gd name="T10" fmla="*/ 9 w 9"/>
                <a:gd name="T11" fmla="*/ 9 h 12"/>
                <a:gd name="T12" fmla="*/ 9 w 9"/>
                <a:gd name="T13" fmla="*/ 9 h 12"/>
                <a:gd name="T14" fmla="*/ 7 w 9"/>
                <a:gd name="T15" fmla="*/ 0 h 12"/>
                <a:gd name="T16" fmla="*/ 5 w 9"/>
                <a:gd name="T17" fmla="*/ 0 h 12"/>
                <a:gd name="T18" fmla="*/ 5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5" y="0"/>
                  </a:moveTo>
                  <a:lnTo>
                    <a:pt x="0" y="2"/>
                  </a:lnTo>
                  <a:lnTo>
                    <a:pt x="0" y="2"/>
                  </a:lnTo>
                  <a:lnTo>
                    <a:pt x="2" y="12"/>
                  </a:lnTo>
                  <a:lnTo>
                    <a:pt x="5" y="12"/>
                  </a:lnTo>
                  <a:lnTo>
                    <a:pt x="9" y="9"/>
                  </a:lnTo>
                  <a:lnTo>
                    <a:pt x="9" y="9"/>
                  </a:lnTo>
                  <a:lnTo>
                    <a:pt x="7" y="0"/>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3" name="Freeform 4612"/>
            <p:cNvSpPr>
              <a:spLocks/>
            </p:cNvSpPr>
            <p:nvPr/>
          </p:nvSpPr>
          <p:spPr bwMode="auto">
            <a:xfrm>
              <a:off x="1113" y="3347"/>
              <a:ext cx="9" cy="12"/>
            </a:xfrm>
            <a:custGeom>
              <a:avLst/>
              <a:gdLst>
                <a:gd name="T0" fmla="*/ 5 w 9"/>
                <a:gd name="T1" fmla="*/ 0 h 12"/>
                <a:gd name="T2" fmla="*/ 0 w 9"/>
                <a:gd name="T3" fmla="*/ 2 h 12"/>
                <a:gd name="T4" fmla="*/ 0 w 9"/>
                <a:gd name="T5" fmla="*/ 2 h 12"/>
                <a:gd name="T6" fmla="*/ 2 w 9"/>
                <a:gd name="T7" fmla="*/ 12 h 12"/>
                <a:gd name="T8" fmla="*/ 5 w 9"/>
                <a:gd name="T9" fmla="*/ 12 h 12"/>
                <a:gd name="T10" fmla="*/ 9 w 9"/>
                <a:gd name="T11" fmla="*/ 9 h 12"/>
                <a:gd name="T12" fmla="*/ 9 w 9"/>
                <a:gd name="T13" fmla="*/ 9 h 12"/>
                <a:gd name="T14" fmla="*/ 7 w 9"/>
                <a:gd name="T15" fmla="*/ 0 h 12"/>
                <a:gd name="T16" fmla="*/ 5 w 9"/>
                <a:gd name="T17" fmla="*/ 0 h 12"/>
                <a:gd name="T18" fmla="*/ 5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5" y="0"/>
                  </a:moveTo>
                  <a:lnTo>
                    <a:pt x="0" y="2"/>
                  </a:lnTo>
                  <a:lnTo>
                    <a:pt x="0" y="2"/>
                  </a:lnTo>
                  <a:lnTo>
                    <a:pt x="2" y="12"/>
                  </a:lnTo>
                  <a:lnTo>
                    <a:pt x="5" y="12"/>
                  </a:lnTo>
                  <a:lnTo>
                    <a:pt x="9" y="9"/>
                  </a:lnTo>
                  <a:lnTo>
                    <a:pt x="9" y="9"/>
                  </a:lnTo>
                  <a:lnTo>
                    <a:pt x="7" y="0"/>
                  </a:lnTo>
                  <a:lnTo>
                    <a:pt x="5" y="0"/>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4" name="Freeform 4613"/>
            <p:cNvSpPr>
              <a:spLocks/>
            </p:cNvSpPr>
            <p:nvPr/>
          </p:nvSpPr>
          <p:spPr bwMode="auto">
            <a:xfrm>
              <a:off x="1046" y="3282"/>
              <a:ext cx="12" cy="12"/>
            </a:xfrm>
            <a:custGeom>
              <a:avLst/>
              <a:gdLst>
                <a:gd name="T0" fmla="*/ 2 w 12"/>
                <a:gd name="T1" fmla="*/ 3 h 12"/>
                <a:gd name="T2" fmla="*/ 0 w 12"/>
                <a:gd name="T3" fmla="*/ 8 h 12"/>
                <a:gd name="T4" fmla="*/ 0 w 12"/>
                <a:gd name="T5" fmla="*/ 8 h 12"/>
                <a:gd name="T6" fmla="*/ 10 w 12"/>
                <a:gd name="T7" fmla="*/ 12 h 12"/>
                <a:gd name="T8" fmla="*/ 12 w 12"/>
                <a:gd name="T9" fmla="*/ 12 h 12"/>
                <a:gd name="T10" fmla="*/ 12 w 12"/>
                <a:gd name="T11" fmla="*/ 8 h 12"/>
                <a:gd name="T12" fmla="*/ 12 w 12"/>
                <a:gd name="T13" fmla="*/ 5 h 12"/>
                <a:gd name="T14" fmla="*/ 2 w 12"/>
                <a:gd name="T15" fmla="*/ 3 h 12"/>
                <a:gd name="T16" fmla="*/ 2 w 12"/>
                <a:gd name="T17" fmla="*/ 0 h 12"/>
                <a:gd name="T18" fmla="*/ 2 w 12"/>
                <a:gd name="T1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2" y="3"/>
                  </a:moveTo>
                  <a:lnTo>
                    <a:pt x="0" y="8"/>
                  </a:lnTo>
                  <a:lnTo>
                    <a:pt x="0" y="8"/>
                  </a:lnTo>
                  <a:lnTo>
                    <a:pt x="10" y="12"/>
                  </a:lnTo>
                  <a:lnTo>
                    <a:pt x="12" y="12"/>
                  </a:lnTo>
                  <a:lnTo>
                    <a:pt x="12" y="8"/>
                  </a:lnTo>
                  <a:lnTo>
                    <a:pt x="12" y="5"/>
                  </a:lnTo>
                  <a:lnTo>
                    <a:pt x="2" y="3"/>
                  </a:lnTo>
                  <a:lnTo>
                    <a:pt x="2" y="0"/>
                  </a:lnTo>
                  <a:lnTo>
                    <a:pt x="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5" name="Freeform 4614"/>
            <p:cNvSpPr>
              <a:spLocks/>
            </p:cNvSpPr>
            <p:nvPr/>
          </p:nvSpPr>
          <p:spPr bwMode="auto">
            <a:xfrm>
              <a:off x="1046" y="3282"/>
              <a:ext cx="12" cy="12"/>
            </a:xfrm>
            <a:custGeom>
              <a:avLst/>
              <a:gdLst>
                <a:gd name="T0" fmla="*/ 2 w 12"/>
                <a:gd name="T1" fmla="*/ 3 h 12"/>
                <a:gd name="T2" fmla="*/ 0 w 12"/>
                <a:gd name="T3" fmla="*/ 8 h 12"/>
                <a:gd name="T4" fmla="*/ 0 w 12"/>
                <a:gd name="T5" fmla="*/ 8 h 12"/>
                <a:gd name="T6" fmla="*/ 10 w 12"/>
                <a:gd name="T7" fmla="*/ 12 h 12"/>
                <a:gd name="T8" fmla="*/ 12 w 12"/>
                <a:gd name="T9" fmla="*/ 12 h 12"/>
                <a:gd name="T10" fmla="*/ 12 w 12"/>
                <a:gd name="T11" fmla="*/ 8 h 12"/>
                <a:gd name="T12" fmla="*/ 12 w 12"/>
                <a:gd name="T13" fmla="*/ 5 h 12"/>
                <a:gd name="T14" fmla="*/ 2 w 12"/>
                <a:gd name="T15" fmla="*/ 3 h 12"/>
                <a:gd name="T16" fmla="*/ 2 w 12"/>
                <a:gd name="T17" fmla="*/ 0 h 12"/>
                <a:gd name="T18" fmla="*/ 2 w 12"/>
                <a:gd name="T1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2" y="3"/>
                  </a:moveTo>
                  <a:lnTo>
                    <a:pt x="0" y="8"/>
                  </a:lnTo>
                  <a:lnTo>
                    <a:pt x="0" y="8"/>
                  </a:lnTo>
                  <a:lnTo>
                    <a:pt x="10" y="12"/>
                  </a:lnTo>
                  <a:lnTo>
                    <a:pt x="12" y="12"/>
                  </a:lnTo>
                  <a:lnTo>
                    <a:pt x="12" y="8"/>
                  </a:lnTo>
                  <a:lnTo>
                    <a:pt x="12" y="5"/>
                  </a:lnTo>
                  <a:lnTo>
                    <a:pt x="2" y="3"/>
                  </a:lnTo>
                  <a:lnTo>
                    <a:pt x="2" y="0"/>
                  </a:lnTo>
                  <a:lnTo>
                    <a:pt x="2" y="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6" name="Freeform 4616"/>
            <p:cNvSpPr>
              <a:spLocks/>
            </p:cNvSpPr>
            <p:nvPr/>
          </p:nvSpPr>
          <p:spPr bwMode="auto">
            <a:xfrm>
              <a:off x="1137" y="3321"/>
              <a:ext cx="14" cy="9"/>
            </a:xfrm>
            <a:custGeom>
              <a:avLst/>
              <a:gdLst>
                <a:gd name="T0" fmla="*/ 2 w 14"/>
                <a:gd name="T1" fmla="*/ 0 h 9"/>
                <a:gd name="T2" fmla="*/ 0 w 14"/>
                <a:gd name="T3" fmla="*/ 4 h 9"/>
                <a:gd name="T4" fmla="*/ 2 w 14"/>
                <a:gd name="T5" fmla="*/ 7 h 9"/>
                <a:gd name="T6" fmla="*/ 9 w 14"/>
                <a:gd name="T7" fmla="*/ 9 h 9"/>
                <a:gd name="T8" fmla="*/ 12 w 14"/>
                <a:gd name="T9" fmla="*/ 9 h 9"/>
                <a:gd name="T10" fmla="*/ 14 w 14"/>
                <a:gd name="T11" fmla="*/ 4 h 9"/>
                <a:gd name="T12" fmla="*/ 14 w 14"/>
                <a:gd name="T13" fmla="*/ 2 h 9"/>
                <a:gd name="T14" fmla="*/ 4 w 14"/>
                <a:gd name="T15" fmla="*/ 0 h 9"/>
                <a:gd name="T16" fmla="*/ 4 w 14"/>
                <a:gd name="T17" fmla="*/ 0 h 9"/>
                <a:gd name="T18" fmla="*/ 2 w 1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9">
                  <a:moveTo>
                    <a:pt x="2" y="0"/>
                  </a:moveTo>
                  <a:lnTo>
                    <a:pt x="0" y="4"/>
                  </a:lnTo>
                  <a:lnTo>
                    <a:pt x="2" y="7"/>
                  </a:lnTo>
                  <a:lnTo>
                    <a:pt x="9" y="9"/>
                  </a:lnTo>
                  <a:lnTo>
                    <a:pt x="12" y="9"/>
                  </a:lnTo>
                  <a:lnTo>
                    <a:pt x="14" y="4"/>
                  </a:lnTo>
                  <a:lnTo>
                    <a:pt x="14" y="2"/>
                  </a:lnTo>
                  <a:lnTo>
                    <a:pt x="4" y="0"/>
                  </a:lnTo>
                  <a:lnTo>
                    <a:pt x="4"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7" name="Freeform 4617"/>
            <p:cNvSpPr>
              <a:spLocks/>
            </p:cNvSpPr>
            <p:nvPr/>
          </p:nvSpPr>
          <p:spPr bwMode="auto">
            <a:xfrm>
              <a:off x="1137" y="3321"/>
              <a:ext cx="14" cy="9"/>
            </a:xfrm>
            <a:custGeom>
              <a:avLst/>
              <a:gdLst>
                <a:gd name="T0" fmla="*/ 2 w 14"/>
                <a:gd name="T1" fmla="*/ 0 h 9"/>
                <a:gd name="T2" fmla="*/ 0 w 14"/>
                <a:gd name="T3" fmla="*/ 4 h 9"/>
                <a:gd name="T4" fmla="*/ 2 w 14"/>
                <a:gd name="T5" fmla="*/ 7 h 9"/>
                <a:gd name="T6" fmla="*/ 9 w 14"/>
                <a:gd name="T7" fmla="*/ 9 h 9"/>
                <a:gd name="T8" fmla="*/ 12 w 14"/>
                <a:gd name="T9" fmla="*/ 9 h 9"/>
                <a:gd name="T10" fmla="*/ 14 w 14"/>
                <a:gd name="T11" fmla="*/ 4 h 9"/>
                <a:gd name="T12" fmla="*/ 14 w 14"/>
                <a:gd name="T13" fmla="*/ 2 h 9"/>
                <a:gd name="T14" fmla="*/ 4 w 14"/>
                <a:gd name="T15" fmla="*/ 0 h 9"/>
                <a:gd name="T16" fmla="*/ 4 w 14"/>
                <a:gd name="T17" fmla="*/ 0 h 9"/>
                <a:gd name="T18" fmla="*/ 2 w 14"/>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9">
                  <a:moveTo>
                    <a:pt x="2" y="0"/>
                  </a:moveTo>
                  <a:lnTo>
                    <a:pt x="0" y="4"/>
                  </a:lnTo>
                  <a:lnTo>
                    <a:pt x="2" y="7"/>
                  </a:lnTo>
                  <a:lnTo>
                    <a:pt x="9" y="9"/>
                  </a:lnTo>
                  <a:lnTo>
                    <a:pt x="12" y="9"/>
                  </a:lnTo>
                  <a:lnTo>
                    <a:pt x="14" y="4"/>
                  </a:lnTo>
                  <a:lnTo>
                    <a:pt x="14" y="2"/>
                  </a:lnTo>
                  <a:lnTo>
                    <a:pt x="4" y="0"/>
                  </a:lnTo>
                  <a:lnTo>
                    <a:pt x="4"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8" name="Freeform 4619"/>
            <p:cNvSpPr>
              <a:spLocks/>
            </p:cNvSpPr>
            <p:nvPr/>
          </p:nvSpPr>
          <p:spPr bwMode="auto">
            <a:xfrm>
              <a:off x="1110" y="3254"/>
              <a:ext cx="12" cy="14"/>
            </a:xfrm>
            <a:custGeom>
              <a:avLst/>
              <a:gdLst>
                <a:gd name="T0" fmla="*/ 5 w 12"/>
                <a:gd name="T1" fmla="*/ 2 h 14"/>
                <a:gd name="T2" fmla="*/ 0 w 12"/>
                <a:gd name="T3" fmla="*/ 9 h 14"/>
                <a:gd name="T4" fmla="*/ 3 w 12"/>
                <a:gd name="T5" fmla="*/ 12 h 14"/>
                <a:gd name="T6" fmla="*/ 8 w 12"/>
                <a:gd name="T7" fmla="*/ 14 h 14"/>
                <a:gd name="T8" fmla="*/ 8 w 12"/>
                <a:gd name="T9" fmla="*/ 14 h 14"/>
                <a:gd name="T10" fmla="*/ 12 w 12"/>
                <a:gd name="T11" fmla="*/ 4 h 14"/>
                <a:gd name="T12" fmla="*/ 10 w 12"/>
                <a:gd name="T13" fmla="*/ 2 h 14"/>
                <a:gd name="T14" fmla="*/ 8 w 12"/>
                <a:gd name="T15" fmla="*/ 0 h 14"/>
                <a:gd name="T16" fmla="*/ 5 w 12"/>
                <a:gd name="T17" fmla="*/ 0 h 14"/>
                <a:gd name="T18" fmla="*/ 5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5" y="2"/>
                  </a:moveTo>
                  <a:lnTo>
                    <a:pt x="0" y="9"/>
                  </a:lnTo>
                  <a:lnTo>
                    <a:pt x="3" y="12"/>
                  </a:lnTo>
                  <a:lnTo>
                    <a:pt x="8" y="14"/>
                  </a:lnTo>
                  <a:lnTo>
                    <a:pt x="8" y="14"/>
                  </a:lnTo>
                  <a:lnTo>
                    <a:pt x="12" y="4"/>
                  </a:lnTo>
                  <a:lnTo>
                    <a:pt x="10" y="2"/>
                  </a:lnTo>
                  <a:lnTo>
                    <a:pt x="8" y="0"/>
                  </a:lnTo>
                  <a:lnTo>
                    <a:pt x="5" y="0"/>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89" name="Freeform 4620"/>
            <p:cNvSpPr>
              <a:spLocks/>
            </p:cNvSpPr>
            <p:nvPr/>
          </p:nvSpPr>
          <p:spPr bwMode="auto">
            <a:xfrm>
              <a:off x="1110" y="3254"/>
              <a:ext cx="12" cy="14"/>
            </a:xfrm>
            <a:custGeom>
              <a:avLst/>
              <a:gdLst>
                <a:gd name="T0" fmla="*/ 5 w 12"/>
                <a:gd name="T1" fmla="*/ 2 h 14"/>
                <a:gd name="T2" fmla="*/ 0 w 12"/>
                <a:gd name="T3" fmla="*/ 9 h 14"/>
                <a:gd name="T4" fmla="*/ 3 w 12"/>
                <a:gd name="T5" fmla="*/ 12 h 14"/>
                <a:gd name="T6" fmla="*/ 8 w 12"/>
                <a:gd name="T7" fmla="*/ 14 h 14"/>
                <a:gd name="T8" fmla="*/ 8 w 12"/>
                <a:gd name="T9" fmla="*/ 14 h 14"/>
                <a:gd name="T10" fmla="*/ 12 w 12"/>
                <a:gd name="T11" fmla="*/ 4 h 14"/>
                <a:gd name="T12" fmla="*/ 10 w 12"/>
                <a:gd name="T13" fmla="*/ 2 h 14"/>
                <a:gd name="T14" fmla="*/ 8 w 12"/>
                <a:gd name="T15" fmla="*/ 0 h 14"/>
                <a:gd name="T16" fmla="*/ 5 w 12"/>
                <a:gd name="T17" fmla="*/ 0 h 14"/>
                <a:gd name="T18" fmla="*/ 5 w 12"/>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4">
                  <a:moveTo>
                    <a:pt x="5" y="2"/>
                  </a:moveTo>
                  <a:lnTo>
                    <a:pt x="0" y="9"/>
                  </a:lnTo>
                  <a:lnTo>
                    <a:pt x="3" y="12"/>
                  </a:lnTo>
                  <a:lnTo>
                    <a:pt x="8" y="14"/>
                  </a:lnTo>
                  <a:lnTo>
                    <a:pt x="8" y="14"/>
                  </a:lnTo>
                  <a:lnTo>
                    <a:pt x="12" y="4"/>
                  </a:lnTo>
                  <a:lnTo>
                    <a:pt x="10" y="2"/>
                  </a:lnTo>
                  <a:lnTo>
                    <a:pt x="8" y="0"/>
                  </a:lnTo>
                  <a:lnTo>
                    <a:pt x="5" y="0"/>
                  </a:lnTo>
                  <a:lnTo>
                    <a:pt x="5" y="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0" name="Freeform 4622"/>
            <p:cNvSpPr>
              <a:spLocks/>
            </p:cNvSpPr>
            <p:nvPr/>
          </p:nvSpPr>
          <p:spPr bwMode="auto">
            <a:xfrm>
              <a:off x="1075" y="3347"/>
              <a:ext cx="9" cy="12"/>
            </a:xfrm>
            <a:custGeom>
              <a:avLst/>
              <a:gdLst>
                <a:gd name="T0" fmla="*/ 2 w 9"/>
                <a:gd name="T1" fmla="*/ 0 h 12"/>
                <a:gd name="T2" fmla="*/ 0 w 9"/>
                <a:gd name="T3" fmla="*/ 9 h 12"/>
                <a:gd name="T4" fmla="*/ 0 w 9"/>
                <a:gd name="T5" fmla="*/ 12 h 12"/>
                <a:gd name="T6" fmla="*/ 4 w 9"/>
                <a:gd name="T7" fmla="*/ 12 h 12"/>
                <a:gd name="T8" fmla="*/ 7 w 9"/>
                <a:gd name="T9" fmla="*/ 12 h 12"/>
                <a:gd name="T10" fmla="*/ 9 w 9"/>
                <a:gd name="T11" fmla="*/ 2 h 12"/>
                <a:gd name="T12" fmla="*/ 9 w 9"/>
                <a:gd name="T13" fmla="*/ 2 h 12"/>
                <a:gd name="T14" fmla="*/ 4 w 9"/>
                <a:gd name="T15" fmla="*/ 0 h 12"/>
                <a:gd name="T16" fmla="*/ 4 w 9"/>
                <a:gd name="T17" fmla="*/ 0 h 12"/>
                <a:gd name="T18" fmla="*/ 2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0"/>
                  </a:moveTo>
                  <a:lnTo>
                    <a:pt x="0" y="9"/>
                  </a:lnTo>
                  <a:lnTo>
                    <a:pt x="0" y="12"/>
                  </a:lnTo>
                  <a:lnTo>
                    <a:pt x="4" y="12"/>
                  </a:lnTo>
                  <a:lnTo>
                    <a:pt x="7" y="12"/>
                  </a:lnTo>
                  <a:lnTo>
                    <a:pt x="9" y="2"/>
                  </a:lnTo>
                  <a:lnTo>
                    <a:pt x="9" y="2"/>
                  </a:lnTo>
                  <a:lnTo>
                    <a:pt x="4" y="0"/>
                  </a:lnTo>
                  <a:lnTo>
                    <a:pt x="4"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1" name="Freeform 4623"/>
            <p:cNvSpPr>
              <a:spLocks/>
            </p:cNvSpPr>
            <p:nvPr/>
          </p:nvSpPr>
          <p:spPr bwMode="auto">
            <a:xfrm>
              <a:off x="1075" y="3347"/>
              <a:ext cx="9" cy="12"/>
            </a:xfrm>
            <a:custGeom>
              <a:avLst/>
              <a:gdLst>
                <a:gd name="T0" fmla="*/ 2 w 9"/>
                <a:gd name="T1" fmla="*/ 0 h 12"/>
                <a:gd name="T2" fmla="*/ 0 w 9"/>
                <a:gd name="T3" fmla="*/ 9 h 12"/>
                <a:gd name="T4" fmla="*/ 0 w 9"/>
                <a:gd name="T5" fmla="*/ 12 h 12"/>
                <a:gd name="T6" fmla="*/ 4 w 9"/>
                <a:gd name="T7" fmla="*/ 12 h 12"/>
                <a:gd name="T8" fmla="*/ 7 w 9"/>
                <a:gd name="T9" fmla="*/ 12 h 12"/>
                <a:gd name="T10" fmla="*/ 9 w 9"/>
                <a:gd name="T11" fmla="*/ 2 h 12"/>
                <a:gd name="T12" fmla="*/ 9 w 9"/>
                <a:gd name="T13" fmla="*/ 2 h 12"/>
                <a:gd name="T14" fmla="*/ 4 w 9"/>
                <a:gd name="T15" fmla="*/ 0 h 12"/>
                <a:gd name="T16" fmla="*/ 4 w 9"/>
                <a:gd name="T17" fmla="*/ 0 h 12"/>
                <a:gd name="T18" fmla="*/ 2 w 9"/>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0"/>
                  </a:moveTo>
                  <a:lnTo>
                    <a:pt x="0" y="9"/>
                  </a:lnTo>
                  <a:lnTo>
                    <a:pt x="0" y="12"/>
                  </a:lnTo>
                  <a:lnTo>
                    <a:pt x="4" y="12"/>
                  </a:lnTo>
                  <a:lnTo>
                    <a:pt x="7" y="12"/>
                  </a:lnTo>
                  <a:lnTo>
                    <a:pt x="9" y="2"/>
                  </a:lnTo>
                  <a:lnTo>
                    <a:pt x="9" y="2"/>
                  </a:lnTo>
                  <a:lnTo>
                    <a:pt x="4" y="0"/>
                  </a:lnTo>
                  <a:lnTo>
                    <a:pt x="4" y="0"/>
                  </a:lnTo>
                  <a:lnTo>
                    <a:pt x="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2" name="Freeform 4624"/>
            <p:cNvSpPr>
              <a:spLocks noEditPoints="1"/>
            </p:cNvSpPr>
            <p:nvPr/>
          </p:nvSpPr>
          <p:spPr bwMode="auto">
            <a:xfrm>
              <a:off x="535" y="2912"/>
              <a:ext cx="308" cy="404"/>
            </a:xfrm>
            <a:custGeom>
              <a:avLst/>
              <a:gdLst>
                <a:gd name="T0" fmla="*/ 21 w 129"/>
                <a:gd name="T1" fmla="*/ 118 h 169"/>
                <a:gd name="T2" fmla="*/ 22 w 129"/>
                <a:gd name="T3" fmla="*/ 115 h 169"/>
                <a:gd name="T4" fmla="*/ 45 w 129"/>
                <a:gd name="T5" fmla="*/ 90 h 169"/>
                <a:gd name="T6" fmla="*/ 25 w 129"/>
                <a:gd name="T7" fmla="*/ 64 h 169"/>
                <a:gd name="T8" fmla="*/ 24 w 129"/>
                <a:gd name="T9" fmla="*/ 5 h 169"/>
                <a:gd name="T10" fmla="*/ 34 w 129"/>
                <a:gd name="T11" fmla="*/ 38 h 169"/>
                <a:gd name="T12" fmla="*/ 74 w 129"/>
                <a:gd name="T13" fmla="*/ 48 h 169"/>
                <a:gd name="T14" fmla="*/ 108 w 129"/>
                <a:gd name="T15" fmla="*/ 68 h 169"/>
                <a:gd name="T16" fmla="*/ 86 w 129"/>
                <a:gd name="T17" fmla="*/ 88 h 169"/>
                <a:gd name="T18" fmla="*/ 94 w 129"/>
                <a:gd name="T19" fmla="*/ 142 h 169"/>
                <a:gd name="T20" fmla="*/ 104 w 129"/>
                <a:gd name="T21" fmla="*/ 151 h 169"/>
                <a:gd name="T22" fmla="*/ 89 w 129"/>
                <a:gd name="T23" fmla="*/ 142 h 169"/>
                <a:gd name="T24" fmla="*/ 64 w 129"/>
                <a:gd name="T25" fmla="*/ 164 h 169"/>
                <a:gd name="T26" fmla="*/ 22 w 129"/>
                <a:gd name="T27" fmla="*/ 1 h 169"/>
                <a:gd name="T28" fmla="*/ 0 w 129"/>
                <a:gd name="T29" fmla="*/ 21 h 169"/>
                <a:gd name="T30" fmla="*/ 22 w 129"/>
                <a:gd name="T31" fmla="*/ 67 h 169"/>
                <a:gd name="T32" fmla="*/ 41 w 129"/>
                <a:gd name="T33" fmla="*/ 88 h 169"/>
                <a:gd name="T34" fmla="*/ 17 w 129"/>
                <a:gd name="T35" fmla="*/ 116 h 169"/>
                <a:gd name="T36" fmla="*/ 60 w 129"/>
                <a:gd name="T37" fmla="*/ 166 h 169"/>
                <a:gd name="T38" fmla="*/ 91 w 129"/>
                <a:gd name="T39" fmla="*/ 146 h 169"/>
                <a:gd name="T40" fmla="*/ 114 w 129"/>
                <a:gd name="T41" fmla="*/ 159 h 169"/>
                <a:gd name="T42" fmla="*/ 129 w 129"/>
                <a:gd name="T43" fmla="*/ 157 h 169"/>
                <a:gd name="T44" fmla="*/ 117 w 129"/>
                <a:gd name="T45" fmla="*/ 153 h 169"/>
                <a:gd name="T46" fmla="*/ 97 w 129"/>
                <a:gd name="T47" fmla="*/ 139 h 169"/>
                <a:gd name="T48" fmla="*/ 89 w 129"/>
                <a:gd name="T49" fmla="*/ 90 h 169"/>
                <a:gd name="T50" fmla="*/ 112 w 129"/>
                <a:gd name="T51" fmla="*/ 67 h 169"/>
                <a:gd name="T52" fmla="*/ 86 w 129"/>
                <a:gd name="T53" fmla="*/ 39 h 169"/>
                <a:gd name="T54" fmla="*/ 72 w 129"/>
                <a:gd name="T55" fmla="*/ 45 h 169"/>
                <a:gd name="T56" fmla="*/ 37 w 129"/>
                <a:gd name="T57" fmla="*/ 36 h 169"/>
                <a:gd name="T58" fmla="*/ 28 w 129"/>
                <a:gd name="T59" fmla="*/ 4 h 169"/>
                <a:gd name="T60" fmla="*/ 24 w 129"/>
                <a:gd name="T61" fmla="*/ 0 h 169"/>
                <a:gd name="T62" fmla="*/ 22 w 129"/>
                <a:gd name="T63" fmla="*/ 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9" h="169">
                  <a:moveTo>
                    <a:pt x="63" y="164"/>
                  </a:moveTo>
                  <a:cubicBezTo>
                    <a:pt x="21" y="118"/>
                    <a:pt x="21" y="118"/>
                    <a:pt x="21" y="118"/>
                  </a:cubicBezTo>
                  <a:cubicBezTo>
                    <a:pt x="21" y="117"/>
                    <a:pt x="21" y="117"/>
                    <a:pt x="21" y="116"/>
                  </a:cubicBezTo>
                  <a:cubicBezTo>
                    <a:pt x="21" y="116"/>
                    <a:pt x="21" y="116"/>
                    <a:pt x="22" y="115"/>
                  </a:cubicBezTo>
                  <a:cubicBezTo>
                    <a:pt x="22" y="115"/>
                    <a:pt x="22" y="115"/>
                    <a:pt x="22" y="115"/>
                  </a:cubicBezTo>
                  <a:cubicBezTo>
                    <a:pt x="45" y="90"/>
                    <a:pt x="45" y="90"/>
                    <a:pt x="45" y="90"/>
                  </a:cubicBezTo>
                  <a:cubicBezTo>
                    <a:pt x="46" y="89"/>
                    <a:pt x="46" y="88"/>
                    <a:pt x="45" y="87"/>
                  </a:cubicBezTo>
                  <a:cubicBezTo>
                    <a:pt x="25" y="64"/>
                    <a:pt x="25" y="64"/>
                    <a:pt x="25" y="64"/>
                  </a:cubicBezTo>
                  <a:cubicBezTo>
                    <a:pt x="24" y="63"/>
                    <a:pt x="4" y="39"/>
                    <a:pt x="4" y="22"/>
                  </a:cubicBezTo>
                  <a:cubicBezTo>
                    <a:pt x="24" y="5"/>
                    <a:pt x="24" y="5"/>
                    <a:pt x="24" y="5"/>
                  </a:cubicBezTo>
                  <a:cubicBezTo>
                    <a:pt x="24" y="6"/>
                    <a:pt x="24" y="6"/>
                    <a:pt x="24" y="6"/>
                  </a:cubicBezTo>
                  <a:cubicBezTo>
                    <a:pt x="23" y="18"/>
                    <a:pt x="26" y="29"/>
                    <a:pt x="34" y="38"/>
                  </a:cubicBezTo>
                  <a:cubicBezTo>
                    <a:pt x="38" y="42"/>
                    <a:pt x="42" y="46"/>
                    <a:pt x="48" y="48"/>
                  </a:cubicBezTo>
                  <a:cubicBezTo>
                    <a:pt x="55" y="52"/>
                    <a:pt x="64" y="52"/>
                    <a:pt x="74" y="48"/>
                  </a:cubicBezTo>
                  <a:cubicBezTo>
                    <a:pt x="79" y="46"/>
                    <a:pt x="83" y="44"/>
                    <a:pt x="85" y="43"/>
                  </a:cubicBezTo>
                  <a:cubicBezTo>
                    <a:pt x="108" y="68"/>
                    <a:pt x="108" y="68"/>
                    <a:pt x="108" y="68"/>
                  </a:cubicBezTo>
                  <a:cubicBezTo>
                    <a:pt x="87" y="87"/>
                    <a:pt x="87" y="87"/>
                    <a:pt x="87" y="87"/>
                  </a:cubicBezTo>
                  <a:cubicBezTo>
                    <a:pt x="86" y="88"/>
                    <a:pt x="86" y="88"/>
                    <a:pt x="86" y="88"/>
                  </a:cubicBezTo>
                  <a:cubicBezTo>
                    <a:pt x="82" y="99"/>
                    <a:pt x="80" y="109"/>
                    <a:pt x="82" y="117"/>
                  </a:cubicBezTo>
                  <a:cubicBezTo>
                    <a:pt x="83" y="125"/>
                    <a:pt x="87" y="133"/>
                    <a:pt x="94" y="142"/>
                  </a:cubicBezTo>
                  <a:cubicBezTo>
                    <a:pt x="94" y="142"/>
                    <a:pt x="95" y="143"/>
                    <a:pt x="96" y="143"/>
                  </a:cubicBezTo>
                  <a:cubicBezTo>
                    <a:pt x="98" y="147"/>
                    <a:pt x="101" y="149"/>
                    <a:pt x="104" y="151"/>
                  </a:cubicBezTo>
                  <a:cubicBezTo>
                    <a:pt x="97" y="147"/>
                    <a:pt x="92" y="142"/>
                    <a:pt x="92" y="142"/>
                  </a:cubicBezTo>
                  <a:cubicBezTo>
                    <a:pt x="91" y="141"/>
                    <a:pt x="90" y="141"/>
                    <a:pt x="89" y="142"/>
                  </a:cubicBezTo>
                  <a:cubicBezTo>
                    <a:pt x="65" y="164"/>
                    <a:pt x="65" y="164"/>
                    <a:pt x="65" y="164"/>
                  </a:cubicBezTo>
                  <a:cubicBezTo>
                    <a:pt x="65" y="164"/>
                    <a:pt x="64" y="164"/>
                    <a:pt x="64" y="164"/>
                  </a:cubicBezTo>
                  <a:cubicBezTo>
                    <a:pt x="64" y="164"/>
                    <a:pt x="63" y="164"/>
                    <a:pt x="63" y="164"/>
                  </a:cubicBezTo>
                  <a:moveTo>
                    <a:pt x="22" y="1"/>
                  </a:moveTo>
                  <a:cubicBezTo>
                    <a:pt x="1" y="20"/>
                    <a:pt x="1" y="20"/>
                    <a:pt x="1" y="20"/>
                  </a:cubicBezTo>
                  <a:cubicBezTo>
                    <a:pt x="1" y="20"/>
                    <a:pt x="0" y="21"/>
                    <a:pt x="0" y="21"/>
                  </a:cubicBezTo>
                  <a:cubicBezTo>
                    <a:pt x="0" y="29"/>
                    <a:pt x="4" y="39"/>
                    <a:pt x="11" y="51"/>
                  </a:cubicBezTo>
                  <a:cubicBezTo>
                    <a:pt x="16" y="60"/>
                    <a:pt x="22" y="66"/>
                    <a:pt x="22" y="67"/>
                  </a:cubicBezTo>
                  <a:cubicBezTo>
                    <a:pt x="22" y="67"/>
                    <a:pt x="22" y="67"/>
                    <a:pt x="22" y="67"/>
                  </a:cubicBezTo>
                  <a:cubicBezTo>
                    <a:pt x="41" y="88"/>
                    <a:pt x="41" y="88"/>
                    <a:pt x="41" y="88"/>
                  </a:cubicBezTo>
                  <a:cubicBezTo>
                    <a:pt x="19" y="113"/>
                    <a:pt x="19" y="113"/>
                    <a:pt x="19" y="113"/>
                  </a:cubicBezTo>
                  <a:cubicBezTo>
                    <a:pt x="18" y="114"/>
                    <a:pt x="17" y="115"/>
                    <a:pt x="17" y="116"/>
                  </a:cubicBezTo>
                  <a:cubicBezTo>
                    <a:pt x="17" y="118"/>
                    <a:pt x="18" y="119"/>
                    <a:pt x="19" y="120"/>
                  </a:cubicBezTo>
                  <a:cubicBezTo>
                    <a:pt x="60" y="166"/>
                    <a:pt x="60" y="166"/>
                    <a:pt x="60" y="166"/>
                  </a:cubicBezTo>
                  <a:cubicBezTo>
                    <a:pt x="62" y="169"/>
                    <a:pt x="65" y="169"/>
                    <a:pt x="68" y="167"/>
                  </a:cubicBezTo>
                  <a:cubicBezTo>
                    <a:pt x="91" y="146"/>
                    <a:pt x="91" y="146"/>
                    <a:pt x="91" y="146"/>
                  </a:cubicBezTo>
                  <a:cubicBezTo>
                    <a:pt x="93" y="148"/>
                    <a:pt x="97" y="151"/>
                    <a:pt x="102" y="154"/>
                  </a:cubicBezTo>
                  <a:cubicBezTo>
                    <a:pt x="106" y="156"/>
                    <a:pt x="110" y="158"/>
                    <a:pt x="114" y="159"/>
                  </a:cubicBezTo>
                  <a:cubicBezTo>
                    <a:pt x="119" y="160"/>
                    <a:pt x="123" y="160"/>
                    <a:pt x="127" y="159"/>
                  </a:cubicBezTo>
                  <a:cubicBezTo>
                    <a:pt x="128" y="158"/>
                    <a:pt x="129" y="158"/>
                    <a:pt x="129" y="157"/>
                  </a:cubicBezTo>
                  <a:cubicBezTo>
                    <a:pt x="129" y="156"/>
                    <a:pt x="128" y="155"/>
                    <a:pt x="127" y="155"/>
                  </a:cubicBezTo>
                  <a:cubicBezTo>
                    <a:pt x="127" y="155"/>
                    <a:pt x="123" y="155"/>
                    <a:pt x="117" y="153"/>
                  </a:cubicBezTo>
                  <a:cubicBezTo>
                    <a:pt x="112" y="151"/>
                    <a:pt x="105" y="148"/>
                    <a:pt x="98" y="141"/>
                  </a:cubicBezTo>
                  <a:cubicBezTo>
                    <a:pt x="98" y="140"/>
                    <a:pt x="97" y="140"/>
                    <a:pt x="97" y="139"/>
                  </a:cubicBezTo>
                  <a:cubicBezTo>
                    <a:pt x="90" y="131"/>
                    <a:pt x="87" y="124"/>
                    <a:pt x="85" y="117"/>
                  </a:cubicBezTo>
                  <a:cubicBezTo>
                    <a:pt x="84" y="109"/>
                    <a:pt x="85" y="100"/>
                    <a:pt x="89" y="90"/>
                  </a:cubicBezTo>
                  <a:cubicBezTo>
                    <a:pt x="112" y="70"/>
                    <a:pt x="112" y="70"/>
                    <a:pt x="112" y="70"/>
                  </a:cubicBezTo>
                  <a:cubicBezTo>
                    <a:pt x="112" y="69"/>
                    <a:pt x="112" y="68"/>
                    <a:pt x="112" y="67"/>
                  </a:cubicBezTo>
                  <a:cubicBezTo>
                    <a:pt x="86" y="39"/>
                    <a:pt x="86" y="39"/>
                    <a:pt x="86" y="39"/>
                  </a:cubicBezTo>
                  <a:cubicBezTo>
                    <a:pt x="86" y="39"/>
                    <a:pt x="86" y="39"/>
                    <a:pt x="86" y="39"/>
                  </a:cubicBezTo>
                  <a:cubicBezTo>
                    <a:pt x="86" y="38"/>
                    <a:pt x="85" y="38"/>
                    <a:pt x="84" y="39"/>
                  </a:cubicBezTo>
                  <a:cubicBezTo>
                    <a:pt x="84" y="39"/>
                    <a:pt x="79" y="42"/>
                    <a:pt x="72" y="45"/>
                  </a:cubicBezTo>
                  <a:cubicBezTo>
                    <a:pt x="64" y="48"/>
                    <a:pt x="56" y="48"/>
                    <a:pt x="49" y="45"/>
                  </a:cubicBezTo>
                  <a:cubicBezTo>
                    <a:pt x="44" y="43"/>
                    <a:pt x="40" y="39"/>
                    <a:pt x="37" y="36"/>
                  </a:cubicBezTo>
                  <a:cubicBezTo>
                    <a:pt x="29" y="27"/>
                    <a:pt x="26" y="17"/>
                    <a:pt x="28" y="5"/>
                  </a:cubicBezTo>
                  <a:cubicBezTo>
                    <a:pt x="28" y="5"/>
                    <a:pt x="28" y="4"/>
                    <a:pt x="28" y="4"/>
                  </a:cubicBezTo>
                  <a:cubicBezTo>
                    <a:pt x="25" y="1"/>
                    <a:pt x="25" y="1"/>
                    <a:pt x="25" y="1"/>
                  </a:cubicBezTo>
                  <a:cubicBezTo>
                    <a:pt x="25" y="0"/>
                    <a:pt x="24" y="0"/>
                    <a:pt x="24" y="0"/>
                  </a:cubicBezTo>
                  <a:cubicBezTo>
                    <a:pt x="24" y="0"/>
                    <a:pt x="24" y="0"/>
                    <a:pt x="24" y="0"/>
                  </a:cubicBezTo>
                  <a:cubicBezTo>
                    <a:pt x="23" y="0"/>
                    <a:pt x="23" y="0"/>
                    <a:pt x="2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3" name="Freeform 4625"/>
            <p:cNvSpPr>
              <a:spLocks/>
            </p:cNvSpPr>
            <p:nvPr/>
          </p:nvSpPr>
          <p:spPr bwMode="auto">
            <a:xfrm>
              <a:off x="592" y="291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4" name="Freeform 4627"/>
            <p:cNvSpPr>
              <a:spLocks noEditPoints="1"/>
            </p:cNvSpPr>
            <p:nvPr/>
          </p:nvSpPr>
          <p:spPr bwMode="auto">
            <a:xfrm>
              <a:off x="540" y="2917"/>
              <a:ext cx="298" cy="394"/>
            </a:xfrm>
            <a:custGeom>
              <a:avLst/>
              <a:gdLst>
                <a:gd name="T0" fmla="*/ 59 w 125"/>
                <a:gd name="T1" fmla="*/ 156 h 165"/>
                <a:gd name="T2" fmla="*/ 27 w 125"/>
                <a:gd name="T3" fmla="*/ 119 h 165"/>
                <a:gd name="T4" fmla="*/ 27 w 125"/>
                <a:gd name="T5" fmla="*/ 114 h 165"/>
                <a:gd name="T6" fmla="*/ 68 w 125"/>
                <a:gd name="T7" fmla="*/ 73 h 165"/>
                <a:gd name="T8" fmla="*/ 69 w 125"/>
                <a:gd name="T9" fmla="*/ 72 h 165"/>
                <a:gd name="T10" fmla="*/ 69 w 125"/>
                <a:gd name="T11" fmla="*/ 73 h 165"/>
                <a:gd name="T12" fmla="*/ 69 w 125"/>
                <a:gd name="T13" fmla="*/ 73 h 165"/>
                <a:gd name="T14" fmla="*/ 80 w 125"/>
                <a:gd name="T15" fmla="*/ 85 h 165"/>
                <a:gd name="T16" fmla="*/ 80 w 125"/>
                <a:gd name="T17" fmla="*/ 86 h 165"/>
                <a:gd name="T18" fmla="*/ 76 w 125"/>
                <a:gd name="T19" fmla="*/ 122 h 165"/>
                <a:gd name="T20" fmla="*/ 84 w 125"/>
                <a:gd name="T21" fmla="*/ 137 h 165"/>
                <a:gd name="T22" fmla="*/ 85 w 125"/>
                <a:gd name="T23" fmla="*/ 137 h 165"/>
                <a:gd name="T24" fmla="*/ 85 w 125"/>
                <a:gd name="T25" fmla="*/ 138 h 165"/>
                <a:gd name="T26" fmla="*/ 85 w 125"/>
                <a:gd name="T27" fmla="*/ 138 h 165"/>
                <a:gd name="T28" fmla="*/ 65 w 125"/>
                <a:gd name="T29" fmla="*/ 156 h 165"/>
                <a:gd name="T30" fmla="*/ 62 w 125"/>
                <a:gd name="T31" fmla="*/ 157 h 165"/>
                <a:gd name="T32" fmla="*/ 59 w 125"/>
                <a:gd name="T33" fmla="*/ 156 h 165"/>
                <a:gd name="T34" fmla="*/ 10 w 125"/>
                <a:gd name="T35" fmla="*/ 31 h 165"/>
                <a:gd name="T36" fmla="*/ 10 w 125"/>
                <a:gd name="T37" fmla="*/ 31 h 165"/>
                <a:gd name="T38" fmla="*/ 1 w 125"/>
                <a:gd name="T39" fmla="*/ 21 h 165"/>
                <a:gd name="T40" fmla="*/ 3 w 125"/>
                <a:gd name="T41" fmla="*/ 20 h 165"/>
                <a:gd name="T42" fmla="*/ 11 w 125"/>
                <a:gd name="T43" fmla="*/ 29 h 165"/>
                <a:gd name="T44" fmla="*/ 11 w 125"/>
                <a:gd name="T45" fmla="*/ 29 h 165"/>
                <a:gd name="T46" fmla="*/ 17 w 125"/>
                <a:gd name="T47" fmla="*/ 29 h 165"/>
                <a:gd name="T48" fmla="*/ 20 w 125"/>
                <a:gd name="T49" fmla="*/ 28 h 165"/>
                <a:gd name="T50" fmla="*/ 26 w 125"/>
                <a:gd name="T51" fmla="*/ 25 h 165"/>
                <a:gd name="T52" fmla="*/ 27 w 125"/>
                <a:gd name="T53" fmla="*/ 27 h 165"/>
                <a:gd name="T54" fmla="*/ 21 w 125"/>
                <a:gd name="T55" fmla="*/ 29 h 165"/>
                <a:gd name="T56" fmla="*/ 21 w 125"/>
                <a:gd name="T57" fmla="*/ 29 h 165"/>
                <a:gd name="T58" fmla="*/ 18 w 125"/>
                <a:gd name="T59" fmla="*/ 31 h 165"/>
                <a:gd name="T60" fmla="*/ 13 w 125"/>
                <a:gd name="T61" fmla="*/ 32 h 165"/>
                <a:gd name="T62" fmla="*/ 10 w 125"/>
                <a:gd name="T63" fmla="*/ 31 h 165"/>
                <a:gd name="T64" fmla="*/ 0 w 125"/>
                <a:gd name="T65" fmla="*/ 19 h 165"/>
                <a:gd name="T66" fmla="*/ 21 w 125"/>
                <a:gd name="T67" fmla="*/ 64 h 165"/>
                <a:gd name="T68" fmla="*/ 42 w 125"/>
                <a:gd name="T69" fmla="*/ 86 h 165"/>
                <a:gd name="T70" fmla="*/ 18 w 125"/>
                <a:gd name="T71" fmla="*/ 112 h 165"/>
                <a:gd name="T72" fmla="*/ 18 w 125"/>
                <a:gd name="T73" fmla="*/ 117 h 165"/>
                <a:gd name="T74" fmla="*/ 59 w 125"/>
                <a:gd name="T75" fmla="*/ 163 h 165"/>
                <a:gd name="T76" fmla="*/ 64 w 125"/>
                <a:gd name="T77" fmla="*/ 163 h 165"/>
                <a:gd name="T78" fmla="*/ 89 w 125"/>
                <a:gd name="T79" fmla="*/ 142 h 165"/>
                <a:gd name="T80" fmla="*/ 125 w 125"/>
                <a:gd name="T81" fmla="*/ 155 h 165"/>
                <a:gd name="T82" fmla="*/ 93 w 125"/>
                <a:gd name="T83" fmla="*/ 139 h 165"/>
                <a:gd name="T84" fmla="*/ 86 w 125"/>
                <a:gd name="T85" fmla="*/ 87 h 165"/>
                <a:gd name="T86" fmla="*/ 108 w 125"/>
                <a:gd name="T87" fmla="*/ 66 h 165"/>
                <a:gd name="T88" fmla="*/ 83 w 125"/>
                <a:gd name="T89" fmla="*/ 38 h 165"/>
                <a:gd name="T90" fmla="*/ 46 w 125"/>
                <a:gd name="T91" fmla="*/ 44 h 165"/>
                <a:gd name="T92" fmla="*/ 24 w 125"/>
                <a:gd name="T93" fmla="*/ 3 h 165"/>
                <a:gd name="T94" fmla="*/ 22 w 125"/>
                <a:gd name="T95" fmla="*/ 0 h 165"/>
                <a:gd name="T96" fmla="*/ 0 w 125"/>
                <a:gd name="T97" fmla="*/ 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65">
                  <a:moveTo>
                    <a:pt x="59" y="156"/>
                  </a:moveTo>
                  <a:cubicBezTo>
                    <a:pt x="27" y="119"/>
                    <a:pt x="27" y="119"/>
                    <a:pt x="27" y="119"/>
                  </a:cubicBezTo>
                  <a:cubicBezTo>
                    <a:pt x="25" y="118"/>
                    <a:pt x="25" y="116"/>
                    <a:pt x="27" y="114"/>
                  </a:cubicBezTo>
                  <a:cubicBezTo>
                    <a:pt x="68" y="73"/>
                    <a:pt x="68" y="73"/>
                    <a:pt x="68" y="73"/>
                  </a:cubicBezTo>
                  <a:cubicBezTo>
                    <a:pt x="69" y="72"/>
                    <a:pt x="69" y="72"/>
                    <a:pt x="69" y="72"/>
                  </a:cubicBezTo>
                  <a:cubicBezTo>
                    <a:pt x="69" y="73"/>
                    <a:pt x="69" y="73"/>
                    <a:pt x="69" y="73"/>
                  </a:cubicBezTo>
                  <a:cubicBezTo>
                    <a:pt x="69" y="73"/>
                    <a:pt x="69" y="73"/>
                    <a:pt x="69" y="73"/>
                  </a:cubicBezTo>
                  <a:cubicBezTo>
                    <a:pt x="80" y="85"/>
                    <a:pt x="80" y="85"/>
                    <a:pt x="80" y="85"/>
                  </a:cubicBezTo>
                  <a:cubicBezTo>
                    <a:pt x="80" y="86"/>
                    <a:pt x="80" y="86"/>
                    <a:pt x="80" y="86"/>
                  </a:cubicBezTo>
                  <a:cubicBezTo>
                    <a:pt x="75" y="98"/>
                    <a:pt x="73" y="110"/>
                    <a:pt x="76" y="122"/>
                  </a:cubicBezTo>
                  <a:cubicBezTo>
                    <a:pt x="79" y="130"/>
                    <a:pt x="83" y="136"/>
                    <a:pt x="84" y="137"/>
                  </a:cubicBezTo>
                  <a:cubicBezTo>
                    <a:pt x="85" y="137"/>
                    <a:pt x="85" y="137"/>
                    <a:pt x="85" y="137"/>
                  </a:cubicBezTo>
                  <a:cubicBezTo>
                    <a:pt x="85" y="138"/>
                    <a:pt x="85" y="138"/>
                    <a:pt x="85" y="138"/>
                  </a:cubicBezTo>
                  <a:cubicBezTo>
                    <a:pt x="85" y="138"/>
                    <a:pt x="85" y="138"/>
                    <a:pt x="85" y="138"/>
                  </a:cubicBezTo>
                  <a:cubicBezTo>
                    <a:pt x="65" y="156"/>
                    <a:pt x="65" y="156"/>
                    <a:pt x="65" y="156"/>
                  </a:cubicBezTo>
                  <a:cubicBezTo>
                    <a:pt x="64" y="157"/>
                    <a:pt x="63" y="157"/>
                    <a:pt x="62" y="157"/>
                  </a:cubicBezTo>
                  <a:cubicBezTo>
                    <a:pt x="61" y="157"/>
                    <a:pt x="60" y="157"/>
                    <a:pt x="59" y="156"/>
                  </a:cubicBezTo>
                  <a:moveTo>
                    <a:pt x="10" y="31"/>
                  </a:moveTo>
                  <a:cubicBezTo>
                    <a:pt x="10" y="31"/>
                    <a:pt x="10" y="31"/>
                    <a:pt x="10" y="31"/>
                  </a:cubicBezTo>
                  <a:cubicBezTo>
                    <a:pt x="1" y="21"/>
                    <a:pt x="1" y="21"/>
                    <a:pt x="1" y="21"/>
                  </a:cubicBezTo>
                  <a:cubicBezTo>
                    <a:pt x="3" y="20"/>
                    <a:pt x="3" y="20"/>
                    <a:pt x="3" y="20"/>
                  </a:cubicBezTo>
                  <a:cubicBezTo>
                    <a:pt x="11" y="29"/>
                    <a:pt x="11" y="29"/>
                    <a:pt x="11" y="29"/>
                  </a:cubicBezTo>
                  <a:cubicBezTo>
                    <a:pt x="11" y="29"/>
                    <a:pt x="11" y="29"/>
                    <a:pt x="11" y="29"/>
                  </a:cubicBezTo>
                  <a:cubicBezTo>
                    <a:pt x="13" y="31"/>
                    <a:pt x="14" y="30"/>
                    <a:pt x="17" y="29"/>
                  </a:cubicBezTo>
                  <a:cubicBezTo>
                    <a:pt x="18" y="29"/>
                    <a:pt x="19" y="28"/>
                    <a:pt x="20" y="28"/>
                  </a:cubicBezTo>
                  <a:cubicBezTo>
                    <a:pt x="26" y="25"/>
                    <a:pt x="26" y="25"/>
                    <a:pt x="26" y="25"/>
                  </a:cubicBezTo>
                  <a:cubicBezTo>
                    <a:pt x="27" y="27"/>
                    <a:pt x="27" y="27"/>
                    <a:pt x="27" y="27"/>
                  </a:cubicBezTo>
                  <a:cubicBezTo>
                    <a:pt x="21" y="29"/>
                    <a:pt x="21" y="29"/>
                    <a:pt x="21" y="29"/>
                  </a:cubicBezTo>
                  <a:cubicBezTo>
                    <a:pt x="21" y="29"/>
                    <a:pt x="21" y="29"/>
                    <a:pt x="21" y="29"/>
                  </a:cubicBezTo>
                  <a:cubicBezTo>
                    <a:pt x="20" y="30"/>
                    <a:pt x="19" y="30"/>
                    <a:pt x="18" y="31"/>
                  </a:cubicBezTo>
                  <a:cubicBezTo>
                    <a:pt x="16" y="31"/>
                    <a:pt x="15" y="32"/>
                    <a:pt x="13" y="32"/>
                  </a:cubicBezTo>
                  <a:cubicBezTo>
                    <a:pt x="12" y="32"/>
                    <a:pt x="11" y="32"/>
                    <a:pt x="10" y="31"/>
                  </a:cubicBezTo>
                  <a:moveTo>
                    <a:pt x="0" y="19"/>
                  </a:moveTo>
                  <a:cubicBezTo>
                    <a:pt x="0" y="37"/>
                    <a:pt x="21" y="64"/>
                    <a:pt x="21" y="64"/>
                  </a:cubicBezTo>
                  <a:cubicBezTo>
                    <a:pt x="42" y="86"/>
                    <a:pt x="42" y="86"/>
                    <a:pt x="42" y="86"/>
                  </a:cubicBezTo>
                  <a:cubicBezTo>
                    <a:pt x="18" y="112"/>
                    <a:pt x="18" y="112"/>
                    <a:pt x="18" y="112"/>
                  </a:cubicBezTo>
                  <a:cubicBezTo>
                    <a:pt x="17" y="113"/>
                    <a:pt x="17" y="115"/>
                    <a:pt x="18" y="117"/>
                  </a:cubicBezTo>
                  <a:cubicBezTo>
                    <a:pt x="59" y="163"/>
                    <a:pt x="59" y="163"/>
                    <a:pt x="59" y="163"/>
                  </a:cubicBezTo>
                  <a:cubicBezTo>
                    <a:pt x="61" y="165"/>
                    <a:pt x="63" y="165"/>
                    <a:pt x="64" y="163"/>
                  </a:cubicBezTo>
                  <a:cubicBezTo>
                    <a:pt x="89" y="142"/>
                    <a:pt x="89" y="142"/>
                    <a:pt x="89" y="142"/>
                  </a:cubicBezTo>
                  <a:cubicBezTo>
                    <a:pt x="89" y="142"/>
                    <a:pt x="108" y="160"/>
                    <a:pt x="125" y="155"/>
                  </a:cubicBezTo>
                  <a:cubicBezTo>
                    <a:pt x="125" y="155"/>
                    <a:pt x="106" y="154"/>
                    <a:pt x="93" y="139"/>
                  </a:cubicBezTo>
                  <a:cubicBezTo>
                    <a:pt x="81" y="123"/>
                    <a:pt x="77" y="109"/>
                    <a:pt x="86" y="87"/>
                  </a:cubicBezTo>
                  <a:cubicBezTo>
                    <a:pt x="108" y="66"/>
                    <a:pt x="108" y="66"/>
                    <a:pt x="108" y="66"/>
                  </a:cubicBezTo>
                  <a:cubicBezTo>
                    <a:pt x="83" y="38"/>
                    <a:pt x="83" y="38"/>
                    <a:pt x="83" y="38"/>
                  </a:cubicBezTo>
                  <a:cubicBezTo>
                    <a:pt x="83" y="38"/>
                    <a:pt x="64" y="53"/>
                    <a:pt x="46" y="44"/>
                  </a:cubicBezTo>
                  <a:cubicBezTo>
                    <a:pt x="32" y="38"/>
                    <a:pt x="21" y="23"/>
                    <a:pt x="24" y="3"/>
                  </a:cubicBezTo>
                  <a:cubicBezTo>
                    <a:pt x="22" y="0"/>
                    <a:pt x="22" y="0"/>
                    <a:pt x="22" y="0"/>
                  </a:cubicBezTo>
                  <a:cubicBezTo>
                    <a:pt x="0" y="19"/>
                    <a:pt x="0" y="19"/>
                    <a:pt x="0"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5" name="Freeform 4628"/>
            <p:cNvSpPr>
              <a:spLocks/>
            </p:cNvSpPr>
            <p:nvPr/>
          </p:nvSpPr>
          <p:spPr bwMode="auto">
            <a:xfrm>
              <a:off x="838" y="328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6" name="Freeform 4630"/>
            <p:cNvSpPr>
              <a:spLocks noEditPoints="1"/>
            </p:cNvSpPr>
            <p:nvPr/>
          </p:nvSpPr>
          <p:spPr bwMode="auto">
            <a:xfrm>
              <a:off x="917" y="3230"/>
              <a:ext cx="287" cy="248"/>
            </a:xfrm>
            <a:custGeom>
              <a:avLst/>
              <a:gdLst>
                <a:gd name="T0" fmla="*/ 5 w 120"/>
                <a:gd name="T1" fmla="*/ 32 h 104"/>
                <a:gd name="T2" fmla="*/ 25 w 120"/>
                <a:gd name="T3" fmla="*/ 4 h 104"/>
                <a:gd name="T4" fmla="*/ 115 w 120"/>
                <a:gd name="T5" fmla="*/ 71 h 104"/>
                <a:gd name="T6" fmla="*/ 98 w 120"/>
                <a:gd name="T7" fmla="*/ 100 h 104"/>
                <a:gd name="T8" fmla="*/ 5 w 120"/>
                <a:gd name="T9" fmla="*/ 32 h 104"/>
                <a:gd name="T10" fmla="*/ 24 w 120"/>
                <a:gd name="T11" fmla="*/ 0 h 104"/>
                <a:gd name="T12" fmla="*/ 23 w 120"/>
                <a:gd name="T13" fmla="*/ 1 h 104"/>
                <a:gd name="T14" fmla="*/ 1 w 120"/>
                <a:gd name="T15" fmla="*/ 31 h 104"/>
                <a:gd name="T16" fmla="*/ 1 w 120"/>
                <a:gd name="T17" fmla="*/ 34 h 104"/>
                <a:gd name="T18" fmla="*/ 97 w 120"/>
                <a:gd name="T19" fmla="*/ 104 h 104"/>
                <a:gd name="T20" fmla="*/ 99 w 120"/>
                <a:gd name="T21" fmla="*/ 104 h 104"/>
                <a:gd name="T22" fmla="*/ 100 w 120"/>
                <a:gd name="T23" fmla="*/ 104 h 104"/>
                <a:gd name="T24" fmla="*/ 119 w 120"/>
                <a:gd name="T25" fmla="*/ 71 h 104"/>
                <a:gd name="T26" fmla="*/ 119 w 120"/>
                <a:gd name="T27" fmla="*/ 69 h 104"/>
                <a:gd name="T28" fmla="*/ 25 w 120"/>
                <a:gd name="T29" fmla="*/ 0 h 104"/>
                <a:gd name="T30" fmla="*/ 24 w 120"/>
                <a:gd name="T31" fmla="*/ 0 h 104"/>
                <a:gd name="T32" fmla="*/ 24 w 120"/>
                <a:gd name="T3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04">
                  <a:moveTo>
                    <a:pt x="5" y="32"/>
                  </a:moveTo>
                  <a:cubicBezTo>
                    <a:pt x="25" y="4"/>
                    <a:pt x="25" y="4"/>
                    <a:pt x="25" y="4"/>
                  </a:cubicBezTo>
                  <a:cubicBezTo>
                    <a:pt x="115" y="71"/>
                    <a:pt x="115" y="71"/>
                    <a:pt x="115" y="71"/>
                  </a:cubicBezTo>
                  <a:cubicBezTo>
                    <a:pt x="98" y="100"/>
                    <a:pt x="98" y="100"/>
                    <a:pt x="98" y="100"/>
                  </a:cubicBezTo>
                  <a:cubicBezTo>
                    <a:pt x="5" y="32"/>
                    <a:pt x="5" y="32"/>
                    <a:pt x="5" y="32"/>
                  </a:cubicBezTo>
                  <a:moveTo>
                    <a:pt x="24" y="0"/>
                  </a:moveTo>
                  <a:cubicBezTo>
                    <a:pt x="23" y="0"/>
                    <a:pt x="23" y="0"/>
                    <a:pt x="23" y="1"/>
                  </a:cubicBezTo>
                  <a:cubicBezTo>
                    <a:pt x="1" y="31"/>
                    <a:pt x="1" y="31"/>
                    <a:pt x="1" y="31"/>
                  </a:cubicBezTo>
                  <a:cubicBezTo>
                    <a:pt x="0" y="32"/>
                    <a:pt x="0" y="33"/>
                    <a:pt x="1" y="34"/>
                  </a:cubicBezTo>
                  <a:cubicBezTo>
                    <a:pt x="97" y="104"/>
                    <a:pt x="97" y="104"/>
                    <a:pt x="97" y="104"/>
                  </a:cubicBezTo>
                  <a:cubicBezTo>
                    <a:pt x="98" y="104"/>
                    <a:pt x="98" y="104"/>
                    <a:pt x="99" y="104"/>
                  </a:cubicBezTo>
                  <a:cubicBezTo>
                    <a:pt x="99" y="104"/>
                    <a:pt x="100" y="104"/>
                    <a:pt x="100" y="104"/>
                  </a:cubicBezTo>
                  <a:cubicBezTo>
                    <a:pt x="119" y="71"/>
                    <a:pt x="119" y="71"/>
                    <a:pt x="119" y="71"/>
                  </a:cubicBezTo>
                  <a:cubicBezTo>
                    <a:pt x="120" y="70"/>
                    <a:pt x="120" y="69"/>
                    <a:pt x="119" y="69"/>
                  </a:cubicBezTo>
                  <a:cubicBezTo>
                    <a:pt x="25" y="0"/>
                    <a:pt x="25" y="0"/>
                    <a:pt x="25" y="0"/>
                  </a:cubicBezTo>
                  <a:cubicBezTo>
                    <a:pt x="25" y="0"/>
                    <a:pt x="25" y="0"/>
                    <a:pt x="24" y="0"/>
                  </a:cubicBez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7" name="Freeform 4631"/>
            <p:cNvSpPr>
              <a:spLocks/>
            </p:cNvSpPr>
            <p:nvPr/>
          </p:nvSpPr>
          <p:spPr bwMode="auto">
            <a:xfrm>
              <a:off x="974" y="323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8" name="Freeform 4633"/>
            <p:cNvSpPr>
              <a:spLocks noEditPoints="1"/>
            </p:cNvSpPr>
            <p:nvPr/>
          </p:nvSpPr>
          <p:spPr bwMode="auto">
            <a:xfrm>
              <a:off x="922" y="3235"/>
              <a:ext cx="277" cy="241"/>
            </a:xfrm>
            <a:custGeom>
              <a:avLst/>
              <a:gdLst>
                <a:gd name="T0" fmla="*/ 77 w 116"/>
                <a:gd name="T1" fmla="*/ 81 h 101"/>
                <a:gd name="T2" fmla="*/ 76 w 116"/>
                <a:gd name="T3" fmla="*/ 80 h 101"/>
                <a:gd name="T4" fmla="*/ 93 w 116"/>
                <a:gd name="T5" fmla="*/ 58 h 101"/>
                <a:gd name="T6" fmla="*/ 94 w 116"/>
                <a:gd name="T7" fmla="*/ 58 h 101"/>
                <a:gd name="T8" fmla="*/ 94 w 116"/>
                <a:gd name="T9" fmla="*/ 59 h 101"/>
                <a:gd name="T10" fmla="*/ 78 w 116"/>
                <a:gd name="T11" fmla="*/ 81 h 101"/>
                <a:gd name="T12" fmla="*/ 77 w 116"/>
                <a:gd name="T13" fmla="*/ 82 h 101"/>
                <a:gd name="T14" fmla="*/ 77 w 116"/>
                <a:gd name="T15" fmla="*/ 81 h 101"/>
                <a:gd name="T16" fmla="*/ 50 w 116"/>
                <a:gd name="T17" fmla="*/ 62 h 101"/>
                <a:gd name="T18" fmla="*/ 50 w 116"/>
                <a:gd name="T19" fmla="*/ 61 h 101"/>
                <a:gd name="T20" fmla="*/ 63 w 116"/>
                <a:gd name="T21" fmla="*/ 44 h 101"/>
                <a:gd name="T22" fmla="*/ 64 w 116"/>
                <a:gd name="T23" fmla="*/ 44 h 101"/>
                <a:gd name="T24" fmla="*/ 64 w 116"/>
                <a:gd name="T25" fmla="*/ 45 h 101"/>
                <a:gd name="T26" fmla="*/ 52 w 116"/>
                <a:gd name="T27" fmla="*/ 62 h 101"/>
                <a:gd name="T28" fmla="*/ 51 w 116"/>
                <a:gd name="T29" fmla="*/ 63 h 101"/>
                <a:gd name="T30" fmla="*/ 50 w 116"/>
                <a:gd name="T31" fmla="*/ 62 h 101"/>
                <a:gd name="T32" fmla="*/ 25 w 116"/>
                <a:gd name="T33" fmla="*/ 44 h 101"/>
                <a:gd name="T34" fmla="*/ 25 w 116"/>
                <a:gd name="T35" fmla="*/ 44 h 101"/>
                <a:gd name="T36" fmla="*/ 25 w 116"/>
                <a:gd name="T37" fmla="*/ 43 h 101"/>
                <a:gd name="T38" fmla="*/ 42 w 116"/>
                <a:gd name="T39" fmla="*/ 21 h 101"/>
                <a:gd name="T40" fmla="*/ 43 w 116"/>
                <a:gd name="T41" fmla="*/ 20 h 101"/>
                <a:gd name="T42" fmla="*/ 43 w 116"/>
                <a:gd name="T43" fmla="*/ 22 h 101"/>
                <a:gd name="T44" fmla="*/ 27 w 116"/>
                <a:gd name="T45" fmla="*/ 44 h 101"/>
                <a:gd name="T46" fmla="*/ 26 w 116"/>
                <a:gd name="T47" fmla="*/ 44 h 101"/>
                <a:gd name="T48" fmla="*/ 25 w 116"/>
                <a:gd name="T49" fmla="*/ 44 h 101"/>
                <a:gd name="T50" fmla="*/ 0 w 116"/>
                <a:gd name="T51" fmla="*/ 30 h 101"/>
                <a:gd name="T52" fmla="*/ 96 w 116"/>
                <a:gd name="T53" fmla="*/ 101 h 101"/>
                <a:gd name="T54" fmla="*/ 116 w 116"/>
                <a:gd name="T55" fmla="*/ 68 h 101"/>
                <a:gd name="T56" fmla="*/ 22 w 116"/>
                <a:gd name="T57" fmla="*/ 0 h 101"/>
                <a:gd name="T58" fmla="*/ 0 w 116"/>
                <a:gd name="T59" fmla="*/ 3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6" h="101">
                  <a:moveTo>
                    <a:pt x="77" y="81"/>
                  </a:moveTo>
                  <a:cubicBezTo>
                    <a:pt x="76" y="81"/>
                    <a:pt x="76" y="81"/>
                    <a:pt x="76" y="80"/>
                  </a:cubicBezTo>
                  <a:cubicBezTo>
                    <a:pt x="93" y="58"/>
                    <a:pt x="93" y="58"/>
                    <a:pt x="93" y="58"/>
                  </a:cubicBezTo>
                  <a:cubicBezTo>
                    <a:pt x="93" y="57"/>
                    <a:pt x="94" y="57"/>
                    <a:pt x="94" y="58"/>
                  </a:cubicBezTo>
                  <a:cubicBezTo>
                    <a:pt x="94" y="58"/>
                    <a:pt x="94" y="59"/>
                    <a:pt x="94" y="59"/>
                  </a:cubicBezTo>
                  <a:cubicBezTo>
                    <a:pt x="78" y="81"/>
                    <a:pt x="78" y="81"/>
                    <a:pt x="78" y="81"/>
                  </a:cubicBezTo>
                  <a:cubicBezTo>
                    <a:pt x="77" y="82"/>
                    <a:pt x="77" y="82"/>
                    <a:pt x="77" y="82"/>
                  </a:cubicBezTo>
                  <a:cubicBezTo>
                    <a:pt x="77" y="81"/>
                    <a:pt x="77" y="81"/>
                    <a:pt x="77" y="81"/>
                  </a:cubicBezTo>
                  <a:moveTo>
                    <a:pt x="50" y="62"/>
                  </a:moveTo>
                  <a:cubicBezTo>
                    <a:pt x="50" y="62"/>
                    <a:pt x="50" y="62"/>
                    <a:pt x="50" y="61"/>
                  </a:cubicBezTo>
                  <a:cubicBezTo>
                    <a:pt x="63" y="44"/>
                    <a:pt x="63" y="44"/>
                    <a:pt x="63" y="44"/>
                  </a:cubicBezTo>
                  <a:cubicBezTo>
                    <a:pt x="63" y="44"/>
                    <a:pt x="63" y="44"/>
                    <a:pt x="64" y="44"/>
                  </a:cubicBezTo>
                  <a:cubicBezTo>
                    <a:pt x="64" y="44"/>
                    <a:pt x="64" y="45"/>
                    <a:pt x="64" y="45"/>
                  </a:cubicBezTo>
                  <a:cubicBezTo>
                    <a:pt x="52" y="62"/>
                    <a:pt x="52" y="62"/>
                    <a:pt x="52" y="62"/>
                  </a:cubicBezTo>
                  <a:cubicBezTo>
                    <a:pt x="51" y="63"/>
                    <a:pt x="51" y="63"/>
                    <a:pt x="51" y="63"/>
                  </a:cubicBezTo>
                  <a:cubicBezTo>
                    <a:pt x="50" y="62"/>
                    <a:pt x="50" y="62"/>
                    <a:pt x="50" y="62"/>
                  </a:cubicBezTo>
                  <a:moveTo>
                    <a:pt x="25" y="44"/>
                  </a:moveTo>
                  <a:cubicBezTo>
                    <a:pt x="25" y="44"/>
                    <a:pt x="25" y="44"/>
                    <a:pt x="25" y="44"/>
                  </a:cubicBezTo>
                  <a:cubicBezTo>
                    <a:pt x="25" y="44"/>
                    <a:pt x="25" y="43"/>
                    <a:pt x="25" y="43"/>
                  </a:cubicBezTo>
                  <a:cubicBezTo>
                    <a:pt x="42" y="21"/>
                    <a:pt x="42" y="21"/>
                    <a:pt x="42" y="21"/>
                  </a:cubicBezTo>
                  <a:cubicBezTo>
                    <a:pt x="42" y="20"/>
                    <a:pt x="42" y="20"/>
                    <a:pt x="43" y="20"/>
                  </a:cubicBezTo>
                  <a:cubicBezTo>
                    <a:pt x="43" y="21"/>
                    <a:pt x="43" y="21"/>
                    <a:pt x="43" y="22"/>
                  </a:cubicBezTo>
                  <a:cubicBezTo>
                    <a:pt x="27" y="44"/>
                    <a:pt x="27" y="44"/>
                    <a:pt x="27" y="44"/>
                  </a:cubicBezTo>
                  <a:cubicBezTo>
                    <a:pt x="26" y="44"/>
                    <a:pt x="26" y="44"/>
                    <a:pt x="26" y="44"/>
                  </a:cubicBezTo>
                  <a:cubicBezTo>
                    <a:pt x="25" y="44"/>
                    <a:pt x="25" y="44"/>
                    <a:pt x="25" y="44"/>
                  </a:cubicBezTo>
                  <a:moveTo>
                    <a:pt x="0" y="30"/>
                  </a:moveTo>
                  <a:cubicBezTo>
                    <a:pt x="96" y="101"/>
                    <a:pt x="96" y="101"/>
                    <a:pt x="96" y="101"/>
                  </a:cubicBezTo>
                  <a:cubicBezTo>
                    <a:pt x="116" y="68"/>
                    <a:pt x="116" y="68"/>
                    <a:pt x="116" y="68"/>
                  </a:cubicBezTo>
                  <a:cubicBezTo>
                    <a:pt x="22" y="0"/>
                    <a:pt x="22" y="0"/>
                    <a:pt x="22" y="0"/>
                  </a:cubicBezTo>
                  <a:cubicBezTo>
                    <a:pt x="0" y="30"/>
                    <a:pt x="0" y="30"/>
                    <a:pt x="0"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499" name="Rectangle 4634"/>
            <p:cNvSpPr>
              <a:spLocks noChangeArrowheads="1"/>
            </p:cNvSpPr>
            <p:nvPr/>
          </p:nvSpPr>
          <p:spPr bwMode="auto">
            <a:xfrm>
              <a:off x="974" y="323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0" name="Freeform 4635"/>
            <p:cNvSpPr>
              <a:spLocks/>
            </p:cNvSpPr>
            <p:nvPr/>
          </p:nvSpPr>
          <p:spPr bwMode="auto">
            <a:xfrm>
              <a:off x="974" y="323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1" name="Freeform 4636"/>
            <p:cNvSpPr>
              <a:spLocks noEditPoints="1"/>
            </p:cNvSpPr>
            <p:nvPr/>
          </p:nvSpPr>
          <p:spPr bwMode="auto">
            <a:xfrm>
              <a:off x="922" y="3306"/>
              <a:ext cx="229" cy="170"/>
            </a:xfrm>
            <a:custGeom>
              <a:avLst/>
              <a:gdLst>
                <a:gd name="T0" fmla="*/ 229 w 229"/>
                <a:gd name="T1" fmla="*/ 170 h 170"/>
                <a:gd name="T2" fmla="*/ 229 w 229"/>
                <a:gd name="T3" fmla="*/ 170 h 170"/>
                <a:gd name="T4" fmla="*/ 229 w 229"/>
                <a:gd name="T5" fmla="*/ 170 h 170"/>
                <a:gd name="T6" fmla="*/ 0 w 229"/>
                <a:gd name="T7" fmla="*/ 0 h 170"/>
                <a:gd name="T8" fmla="*/ 0 w 229"/>
                <a:gd name="T9" fmla="*/ 0 h 170"/>
                <a:gd name="T10" fmla="*/ 0 w 229"/>
                <a:gd name="T11" fmla="*/ 0 h 170"/>
              </a:gdLst>
              <a:ahLst/>
              <a:cxnLst>
                <a:cxn ang="0">
                  <a:pos x="T0" y="T1"/>
                </a:cxn>
                <a:cxn ang="0">
                  <a:pos x="T2" y="T3"/>
                </a:cxn>
                <a:cxn ang="0">
                  <a:pos x="T4" y="T5"/>
                </a:cxn>
                <a:cxn ang="0">
                  <a:pos x="T6" y="T7"/>
                </a:cxn>
                <a:cxn ang="0">
                  <a:pos x="T8" y="T9"/>
                </a:cxn>
                <a:cxn ang="0">
                  <a:pos x="T10" y="T11"/>
                </a:cxn>
              </a:cxnLst>
              <a:rect l="0" t="0" r="r" b="b"/>
              <a:pathLst>
                <a:path w="229" h="170">
                  <a:moveTo>
                    <a:pt x="229" y="170"/>
                  </a:moveTo>
                  <a:lnTo>
                    <a:pt x="229" y="170"/>
                  </a:lnTo>
                  <a:lnTo>
                    <a:pt x="229" y="170"/>
                  </a:lnTo>
                  <a:close/>
                  <a:moveTo>
                    <a:pt x="0" y="0"/>
                  </a:move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2" name="Freeform 4637"/>
            <p:cNvSpPr>
              <a:spLocks noEditPoints="1"/>
            </p:cNvSpPr>
            <p:nvPr/>
          </p:nvSpPr>
          <p:spPr bwMode="auto">
            <a:xfrm>
              <a:off x="922" y="3306"/>
              <a:ext cx="229" cy="170"/>
            </a:xfrm>
            <a:custGeom>
              <a:avLst/>
              <a:gdLst>
                <a:gd name="T0" fmla="*/ 229 w 229"/>
                <a:gd name="T1" fmla="*/ 170 h 170"/>
                <a:gd name="T2" fmla="*/ 229 w 229"/>
                <a:gd name="T3" fmla="*/ 170 h 170"/>
                <a:gd name="T4" fmla="*/ 229 w 229"/>
                <a:gd name="T5" fmla="*/ 170 h 170"/>
                <a:gd name="T6" fmla="*/ 0 w 229"/>
                <a:gd name="T7" fmla="*/ 0 h 170"/>
                <a:gd name="T8" fmla="*/ 0 w 229"/>
                <a:gd name="T9" fmla="*/ 0 h 170"/>
                <a:gd name="T10" fmla="*/ 0 w 229"/>
                <a:gd name="T11" fmla="*/ 0 h 170"/>
              </a:gdLst>
              <a:ahLst/>
              <a:cxnLst>
                <a:cxn ang="0">
                  <a:pos x="T0" y="T1"/>
                </a:cxn>
                <a:cxn ang="0">
                  <a:pos x="T2" y="T3"/>
                </a:cxn>
                <a:cxn ang="0">
                  <a:pos x="T4" y="T5"/>
                </a:cxn>
                <a:cxn ang="0">
                  <a:pos x="T6" y="T7"/>
                </a:cxn>
                <a:cxn ang="0">
                  <a:pos x="T8" y="T9"/>
                </a:cxn>
                <a:cxn ang="0">
                  <a:pos x="T10" y="T11"/>
                </a:cxn>
              </a:cxnLst>
              <a:rect l="0" t="0" r="r" b="b"/>
              <a:pathLst>
                <a:path w="229" h="170">
                  <a:moveTo>
                    <a:pt x="229" y="170"/>
                  </a:moveTo>
                  <a:lnTo>
                    <a:pt x="229" y="170"/>
                  </a:lnTo>
                  <a:lnTo>
                    <a:pt x="229" y="170"/>
                  </a:lnTo>
                  <a:moveTo>
                    <a:pt x="0" y="0"/>
                  </a:move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3" name="Freeform 4639"/>
            <p:cNvSpPr>
              <a:spLocks/>
            </p:cNvSpPr>
            <p:nvPr/>
          </p:nvSpPr>
          <p:spPr bwMode="auto">
            <a:xfrm>
              <a:off x="917" y="3323"/>
              <a:ext cx="210" cy="165"/>
            </a:xfrm>
            <a:custGeom>
              <a:avLst/>
              <a:gdLst>
                <a:gd name="T0" fmla="*/ 3 w 88"/>
                <a:gd name="T1" fmla="*/ 0 h 69"/>
                <a:gd name="T2" fmla="*/ 2 w 88"/>
                <a:gd name="T3" fmla="*/ 18 h 69"/>
                <a:gd name="T4" fmla="*/ 9 w 88"/>
                <a:gd name="T5" fmla="*/ 35 h 69"/>
                <a:gd name="T6" fmla="*/ 29 w 88"/>
                <a:gd name="T7" fmla="*/ 54 h 69"/>
                <a:gd name="T8" fmla="*/ 54 w 88"/>
                <a:gd name="T9" fmla="*/ 67 h 69"/>
                <a:gd name="T10" fmla="*/ 72 w 88"/>
                <a:gd name="T11" fmla="*/ 69 h 69"/>
                <a:gd name="T12" fmla="*/ 88 w 88"/>
                <a:gd name="T13" fmla="*/ 62 h 69"/>
                <a:gd name="T14" fmla="*/ 88 w 88"/>
                <a:gd name="T15" fmla="*/ 60 h 69"/>
                <a:gd name="T16" fmla="*/ 86 w 88"/>
                <a:gd name="T17" fmla="*/ 60 h 69"/>
                <a:gd name="T18" fmla="*/ 72 w 88"/>
                <a:gd name="T19" fmla="*/ 66 h 69"/>
                <a:gd name="T20" fmla="*/ 55 w 88"/>
                <a:gd name="T21" fmla="*/ 64 h 69"/>
                <a:gd name="T22" fmla="*/ 30 w 88"/>
                <a:gd name="T23" fmla="*/ 52 h 69"/>
                <a:gd name="T24" fmla="*/ 11 w 88"/>
                <a:gd name="T25" fmla="*/ 33 h 69"/>
                <a:gd name="T26" fmla="*/ 4 w 88"/>
                <a:gd name="T27" fmla="*/ 17 h 69"/>
                <a:gd name="T28" fmla="*/ 6 w 88"/>
                <a:gd name="T29" fmla="*/ 2 h 69"/>
                <a:gd name="T30" fmla="*/ 5 w 88"/>
                <a:gd name="T31" fmla="*/ 0 h 69"/>
                <a:gd name="T32" fmla="*/ 5 w 88"/>
                <a:gd name="T33" fmla="*/ 0 h 69"/>
                <a:gd name="T34" fmla="*/ 5 w 88"/>
                <a:gd name="T35" fmla="*/ 0 h 69"/>
                <a:gd name="T36" fmla="*/ 3 w 88"/>
                <a:gd name="T3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69">
                  <a:moveTo>
                    <a:pt x="3" y="0"/>
                  </a:moveTo>
                  <a:cubicBezTo>
                    <a:pt x="3" y="1"/>
                    <a:pt x="0" y="7"/>
                    <a:pt x="2" y="18"/>
                  </a:cubicBezTo>
                  <a:cubicBezTo>
                    <a:pt x="3" y="23"/>
                    <a:pt x="5" y="29"/>
                    <a:pt x="9" y="35"/>
                  </a:cubicBezTo>
                  <a:cubicBezTo>
                    <a:pt x="13" y="42"/>
                    <a:pt x="20" y="48"/>
                    <a:pt x="29" y="54"/>
                  </a:cubicBezTo>
                  <a:cubicBezTo>
                    <a:pt x="37" y="60"/>
                    <a:pt x="46" y="65"/>
                    <a:pt x="54" y="67"/>
                  </a:cubicBezTo>
                  <a:cubicBezTo>
                    <a:pt x="60" y="69"/>
                    <a:pt x="67" y="69"/>
                    <a:pt x="72" y="69"/>
                  </a:cubicBezTo>
                  <a:cubicBezTo>
                    <a:pt x="82" y="67"/>
                    <a:pt x="88" y="63"/>
                    <a:pt x="88" y="62"/>
                  </a:cubicBezTo>
                  <a:cubicBezTo>
                    <a:pt x="88" y="62"/>
                    <a:pt x="88" y="61"/>
                    <a:pt x="88" y="60"/>
                  </a:cubicBezTo>
                  <a:cubicBezTo>
                    <a:pt x="87" y="60"/>
                    <a:pt x="87" y="60"/>
                    <a:pt x="86" y="60"/>
                  </a:cubicBezTo>
                  <a:cubicBezTo>
                    <a:pt x="86" y="60"/>
                    <a:pt x="81" y="65"/>
                    <a:pt x="72" y="66"/>
                  </a:cubicBezTo>
                  <a:cubicBezTo>
                    <a:pt x="67" y="66"/>
                    <a:pt x="61" y="66"/>
                    <a:pt x="55" y="64"/>
                  </a:cubicBezTo>
                  <a:cubicBezTo>
                    <a:pt x="47" y="62"/>
                    <a:pt x="39" y="58"/>
                    <a:pt x="30" y="52"/>
                  </a:cubicBezTo>
                  <a:cubicBezTo>
                    <a:pt x="22" y="46"/>
                    <a:pt x="16" y="40"/>
                    <a:pt x="11" y="33"/>
                  </a:cubicBezTo>
                  <a:cubicBezTo>
                    <a:pt x="8" y="28"/>
                    <a:pt x="5" y="23"/>
                    <a:pt x="4" y="17"/>
                  </a:cubicBezTo>
                  <a:cubicBezTo>
                    <a:pt x="3" y="10"/>
                    <a:pt x="5" y="4"/>
                    <a:pt x="6" y="2"/>
                  </a:cubicBezTo>
                  <a:cubicBezTo>
                    <a:pt x="6" y="1"/>
                    <a:pt x="6" y="0"/>
                    <a:pt x="5" y="0"/>
                  </a:cubicBezTo>
                  <a:cubicBezTo>
                    <a:pt x="5" y="0"/>
                    <a:pt x="5" y="0"/>
                    <a:pt x="5" y="0"/>
                  </a:cubicBezTo>
                  <a:cubicBezTo>
                    <a:pt x="5" y="0"/>
                    <a:pt x="5" y="0"/>
                    <a:pt x="5" y="0"/>
                  </a:cubicBezTo>
                  <a:cubicBezTo>
                    <a:pt x="4" y="0"/>
                    <a:pt x="4"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4" name="Freeform 4641"/>
            <p:cNvSpPr>
              <a:spLocks/>
            </p:cNvSpPr>
            <p:nvPr/>
          </p:nvSpPr>
          <p:spPr bwMode="auto">
            <a:xfrm>
              <a:off x="993" y="3445"/>
              <a:ext cx="106" cy="24"/>
            </a:xfrm>
            <a:custGeom>
              <a:avLst/>
              <a:gdLst>
                <a:gd name="T0" fmla="*/ 41 w 44"/>
                <a:gd name="T1" fmla="*/ 0 h 10"/>
                <a:gd name="T2" fmla="*/ 15 w 44"/>
                <a:gd name="T3" fmla="*/ 6 h 10"/>
                <a:gd name="T4" fmla="*/ 2 w 44"/>
                <a:gd name="T5" fmla="*/ 4 h 10"/>
                <a:gd name="T6" fmla="*/ 0 w 44"/>
                <a:gd name="T7" fmla="*/ 4 h 10"/>
                <a:gd name="T8" fmla="*/ 1 w 44"/>
                <a:gd name="T9" fmla="*/ 6 h 10"/>
                <a:gd name="T10" fmla="*/ 14 w 44"/>
                <a:gd name="T11" fmla="*/ 9 h 10"/>
                <a:gd name="T12" fmla="*/ 43 w 44"/>
                <a:gd name="T13" fmla="*/ 2 h 10"/>
                <a:gd name="T14" fmla="*/ 43 w 44"/>
                <a:gd name="T15" fmla="*/ 0 h 10"/>
                <a:gd name="T16" fmla="*/ 43 w 44"/>
                <a:gd name="T17" fmla="*/ 0 h 10"/>
                <a:gd name="T18" fmla="*/ 42 w 44"/>
                <a:gd name="T19" fmla="*/ 0 h 10"/>
                <a:gd name="T20" fmla="*/ 41 w 44"/>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0">
                  <a:moveTo>
                    <a:pt x="41" y="0"/>
                  </a:moveTo>
                  <a:cubicBezTo>
                    <a:pt x="32" y="6"/>
                    <a:pt x="21" y="7"/>
                    <a:pt x="15" y="6"/>
                  </a:cubicBezTo>
                  <a:cubicBezTo>
                    <a:pt x="7" y="6"/>
                    <a:pt x="2" y="4"/>
                    <a:pt x="2" y="4"/>
                  </a:cubicBezTo>
                  <a:cubicBezTo>
                    <a:pt x="1" y="3"/>
                    <a:pt x="0" y="4"/>
                    <a:pt x="0" y="4"/>
                  </a:cubicBezTo>
                  <a:cubicBezTo>
                    <a:pt x="0" y="5"/>
                    <a:pt x="0" y="6"/>
                    <a:pt x="1" y="6"/>
                  </a:cubicBezTo>
                  <a:cubicBezTo>
                    <a:pt x="1" y="6"/>
                    <a:pt x="6" y="8"/>
                    <a:pt x="14" y="9"/>
                  </a:cubicBezTo>
                  <a:cubicBezTo>
                    <a:pt x="21" y="10"/>
                    <a:pt x="32" y="9"/>
                    <a:pt x="43" y="2"/>
                  </a:cubicBezTo>
                  <a:cubicBezTo>
                    <a:pt x="44" y="2"/>
                    <a:pt x="44" y="1"/>
                    <a:pt x="43" y="0"/>
                  </a:cubicBezTo>
                  <a:cubicBezTo>
                    <a:pt x="43" y="0"/>
                    <a:pt x="43" y="0"/>
                    <a:pt x="43" y="0"/>
                  </a:cubicBezTo>
                  <a:cubicBezTo>
                    <a:pt x="42" y="0"/>
                    <a:pt x="42" y="0"/>
                    <a:pt x="42" y="0"/>
                  </a:cubicBezTo>
                  <a:cubicBezTo>
                    <a:pt x="41" y="0"/>
                    <a:pt x="41"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5" name="Rectangle 4642"/>
            <p:cNvSpPr>
              <a:spLocks noChangeArrowheads="1"/>
            </p:cNvSpPr>
            <p:nvPr/>
          </p:nvSpPr>
          <p:spPr bwMode="auto">
            <a:xfrm>
              <a:off x="1094" y="3445"/>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6" name="Freeform 4643"/>
            <p:cNvSpPr>
              <a:spLocks/>
            </p:cNvSpPr>
            <p:nvPr/>
          </p:nvSpPr>
          <p:spPr bwMode="auto">
            <a:xfrm>
              <a:off x="1094" y="344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7" name="Freeform 4645"/>
            <p:cNvSpPr>
              <a:spLocks/>
            </p:cNvSpPr>
            <p:nvPr/>
          </p:nvSpPr>
          <p:spPr bwMode="auto">
            <a:xfrm>
              <a:off x="967" y="3423"/>
              <a:ext cx="100" cy="27"/>
            </a:xfrm>
            <a:custGeom>
              <a:avLst/>
              <a:gdLst>
                <a:gd name="T0" fmla="*/ 40 w 42"/>
                <a:gd name="T1" fmla="*/ 0 h 11"/>
                <a:gd name="T2" fmla="*/ 13 w 42"/>
                <a:gd name="T3" fmla="*/ 8 h 11"/>
                <a:gd name="T4" fmla="*/ 3 w 42"/>
                <a:gd name="T5" fmla="*/ 5 h 11"/>
                <a:gd name="T6" fmla="*/ 1 w 42"/>
                <a:gd name="T7" fmla="*/ 6 h 11"/>
                <a:gd name="T8" fmla="*/ 1 w 42"/>
                <a:gd name="T9" fmla="*/ 7 h 11"/>
                <a:gd name="T10" fmla="*/ 13 w 42"/>
                <a:gd name="T11" fmla="*/ 10 h 11"/>
                <a:gd name="T12" fmla="*/ 42 w 42"/>
                <a:gd name="T13" fmla="*/ 2 h 11"/>
                <a:gd name="T14" fmla="*/ 42 w 42"/>
                <a:gd name="T15" fmla="*/ 0 h 11"/>
                <a:gd name="T16" fmla="*/ 42 w 42"/>
                <a:gd name="T17" fmla="*/ 0 h 11"/>
                <a:gd name="T18" fmla="*/ 41 w 42"/>
                <a:gd name="T19" fmla="*/ 0 h 11"/>
                <a:gd name="T20" fmla="*/ 40 w 42"/>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1">
                  <a:moveTo>
                    <a:pt x="40" y="0"/>
                  </a:moveTo>
                  <a:cubicBezTo>
                    <a:pt x="29" y="7"/>
                    <a:pt x="19" y="8"/>
                    <a:pt x="13" y="8"/>
                  </a:cubicBezTo>
                  <a:cubicBezTo>
                    <a:pt x="7" y="7"/>
                    <a:pt x="3" y="5"/>
                    <a:pt x="3" y="5"/>
                  </a:cubicBezTo>
                  <a:cubicBezTo>
                    <a:pt x="2" y="5"/>
                    <a:pt x="1" y="5"/>
                    <a:pt x="1" y="6"/>
                  </a:cubicBezTo>
                  <a:cubicBezTo>
                    <a:pt x="0" y="6"/>
                    <a:pt x="1" y="7"/>
                    <a:pt x="1" y="7"/>
                  </a:cubicBezTo>
                  <a:cubicBezTo>
                    <a:pt x="2" y="8"/>
                    <a:pt x="6" y="10"/>
                    <a:pt x="13" y="10"/>
                  </a:cubicBezTo>
                  <a:cubicBezTo>
                    <a:pt x="19" y="11"/>
                    <a:pt x="29" y="10"/>
                    <a:pt x="42" y="2"/>
                  </a:cubicBezTo>
                  <a:cubicBezTo>
                    <a:pt x="42" y="2"/>
                    <a:pt x="42" y="1"/>
                    <a:pt x="42" y="0"/>
                  </a:cubicBezTo>
                  <a:cubicBezTo>
                    <a:pt x="42" y="0"/>
                    <a:pt x="42" y="0"/>
                    <a:pt x="42" y="0"/>
                  </a:cubicBezTo>
                  <a:cubicBezTo>
                    <a:pt x="41" y="0"/>
                    <a:pt x="41" y="0"/>
                    <a:pt x="41" y="0"/>
                  </a:cubicBezTo>
                  <a:cubicBezTo>
                    <a:pt x="40" y="0"/>
                    <a:pt x="40" y="0"/>
                    <a:pt x="4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8" name="Freeform 4647"/>
            <p:cNvSpPr>
              <a:spLocks/>
            </p:cNvSpPr>
            <p:nvPr/>
          </p:nvSpPr>
          <p:spPr bwMode="auto">
            <a:xfrm>
              <a:off x="943" y="3340"/>
              <a:ext cx="55" cy="107"/>
            </a:xfrm>
            <a:custGeom>
              <a:avLst/>
              <a:gdLst>
                <a:gd name="T0" fmla="*/ 2 w 23"/>
                <a:gd name="T1" fmla="*/ 1 h 45"/>
                <a:gd name="T2" fmla="*/ 10 w 23"/>
                <a:gd name="T3" fmla="*/ 34 h 45"/>
                <a:gd name="T4" fmla="*/ 21 w 23"/>
                <a:gd name="T5" fmla="*/ 45 h 45"/>
                <a:gd name="T6" fmla="*/ 23 w 23"/>
                <a:gd name="T7" fmla="*/ 44 h 45"/>
                <a:gd name="T8" fmla="*/ 22 w 23"/>
                <a:gd name="T9" fmla="*/ 42 h 45"/>
                <a:gd name="T10" fmla="*/ 13 w 23"/>
                <a:gd name="T11" fmla="*/ 32 h 45"/>
                <a:gd name="T12" fmla="*/ 6 w 23"/>
                <a:gd name="T13" fmla="*/ 19 h 45"/>
                <a:gd name="T14" fmla="*/ 5 w 23"/>
                <a:gd name="T15" fmla="*/ 1 h 45"/>
                <a:gd name="T16" fmla="*/ 4 w 23"/>
                <a:gd name="T17" fmla="*/ 0 h 45"/>
                <a:gd name="T18" fmla="*/ 3 w 23"/>
                <a:gd name="T19" fmla="*/ 0 h 45"/>
                <a:gd name="T20" fmla="*/ 3 w 23"/>
                <a:gd name="T21" fmla="*/ 0 h 45"/>
                <a:gd name="T22" fmla="*/ 2 w 23"/>
                <a:gd name="T23"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5">
                  <a:moveTo>
                    <a:pt x="2" y="1"/>
                  </a:moveTo>
                  <a:cubicBezTo>
                    <a:pt x="0" y="16"/>
                    <a:pt x="6" y="27"/>
                    <a:pt x="10" y="34"/>
                  </a:cubicBezTo>
                  <a:cubicBezTo>
                    <a:pt x="15" y="41"/>
                    <a:pt x="21" y="45"/>
                    <a:pt x="21" y="45"/>
                  </a:cubicBezTo>
                  <a:cubicBezTo>
                    <a:pt x="22" y="45"/>
                    <a:pt x="22" y="45"/>
                    <a:pt x="23" y="44"/>
                  </a:cubicBezTo>
                  <a:cubicBezTo>
                    <a:pt x="23" y="44"/>
                    <a:pt x="23" y="43"/>
                    <a:pt x="22" y="42"/>
                  </a:cubicBezTo>
                  <a:cubicBezTo>
                    <a:pt x="22" y="42"/>
                    <a:pt x="17" y="39"/>
                    <a:pt x="13" y="32"/>
                  </a:cubicBezTo>
                  <a:cubicBezTo>
                    <a:pt x="10" y="28"/>
                    <a:pt x="8" y="24"/>
                    <a:pt x="6" y="19"/>
                  </a:cubicBezTo>
                  <a:cubicBezTo>
                    <a:pt x="5" y="14"/>
                    <a:pt x="4" y="8"/>
                    <a:pt x="5" y="1"/>
                  </a:cubicBezTo>
                  <a:cubicBezTo>
                    <a:pt x="5" y="1"/>
                    <a:pt x="4" y="0"/>
                    <a:pt x="4" y="0"/>
                  </a:cubicBezTo>
                  <a:cubicBezTo>
                    <a:pt x="3" y="0"/>
                    <a:pt x="3" y="0"/>
                    <a:pt x="3" y="0"/>
                  </a:cubicBezTo>
                  <a:cubicBezTo>
                    <a:pt x="3" y="0"/>
                    <a:pt x="3" y="0"/>
                    <a:pt x="3" y="0"/>
                  </a:cubicBezTo>
                  <a:cubicBezTo>
                    <a:pt x="3" y="0"/>
                    <a:pt x="2" y="0"/>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9" name="Freeform 4649"/>
            <p:cNvSpPr>
              <a:spLocks/>
            </p:cNvSpPr>
            <p:nvPr/>
          </p:nvSpPr>
          <p:spPr bwMode="auto">
            <a:xfrm>
              <a:off x="984" y="3366"/>
              <a:ext cx="36" cy="81"/>
            </a:xfrm>
            <a:custGeom>
              <a:avLst/>
              <a:gdLst>
                <a:gd name="T0" fmla="*/ 2 w 15"/>
                <a:gd name="T1" fmla="*/ 0 h 34"/>
                <a:gd name="T2" fmla="*/ 0 w 15"/>
                <a:gd name="T3" fmla="*/ 2 h 34"/>
                <a:gd name="T4" fmla="*/ 13 w 15"/>
                <a:gd name="T5" fmla="*/ 34 h 34"/>
                <a:gd name="T6" fmla="*/ 15 w 15"/>
                <a:gd name="T7" fmla="*/ 33 h 34"/>
                <a:gd name="T8" fmla="*/ 14 w 15"/>
                <a:gd name="T9" fmla="*/ 31 h 34"/>
                <a:gd name="T10" fmla="*/ 3 w 15"/>
                <a:gd name="T11" fmla="*/ 1 h 34"/>
                <a:gd name="T12" fmla="*/ 2 w 15"/>
                <a:gd name="T13" fmla="*/ 0 h 34"/>
                <a:gd name="T14" fmla="*/ 2 w 15"/>
                <a:gd name="T15" fmla="*/ 0 h 34"/>
                <a:gd name="T16" fmla="*/ 2 w 15"/>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34">
                  <a:moveTo>
                    <a:pt x="2" y="0"/>
                  </a:moveTo>
                  <a:cubicBezTo>
                    <a:pt x="1" y="0"/>
                    <a:pt x="0" y="1"/>
                    <a:pt x="0" y="2"/>
                  </a:cubicBezTo>
                  <a:cubicBezTo>
                    <a:pt x="2" y="27"/>
                    <a:pt x="12" y="33"/>
                    <a:pt x="13" y="34"/>
                  </a:cubicBezTo>
                  <a:cubicBezTo>
                    <a:pt x="13" y="34"/>
                    <a:pt x="14" y="34"/>
                    <a:pt x="15" y="33"/>
                  </a:cubicBezTo>
                  <a:cubicBezTo>
                    <a:pt x="15" y="33"/>
                    <a:pt x="15" y="32"/>
                    <a:pt x="14" y="31"/>
                  </a:cubicBezTo>
                  <a:cubicBezTo>
                    <a:pt x="14" y="31"/>
                    <a:pt x="5" y="25"/>
                    <a:pt x="3" y="1"/>
                  </a:cubicBezTo>
                  <a:cubicBezTo>
                    <a:pt x="3" y="1"/>
                    <a:pt x="3" y="1"/>
                    <a:pt x="2" y="0"/>
                  </a:cubicBezTo>
                  <a:cubicBezTo>
                    <a:pt x="2" y="0"/>
                    <a:pt x="2" y="0"/>
                    <a:pt x="2" y="0"/>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0" name="Freeform 4651"/>
            <p:cNvSpPr>
              <a:spLocks noEditPoints="1"/>
            </p:cNvSpPr>
            <p:nvPr/>
          </p:nvSpPr>
          <p:spPr bwMode="auto">
            <a:xfrm>
              <a:off x="795" y="3117"/>
              <a:ext cx="115" cy="110"/>
            </a:xfrm>
            <a:custGeom>
              <a:avLst/>
              <a:gdLst>
                <a:gd name="T0" fmla="*/ 18 w 48"/>
                <a:gd name="T1" fmla="*/ 27 h 46"/>
                <a:gd name="T2" fmla="*/ 19 w 48"/>
                <a:gd name="T3" fmla="*/ 16 h 46"/>
                <a:gd name="T4" fmla="*/ 30 w 48"/>
                <a:gd name="T5" fmla="*/ 17 h 46"/>
                <a:gd name="T6" fmla="*/ 29 w 48"/>
                <a:gd name="T7" fmla="*/ 28 h 46"/>
                <a:gd name="T8" fmla="*/ 24 w 48"/>
                <a:gd name="T9" fmla="*/ 30 h 46"/>
                <a:gd name="T10" fmla="*/ 18 w 48"/>
                <a:gd name="T11" fmla="*/ 27 h 46"/>
                <a:gd name="T12" fmla="*/ 10 w 48"/>
                <a:gd name="T13" fmla="*/ 6 h 46"/>
                <a:gd name="T14" fmla="*/ 8 w 48"/>
                <a:gd name="T15" fmla="*/ 37 h 46"/>
                <a:gd name="T16" fmla="*/ 39 w 48"/>
                <a:gd name="T17" fmla="*/ 38 h 46"/>
                <a:gd name="T18" fmla="*/ 40 w 48"/>
                <a:gd name="T19" fmla="*/ 8 h 46"/>
                <a:gd name="T20" fmla="*/ 24 w 48"/>
                <a:gd name="T21" fmla="*/ 0 h 46"/>
                <a:gd name="T22" fmla="*/ 10 w 48"/>
                <a:gd name="T23"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46">
                  <a:moveTo>
                    <a:pt x="18" y="27"/>
                  </a:moveTo>
                  <a:cubicBezTo>
                    <a:pt x="15" y="24"/>
                    <a:pt x="16" y="19"/>
                    <a:pt x="19" y="16"/>
                  </a:cubicBezTo>
                  <a:cubicBezTo>
                    <a:pt x="22" y="13"/>
                    <a:pt x="27" y="14"/>
                    <a:pt x="30" y="17"/>
                  </a:cubicBezTo>
                  <a:cubicBezTo>
                    <a:pt x="33" y="20"/>
                    <a:pt x="33" y="25"/>
                    <a:pt x="29" y="28"/>
                  </a:cubicBezTo>
                  <a:cubicBezTo>
                    <a:pt x="28" y="29"/>
                    <a:pt x="26" y="30"/>
                    <a:pt x="24" y="30"/>
                  </a:cubicBezTo>
                  <a:cubicBezTo>
                    <a:pt x="22" y="30"/>
                    <a:pt x="20" y="29"/>
                    <a:pt x="18" y="27"/>
                  </a:cubicBezTo>
                  <a:moveTo>
                    <a:pt x="10" y="6"/>
                  </a:moveTo>
                  <a:cubicBezTo>
                    <a:pt x="1" y="14"/>
                    <a:pt x="0" y="28"/>
                    <a:pt x="8" y="37"/>
                  </a:cubicBezTo>
                  <a:cubicBezTo>
                    <a:pt x="16" y="46"/>
                    <a:pt x="30" y="46"/>
                    <a:pt x="39" y="38"/>
                  </a:cubicBezTo>
                  <a:cubicBezTo>
                    <a:pt x="48" y="30"/>
                    <a:pt x="48" y="17"/>
                    <a:pt x="40" y="8"/>
                  </a:cubicBezTo>
                  <a:cubicBezTo>
                    <a:pt x="36" y="3"/>
                    <a:pt x="30" y="0"/>
                    <a:pt x="24" y="0"/>
                  </a:cubicBezTo>
                  <a:cubicBezTo>
                    <a:pt x="19" y="0"/>
                    <a:pt x="14" y="2"/>
                    <a:pt x="10"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1" name="Freeform 4652"/>
            <p:cNvSpPr>
              <a:spLocks/>
            </p:cNvSpPr>
            <p:nvPr/>
          </p:nvSpPr>
          <p:spPr bwMode="auto">
            <a:xfrm>
              <a:off x="853" y="311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2" name="Freeform 4654"/>
            <p:cNvSpPr>
              <a:spLocks noEditPoints="1"/>
            </p:cNvSpPr>
            <p:nvPr/>
          </p:nvSpPr>
          <p:spPr bwMode="auto">
            <a:xfrm>
              <a:off x="602" y="2871"/>
              <a:ext cx="158" cy="151"/>
            </a:xfrm>
            <a:custGeom>
              <a:avLst/>
              <a:gdLst>
                <a:gd name="T0" fmla="*/ 19 w 66"/>
                <a:gd name="T1" fmla="*/ 42 h 63"/>
                <a:gd name="T2" fmla="*/ 20 w 66"/>
                <a:gd name="T3" fmla="*/ 16 h 63"/>
                <a:gd name="T4" fmla="*/ 46 w 66"/>
                <a:gd name="T5" fmla="*/ 18 h 63"/>
                <a:gd name="T6" fmla="*/ 45 w 66"/>
                <a:gd name="T7" fmla="*/ 43 h 63"/>
                <a:gd name="T8" fmla="*/ 33 w 66"/>
                <a:gd name="T9" fmla="*/ 48 h 63"/>
                <a:gd name="T10" fmla="*/ 19 w 66"/>
                <a:gd name="T11" fmla="*/ 42 h 63"/>
                <a:gd name="T12" fmla="*/ 13 w 66"/>
                <a:gd name="T13" fmla="*/ 8 h 63"/>
                <a:gd name="T14" fmla="*/ 11 w 66"/>
                <a:gd name="T15" fmla="*/ 49 h 63"/>
                <a:gd name="T16" fmla="*/ 52 w 66"/>
                <a:gd name="T17" fmla="*/ 52 h 63"/>
                <a:gd name="T18" fmla="*/ 55 w 66"/>
                <a:gd name="T19" fmla="*/ 10 h 63"/>
                <a:gd name="T20" fmla="*/ 33 w 66"/>
                <a:gd name="T21" fmla="*/ 0 h 63"/>
                <a:gd name="T22" fmla="*/ 13 w 66"/>
                <a:gd name="T23"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3">
                  <a:moveTo>
                    <a:pt x="19" y="42"/>
                  </a:moveTo>
                  <a:cubicBezTo>
                    <a:pt x="12" y="34"/>
                    <a:pt x="13" y="23"/>
                    <a:pt x="20" y="16"/>
                  </a:cubicBezTo>
                  <a:cubicBezTo>
                    <a:pt x="28" y="9"/>
                    <a:pt x="40" y="10"/>
                    <a:pt x="46" y="18"/>
                  </a:cubicBezTo>
                  <a:cubicBezTo>
                    <a:pt x="53" y="25"/>
                    <a:pt x="52" y="37"/>
                    <a:pt x="45" y="43"/>
                  </a:cubicBezTo>
                  <a:cubicBezTo>
                    <a:pt x="41" y="46"/>
                    <a:pt x="37" y="48"/>
                    <a:pt x="33" y="48"/>
                  </a:cubicBezTo>
                  <a:cubicBezTo>
                    <a:pt x="28" y="48"/>
                    <a:pt x="23" y="46"/>
                    <a:pt x="19" y="42"/>
                  </a:cubicBezTo>
                  <a:moveTo>
                    <a:pt x="13" y="8"/>
                  </a:moveTo>
                  <a:cubicBezTo>
                    <a:pt x="1" y="19"/>
                    <a:pt x="0" y="37"/>
                    <a:pt x="11" y="49"/>
                  </a:cubicBezTo>
                  <a:cubicBezTo>
                    <a:pt x="22" y="62"/>
                    <a:pt x="40" y="63"/>
                    <a:pt x="52" y="52"/>
                  </a:cubicBezTo>
                  <a:cubicBezTo>
                    <a:pt x="65" y="41"/>
                    <a:pt x="66" y="22"/>
                    <a:pt x="55" y="10"/>
                  </a:cubicBezTo>
                  <a:cubicBezTo>
                    <a:pt x="49" y="3"/>
                    <a:pt x="41" y="0"/>
                    <a:pt x="33" y="0"/>
                  </a:cubicBezTo>
                  <a:cubicBezTo>
                    <a:pt x="26" y="0"/>
                    <a:pt x="19" y="3"/>
                    <a:pt x="13"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3" name="Freeform 4656"/>
            <p:cNvSpPr>
              <a:spLocks/>
            </p:cNvSpPr>
            <p:nvPr/>
          </p:nvSpPr>
          <p:spPr bwMode="auto">
            <a:xfrm>
              <a:off x="1039" y="3254"/>
              <a:ext cx="119" cy="112"/>
            </a:xfrm>
            <a:custGeom>
              <a:avLst/>
              <a:gdLst>
                <a:gd name="T0" fmla="*/ 7 w 50"/>
                <a:gd name="T1" fmla="*/ 9 h 47"/>
                <a:gd name="T2" fmla="*/ 12 w 50"/>
                <a:gd name="T3" fmla="*/ 40 h 47"/>
                <a:gd name="T4" fmla="*/ 43 w 50"/>
                <a:gd name="T5" fmla="*/ 35 h 47"/>
                <a:gd name="T6" fmla="*/ 38 w 50"/>
                <a:gd name="T7" fmla="*/ 5 h 47"/>
                <a:gd name="T8" fmla="*/ 25 w 50"/>
                <a:gd name="T9" fmla="*/ 0 h 47"/>
                <a:gd name="T10" fmla="*/ 7 w 50"/>
                <a:gd name="T11" fmla="*/ 9 h 47"/>
              </a:gdLst>
              <a:ahLst/>
              <a:cxnLst>
                <a:cxn ang="0">
                  <a:pos x="T0" y="T1"/>
                </a:cxn>
                <a:cxn ang="0">
                  <a:pos x="T2" y="T3"/>
                </a:cxn>
                <a:cxn ang="0">
                  <a:pos x="T4" y="T5"/>
                </a:cxn>
                <a:cxn ang="0">
                  <a:pos x="T6" y="T7"/>
                </a:cxn>
                <a:cxn ang="0">
                  <a:pos x="T8" y="T9"/>
                </a:cxn>
                <a:cxn ang="0">
                  <a:pos x="T10" y="T11"/>
                </a:cxn>
              </a:cxnLst>
              <a:rect l="0" t="0" r="r" b="b"/>
              <a:pathLst>
                <a:path w="50" h="47">
                  <a:moveTo>
                    <a:pt x="7" y="9"/>
                  </a:moveTo>
                  <a:cubicBezTo>
                    <a:pt x="0" y="19"/>
                    <a:pt x="2" y="33"/>
                    <a:pt x="12" y="40"/>
                  </a:cubicBezTo>
                  <a:cubicBezTo>
                    <a:pt x="22" y="47"/>
                    <a:pt x="35" y="45"/>
                    <a:pt x="43" y="35"/>
                  </a:cubicBezTo>
                  <a:cubicBezTo>
                    <a:pt x="50" y="26"/>
                    <a:pt x="48" y="12"/>
                    <a:pt x="38" y="5"/>
                  </a:cubicBezTo>
                  <a:cubicBezTo>
                    <a:pt x="34" y="2"/>
                    <a:pt x="29" y="0"/>
                    <a:pt x="25" y="0"/>
                  </a:cubicBezTo>
                  <a:cubicBezTo>
                    <a:pt x="18" y="0"/>
                    <a:pt x="11" y="3"/>
                    <a:pt x="7"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4" name="Freeform 4657"/>
            <p:cNvSpPr>
              <a:spLocks/>
            </p:cNvSpPr>
            <p:nvPr/>
          </p:nvSpPr>
          <p:spPr bwMode="auto">
            <a:xfrm>
              <a:off x="1099" y="3254"/>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5" name="Freeform 4659"/>
            <p:cNvSpPr>
              <a:spLocks noEditPoints="1"/>
            </p:cNvSpPr>
            <p:nvPr/>
          </p:nvSpPr>
          <p:spPr bwMode="auto">
            <a:xfrm>
              <a:off x="1060" y="3275"/>
              <a:ext cx="77" cy="70"/>
            </a:xfrm>
            <a:custGeom>
              <a:avLst/>
              <a:gdLst>
                <a:gd name="T0" fmla="*/ 9 w 32"/>
                <a:gd name="T1" fmla="*/ 23 h 29"/>
                <a:gd name="T2" fmla="*/ 6 w 32"/>
                <a:gd name="T3" fmla="*/ 6 h 29"/>
                <a:gd name="T4" fmla="*/ 23 w 32"/>
                <a:gd name="T5" fmla="*/ 4 h 29"/>
                <a:gd name="T6" fmla="*/ 26 w 32"/>
                <a:gd name="T7" fmla="*/ 21 h 29"/>
                <a:gd name="T8" fmla="*/ 16 w 32"/>
                <a:gd name="T9" fmla="*/ 25 h 29"/>
                <a:gd name="T10" fmla="*/ 9 w 32"/>
                <a:gd name="T11" fmla="*/ 23 h 29"/>
                <a:gd name="T12" fmla="*/ 5 w 32"/>
                <a:gd name="T13" fmla="*/ 5 h 29"/>
                <a:gd name="T14" fmla="*/ 8 w 32"/>
                <a:gd name="T15" fmla="*/ 25 h 29"/>
                <a:gd name="T16" fmla="*/ 27 w 32"/>
                <a:gd name="T17" fmla="*/ 22 h 29"/>
                <a:gd name="T18" fmla="*/ 24 w 32"/>
                <a:gd name="T19" fmla="*/ 2 h 29"/>
                <a:gd name="T20" fmla="*/ 16 w 32"/>
                <a:gd name="T21" fmla="*/ 0 h 29"/>
                <a:gd name="T22" fmla="*/ 5 w 32"/>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29">
                  <a:moveTo>
                    <a:pt x="9" y="23"/>
                  </a:moveTo>
                  <a:cubicBezTo>
                    <a:pt x="3" y="19"/>
                    <a:pt x="2" y="12"/>
                    <a:pt x="6" y="6"/>
                  </a:cubicBezTo>
                  <a:cubicBezTo>
                    <a:pt x="10" y="1"/>
                    <a:pt x="18" y="0"/>
                    <a:pt x="23" y="4"/>
                  </a:cubicBezTo>
                  <a:cubicBezTo>
                    <a:pt x="28" y="8"/>
                    <a:pt x="29" y="15"/>
                    <a:pt x="26" y="21"/>
                  </a:cubicBezTo>
                  <a:cubicBezTo>
                    <a:pt x="23" y="24"/>
                    <a:pt x="20" y="25"/>
                    <a:pt x="16" y="25"/>
                  </a:cubicBezTo>
                  <a:cubicBezTo>
                    <a:pt x="13" y="25"/>
                    <a:pt x="11" y="25"/>
                    <a:pt x="9" y="23"/>
                  </a:cubicBezTo>
                  <a:moveTo>
                    <a:pt x="5" y="5"/>
                  </a:moveTo>
                  <a:cubicBezTo>
                    <a:pt x="0" y="11"/>
                    <a:pt x="2" y="20"/>
                    <a:pt x="8" y="25"/>
                  </a:cubicBezTo>
                  <a:cubicBezTo>
                    <a:pt x="14" y="29"/>
                    <a:pt x="23" y="28"/>
                    <a:pt x="27" y="22"/>
                  </a:cubicBezTo>
                  <a:cubicBezTo>
                    <a:pt x="32" y="15"/>
                    <a:pt x="30" y="7"/>
                    <a:pt x="24" y="2"/>
                  </a:cubicBezTo>
                  <a:cubicBezTo>
                    <a:pt x="22" y="0"/>
                    <a:pt x="19" y="0"/>
                    <a:pt x="16" y="0"/>
                  </a:cubicBezTo>
                  <a:cubicBezTo>
                    <a:pt x="12" y="0"/>
                    <a:pt x="7" y="2"/>
                    <a:pt x="5" y="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6" name="Freeform 4660"/>
            <p:cNvSpPr>
              <a:spLocks/>
            </p:cNvSpPr>
            <p:nvPr/>
          </p:nvSpPr>
          <p:spPr bwMode="auto">
            <a:xfrm>
              <a:off x="1099" y="32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7" name="Freeform 4662"/>
            <p:cNvSpPr>
              <a:spLocks/>
            </p:cNvSpPr>
            <p:nvPr/>
          </p:nvSpPr>
          <p:spPr bwMode="auto">
            <a:xfrm>
              <a:off x="1087" y="3297"/>
              <a:ext cx="23" cy="24"/>
            </a:xfrm>
            <a:custGeom>
              <a:avLst/>
              <a:gdLst>
                <a:gd name="T0" fmla="*/ 1 w 10"/>
                <a:gd name="T1" fmla="*/ 2 h 10"/>
                <a:gd name="T2" fmla="*/ 2 w 10"/>
                <a:gd name="T3" fmla="*/ 8 h 10"/>
                <a:gd name="T4" fmla="*/ 9 w 10"/>
                <a:gd name="T5" fmla="*/ 7 h 10"/>
                <a:gd name="T6" fmla="*/ 8 w 10"/>
                <a:gd name="T7" fmla="*/ 1 h 10"/>
                <a:gd name="T8" fmla="*/ 5 w 10"/>
                <a:gd name="T9" fmla="*/ 0 h 10"/>
                <a:gd name="T10" fmla="*/ 1 w 10"/>
                <a:gd name="T11" fmla="*/ 2 h 10"/>
              </a:gdLst>
              <a:ahLst/>
              <a:cxnLst>
                <a:cxn ang="0">
                  <a:pos x="T0" y="T1"/>
                </a:cxn>
                <a:cxn ang="0">
                  <a:pos x="T2" y="T3"/>
                </a:cxn>
                <a:cxn ang="0">
                  <a:pos x="T4" y="T5"/>
                </a:cxn>
                <a:cxn ang="0">
                  <a:pos x="T6" y="T7"/>
                </a:cxn>
                <a:cxn ang="0">
                  <a:pos x="T8" y="T9"/>
                </a:cxn>
                <a:cxn ang="0">
                  <a:pos x="T10" y="T11"/>
                </a:cxn>
              </a:cxnLst>
              <a:rect l="0" t="0" r="r" b="b"/>
              <a:pathLst>
                <a:path w="10" h="10">
                  <a:moveTo>
                    <a:pt x="1" y="2"/>
                  </a:moveTo>
                  <a:cubicBezTo>
                    <a:pt x="0" y="4"/>
                    <a:pt x="0" y="7"/>
                    <a:pt x="2" y="8"/>
                  </a:cubicBezTo>
                  <a:cubicBezTo>
                    <a:pt x="4" y="10"/>
                    <a:pt x="7" y="9"/>
                    <a:pt x="9" y="7"/>
                  </a:cubicBezTo>
                  <a:cubicBezTo>
                    <a:pt x="10" y="5"/>
                    <a:pt x="10" y="2"/>
                    <a:pt x="8" y="1"/>
                  </a:cubicBezTo>
                  <a:cubicBezTo>
                    <a:pt x="7" y="0"/>
                    <a:pt x="6" y="0"/>
                    <a:pt x="5" y="0"/>
                  </a:cubicBezTo>
                  <a:cubicBezTo>
                    <a:pt x="3" y="0"/>
                    <a:pt x="2" y="1"/>
                    <a:pt x="1" y="2"/>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18" name="Freeform 4663"/>
            <p:cNvSpPr>
              <a:spLocks/>
            </p:cNvSpPr>
            <p:nvPr/>
          </p:nvSpPr>
          <p:spPr bwMode="auto">
            <a:xfrm>
              <a:off x="1099" y="329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689" name="Oval 688"/>
          <p:cNvSpPr/>
          <p:nvPr/>
        </p:nvSpPr>
        <p:spPr>
          <a:xfrm>
            <a:off x="3342921" y="1925073"/>
            <a:ext cx="3010794" cy="3010794"/>
          </a:xfrm>
          <a:prstGeom prst="ellipse">
            <a:avLst/>
          </a:prstGeom>
          <a:noFill/>
          <a:ln w="9525">
            <a:gradFill flip="none" rotWithShape="1">
              <a:gsLst>
                <a:gs pos="46000">
                  <a:srgbClr val="0F5286"/>
                </a:gs>
                <a:gs pos="0">
                  <a:schemeClr val="accent3">
                    <a:lumMod val="50000"/>
                  </a:schemeClr>
                </a:gs>
                <a:gs pos="0">
                  <a:srgbClr val="0F5286"/>
                </a:gs>
                <a:gs pos="100000">
                  <a:schemeClr val="accent3">
                    <a:lumMod val="60000"/>
                    <a:lumOff val="4000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sp>
        <p:nvSpPr>
          <p:cNvPr id="690" name="Freeform 4679"/>
          <p:cNvSpPr>
            <a:spLocks noEditPoints="1"/>
          </p:cNvSpPr>
          <p:nvPr/>
        </p:nvSpPr>
        <p:spPr bwMode="auto">
          <a:xfrm>
            <a:off x="4383211" y="1615774"/>
            <a:ext cx="327260" cy="352972"/>
          </a:xfrm>
          <a:custGeom>
            <a:avLst/>
            <a:gdLst>
              <a:gd name="T0" fmla="*/ 5 w 115"/>
              <a:gd name="T1" fmla="*/ 16 h 125"/>
              <a:gd name="T2" fmla="*/ 13 w 115"/>
              <a:gd name="T3" fmla="*/ 16 h 125"/>
              <a:gd name="T4" fmla="*/ 3 w 115"/>
              <a:gd name="T5" fmla="*/ 16 h 125"/>
              <a:gd name="T6" fmla="*/ 3 w 115"/>
              <a:gd name="T7" fmla="*/ 16 h 125"/>
              <a:gd name="T8" fmla="*/ 3 w 115"/>
              <a:gd name="T9" fmla="*/ 16 h 125"/>
              <a:gd name="T10" fmla="*/ 14 w 115"/>
              <a:gd name="T11" fmla="*/ 15 h 125"/>
              <a:gd name="T12" fmla="*/ 1 w 115"/>
              <a:gd name="T13" fmla="*/ 13 h 125"/>
              <a:gd name="T14" fmla="*/ 1 w 115"/>
              <a:gd name="T15" fmla="*/ 13 h 125"/>
              <a:gd name="T16" fmla="*/ 15 w 115"/>
              <a:gd name="T17" fmla="*/ 8 h 125"/>
              <a:gd name="T18" fmla="*/ 15 w 115"/>
              <a:gd name="T19" fmla="*/ 7 h 125"/>
              <a:gd name="T20" fmla="*/ 15 w 115"/>
              <a:gd name="T21" fmla="*/ 7 h 125"/>
              <a:gd name="T22" fmla="*/ 75 w 115"/>
              <a:gd name="T23" fmla="*/ 78 h 125"/>
              <a:gd name="T24" fmla="*/ 62 w 115"/>
              <a:gd name="T25" fmla="*/ 76 h 125"/>
              <a:gd name="T26" fmla="*/ 65 w 115"/>
              <a:gd name="T27" fmla="*/ 76 h 125"/>
              <a:gd name="T28" fmla="*/ 64 w 115"/>
              <a:gd name="T29" fmla="*/ 78 h 125"/>
              <a:gd name="T30" fmla="*/ 83 w 115"/>
              <a:gd name="T31" fmla="*/ 72 h 125"/>
              <a:gd name="T32" fmla="*/ 98 w 115"/>
              <a:gd name="T33" fmla="*/ 69 h 125"/>
              <a:gd name="T34" fmla="*/ 59 w 115"/>
              <a:gd name="T35" fmla="*/ 74 h 125"/>
              <a:gd name="T36" fmla="*/ 68 w 115"/>
              <a:gd name="T37" fmla="*/ 74 h 125"/>
              <a:gd name="T38" fmla="*/ 77 w 115"/>
              <a:gd name="T39" fmla="*/ 70 h 125"/>
              <a:gd name="T40" fmla="*/ 93 w 115"/>
              <a:gd name="T41" fmla="*/ 62 h 125"/>
              <a:gd name="T42" fmla="*/ 47 w 115"/>
              <a:gd name="T43" fmla="*/ 60 h 125"/>
              <a:gd name="T44" fmla="*/ 50 w 115"/>
              <a:gd name="T45" fmla="*/ 58 h 125"/>
              <a:gd name="T46" fmla="*/ 59 w 115"/>
              <a:gd name="T47" fmla="*/ 57 h 125"/>
              <a:gd name="T48" fmla="*/ 75 w 115"/>
              <a:gd name="T49" fmla="*/ 64 h 125"/>
              <a:gd name="T50" fmla="*/ 98 w 115"/>
              <a:gd name="T51" fmla="*/ 55 h 125"/>
              <a:gd name="T52" fmla="*/ 38 w 115"/>
              <a:gd name="T53" fmla="*/ 50 h 125"/>
              <a:gd name="T54" fmla="*/ 43 w 115"/>
              <a:gd name="T55" fmla="*/ 49 h 125"/>
              <a:gd name="T56" fmla="*/ 66 w 115"/>
              <a:gd name="T57" fmla="*/ 47 h 125"/>
              <a:gd name="T58" fmla="*/ 74 w 115"/>
              <a:gd name="T59" fmla="*/ 46 h 125"/>
              <a:gd name="T60" fmla="*/ 82 w 115"/>
              <a:gd name="T61" fmla="*/ 46 h 125"/>
              <a:gd name="T62" fmla="*/ 105 w 115"/>
              <a:gd name="T63" fmla="*/ 44 h 125"/>
              <a:gd name="T64" fmla="*/ 6 w 115"/>
              <a:gd name="T65" fmla="*/ 17 h 125"/>
              <a:gd name="T66" fmla="*/ 13 w 115"/>
              <a:gd name="T67" fmla="*/ 16 h 125"/>
              <a:gd name="T68" fmla="*/ 13 w 115"/>
              <a:gd name="T69" fmla="*/ 16 h 125"/>
              <a:gd name="T70" fmla="*/ 3 w 115"/>
              <a:gd name="T71" fmla="*/ 15 h 125"/>
              <a:gd name="T72" fmla="*/ 13 w 115"/>
              <a:gd name="T73" fmla="*/ 15 h 125"/>
              <a:gd name="T74" fmla="*/ 2 w 115"/>
              <a:gd name="T75" fmla="*/ 13 h 125"/>
              <a:gd name="T76" fmla="*/ 1 w 115"/>
              <a:gd name="T77" fmla="*/ 11 h 125"/>
              <a:gd name="T78" fmla="*/ 15 w 115"/>
              <a:gd name="T79" fmla="*/ 8 h 125"/>
              <a:gd name="T80" fmla="*/ 14 w 115"/>
              <a:gd name="T81" fmla="*/ 3 h 125"/>
              <a:gd name="T82" fmla="*/ 6 w 115"/>
              <a:gd name="T83" fmla="*/ 1 h 125"/>
              <a:gd name="T84" fmla="*/ 3 w 115"/>
              <a:gd name="T85" fmla="*/ 2 h 125"/>
              <a:gd name="T86" fmla="*/ 3 w 115"/>
              <a:gd name="T87" fmla="*/ 15 h 125"/>
              <a:gd name="T88" fmla="*/ 4 w 115"/>
              <a:gd name="T89" fmla="*/ 16 h 125"/>
              <a:gd name="T90" fmla="*/ 5 w 115"/>
              <a:gd name="T91" fmla="*/ 17 h 125"/>
              <a:gd name="T92" fmla="*/ 3 w 115"/>
              <a:gd name="T93" fmla="*/ 30 h 125"/>
              <a:gd name="T94" fmla="*/ 10 w 115"/>
              <a:gd name="T95" fmla="*/ 98 h 125"/>
              <a:gd name="T96" fmla="*/ 28 w 115"/>
              <a:gd name="T97" fmla="*/ 121 h 125"/>
              <a:gd name="T98" fmla="*/ 25 w 115"/>
              <a:gd name="T99" fmla="*/ 88 h 125"/>
              <a:gd name="T100" fmla="*/ 54 w 115"/>
              <a:gd name="T101" fmla="*/ 108 h 125"/>
              <a:gd name="T102" fmla="*/ 20 w 115"/>
              <a:gd name="T103" fmla="*/ 54 h 125"/>
              <a:gd name="T104" fmla="*/ 57 w 115"/>
              <a:gd name="T105" fmla="*/ 72 h 125"/>
              <a:gd name="T106" fmla="*/ 56 w 115"/>
              <a:gd name="T107" fmla="*/ 108 h 125"/>
              <a:gd name="T108" fmla="*/ 109 w 115"/>
              <a:gd name="T109" fmla="*/ 104 h 125"/>
              <a:gd name="T110" fmla="*/ 81 w 115"/>
              <a:gd name="T111" fmla="*/ 76 h 125"/>
              <a:gd name="T112" fmla="*/ 34 w 115"/>
              <a:gd name="T113" fmla="*/ 40 h 125"/>
              <a:gd name="T114" fmla="*/ 13 w 115"/>
              <a:gd name="T115" fmla="*/ 16 h 125"/>
              <a:gd name="T116" fmla="*/ 14 w 115"/>
              <a:gd name="T117" fmla="*/ 16 h 125"/>
              <a:gd name="T118" fmla="*/ 14 w 115"/>
              <a:gd name="T119" fmla="*/ 15 h 125"/>
              <a:gd name="T120" fmla="*/ 15 w 115"/>
              <a:gd name="T121" fmla="*/ 8 h 125"/>
              <a:gd name="T122" fmla="*/ 15 w 115"/>
              <a:gd name="T123"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 h="125">
                <a:moveTo>
                  <a:pt x="6" y="18"/>
                </a:moveTo>
                <a:cubicBezTo>
                  <a:pt x="6" y="18"/>
                  <a:pt x="6" y="18"/>
                  <a:pt x="6" y="18"/>
                </a:cubicBezTo>
                <a:cubicBezTo>
                  <a:pt x="6" y="18"/>
                  <a:pt x="6" y="18"/>
                  <a:pt x="6" y="18"/>
                </a:cubicBezTo>
                <a:cubicBezTo>
                  <a:pt x="6" y="18"/>
                  <a:pt x="6" y="18"/>
                  <a:pt x="6" y="18"/>
                </a:cubicBezTo>
                <a:moveTo>
                  <a:pt x="12" y="17"/>
                </a:moveTo>
                <a:cubicBezTo>
                  <a:pt x="12" y="17"/>
                  <a:pt x="12" y="17"/>
                  <a:pt x="12" y="17"/>
                </a:cubicBezTo>
                <a:cubicBezTo>
                  <a:pt x="12" y="17"/>
                  <a:pt x="12" y="17"/>
                  <a:pt x="12" y="17"/>
                </a:cubicBezTo>
                <a:moveTo>
                  <a:pt x="5" y="17"/>
                </a:moveTo>
                <a:cubicBezTo>
                  <a:pt x="5" y="17"/>
                  <a:pt x="5" y="17"/>
                  <a:pt x="5" y="17"/>
                </a:cubicBezTo>
                <a:cubicBezTo>
                  <a:pt x="5" y="17"/>
                  <a:pt x="5" y="17"/>
                  <a:pt x="5" y="17"/>
                </a:cubicBezTo>
                <a:moveTo>
                  <a:pt x="13" y="17"/>
                </a:moveTo>
                <a:cubicBezTo>
                  <a:pt x="13" y="17"/>
                  <a:pt x="13" y="17"/>
                  <a:pt x="13" y="17"/>
                </a:cubicBezTo>
                <a:cubicBezTo>
                  <a:pt x="13" y="17"/>
                  <a:pt x="13" y="17"/>
                  <a:pt x="13" y="17"/>
                </a:cubicBezTo>
                <a:cubicBezTo>
                  <a:pt x="13" y="17"/>
                  <a:pt x="13" y="17"/>
                  <a:pt x="13" y="17"/>
                </a:cubicBezTo>
                <a:moveTo>
                  <a:pt x="5" y="17"/>
                </a:moveTo>
                <a:cubicBezTo>
                  <a:pt x="5" y="17"/>
                  <a:pt x="5" y="17"/>
                  <a:pt x="5" y="17"/>
                </a:cubicBezTo>
                <a:cubicBezTo>
                  <a:pt x="5" y="17"/>
                  <a:pt x="5" y="17"/>
                  <a:pt x="5" y="17"/>
                </a:cubicBezTo>
                <a:moveTo>
                  <a:pt x="5" y="17"/>
                </a:moveTo>
                <a:cubicBezTo>
                  <a:pt x="5" y="16"/>
                  <a:pt x="5" y="16"/>
                  <a:pt x="5" y="16"/>
                </a:cubicBezTo>
                <a:cubicBezTo>
                  <a:pt x="5" y="17"/>
                  <a:pt x="5" y="17"/>
                  <a:pt x="5" y="17"/>
                </a:cubicBezTo>
                <a:moveTo>
                  <a:pt x="5" y="17"/>
                </a:moveTo>
                <a:cubicBezTo>
                  <a:pt x="5" y="17"/>
                  <a:pt x="5" y="17"/>
                  <a:pt x="5" y="17"/>
                </a:cubicBezTo>
                <a:cubicBezTo>
                  <a:pt x="5" y="16"/>
                  <a:pt x="5" y="16"/>
                  <a:pt x="5" y="16"/>
                </a:cubicBezTo>
                <a:cubicBezTo>
                  <a:pt x="5" y="17"/>
                  <a:pt x="5" y="17"/>
                  <a:pt x="5" y="17"/>
                </a:cubicBezTo>
                <a:moveTo>
                  <a:pt x="13" y="17"/>
                </a:moveTo>
                <a:cubicBezTo>
                  <a:pt x="13" y="17"/>
                  <a:pt x="13" y="17"/>
                  <a:pt x="13" y="17"/>
                </a:cubicBezTo>
                <a:cubicBezTo>
                  <a:pt x="13" y="16"/>
                  <a:pt x="13" y="16"/>
                  <a:pt x="13" y="16"/>
                </a:cubicBezTo>
                <a:cubicBezTo>
                  <a:pt x="13" y="17"/>
                  <a:pt x="13" y="17"/>
                  <a:pt x="13" y="17"/>
                </a:cubicBezTo>
                <a:moveTo>
                  <a:pt x="5" y="16"/>
                </a:moveTo>
                <a:cubicBezTo>
                  <a:pt x="5" y="16"/>
                  <a:pt x="5" y="16"/>
                  <a:pt x="5" y="16"/>
                </a:cubicBezTo>
                <a:cubicBezTo>
                  <a:pt x="5" y="16"/>
                  <a:pt x="5" y="16"/>
                  <a:pt x="5" y="16"/>
                </a:cubicBezTo>
                <a:cubicBezTo>
                  <a:pt x="5" y="16"/>
                  <a:pt x="5" y="16"/>
                  <a:pt x="5" y="16"/>
                </a:cubicBezTo>
                <a:moveTo>
                  <a:pt x="5" y="16"/>
                </a:moveTo>
                <a:cubicBezTo>
                  <a:pt x="5" y="16"/>
                  <a:pt x="5" y="16"/>
                  <a:pt x="5" y="16"/>
                </a:cubicBezTo>
                <a:cubicBezTo>
                  <a:pt x="5" y="16"/>
                  <a:pt x="5" y="16"/>
                  <a:pt x="5" y="16"/>
                </a:cubicBezTo>
                <a:moveTo>
                  <a:pt x="13" y="16"/>
                </a:moveTo>
                <a:cubicBezTo>
                  <a:pt x="13" y="16"/>
                  <a:pt x="13" y="16"/>
                  <a:pt x="13" y="16"/>
                </a:cubicBezTo>
                <a:cubicBezTo>
                  <a:pt x="13" y="16"/>
                  <a:pt x="13" y="16"/>
                  <a:pt x="13" y="16"/>
                </a:cubicBezTo>
                <a:moveTo>
                  <a:pt x="4" y="16"/>
                </a:moveTo>
                <a:cubicBezTo>
                  <a:pt x="4" y="16"/>
                  <a:pt x="4" y="16"/>
                  <a:pt x="4" y="16"/>
                </a:cubicBezTo>
                <a:cubicBezTo>
                  <a:pt x="4" y="16"/>
                  <a:pt x="4" y="16"/>
                  <a:pt x="4" y="16"/>
                </a:cubicBezTo>
                <a:moveTo>
                  <a:pt x="4" y="16"/>
                </a:moveTo>
                <a:cubicBezTo>
                  <a:pt x="4" y="16"/>
                  <a:pt x="4" y="16"/>
                  <a:pt x="4" y="16"/>
                </a:cubicBezTo>
                <a:cubicBezTo>
                  <a:pt x="4" y="16"/>
                  <a:pt x="4" y="16"/>
                  <a:pt x="4" y="16"/>
                </a:cubicBezTo>
                <a:cubicBezTo>
                  <a:pt x="4" y="16"/>
                  <a:pt x="4" y="16"/>
                  <a:pt x="4" y="16"/>
                </a:cubicBezTo>
                <a:moveTo>
                  <a:pt x="13" y="16"/>
                </a:moveTo>
                <a:cubicBezTo>
                  <a:pt x="13" y="16"/>
                  <a:pt x="13" y="16"/>
                  <a:pt x="13" y="16"/>
                </a:cubicBezTo>
                <a:cubicBezTo>
                  <a:pt x="13" y="16"/>
                  <a:pt x="13" y="16"/>
                  <a:pt x="13" y="16"/>
                </a:cubicBezTo>
                <a:cubicBezTo>
                  <a:pt x="13" y="16"/>
                  <a:pt x="13" y="16"/>
                  <a:pt x="13" y="16"/>
                </a:cubicBezTo>
                <a:moveTo>
                  <a:pt x="4" y="16"/>
                </a:moveTo>
                <a:cubicBezTo>
                  <a:pt x="4" y="16"/>
                  <a:pt x="4" y="16"/>
                  <a:pt x="4" y="16"/>
                </a:cubicBezTo>
                <a:cubicBezTo>
                  <a:pt x="4" y="16"/>
                  <a:pt x="4" y="16"/>
                  <a:pt x="4" y="16"/>
                </a:cubicBezTo>
                <a:cubicBezTo>
                  <a:pt x="4" y="16"/>
                  <a:pt x="4" y="16"/>
                  <a:pt x="4" y="16"/>
                </a:cubicBezTo>
                <a:moveTo>
                  <a:pt x="13" y="16"/>
                </a:moveTo>
                <a:cubicBezTo>
                  <a:pt x="13" y="16"/>
                  <a:pt x="13" y="16"/>
                  <a:pt x="13" y="16"/>
                </a:cubicBezTo>
                <a:cubicBezTo>
                  <a:pt x="13" y="16"/>
                  <a:pt x="13" y="16"/>
                  <a:pt x="13" y="16"/>
                </a:cubicBezTo>
                <a:moveTo>
                  <a:pt x="3" y="16"/>
                </a:moveTo>
                <a:cubicBezTo>
                  <a:pt x="3" y="16"/>
                  <a:pt x="3" y="16"/>
                  <a:pt x="3" y="16"/>
                </a:cubicBezTo>
                <a:cubicBezTo>
                  <a:pt x="3" y="16"/>
                  <a:pt x="3" y="16"/>
                  <a:pt x="3" y="16"/>
                </a:cubicBezTo>
                <a:cubicBezTo>
                  <a:pt x="3" y="16"/>
                  <a:pt x="3" y="16"/>
                  <a:pt x="3" y="16"/>
                </a:cubicBezTo>
                <a:moveTo>
                  <a:pt x="4" y="16"/>
                </a:moveTo>
                <a:cubicBezTo>
                  <a:pt x="4" y="16"/>
                  <a:pt x="4" y="16"/>
                  <a:pt x="4" y="16"/>
                </a:cubicBezTo>
                <a:cubicBezTo>
                  <a:pt x="4" y="16"/>
                  <a:pt x="4" y="16"/>
                  <a:pt x="4" y="16"/>
                </a:cubicBezTo>
                <a:cubicBezTo>
                  <a:pt x="4" y="16"/>
                  <a:pt x="4" y="16"/>
                  <a:pt x="4" y="16"/>
                </a:cubicBezTo>
                <a:moveTo>
                  <a:pt x="4" y="16"/>
                </a:moveTo>
                <a:cubicBezTo>
                  <a:pt x="4" y="16"/>
                  <a:pt x="4" y="16"/>
                  <a:pt x="4" y="16"/>
                </a:cubicBezTo>
                <a:cubicBezTo>
                  <a:pt x="3" y="16"/>
                  <a:pt x="3" y="16"/>
                  <a:pt x="3" y="16"/>
                </a:cubicBezTo>
                <a:cubicBezTo>
                  <a:pt x="4" y="16"/>
                  <a:pt x="4" y="16"/>
                  <a:pt x="4" y="16"/>
                </a:cubicBezTo>
                <a:moveTo>
                  <a:pt x="14" y="16"/>
                </a:moveTo>
                <a:cubicBezTo>
                  <a:pt x="14" y="16"/>
                  <a:pt x="14" y="16"/>
                  <a:pt x="14" y="16"/>
                </a:cubicBezTo>
                <a:cubicBezTo>
                  <a:pt x="14" y="16"/>
                  <a:pt x="14" y="16"/>
                  <a:pt x="14" y="16"/>
                </a:cubicBezTo>
                <a:moveTo>
                  <a:pt x="4" y="16"/>
                </a:moveTo>
                <a:cubicBezTo>
                  <a:pt x="4" y="16"/>
                  <a:pt x="4" y="16"/>
                  <a:pt x="4" y="16"/>
                </a:cubicBezTo>
                <a:cubicBezTo>
                  <a:pt x="4" y="16"/>
                  <a:pt x="4" y="16"/>
                  <a:pt x="4" y="16"/>
                </a:cubicBezTo>
                <a:moveTo>
                  <a:pt x="3" y="16"/>
                </a:moveTo>
                <a:cubicBezTo>
                  <a:pt x="3" y="16"/>
                  <a:pt x="3" y="16"/>
                  <a:pt x="3" y="16"/>
                </a:cubicBezTo>
                <a:cubicBezTo>
                  <a:pt x="3" y="16"/>
                  <a:pt x="3" y="16"/>
                  <a:pt x="3" y="16"/>
                </a:cubicBezTo>
                <a:cubicBezTo>
                  <a:pt x="3" y="16"/>
                  <a:pt x="3" y="16"/>
                  <a:pt x="3" y="16"/>
                </a:cubicBezTo>
                <a:moveTo>
                  <a:pt x="13" y="16"/>
                </a:moveTo>
                <a:cubicBezTo>
                  <a:pt x="13" y="16"/>
                  <a:pt x="13" y="16"/>
                  <a:pt x="13" y="16"/>
                </a:cubicBezTo>
                <a:cubicBezTo>
                  <a:pt x="13" y="16"/>
                  <a:pt x="13" y="16"/>
                  <a:pt x="13" y="16"/>
                </a:cubicBezTo>
                <a:moveTo>
                  <a:pt x="3" y="16"/>
                </a:moveTo>
                <a:cubicBezTo>
                  <a:pt x="3" y="16"/>
                  <a:pt x="3" y="16"/>
                  <a:pt x="3" y="16"/>
                </a:cubicBezTo>
                <a:cubicBezTo>
                  <a:pt x="3" y="16"/>
                  <a:pt x="3" y="16"/>
                  <a:pt x="3" y="16"/>
                </a:cubicBezTo>
                <a:cubicBezTo>
                  <a:pt x="3" y="16"/>
                  <a:pt x="3" y="16"/>
                  <a:pt x="3" y="16"/>
                </a:cubicBezTo>
                <a:cubicBezTo>
                  <a:pt x="3" y="16"/>
                  <a:pt x="3" y="16"/>
                  <a:pt x="3" y="16"/>
                </a:cubicBezTo>
                <a:moveTo>
                  <a:pt x="14" y="16"/>
                </a:moveTo>
                <a:cubicBezTo>
                  <a:pt x="14" y="16"/>
                  <a:pt x="14" y="16"/>
                  <a:pt x="14" y="16"/>
                </a:cubicBezTo>
                <a:cubicBezTo>
                  <a:pt x="14" y="16"/>
                  <a:pt x="14" y="16"/>
                  <a:pt x="14" y="16"/>
                </a:cubicBezTo>
                <a:moveTo>
                  <a:pt x="14" y="15"/>
                </a:moveTo>
                <a:cubicBezTo>
                  <a:pt x="14" y="16"/>
                  <a:pt x="14" y="16"/>
                  <a:pt x="14" y="16"/>
                </a:cubicBezTo>
                <a:cubicBezTo>
                  <a:pt x="14" y="15"/>
                  <a:pt x="14" y="15"/>
                  <a:pt x="14" y="15"/>
                </a:cubicBezTo>
                <a:cubicBezTo>
                  <a:pt x="14" y="15"/>
                  <a:pt x="14" y="15"/>
                  <a:pt x="14" y="15"/>
                </a:cubicBezTo>
                <a:moveTo>
                  <a:pt x="3" y="16"/>
                </a:moveTo>
                <a:cubicBezTo>
                  <a:pt x="3" y="16"/>
                  <a:pt x="3" y="16"/>
                  <a:pt x="3" y="16"/>
                </a:cubicBezTo>
                <a:cubicBezTo>
                  <a:pt x="3" y="15"/>
                  <a:pt x="3" y="15"/>
                  <a:pt x="3" y="15"/>
                </a:cubicBezTo>
                <a:cubicBezTo>
                  <a:pt x="3" y="16"/>
                  <a:pt x="3" y="16"/>
                  <a:pt x="3" y="16"/>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14" y="15"/>
                </a:moveTo>
                <a:cubicBezTo>
                  <a:pt x="14" y="15"/>
                  <a:pt x="14" y="15"/>
                  <a:pt x="14" y="15"/>
                </a:cubicBezTo>
                <a:cubicBezTo>
                  <a:pt x="14" y="15"/>
                  <a:pt x="14" y="15"/>
                  <a:pt x="14" y="15"/>
                </a:cubicBezTo>
                <a:moveTo>
                  <a:pt x="3" y="16"/>
                </a:moveTo>
                <a:cubicBezTo>
                  <a:pt x="3" y="16"/>
                  <a:pt x="3" y="16"/>
                  <a:pt x="3" y="16"/>
                </a:cubicBezTo>
                <a:cubicBezTo>
                  <a:pt x="3" y="16"/>
                  <a:pt x="3" y="16"/>
                  <a:pt x="3" y="16"/>
                </a:cubicBezTo>
                <a:cubicBezTo>
                  <a:pt x="2" y="15"/>
                  <a:pt x="2" y="15"/>
                  <a:pt x="2" y="15"/>
                </a:cubicBezTo>
                <a:cubicBezTo>
                  <a:pt x="3" y="16"/>
                  <a:pt x="3" y="16"/>
                  <a:pt x="3" y="16"/>
                </a:cubicBezTo>
                <a:moveTo>
                  <a:pt x="1" y="13"/>
                </a:moveTo>
                <a:cubicBezTo>
                  <a:pt x="1" y="13"/>
                  <a:pt x="1" y="13"/>
                  <a:pt x="1" y="13"/>
                </a:cubicBezTo>
                <a:cubicBezTo>
                  <a:pt x="1" y="13"/>
                  <a:pt x="1" y="13"/>
                  <a:pt x="1" y="13"/>
                </a:cubicBezTo>
                <a:moveTo>
                  <a:pt x="1" y="13"/>
                </a:moveTo>
                <a:cubicBezTo>
                  <a:pt x="1" y="13"/>
                  <a:pt x="1" y="13"/>
                  <a:pt x="1" y="13"/>
                </a:cubicBezTo>
                <a:cubicBezTo>
                  <a:pt x="1" y="13"/>
                  <a:pt x="1" y="13"/>
                  <a:pt x="1" y="13"/>
                </a:cubicBezTo>
                <a:moveTo>
                  <a:pt x="2" y="15"/>
                </a:moveTo>
                <a:cubicBezTo>
                  <a:pt x="2" y="15"/>
                  <a:pt x="2" y="15"/>
                  <a:pt x="2" y="15"/>
                </a:cubicBezTo>
                <a:cubicBezTo>
                  <a:pt x="2" y="14"/>
                  <a:pt x="2" y="14"/>
                  <a:pt x="1" y="13"/>
                </a:cubicBezTo>
                <a:cubicBezTo>
                  <a:pt x="1" y="13"/>
                  <a:pt x="1" y="13"/>
                  <a:pt x="1" y="13"/>
                </a:cubicBezTo>
                <a:cubicBezTo>
                  <a:pt x="1" y="14"/>
                  <a:pt x="1" y="14"/>
                  <a:pt x="1" y="14"/>
                </a:cubicBezTo>
                <a:cubicBezTo>
                  <a:pt x="1" y="14"/>
                  <a:pt x="1" y="14"/>
                  <a:pt x="1" y="14"/>
                </a:cubicBezTo>
                <a:cubicBezTo>
                  <a:pt x="1" y="13"/>
                  <a:pt x="1" y="13"/>
                  <a:pt x="1" y="13"/>
                </a:cubicBezTo>
                <a:cubicBezTo>
                  <a:pt x="1" y="13"/>
                  <a:pt x="2" y="14"/>
                  <a:pt x="2" y="15"/>
                </a:cubicBezTo>
                <a:moveTo>
                  <a:pt x="1" y="13"/>
                </a:moveTo>
                <a:cubicBezTo>
                  <a:pt x="1" y="13"/>
                  <a:pt x="1" y="13"/>
                  <a:pt x="1" y="13"/>
                </a:cubicBezTo>
                <a:cubicBezTo>
                  <a:pt x="1" y="13"/>
                  <a:pt x="1" y="13"/>
                  <a:pt x="1" y="13"/>
                </a:cubicBezTo>
                <a:cubicBezTo>
                  <a:pt x="1" y="13"/>
                  <a:pt x="1" y="13"/>
                  <a:pt x="1" y="13"/>
                </a:cubicBezTo>
                <a:moveTo>
                  <a:pt x="1" y="13"/>
                </a:moveTo>
                <a:cubicBezTo>
                  <a:pt x="1" y="13"/>
                  <a:pt x="1" y="13"/>
                  <a:pt x="1" y="13"/>
                </a:cubicBezTo>
                <a:cubicBezTo>
                  <a:pt x="1" y="12"/>
                  <a:pt x="1" y="12"/>
                  <a:pt x="1" y="12"/>
                </a:cubicBezTo>
                <a:cubicBezTo>
                  <a:pt x="1" y="13"/>
                  <a:pt x="1" y="13"/>
                  <a:pt x="1" y="13"/>
                </a:cubicBezTo>
                <a:moveTo>
                  <a:pt x="1" y="13"/>
                </a:moveTo>
                <a:cubicBezTo>
                  <a:pt x="1" y="13"/>
                  <a:pt x="1" y="13"/>
                  <a:pt x="1" y="13"/>
                </a:cubicBezTo>
                <a:cubicBezTo>
                  <a:pt x="1" y="12"/>
                  <a:pt x="1" y="12"/>
                  <a:pt x="1" y="12"/>
                </a:cubicBezTo>
                <a:cubicBezTo>
                  <a:pt x="1" y="13"/>
                  <a:pt x="1" y="13"/>
                  <a:pt x="1" y="13"/>
                </a:cubicBezTo>
                <a:moveTo>
                  <a:pt x="15" y="8"/>
                </a:moveTo>
                <a:cubicBezTo>
                  <a:pt x="15" y="8"/>
                  <a:pt x="15" y="8"/>
                  <a:pt x="15" y="8"/>
                </a:cubicBezTo>
                <a:cubicBezTo>
                  <a:pt x="15" y="8"/>
                  <a:pt x="15" y="8"/>
                  <a:pt x="15" y="8"/>
                </a:cubicBezTo>
                <a:moveTo>
                  <a:pt x="15" y="8"/>
                </a:moveTo>
                <a:cubicBezTo>
                  <a:pt x="15" y="8"/>
                  <a:pt x="15" y="8"/>
                  <a:pt x="15" y="8"/>
                </a:cubicBezTo>
                <a:cubicBezTo>
                  <a:pt x="15" y="8"/>
                  <a:pt x="15" y="8"/>
                  <a:pt x="15" y="8"/>
                </a:cubicBezTo>
                <a:moveTo>
                  <a:pt x="15" y="8"/>
                </a:moveTo>
                <a:cubicBezTo>
                  <a:pt x="15" y="8"/>
                  <a:pt x="15" y="8"/>
                  <a:pt x="15" y="8"/>
                </a:cubicBezTo>
                <a:cubicBezTo>
                  <a:pt x="15" y="8"/>
                  <a:pt x="15" y="8"/>
                  <a:pt x="15" y="8"/>
                </a:cubicBezTo>
                <a:moveTo>
                  <a:pt x="15" y="8"/>
                </a:moveTo>
                <a:cubicBezTo>
                  <a:pt x="15" y="8"/>
                  <a:pt x="15" y="8"/>
                  <a:pt x="15" y="8"/>
                </a:cubicBezTo>
                <a:cubicBezTo>
                  <a:pt x="15" y="8"/>
                  <a:pt x="15" y="8"/>
                  <a:pt x="15" y="8"/>
                </a:cubicBezTo>
                <a:moveTo>
                  <a:pt x="15" y="8"/>
                </a:moveTo>
                <a:cubicBezTo>
                  <a:pt x="15" y="8"/>
                  <a:pt x="15" y="8"/>
                  <a:pt x="15" y="8"/>
                </a:cubicBezTo>
                <a:cubicBezTo>
                  <a:pt x="15" y="8"/>
                  <a:pt x="15" y="8"/>
                  <a:pt x="15" y="8"/>
                </a:cubicBezTo>
                <a:moveTo>
                  <a:pt x="15" y="8"/>
                </a:moveTo>
                <a:cubicBezTo>
                  <a:pt x="15" y="7"/>
                  <a:pt x="15" y="7"/>
                  <a:pt x="15" y="7"/>
                </a:cubicBezTo>
                <a:cubicBezTo>
                  <a:pt x="15" y="8"/>
                  <a:pt x="15" y="8"/>
                  <a:pt x="15" y="8"/>
                </a:cubicBezTo>
                <a:moveTo>
                  <a:pt x="15" y="7"/>
                </a:moveTo>
                <a:cubicBezTo>
                  <a:pt x="15" y="7"/>
                  <a:pt x="15" y="7"/>
                  <a:pt x="15" y="7"/>
                </a:cubicBezTo>
                <a:cubicBezTo>
                  <a:pt x="15" y="7"/>
                  <a:pt x="15" y="7"/>
                  <a:pt x="15" y="7"/>
                </a:cubicBezTo>
                <a:moveTo>
                  <a:pt x="15" y="7"/>
                </a:moveTo>
                <a:cubicBezTo>
                  <a:pt x="15" y="7"/>
                  <a:pt x="15" y="7"/>
                  <a:pt x="15" y="7"/>
                </a:cubicBezTo>
                <a:cubicBezTo>
                  <a:pt x="15" y="7"/>
                  <a:pt x="15" y="7"/>
                  <a:pt x="15" y="7"/>
                </a:cubicBezTo>
                <a:moveTo>
                  <a:pt x="15" y="7"/>
                </a:moveTo>
                <a:cubicBezTo>
                  <a:pt x="15" y="7"/>
                  <a:pt x="15" y="7"/>
                  <a:pt x="15" y="7"/>
                </a:cubicBezTo>
                <a:cubicBezTo>
                  <a:pt x="15" y="7"/>
                  <a:pt x="15" y="7"/>
                  <a:pt x="15" y="7"/>
                </a:cubicBezTo>
                <a:moveTo>
                  <a:pt x="16" y="7"/>
                </a:moveTo>
                <a:cubicBezTo>
                  <a:pt x="16" y="7"/>
                  <a:pt x="16" y="7"/>
                  <a:pt x="16" y="7"/>
                </a:cubicBezTo>
                <a:cubicBezTo>
                  <a:pt x="16" y="7"/>
                  <a:pt x="16" y="7"/>
                  <a:pt x="16" y="7"/>
                </a:cubicBezTo>
                <a:moveTo>
                  <a:pt x="15" y="7"/>
                </a:moveTo>
                <a:cubicBezTo>
                  <a:pt x="15" y="7"/>
                  <a:pt x="15" y="7"/>
                  <a:pt x="15" y="7"/>
                </a:cubicBezTo>
                <a:cubicBezTo>
                  <a:pt x="15" y="7"/>
                  <a:pt x="15" y="7"/>
                  <a:pt x="15" y="7"/>
                </a:cubicBezTo>
                <a:moveTo>
                  <a:pt x="15" y="7"/>
                </a:moveTo>
                <a:cubicBezTo>
                  <a:pt x="15" y="7"/>
                  <a:pt x="15" y="7"/>
                  <a:pt x="15" y="7"/>
                </a:cubicBezTo>
                <a:cubicBezTo>
                  <a:pt x="15" y="7"/>
                  <a:pt x="15" y="7"/>
                  <a:pt x="15" y="7"/>
                </a:cubicBezTo>
                <a:moveTo>
                  <a:pt x="16" y="7"/>
                </a:moveTo>
                <a:cubicBezTo>
                  <a:pt x="15" y="7"/>
                  <a:pt x="15" y="7"/>
                  <a:pt x="15" y="7"/>
                </a:cubicBezTo>
                <a:cubicBezTo>
                  <a:pt x="16" y="7"/>
                  <a:pt x="16" y="7"/>
                  <a:pt x="16" y="7"/>
                </a:cubicBezTo>
                <a:moveTo>
                  <a:pt x="15" y="7"/>
                </a:moveTo>
                <a:cubicBezTo>
                  <a:pt x="15" y="7"/>
                  <a:pt x="15" y="7"/>
                  <a:pt x="15" y="7"/>
                </a:cubicBezTo>
                <a:cubicBezTo>
                  <a:pt x="15" y="7"/>
                  <a:pt x="15" y="7"/>
                  <a:pt x="15" y="7"/>
                </a:cubicBezTo>
                <a:moveTo>
                  <a:pt x="15" y="7"/>
                </a:moveTo>
                <a:cubicBezTo>
                  <a:pt x="15" y="7"/>
                  <a:pt x="15" y="7"/>
                  <a:pt x="15" y="7"/>
                </a:cubicBezTo>
                <a:cubicBezTo>
                  <a:pt x="15" y="7"/>
                  <a:pt x="15" y="7"/>
                  <a:pt x="15" y="7"/>
                </a:cubicBezTo>
                <a:moveTo>
                  <a:pt x="15" y="7"/>
                </a:moveTo>
                <a:cubicBezTo>
                  <a:pt x="15" y="7"/>
                  <a:pt x="15" y="7"/>
                  <a:pt x="15" y="7"/>
                </a:cubicBezTo>
                <a:cubicBezTo>
                  <a:pt x="15" y="7"/>
                  <a:pt x="15" y="7"/>
                  <a:pt x="15" y="7"/>
                </a:cubicBezTo>
                <a:moveTo>
                  <a:pt x="15" y="7"/>
                </a:moveTo>
                <a:cubicBezTo>
                  <a:pt x="15" y="6"/>
                  <a:pt x="15" y="6"/>
                  <a:pt x="15" y="6"/>
                </a:cubicBezTo>
                <a:cubicBezTo>
                  <a:pt x="15" y="7"/>
                  <a:pt x="15" y="7"/>
                  <a:pt x="15" y="7"/>
                </a:cubicBezTo>
                <a:moveTo>
                  <a:pt x="16" y="7"/>
                </a:moveTo>
                <a:cubicBezTo>
                  <a:pt x="15" y="6"/>
                  <a:pt x="15" y="6"/>
                  <a:pt x="15" y="6"/>
                </a:cubicBezTo>
                <a:cubicBezTo>
                  <a:pt x="16" y="7"/>
                  <a:pt x="16" y="7"/>
                  <a:pt x="16" y="7"/>
                </a:cubicBezTo>
                <a:moveTo>
                  <a:pt x="15" y="7"/>
                </a:moveTo>
                <a:cubicBezTo>
                  <a:pt x="15" y="6"/>
                  <a:pt x="15" y="6"/>
                  <a:pt x="15" y="6"/>
                </a:cubicBezTo>
                <a:cubicBezTo>
                  <a:pt x="15" y="7"/>
                  <a:pt x="15" y="7"/>
                  <a:pt x="15" y="7"/>
                </a:cubicBezTo>
                <a:moveTo>
                  <a:pt x="15" y="6"/>
                </a:moveTo>
                <a:cubicBezTo>
                  <a:pt x="15" y="6"/>
                  <a:pt x="15" y="6"/>
                  <a:pt x="15" y="6"/>
                </a:cubicBezTo>
                <a:cubicBezTo>
                  <a:pt x="15" y="6"/>
                  <a:pt x="15" y="6"/>
                  <a:pt x="15" y="6"/>
                </a:cubicBezTo>
                <a:moveTo>
                  <a:pt x="15" y="6"/>
                </a:moveTo>
                <a:cubicBezTo>
                  <a:pt x="15" y="5"/>
                  <a:pt x="15" y="5"/>
                  <a:pt x="15" y="5"/>
                </a:cubicBezTo>
                <a:cubicBezTo>
                  <a:pt x="15" y="6"/>
                  <a:pt x="15" y="6"/>
                  <a:pt x="15" y="6"/>
                </a:cubicBezTo>
                <a:moveTo>
                  <a:pt x="57" y="93"/>
                </a:moveTo>
                <a:cubicBezTo>
                  <a:pt x="58" y="92"/>
                  <a:pt x="58" y="92"/>
                  <a:pt x="58" y="91"/>
                </a:cubicBezTo>
                <a:cubicBezTo>
                  <a:pt x="59" y="89"/>
                  <a:pt x="60" y="88"/>
                  <a:pt x="60" y="86"/>
                </a:cubicBezTo>
                <a:cubicBezTo>
                  <a:pt x="61" y="85"/>
                  <a:pt x="62" y="82"/>
                  <a:pt x="63" y="81"/>
                </a:cubicBezTo>
                <a:cubicBezTo>
                  <a:pt x="64" y="81"/>
                  <a:pt x="66" y="81"/>
                  <a:pt x="67" y="80"/>
                </a:cubicBezTo>
                <a:cubicBezTo>
                  <a:pt x="70" y="79"/>
                  <a:pt x="73" y="78"/>
                  <a:pt x="75" y="78"/>
                </a:cubicBezTo>
                <a:cubicBezTo>
                  <a:pt x="75" y="78"/>
                  <a:pt x="75" y="78"/>
                  <a:pt x="75" y="78"/>
                </a:cubicBezTo>
                <a:cubicBezTo>
                  <a:pt x="75" y="80"/>
                  <a:pt x="74" y="82"/>
                  <a:pt x="74" y="84"/>
                </a:cubicBezTo>
                <a:cubicBezTo>
                  <a:pt x="74" y="86"/>
                  <a:pt x="74" y="87"/>
                  <a:pt x="74" y="89"/>
                </a:cubicBezTo>
                <a:cubicBezTo>
                  <a:pt x="74" y="89"/>
                  <a:pt x="74" y="90"/>
                  <a:pt x="74" y="90"/>
                </a:cubicBezTo>
                <a:cubicBezTo>
                  <a:pt x="74" y="91"/>
                  <a:pt x="74" y="92"/>
                  <a:pt x="75" y="93"/>
                </a:cubicBezTo>
                <a:cubicBezTo>
                  <a:pt x="75" y="95"/>
                  <a:pt x="75" y="96"/>
                  <a:pt x="75" y="98"/>
                </a:cubicBezTo>
                <a:cubicBezTo>
                  <a:pt x="75" y="98"/>
                  <a:pt x="74" y="98"/>
                  <a:pt x="73" y="98"/>
                </a:cubicBezTo>
                <a:cubicBezTo>
                  <a:pt x="72" y="97"/>
                  <a:pt x="71" y="97"/>
                  <a:pt x="70" y="96"/>
                </a:cubicBezTo>
                <a:cubicBezTo>
                  <a:pt x="70" y="96"/>
                  <a:pt x="70" y="96"/>
                  <a:pt x="70" y="96"/>
                </a:cubicBezTo>
                <a:cubicBezTo>
                  <a:pt x="69" y="97"/>
                  <a:pt x="69" y="96"/>
                  <a:pt x="69" y="97"/>
                </a:cubicBezTo>
                <a:cubicBezTo>
                  <a:pt x="69" y="97"/>
                  <a:pt x="71" y="98"/>
                  <a:pt x="71" y="99"/>
                </a:cubicBezTo>
                <a:cubicBezTo>
                  <a:pt x="72" y="99"/>
                  <a:pt x="72" y="99"/>
                  <a:pt x="72" y="99"/>
                </a:cubicBezTo>
                <a:cubicBezTo>
                  <a:pt x="72" y="98"/>
                  <a:pt x="72" y="98"/>
                  <a:pt x="72" y="98"/>
                </a:cubicBezTo>
                <a:cubicBezTo>
                  <a:pt x="72" y="99"/>
                  <a:pt x="72" y="99"/>
                  <a:pt x="72" y="99"/>
                </a:cubicBezTo>
                <a:cubicBezTo>
                  <a:pt x="68" y="100"/>
                  <a:pt x="63" y="101"/>
                  <a:pt x="59" y="102"/>
                </a:cubicBezTo>
                <a:cubicBezTo>
                  <a:pt x="58" y="99"/>
                  <a:pt x="57" y="95"/>
                  <a:pt x="57" y="93"/>
                </a:cubicBezTo>
                <a:moveTo>
                  <a:pt x="62" y="76"/>
                </a:moveTo>
                <a:cubicBezTo>
                  <a:pt x="62" y="76"/>
                  <a:pt x="62" y="76"/>
                  <a:pt x="62" y="76"/>
                </a:cubicBezTo>
                <a:cubicBezTo>
                  <a:pt x="62" y="76"/>
                  <a:pt x="62" y="76"/>
                  <a:pt x="62" y="76"/>
                </a:cubicBezTo>
                <a:cubicBezTo>
                  <a:pt x="62" y="76"/>
                  <a:pt x="62" y="76"/>
                  <a:pt x="62" y="76"/>
                </a:cubicBezTo>
                <a:cubicBezTo>
                  <a:pt x="62" y="76"/>
                  <a:pt x="62" y="76"/>
                  <a:pt x="62" y="76"/>
                </a:cubicBezTo>
                <a:moveTo>
                  <a:pt x="63" y="76"/>
                </a:moveTo>
                <a:cubicBezTo>
                  <a:pt x="63" y="76"/>
                  <a:pt x="63" y="76"/>
                  <a:pt x="63" y="76"/>
                </a:cubicBezTo>
                <a:cubicBezTo>
                  <a:pt x="63" y="76"/>
                  <a:pt x="63" y="76"/>
                  <a:pt x="63" y="76"/>
                </a:cubicBezTo>
                <a:cubicBezTo>
                  <a:pt x="63" y="76"/>
                  <a:pt x="63" y="76"/>
                  <a:pt x="63" y="76"/>
                </a:cubicBezTo>
                <a:cubicBezTo>
                  <a:pt x="64" y="76"/>
                  <a:pt x="64" y="76"/>
                  <a:pt x="64" y="76"/>
                </a:cubicBezTo>
                <a:cubicBezTo>
                  <a:pt x="64" y="76"/>
                  <a:pt x="64" y="76"/>
                  <a:pt x="64" y="76"/>
                </a:cubicBezTo>
                <a:cubicBezTo>
                  <a:pt x="63" y="76"/>
                  <a:pt x="63" y="76"/>
                  <a:pt x="63" y="76"/>
                </a:cubicBezTo>
                <a:cubicBezTo>
                  <a:pt x="63" y="76"/>
                  <a:pt x="63" y="76"/>
                  <a:pt x="63" y="76"/>
                </a:cubicBezTo>
                <a:moveTo>
                  <a:pt x="61" y="76"/>
                </a:moveTo>
                <a:cubicBezTo>
                  <a:pt x="60" y="75"/>
                  <a:pt x="60" y="75"/>
                  <a:pt x="60" y="75"/>
                </a:cubicBezTo>
                <a:cubicBezTo>
                  <a:pt x="61" y="76"/>
                  <a:pt x="61" y="76"/>
                  <a:pt x="61" y="76"/>
                </a:cubicBezTo>
                <a:cubicBezTo>
                  <a:pt x="61" y="76"/>
                  <a:pt x="61" y="76"/>
                  <a:pt x="61" y="76"/>
                </a:cubicBezTo>
                <a:moveTo>
                  <a:pt x="65" y="75"/>
                </a:moveTo>
                <a:cubicBezTo>
                  <a:pt x="65" y="75"/>
                  <a:pt x="65" y="75"/>
                  <a:pt x="65" y="75"/>
                </a:cubicBezTo>
                <a:cubicBezTo>
                  <a:pt x="65" y="75"/>
                  <a:pt x="65" y="75"/>
                  <a:pt x="65" y="75"/>
                </a:cubicBezTo>
                <a:cubicBezTo>
                  <a:pt x="66" y="75"/>
                  <a:pt x="67" y="75"/>
                  <a:pt x="68" y="75"/>
                </a:cubicBezTo>
                <a:cubicBezTo>
                  <a:pt x="69" y="75"/>
                  <a:pt x="69" y="75"/>
                  <a:pt x="69" y="75"/>
                </a:cubicBezTo>
                <a:cubicBezTo>
                  <a:pt x="67" y="75"/>
                  <a:pt x="66" y="75"/>
                  <a:pt x="65" y="76"/>
                </a:cubicBezTo>
                <a:cubicBezTo>
                  <a:pt x="65" y="75"/>
                  <a:pt x="65" y="75"/>
                  <a:pt x="65" y="75"/>
                </a:cubicBezTo>
                <a:moveTo>
                  <a:pt x="69" y="75"/>
                </a:moveTo>
                <a:cubicBezTo>
                  <a:pt x="69" y="75"/>
                  <a:pt x="69" y="75"/>
                  <a:pt x="69" y="75"/>
                </a:cubicBezTo>
                <a:cubicBezTo>
                  <a:pt x="69" y="74"/>
                  <a:pt x="69" y="74"/>
                  <a:pt x="69" y="74"/>
                </a:cubicBezTo>
                <a:cubicBezTo>
                  <a:pt x="71" y="74"/>
                  <a:pt x="72" y="74"/>
                  <a:pt x="74" y="74"/>
                </a:cubicBezTo>
                <a:cubicBezTo>
                  <a:pt x="74" y="74"/>
                  <a:pt x="74" y="74"/>
                  <a:pt x="74" y="74"/>
                </a:cubicBezTo>
                <a:cubicBezTo>
                  <a:pt x="72" y="74"/>
                  <a:pt x="71" y="75"/>
                  <a:pt x="69" y="75"/>
                </a:cubicBezTo>
                <a:cubicBezTo>
                  <a:pt x="69" y="75"/>
                  <a:pt x="69" y="75"/>
                  <a:pt x="69" y="75"/>
                </a:cubicBezTo>
                <a:moveTo>
                  <a:pt x="64" y="78"/>
                </a:moveTo>
                <a:cubicBezTo>
                  <a:pt x="65" y="78"/>
                  <a:pt x="65" y="78"/>
                  <a:pt x="65" y="78"/>
                </a:cubicBezTo>
                <a:cubicBezTo>
                  <a:pt x="65" y="78"/>
                  <a:pt x="65" y="78"/>
                  <a:pt x="65" y="78"/>
                </a:cubicBezTo>
                <a:cubicBezTo>
                  <a:pt x="64" y="77"/>
                  <a:pt x="64" y="77"/>
                  <a:pt x="64" y="77"/>
                </a:cubicBezTo>
                <a:cubicBezTo>
                  <a:pt x="67" y="76"/>
                  <a:pt x="71" y="75"/>
                  <a:pt x="75" y="74"/>
                </a:cubicBezTo>
                <a:cubicBezTo>
                  <a:pt x="76" y="74"/>
                  <a:pt x="78" y="73"/>
                  <a:pt x="79" y="74"/>
                </a:cubicBezTo>
                <a:cubicBezTo>
                  <a:pt x="79" y="74"/>
                  <a:pt x="79" y="74"/>
                  <a:pt x="79" y="74"/>
                </a:cubicBezTo>
                <a:cubicBezTo>
                  <a:pt x="79" y="74"/>
                  <a:pt x="79" y="74"/>
                  <a:pt x="79" y="74"/>
                </a:cubicBezTo>
                <a:cubicBezTo>
                  <a:pt x="78" y="74"/>
                  <a:pt x="76" y="75"/>
                  <a:pt x="75" y="75"/>
                </a:cubicBezTo>
                <a:cubicBezTo>
                  <a:pt x="67" y="77"/>
                  <a:pt x="67" y="77"/>
                  <a:pt x="67" y="77"/>
                </a:cubicBezTo>
                <a:cubicBezTo>
                  <a:pt x="66" y="78"/>
                  <a:pt x="65" y="78"/>
                  <a:pt x="64" y="78"/>
                </a:cubicBezTo>
                <a:cubicBezTo>
                  <a:pt x="63" y="78"/>
                  <a:pt x="63" y="77"/>
                  <a:pt x="63" y="77"/>
                </a:cubicBezTo>
                <a:cubicBezTo>
                  <a:pt x="63" y="77"/>
                  <a:pt x="63" y="77"/>
                  <a:pt x="63" y="77"/>
                </a:cubicBezTo>
                <a:cubicBezTo>
                  <a:pt x="63" y="77"/>
                  <a:pt x="64" y="78"/>
                  <a:pt x="64" y="78"/>
                </a:cubicBezTo>
                <a:cubicBezTo>
                  <a:pt x="64" y="78"/>
                  <a:pt x="64" y="78"/>
                  <a:pt x="64" y="78"/>
                </a:cubicBezTo>
                <a:moveTo>
                  <a:pt x="76" y="73"/>
                </a:moveTo>
                <a:cubicBezTo>
                  <a:pt x="77" y="73"/>
                  <a:pt x="78" y="73"/>
                  <a:pt x="78" y="73"/>
                </a:cubicBezTo>
                <a:cubicBezTo>
                  <a:pt x="78" y="73"/>
                  <a:pt x="78" y="73"/>
                  <a:pt x="78" y="73"/>
                </a:cubicBezTo>
                <a:cubicBezTo>
                  <a:pt x="77" y="73"/>
                  <a:pt x="75" y="74"/>
                  <a:pt x="74" y="74"/>
                </a:cubicBezTo>
                <a:cubicBezTo>
                  <a:pt x="74" y="74"/>
                  <a:pt x="74" y="74"/>
                  <a:pt x="74" y="74"/>
                </a:cubicBezTo>
                <a:cubicBezTo>
                  <a:pt x="75" y="73"/>
                  <a:pt x="75" y="73"/>
                  <a:pt x="75" y="73"/>
                </a:cubicBezTo>
                <a:cubicBezTo>
                  <a:pt x="75" y="73"/>
                  <a:pt x="75" y="73"/>
                  <a:pt x="75" y="73"/>
                </a:cubicBezTo>
                <a:cubicBezTo>
                  <a:pt x="75" y="73"/>
                  <a:pt x="76" y="73"/>
                  <a:pt x="76" y="73"/>
                </a:cubicBezTo>
                <a:moveTo>
                  <a:pt x="81" y="73"/>
                </a:moveTo>
                <a:cubicBezTo>
                  <a:pt x="81" y="73"/>
                  <a:pt x="81" y="73"/>
                  <a:pt x="81" y="73"/>
                </a:cubicBezTo>
                <a:cubicBezTo>
                  <a:pt x="82" y="73"/>
                  <a:pt x="84" y="73"/>
                  <a:pt x="85" y="72"/>
                </a:cubicBezTo>
                <a:cubicBezTo>
                  <a:pt x="84" y="73"/>
                  <a:pt x="82" y="73"/>
                  <a:pt x="81" y="74"/>
                </a:cubicBezTo>
                <a:cubicBezTo>
                  <a:pt x="81" y="73"/>
                  <a:pt x="81" y="73"/>
                  <a:pt x="81" y="73"/>
                </a:cubicBezTo>
                <a:moveTo>
                  <a:pt x="80" y="72"/>
                </a:moveTo>
                <a:cubicBezTo>
                  <a:pt x="81" y="72"/>
                  <a:pt x="82" y="72"/>
                  <a:pt x="83" y="72"/>
                </a:cubicBezTo>
                <a:cubicBezTo>
                  <a:pt x="83" y="72"/>
                  <a:pt x="83" y="72"/>
                  <a:pt x="83" y="72"/>
                </a:cubicBezTo>
                <a:cubicBezTo>
                  <a:pt x="82" y="72"/>
                  <a:pt x="81" y="73"/>
                  <a:pt x="80" y="73"/>
                </a:cubicBezTo>
                <a:cubicBezTo>
                  <a:pt x="80" y="72"/>
                  <a:pt x="80" y="72"/>
                  <a:pt x="80" y="72"/>
                </a:cubicBezTo>
                <a:moveTo>
                  <a:pt x="84" y="72"/>
                </a:moveTo>
                <a:cubicBezTo>
                  <a:pt x="85" y="71"/>
                  <a:pt x="86" y="71"/>
                  <a:pt x="88" y="71"/>
                </a:cubicBezTo>
                <a:cubicBezTo>
                  <a:pt x="88" y="71"/>
                  <a:pt x="88" y="71"/>
                  <a:pt x="88" y="71"/>
                </a:cubicBezTo>
                <a:cubicBezTo>
                  <a:pt x="86" y="71"/>
                  <a:pt x="85" y="72"/>
                  <a:pt x="84" y="72"/>
                </a:cubicBezTo>
                <a:cubicBezTo>
                  <a:pt x="84" y="72"/>
                  <a:pt x="84" y="72"/>
                  <a:pt x="84" y="72"/>
                </a:cubicBezTo>
                <a:moveTo>
                  <a:pt x="88" y="71"/>
                </a:moveTo>
                <a:cubicBezTo>
                  <a:pt x="93" y="70"/>
                  <a:pt x="93" y="70"/>
                  <a:pt x="93" y="70"/>
                </a:cubicBezTo>
                <a:cubicBezTo>
                  <a:pt x="93" y="70"/>
                  <a:pt x="93" y="70"/>
                  <a:pt x="93" y="70"/>
                </a:cubicBezTo>
                <a:cubicBezTo>
                  <a:pt x="92" y="70"/>
                  <a:pt x="90" y="71"/>
                  <a:pt x="88" y="71"/>
                </a:cubicBezTo>
                <a:cubicBezTo>
                  <a:pt x="88" y="71"/>
                  <a:pt x="88" y="71"/>
                  <a:pt x="88" y="71"/>
                </a:cubicBezTo>
                <a:moveTo>
                  <a:pt x="94" y="70"/>
                </a:moveTo>
                <a:cubicBezTo>
                  <a:pt x="94" y="70"/>
                  <a:pt x="94" y="70"/>
                  <a:pt x="94" y="70"/>
                </a:cubicBezTo>
                <a:cubicBezTo>
                  <a:pt x="95" y="69"/>
                  <a:pt x="97" y="69"/>
                  <a:pt x="98" y="69"/>
                </a:cubicBezTo>
                <a:cubicBezTo>
                  <a:pt x="98" y="69"/>
                  <a:pt x="98" y="69"/>
                  <a:pt x="98" y="69"/>
                </a:cubicBezTo>
                <a:cubicBezTo>
                  <a:pt x="98" y="69"/>
                  <a:pt x="98" y="69"/>
                  <a:pt x="98" y="69"/>
                </a:cubicBezTo>
                <a:cubicBezTo>
                  <a:pt x="98" y="69"/>
                  <a:pt x="98" y="69"/>
                  <a:pt x="98" y="69"/>
                </a:cubicBezTo>
                <a:cubicBezTo>
                  <a:pt x="96" y="70"/>
                  <a:pt x="95" y="70"/>
                  <a:pt x="94" y="70"/>
                </a:cubicBezTo>
                <a:cubicBezTo>
                  <a:pt x="94" y="70"/>
                  <a:pt x="94" y="70"/>
                  <a:pt x="94" y="70"/>
                </a:cubicBezTo>
                <a:moveTo>
                  <a:pt x="99" y="69"/>
                </a:moveTo>
                <a:cubicBezTo>
                  <a:pt x="100" y="69"/>
                  <a:pt x="101" y="68"/>
                  <a:pt x="102" y="68"/>
                </a:cubicBezTo>
                <a:cubicBezTo>
                  <a:pt x="102" y="68"/>
                  <a:pt x="102" y="68"/>
                  <a:pt x="102" y="68"/>
                </a:cubicBezTo>
                <a:cubicBezTo>
                  <a:pt x="101" y="69"/>
                  <a:pt x="100" y="69"/>
                  <a:pt x="99" y="69"/>
                </a:cubicBezTo>
                <a:cubicBezTo>
                  <a:pt x="99" y="69"/>
                  <a:pt x="99" y="69"/>
                  <a:pt x="99" y="69"/>
                </a:cubicBezTo>
                <a:moveTo>
                  <a:pt x="103" y="68"/>
                </a:moveTo>
                <a:cubicBezTo>
                  <a:pt x="103" y="68"/>
                  <a:pt x="103" y="68"/>
                  <a:pt x="103" y="68"/>
                </a:cubicBezTo>
                <a:cubicBezTo>
                  <a:pt x="103" y="68"/>
                  <a:pt x="103" y="68"/>
                  <a:pt x="103" y="68"/>
                </a:cubicBezTo>
                <a:cubicBezTo>
                  <a:pt x="104" y="68"/>
                  <a:pt x="105" y="68"/>
                  <a:pt x="106" y="67"/>
                </a:cubicBezTo>
                <a:cubicBezTo>
                  <a:pt x="106" y="67"/>
                  <a:pt x="106" y="67"/>
                  <a:pt x="106" y="67"/>
                </a:cubicBezTo>
                <a:cubicBezTo>
                  <a:pt x="105" y="68"/>
                  <a:pt x="104" y="68"/>
                  <a:pt x="103" y="68"/>
                </a:cubicBezTo>
                <a:cubicBezTo>
                  <a:pt x="103" y="68"/>
                  <a:pt x="103" y="68"/>
                  <a:pt x="103" y="68"/>
                </a:cubicBezTo>
                <a:moveTo>
                  <a:pt x="70" y="67"/>
                </a:moveTo>
                <a:cubicBezTo>
                  <a:pt x="73" y="69"/>
                  <a:pt x="75" y="71"/>
                  <a:pt x="77" y="72"/>
                </a:cubicBezTo>
                <a:cubicBezTo>
                  <a:pt x="76" y="73"/>
                  <a:pt x="75" y="73"/>
                  <a:pt x="74" y="73"/>
                </a:cubicBezTo>
                <a:cubicBezTo>
                  <a:pt x="73" y="71"/>
                  <a:pt x="71" y="69"/>
                  <a:pt x="70" y="67"/>
                </a:cubicBezTo>
                <a:moveTo>
                  <a:pt x="59" y="74"/>
                </a:moveTo>
                <a:cubicBezTo>
                  <a:pt x="57" y="72"/>
                  <a:pt x="56" y="70"/>
                  <a:pt x="55" y="69"/>
                </a:cubicBezTo>
                <a:cubicBezTo>
                  <a:pt x="53" y="66"/>
                  <a:pt x="53" y="66"/>
                  <a:pt x="53" y="66"/>
                </a:cubicBezTo>
                <a:cubicBezTo>
                  <a:pt x="54" y="66"/>
                  <a:pt x="54" y="66"/>
                  <a:pt x="54" y="66"/>
                </a:cubicBezTo>
                <a:cubicBezTo>
                  <a:pt x="56" y="69"/>
                  <a:pt x="58" y="72"/>
                  <a:pt x="60" y="75"/>
                </a:cubicBezTo>
                <a:cubicBezTo>
                  <a:pt x="59" y="74"/>
                  <a:pt x="59" y="74"/>
                  <a:pt x="59" y="74"/>
                </a:cubicBezTo>
                <a:moveTo>
                  <a:pt x="56" y="66"/>
                </a:moveTo>
                <a:cubicBezTo>
                  <a:pt x="56" y="66"/>
                  <a:pt x="56" y="66"/>
                  <a:pt x="56" y="66"/>
                </a:cubicBezTo>
                <a:cubicBezTo>
                  <a:pt x="59" y="69"/>
                  <a:pt x="61" y="72"/>
                  <a:pt x="64" y="75"/>
                </a:cubicBezTo>
                <a:cubicBezTo>
                  <a:pt x="63" y="75"/>
                  <a:pt x="63" y="75"/>
                  <a:pt x="62" y="75"/>
                </a:cubicBezTo>
                <a:cubicBezTo>
                  <a:pt x="62" y="75"/>
                  <a:pt x="61" y="74"/>
                  <a:pt x="61" y="73"/>
                </a:cubicBezTo>
                <a:cubicBezTo>
                  <a:pt x="59" y="72"/>
                  <a:pt x="58" y="70"/>
                  <a:pt x="56" y="68"/>
                </a:cubicBezTo>
                <a:cubicBezTo>
                  <a:pt x="56" y="68"/>
                  <a:pt x="55" y="67"/>
                  <a:pt x="55" y="66"/>
                </a:cubicBezTo>
                <a:cubicBezTo>
                  <a:pt x="55" y="66"/>
                  <a:pt x="55" y="66"/>
                  <a:pt x="55" y="66"/>
                </a:cubicBezTo>
                <a:cubicBezTo>
                  <a:pt x="55" y="66"/>
                  <a:pt x="55" y="66"/>
                  <a:pt x="55" y="66"/>
                </a:cubicBezTo>
                <a:cubicBezTo>
                  <a:pt x="56" y="66"/>
                  <a:pt x="56" y="66"/>
                  <a:pt x="56" y="66"/>
                </a:cubicBezTo>
                <a:moveTo>
                  <a:pt x="59" y="68"/>
                </a:moveTo>
                <a:cubicBezTo>
                  <a:pt x="57" y="66"/>
                  <a:pt x="57" y="66"/>
                  <a:pt x="57" y="66"/>
                </a:cubicBezTo>
                <a:cubicBezTo>
                  <a:pt x="59" y="66"/>
                  <a:pt x="60" y="66"/>
                  <a:pt x="62" y="66"/>
                </a:cubicBezTo>
                <a:cubicBezTo>
                  <a:pt x="68" y="74"/>
                  <a:pt x="68" y="74"/>
                  <a:pt x="68" y="74"/>
                </a:cubicBezTo>
                <a:cubicBezTo>
                  <a:pt x="67" y="74"/>
                  <a:pt x="66" y="75"/>
                  <a:pt x="64" y="75"/>
                </a:cubicBezTo>
                <a:cubicBezTo>
                  <a:pt x="63" y="73"/>
                  <a:pt x="61" y="70"/>
                  <a:pt x="59" y="68"/>
                </a:cubicBezTo>
                <a:moveTo>
                  <a:pt x="62" y="66"/>
                </a:moveTo>
                <a:cubicBezTo>
                  <a:pt x="62" y="66"/>
                  <a:pt x="62" y="66"/>
                  <a:pt x="62" y="66"/>
                </a:cubicBezTo>
                <a:cubicBezTo>
                  <a:pt x="63" y="66"/>
                  <a:pt x="63" y="66"/>
                  <a:pt x="63" y="66"/>
                </a:cubicBezTo>
                <a:cubicBezTo>
                  <a:pt x="64" y="65"/>
                  <a:pt x="66" y="65"/>
                  <a:pt x="68" y="65"/>
                </a:cubicBezTo>
                <a:cubicBezTo>
                  <a:pt x="69" y="65"/>
                  <a:pt x="69" y="67"/>
                  <a:pt x="70" y="67"/>
                </a:cubicBezTo>
                <a:cubicBezTo>
                  <a:pt x="71" y="69"/>
                  <a:pt x="72" y="71"/>
                  <a:pt x="73" y="73"/>
                </a:cubicBezTo>
                <a:cubicBezTo>
                  <a:pt x="72" y="73"/>
                  <a:pt x="70" y="74"/>
                  <a:pt x="69" y="74"/>
                </a:cubicBezTo>
                <a:cubicBezTo>
                  <a:pt x="67" y="71"/>
                  <a:pt x="65" y="68"/>
                  <a:pt x="62" y="66"/>
                </a:cubicBezTo>
                <a:moveTo>
                  <a:pt x="77" y="71"/>
                </a:moveTo>
                <a:cubicBezTo>
                  <a:pt x="74" y="69"/>
                  <a:pt x="72" y="67"/>
                  <a:pt x="69" y="65"/>
                </a:cubicBezTo>
                <a:cubicBezTo>
                  <a:pt x="69" y="65"/>
                  <a:pt x="69" y="65"/>
                  <a:pt x="69" y="65"/>
                </a:cubicBezTo>
                <a:cubicBezTo>
                  <a:pt x="71" y="65"/>
                  <a:pt x="72" y="65"/>
                  <a:pt x="73" y="65"/>
                </a:cubicBezTo>
                <a:cubicBezTo>
                  <a:pt x="73" y="64"/>
                  <a:pt x="74" y="64"/>
                  <a:pt x="74" y="64"/>
                </a:cubicBezTo>
                <a:cubicBezTo>
                  <a:pt x="77" y="71"/>
                  <a:pt x="77" y="71"/>
                  <a:pt x="77" y="71"/>
                </a:cubicBezTo>
                <a:cubicBezTo>
                  <a:pt x="77" y="71"/>
                  <a:pt x="77" y="71"/>
                  <a:pt x="77" y="71"/>
                </a:cubicBezTo>
                <a:moveTo>
                  <a:pt x="79" y="72"/>
                </a:moveTo>
                <a:cubicBezTo>
                  <a:pt x="78" y="72"/>
                  <a:pt x="78" y="71"/>
                  <a:pt x="77" y="70"/>
                </a:cubicBezTo>
                <a:cubicBezTo>
                  <a:pt x="77" y="68"/>
                  <a:pt x="76" y="66"/>
                  <a:pt x="75" y="64"/>
                </a:cubicBezTo>
                <a:cubicBezTo>
                  <a:pt x="75" y="64"/>
                  <a:pt x="75" y="64"/>
                  <a:pt x="75" y="64"/>
                </a:cubicBezTo>
                <a:cubicBezTo>
                  <a:pt x="77" y="64"/>
                  <a:pt x="78" y="64"/>
                  <a:pt x="80" y="64"/>
                </a:cubicBezTo>
                <a:cubicBezTo>
                  <a:pt x="81" y="66"/>
                  <a:pt x="82" y="69"/>
                  <a:pt x="83" y="71"/>
                </a:cubicBezTo>
                <a:cubicBezTo>
                  <a:pt x="82" y="71"/>
                  <a:pt x="81" y="72"/>
                  <a:pt x="80" y="72"/>
                </a:cubicBezTo>
                <a:cubicBezTo>
                  <a:pt x="79" y="72"/>
                  <a:pt x="79" y="72"/>
                  <a:pt x="79" y="72"/>
                </a:cubicBezTo>
                <a:cubicBezTo>
                  <a:pt x="79" y="72"/>
                  <a:pt x="79" y="72"/>
                  <a:pt x="79" y="72"/>
                </a:cubicBezTo>
                <a:moveTo>
                  <a:pt x="81" y="64"/>
                </a:moveTo>
                <a:cubicBezTo>
                  <a:pt x="86" y="63"/>
                  <a:pt x="86" y="63"/>
                  <a:pt x="86" y="63"/>
                </a:cubicBezTo>
                <a:cubicBezTo>
                  <a:pt x="88" y="70"/>
                  <a:pt x="88" y="70"/>
                  <a:pt x="88" y="70"/>
                </a:cubicBezTo>
                <a:cubicBezTo>
                  <a:pt x="86" y="71"/>
                  <a:pt x="85" y="71"/>
                  <a:pt x="84" y="71"/>
                </a:cubicBezTo>
                <a:cubicBezTo>
                  <a:pt x="83" y="69"/>
                  <a:pt x="82" y="66"/>
                  <a:pt x="81" y="64"/>
                </a:cubicBezTo>
                <a:moveTo>
                  <a:pt x="86" y="63"/>
                </a:moveTo>
                <a:cubicBezTo>
                  <a:pt x="86" y="63"/>
                  <a:pt x="86" y="63"/>
                  <a:pt x="86" y="63"/>
                </a:cubicBezTo>
                <a:cubicBezTo>
                  <a:pt x="88" y="63"/>
                  <a:pt x="90" y="63"/>
                  <a:pt x="92" y="63"/>
                </a:cubicBezTo>
                <a:cubicBezTo>
                  <a:pt x="93" y="69"/>
                  <a:pt x="93" y="69"/>
                  <a:pt x="93" y="69"/>
                </a:cubicBezTo>
                <a:cubicBezTo>
                  <a:pt x="91" y="70"/>
                  <a:pt x="90" y="70"/>
                  <a:pt x="88" y="70"/>
                </a:cubicBezTo>
                <a:cubicBezTo>
                  <a:pt x="88" y="68"/>
                  <a:pt x="87" y="65"/>
                  <a:pt x="86" y="63"/>
                </a:cubicBezTo>
                <a:moveTo>
                  <a:pt x="93" y="62"/>
                </a:moveTo>
                <a:cubicBezTo>
                  <a:pt x="94" y="62"/>
                  <a:pt x="96" y="62"/>
                  <a:pt x="98" y="62"/>
                </a:cubicBezTo>
                <a:cubicBezTo>
                  <a:pt x="98" y="64"/>
                  <a:pt x="98" y="66"/>
                  <a:pt x="98" y="68"/>
                </a:cubicBezTo>
                <a:cubicBezTo>
                  <a:pt x="97" y="69"/>
                  <a:pt x="95" y="69"/>
                  <a:pt x="94" y="69"/>
                </a:cubicBezTo>
                <a:cubicBezTo>
                  <a:pt x="93" y="67"/>
                  <a:pt x="93" y="65"/>
                  <a:pt x="93" y="62"/>
                </a:cubicBezTo>
                <a:moveTo>
                  <a:pt x="99" y="68"/>
                </a:moveTo>
                <a:cubicBezTo>
                  <a:pt x="98" y="62"/>
                  <a:pt x="98" y="62"/>
                  <a:pt x="98" y="62"/>
                </a:cubicBezTo>
                <a:cubicBezTo>
                  <a:pt x="98" y="62"/>
                  <a:pt x="98" y="62"/>
                  <a:pt x="98" y="62"/>
                </a:cubicBezTo>
                <a:cubicBezTo>
                  <a:pt x="100" y="62"/>
                  <a:pt x="101" y="62"/>
                  <a:pt x="102" y="62"/>
                </a:cubicBezTo>
                <a:cubicBezTo>
                  <a:pt x="102" y="63"/>
                  <a:pt x="102" y="65"/>
                  <a:pt x="102" y="67"/>
                </a:cubicBezTo>
                <a:cubicBezTo>
                  <a:pt x="101" y="68"/>
                  <a:pt x="100" y="68"/>
                  <a:pt x="99" y="68"/>
                </a:cubicBezTo>
                <a:cubicBezTo>
                  <a:pt x="99" y="68"/>
                  <a:pt x="99" y="68"/>
                  <a:pt x="99" y="68"/>
                </a:cubicBezTo>
                <a:moveTo>
                  <a:pt x="103" y="61"/>
                </a:moveTo>
                <a:cubicBezTo>
                  <a:pt x="104" y="61"/>
                  <a:pt x="105" y="61"/>
                  <a:pt x="106" y="61"/>
                </a:cubicBezTo>
                <a:cubicBezTo>
                  <a:pt x="106" y="63"/>
                  <a:pt x="106" y="65"/>
                  <a:pt x="106" y="66"/>
                </a:cubicBezTo>
                <a:cubicBezTo>
                  <a:pt x="106" y="67"/>
                  <a:pt x="106" y="67"/>
                  <a:pt x="106" y="67"/>
                </a:cubicBezTo>
                <a:cubicBezTo>
                  <a:pt x="105" y="67"/>
                  <a:pt x="104" y="67"/>
                  <a:pt x="103" y="67"/>
                </a:cubicBezTo>
                <a:cubicBezTo>
                  <a:pt x="103" y="65"/>
                  <a:pt x="103" y="63"/>
                  <a:pt x="103" y="61"/>
                </a:cubicBezTo>
                <a:moveTo>
                  <a:pt x="52" y="66"/>
                </a:moveTo>
                <a:cubicBezTo>
                  <a:pt x="51" y="64"/>
                  <a:pt x="49" y="62"/>
                  <a:pt x="47" y="60"/>
                </a:cubicBezTo>
                <a:cubicBezTo>
                  <a:pt x="46" y="58"/>
                  <a:pt x="46" y="58"/>
                  <a:pt x="46" y="58"/>
                </a:cubicBezTo>
                <a:cubicBezTo>
                  <a:pt x="46" y="58"/>
                  <a:pt x="46" y="58"/>
                  <a:pt x="46" y="58"/>
                </a:cubicBezTo>
                <a:cubicBezTo>
                  <a:pt x="48" y="61"/>
                  <a:pt x="51" y="63"/>
                  <a:pt x="53" y="66"/>
                </a:cubicBezTo>
                <a:cubicBezTo>
                  <a:pt x="53" y="66"/>
                  <a:pt x="53" y="66"/>
                  <a:pt x="52" y="66"/>
                </a:cubicBezTo>
                <a:cubicBezTo>
                  <a:pt x="52" y="66"/>
                  <a:pt x="52" y="66"/>
                  <a:pt x="52" y="66"/>
                </a:cubicBezTo>
                <a:moveTo>
                  <a:pt x="47" y="58"/>
                </a:moveTo>
                <a:cubicBezTo>
                  <a:pt x="47" y="58"/>
                  <a:pt x="47" y="58"/>
                  <a:pt x="47" y="58"/>
                </a:cubicBezTo>
                <a:cubicBezTo>
                  <a:pt x="47" y="58"/>
                  <a:pt x="47" y="58"/>
                  <a:pt x="47" y="58"/>
                </a:cubicBezTo>
                <a:cubicBezTo>
                  <a:pt x="48" y="59"/>
                  <a:pt x="48" y="59"/>
                  <a:pt x="49" y="60"/>
                </a:cubicBezTo>
                <a:cubicBezTo>
                  <a:pt x="49" y="60"/>
                  <a:pt x="49" y="60"/>
                  <a:pt x="49" y="60"/>
                </a:cubicBezTo>
                <a:cubicBezTo>
                  <a:pt x="48" y="60"/>
                  <a:pt x="48" y="59"/>
                  <a:pt x="47" y="58"/>
                </a:cubicBezTo>
                <a:moveTo>
                  <a:pt x="49" y="58"/>
                </a:moveTo>
                <a:cubicBezTo>
                  <a:pt x="49" y="58"/>
                  <a:pt x="49" y="58"/>
                  <a:pt x="49" y="58"/>
                </a:cubicBezTo>
                <a:cubicBezTo>
                  <a:pt x="49" y="58"/>
                  <a:pt x="49" y="58"/>
                  <a:pt x="49" y="58"/>
                </a:cubicBezTo>
                <a:cubicBezTo>
                  <a:pt x="49" y="58"/>
                  <a:pt x="49" y="58"/>
                  <a:pt x="49" y="58"/>
                </a:cubicBezTo>
                <a:cubicBezTo>
                  <a:pt x="51" y="60"/>
                  <a:pt x="54" y="63"/>
                  <a:pt x="56" y="66"/>
                </a:cubicBezTo>
                <a:cubicBezTo>
                  <a:pt x="55" y="66"/>
                  <a:pt x="55" y="66"/>
                  <a:pt x="54" y="66"/>
                </a:cubicBezTo>
                <a:cubicBezTo>
                  <a:pt x="52" y="63"/>
                  <a:pt x="51" y="61"/>
                  <a:pt x="49" y="58"/>
                </a:cubicBezTo>
                <a:moveTo>
                  <a:pt x="50" y="58"/>
                </a:moveTo>
                <a:cubicBezTo>
                  <a:pt x="50" y="58"/>
                  <a:pt x="50" y="58"/>
                  <a:pt x="50" y="58"/>
                </a:cubicBezTo>
                <a:cubicBezTo>
                  <a:pt x="52" y="58"/>
                  <a:pt x="54" y="57"/>
                  <a:pt x="55" y="57"/>
                </a:cubicBezTo>
                <a:cubicBezTo>
                  <a:pt x="57" y="60"/>
                  <a:pt x="59" y="62"/>
                  <a:pt x="61" y="65"/>
                </a:cubicBezTo>
                <a:cubicBezTo>
                  <a:pt x="61" y="65"/>
                  <a:pt x="61" y="65"/>
                  <a:pt x="61" y="65"/>
                </a:cubicBezTo>
                <a:cubicBezTo>
                  <a:pt x="60" y="65"/>
                  <a:pt x="58" y="65"/>
                  <a:pt x="56" y="65"/>
                </a:cubicBezTo>
                <a:cubicBezTo>
                  <a:pt x="54" y="63"/>
                  <a:pt x="52" y="60"/>
                  <a:pt x="50" y="58"/>
                </a:cubicBezTo>
                <a:moveTo>
                  <a:pt x="56" y="57"/>
                </a:moveTo>
                <a:cubicBezTo>
                  <a:pt x="56" y="57"/>
                  <a:pt x="56" y="57"/>
                  <a:pt x="56" y="57"/>
                </a:cubicBezTo>
                <a:cubicBezTo>
                  <a:pt x="57" y="57"/>
                  <a:pt x="57" y="57"/>
                  <a:pt x="57" y="57"/>
                </a:cubicBezTo>
                <a:cubicBezTo>
                  <a:pt x="58" y="58"/>
                  <a:pt x="59" y="59"/>
                  <a:pt x="60" y="59"/>
                </a:cubicBezTo>
                <a:cubicBezTo>
                  <a:pt x="62" y="61"/>
                  <a:pt x="65" y="63"/>
                  <a:pt x="67" y="64"/>
                </a:cubicBezTo>
                <a:cubicBezTo>
                  <a:pt x="65" y="65"/>
                  <a:pt x="64" y="65"/>
                  <a:pt x="62" y="65"/>
                </a:cubicBezTo>
                <a:cubicBezTo>
                  <a:pt x="56" y="57"/>
                  <a:pt x="56" y="57"/>
                  <a:pt x="56" y="57"/>
                </a:cubicBezTo>
                <a:moveTo>
                  <a:pt x="61" y="57"/>
                </a:moveTo>
                <a:cubicBezTo>
                  <a:pt x="62" y="57"/>
                  <a:pt x="63" y="56"/>
                  <a:pt x="63" y="57"/>
                </a:cubicBezTo>
                <a:cubicBezTo>
                  <a:pt x="64" y="59"/>
                  <a:pt x="65" y="61"/>
                  <a:pt x="67" y="63"/>
                </a:cubicBezTo>
                <a:cubicBezTo>
                  <a:pt x="67" y="63"/>
                  <a:pt x="67" y="63"/>
                  <a:pt x="67" y="63"/>
                </a:cubicBezTo>
                <a:cubicBezTo>
                  <a:pt x="64" y="61"/>
                  <a:pt x="61" y="59"/>
                  <a:pt x="59" y="57"/>
                </a:cubicBezTo>
                <a:cubicBezTo>
                  <a:pt x="59" y="57"/>
                  <a:pt x="59" y="57"/>
                  <a:pt x="59" y="57"/>
                </a:cubicBezTo>
                <a:cubicBezTo>
                  <a:pt x="59" y="57"/>
                  <a:pt x="59" y="57"/>
                  <a:pt x="59" y="57"/>
                </a:cubicBezTo>
                <a:cubicBezTo>
                  <a:pt x="59" y="57"/>
                  <a:pt x="59" y="57"/>
                  <a:pt x="59" y="57"/>
                </a:cubicBezTo>
                <a:cubicBezTo>
                  <a:pt x="59" y="57"/>
                  <a:pt x="60" y="57"/>
                  <a:pt x="61" y="57"/>
                </a:cubicBezTo>
                <a:moveTo>
                  <a:pt x="67" y="62"/>
                </a:moveTo>
                <a:cubicBezTo>
                  <a:pt x="66" y="60"/>
                  <a:pt x="65" y="58"/>
                  <a:pt x="63" y="56"/>
                </a:cubicBezTo>
                <a:cubicBezTo>
                  <a:pt x="64" y="56"/>
                  <a:pt x="64" y="56"/>
                  <a:pt x="64" y="56"/>
                </a:cubicBezTo>
                <a:cubicBezTo>
                  <a:pt x="66" y="56"/>
                  <a:pt x="68" y="56"/>
                  <a:pt x="70" y="56"/>
                </a:cubicBezTo>
                <a:cubicBezTo>
                  <a:pt x="71" y="58"/>
                  <a:pt x="73" y="61"/>
                  <a:pt x="74" y="64"/>
                </a:cubicBezTo>
                <a:cubicBezTo>
                  <a:pt x="72" y="64"/>
                  <a:pt x="70" y="64"/>
                  <a:pt x="69" y="64"/>
                </a:cubicBezTo>
                <a:cubicBezTo>
                  <a:pt x="68" y="64"/>
                  <a:pt x="67" y="63"/>
                  <a:pt x="67" y="62"/>
                </a:cubicBezTo>
                <a:moveTo>
                  <a:pt x="55" y="56"/>
                </a:moveTo>
                <a:cubicBezTo>
                  <a:pt x="55" y="56"/>
                  <a:pt x="56" y="56"/>
                  <a:pt x="56" y="56"/>
                </a:cubicBezTo>
                <a:cubicBezTo>
                  <a:pt x="56" y="57"/>
                  <a:pt x="56" y="57"/>
                  <a:pt x="56" y="57"/>
                </a:cubicBezTo>
                <a:cubicBezTo>
                  <a:pt x="55" y="56"/>
                  <a:pt x="55" y="56"/>
                  <a:pt x="55" y="56"/>
                </a:cubicBezTo>
                <a:moveTo>
                  <a:pt x="72" y="58"/>
                </a:moveTo>
                <a:cubicBezTo>
                  <a:pt x="71" y="56"/>
                  <a:pt x="71" y="56"/>
                  <a:pt x="71" y="56"/>
                </a:cubicBezTo>
                <a:cubicBezTo>
                  <a:pt x="73" y="55"/>
                  <a:pt x="75" y="55"/>
                  <a:pt x="77" y="55"/>
                </a:cubicBezTo>
                <a:cubicBezTo>
                  <a:pt x="78" y="58"/>
                  <a:pt x="79" y="60"/>
                  <a:pt x="80" y="63"/>
                </a:cubicBezTo>
                <a:cubicBezTo>
                  <a:pt x="78" y="63"/>
                  <a:pt x="76" y="63"/>
                  <a:pt x="75" y="64"/>
                </a:cubicBezTo>
                <a:cubicBezTo>
                  <a:pt x="74" y="62"/>
                  <a:pt x="73" y="60"/>
                  <a:pt x="72" y="58"/>
                </a:cubicBezTo>
                <a:moveTo>
                  <a:pt x="78" y="55"/>
                </a:moveTo>
                <a:cubicBezTo>
                  <a:pt x="80" y="55"/>
                  <a:pt x="82" y="55"/>
                  <a:pt x="84" y="54"/>
                </a:cubicBezTo>
                <a:cubicBezTo>
                  <a:pt x="84" y="57"/>
                  <a:pt x="85" y="60"/>
                  <a:pt x="86" y="63"/>
                </a:cubicBezTo>
                <a:cubicBezTo>
                  <a:pt x="81" y="63"/>
                  <a:pt x="81" y="63"/>
                  <a:pt x="81" y="63"/>
                </a:cubicBezTo>
                <a:cubicBezTo>
                  <a:pt x="80" y="60"/>
                  <a:pt x="79" y="58"/>
                  <a:pt x="78" y="55"/>
                </a:cubicBezTo>
                <a:moveTo>
                  <a:pt x="84" y="54"/>
                </a:moveTo>
                <a:cubicBezTo>
                  <a:pt x="86" y="54"/>
                  <a:pt x="89" y="54"/>
                  <a:pt x="91" y="54"/>
                </a:cubicBezTo>
                <a:cubicBezTo>
                  <a:pt x="91" y="56"/>
                  <a:pt x="92" y="59"/>
                  <a:pt x="92" y="62"/>
                </a:cubicBezTo>
                <a:cubicBezTo>
                  <a:pt x="90" y="62"/>
                  <a:pt x="88" y="62"/>
                  <a:pt x="86" y="62"/>
                </a:cubicBezTo>
                <a:cubicBezTo>
                  <a:pt x="86" y="60"/>
                  <a:pt x="85" y="57"/>
                  <a:pt x="84" y="54"/>
                </a:cubicBezTo>
                <a:moveTo>
                  <a:pt x="91" y="54"/>
                </a:moveTo>
                <a:cubicBezTo>
                  <a:pt x="93" y="54"/>
                  <a:pt x="95" y="53"/>
                  <a:pt x="97" y="53"/>
                </a:cubicBezTo>
                <a:cubicBezTo>
                  <a:pt x="97" y="53"/>
                  <a:pt x="97" y="53"/>
                  <a:pt x="97" y="53"/>
                </a:cubicBezTo>
                <a:cubicBezTo>
                  <a:pt x="97" y="56"/>
                  <a:pt x="97" y="59"/>
                  <a:pt x="98" y="61"/>
                </a:cubicBezTo>
                <a:cubicBezTo>
                  <a:pt x="96" y="62"/>
                  <a:pt x="94" y="62"/>
                  <a:pt x="93" y="62"/>
                </a:cubicBezTo>
                <a:cubicBezTo>
                  <a:pt x="92" y="59"/>
                  <a:pt x="92" y="56"/>
                  <a:pt x="91" y="54"/>
                </a:cubicBezTo>
                <a:moveTo>
                  <a:pt x="98" y="61"/>
                </a:moveTo>
                <a:cubicBezTo>
                  <a:pt x="98" y="59"/>
                  <a:pt x="98" y="57"/>
                  <a:pt x="98" y="55"/>
                </a:cubicBezTo>
                <a:cubicBezTo>
                  <a:pt x="98" y="55"/>
                  <a:pt x="98" y="53"/>
                  <a:pt x="98" y="53"/>
                </a:cubicBezTo>
                <a:cubicBezTo>
                  <a:pt x="99" y="53"/>
                  <a:pt x="100" y="53"/>
                  <a:pt x="101" y="53"/>
                </a:cubicBezTo>
                <a:cubicBezTo>
                  <a:pt x="101" y="53"/>
                  <a:pt x="101" y="53"/>
                  <a:pt x="101" y="53"/>
                </a:cubicBezTo>
                <a:cubicBezTo>
                  <a:pt x="102" y="55"/>
                  <a:pt x="102" y="58"/>
                  <a:pt x="102" y="61"/>
                </a:cubicBezTo>
                <a:cubicBezTo>
                  <a:pt x="101" y="61"/>
                  <a:pt x="99" y="61"/>
                  <a:pt x="98" y="61"/>
                </a:cubicBezTo>
                <a:cubicBezTo>
                  <a:pt x="98" y="61"/>
                  <a:pt x="98" y="61"/>
                  <a:pt x="98" y="61"/>
                </a:cubicBezTo>
                <a:moveTo>
                  <a:pt x="102" y="53"/>
                </a:moveTo>
                <a:cubicBezTo>
                  <a:pt x="102" y="53"/>
                  <a:pt x="102" y="53"/>
                  <a:pt x="102" y="53"/>
                </a:cubicBezTo>
                <a:cubicBezTo>
                  <a:pt x="103" y="53"/>
                  <a:pt x="104" y="52"/>
                  <a:pt x="105" y="52"/>
                </a:cubicBezTo>
                <a:cubicBezTo>
                  <a:pt x="106" y="55"/>
                  <a:pt x="106" y="58"/>
                  <a:pt x="106" y="61"/>
                </a:cubicBezTo>
                <a:cubicBezTo>
                  <a:pt x="105" y="61"/>
                  <a:pt x="104" y="61"/>
                  <a:pt x="102" y="61"/>
                </a:cubicBezTo>
                <a:cubicBezTo>
                  <a:pt x="102" y="58"/>
                  <a:pt x="102" y="55"/>
                  <a:pt x="102" y="53"/>
                </a:cubicBezTo>
                <a:moveTo>
                  <a:pt x="44" y="51"/>
                </a:moveTo>
                <a:cubicBezTo>
                  <a:pt x="45" y="53"/>
                  <a:pt x="47" y="55"/>
                  <a:pt x="49" y="57"/>
                </a:cubicBezTo>
                <a:cubicBezTo>
                  <a:pt x="48" y="57"/>
                  <a:pt x="48" y="57"/>
                  <a:pt x="48" y="57"/>
                </a:cubicBezTo>
                <a:cubicBezTo>
                  <a:pt x="47" y="55"/>
                  <a:pt x="45" y="53"/>
                  <a:pt x="44" y="51"/>
                </a:cubicBezTo>
                <a:moveTo>
                  <a:pt x="45" y="58"/>
                </a:moveTo>
                <a:cubicBezTo>
                  <a:pt x="43" y="56"/>
                  <a:pt x="42" y="54"/>
                  <a:pt x="40" y="52"/>
                </a:cubicBezTo>
                <a:cubicBezTo>
                  <a:pt x="38" y="50"/>
                  <a:pt x="38" y="50"/>
                  <a:pt x="38" y="50"/>
                </a:cubicBezTo>
                <a:cubicBezTo>
                  <a:pt x="39" y="50"/>
                  <a:pt x="40" y="51"/>
                  <a:pt x="41" y="52"/>
                </a:cubicBezTo>
                <a:cubicBezTo>
                  <a:pt x="42" y="54"/>
                  <a:pt x="44" y="56"/>
                  <a:pt x="46" y="58"/>
                </a:cubicBezTo>
                <a:cubicBezTo>
                  <a:pt x="45" y="58"/>
                  <a:pt x="45" y="58"/>
                  <a:pt x="45" y="58"/>
                </a:cubicBezTo>
                <a:cubicBezTo>
                  <a:pt x="45" y="58"/>
                  <a:pt x="45" y="58"/>
                  <a:pt x="45" y="58"/>
                </a:cubicBezTo>
                <a:cubicBezTo>
                  <a:pt x="45" y="58"/>
                  <a:pt x="45" y="58"/>
                  <a:pt x="45" y="58"/>
                </a:cubicBezTo>
                <a:moveTo>
                  <a:pt x="39" y="50"/>
                </a:moveTo>
                <a:cubicBezTo>
                  <a:pt x="39" y="50"/>
                  <a:pt x="39" y="50"/>
                  <a:pt x="39" y="50"/>
                </a:cubicBezTo>
                <a:cubicBezTo>
                  <a:pt x="40" y="50"/>
                  <a:pt x="40" y="50"/>
                  <a:pt x="40" y="50"/>
                </a:cubicBezTo>
                <a:cubicBezTo>
                  <a:pt x="40" y="50"/>
                  <a:pt x="41" y="50"/>
                  <a:pt x="41" y="50"/>
                </a:cubicBezTo>
                <a:cubicBezTo>
                  <a:pt x="47" y="57"/>
                  <a:pt x="47" y="57"/>
                  <a:pt x="47" y="57"/>
                </a:cubicBezTo>
                <a:cubicBezTo>
                  <a:pt x="46" y="57"/>
                  <a:pt x="46" y="57"/>
                  <a:pt x="46" y="57"/>
                </a:cubicBezTo>
                <a:cubicBezTo>
                  <a:pt x="44" y="55"/>
                  <a:pt x="42" y="52"/>
                  <a:pt x="39" y="50"/>
                </a:cubicBezTo>
                <a:moveTo>
                  <a:pt x="43" y="49"/>
                </a:moveTo>
                <a:cubicBezTo>
                  <a:pt x="43" y="49"/>
                  <a:pt x="43" y="49"/>
                  <a:pt x="43" y="49"/>
                </a:cubicBezTo>
                <a:cubicBezTo>
                  <a:pt x="44" y="49"/>
                  <a:pt x="45" y="49"/>
                  <a:pt x="46" y="49"/>
                </a:cubicBezTo>
                <a:cubicBezTo>
                  <a:pt x="47" y="50"/>
                  <a:pt x="48" y="50"/>
                  <a:pt x="49" y="51"/>
                </a:cubicBezTo>
                <a:cubicBezTo>
                  <a:pt x="51" y="53"/>
                  <a:pt x="53" y="54"/>
                  <a:pt x="55" y="57"/>
                </a:cubicBezTo>
                <a:cubicBezTo>
                  <a:pt x="53" y="57"/>
                  <a:pt x="51" y="57"/>
                  <a:pt x="49" y="57"/>
                </a:cubicBezTo>
                <a:cubicBezTo>
                  <a:pt x="47" y="55"/>
                  <a:pt x="45" y="52"/>
                  <a:pt x="43" y="49"/>
                </a:cubicBezTo>
                <a:moveTo>
                  <a:pt x="48" y="49"/>
                </a:moveTo>
                <a:cubicBezTo>
                  <a:pt x="48" y="49"/>
                  <a:pt x="48" y="49"/>
                  <a:pt x="48" y="49"/>
                </a:cubicBezTo>
                <a:cubicBezTo>
                  <a:pt x="49" y="49"/>
                  <a:pt x="49" y="49"/>
                  <a:pt x="49" y="49"/>
                </a:cubicBezTo>
                <a:cubicBezTo>
                  <a:pt x="50" y="49"/>
                  <a:pt x="50" y="50"/>
                  <a:pt x="50" y="51"/>
                </a:cubicBezTo>
                <a:cubicBezTo>
                  <a:pt x="50" y="50"/>
                  <a:pt x="49" y="50"/>
                  <a:pt x="48" y="49"/>
                </a:cubicBezTo>
                <a:moveTo>
                  <a:pt x="56" y="55"/>
                </a:moveTo>
                <a:cubicBezTo>
                  <a:pt x="55" y="54"/>
                  <a:pt x="54" y="54"/>
                  <a:pt x="53" y="53"/>
                </a:cubicBezTo>
                <a:cubicBezTo>
                  <a:pt x="53" y="53"/>
                  <a:pt x="53" y="52"/>
                  <a:pt x="52" y="52"/>
                </a:cubicBezTo>
                <a:cubicBezTo>
                  <a:pt x="52" y="51"/>
                  <a:pt x="51" y="50"/>
                  <a:pt x="50" y="50"/>
                </a:cubicBezTo>
                <a:cubicBezTo>
                  <a:pt x="50" y="49"/>
                  <a:pt x="50" y="49"/>
                  <a:pt x="50" y="49"/>
                </a:cubicBezTo>
                <a:cubicBezTo>
                  <a:pt x="52" y="48"/>
                  <a:pt x="55" y="48"/>
                  <a:pt x="57" y="48"/>
                </a:cubicBezTo>
                <a:cubicBezTo>
                  <a:pt x="59" y="51"/>
                  <a:pt x="61" y="53"/>
                  <a:pt x="62" y="56"/>
                </a:cubicBezTo>
                <a:cubicBezTo>
                  <a:pt x="61" y="56"/>
                  <a:pt x="59" y="56"/>
                  <a:pt x="58" y="56"/>
                </a:cubicBezTo>
                <a:cubicBezTo>
                  <a:pt x="57" y="56"/>
                  <a:pt x="57" y="55"/>
                  <a:pt x="56" y="55"/>
                </a:cubicBezTo>
                <a:moveTo>
                  <a:pt x="63" y="56"/>
                </a:moveTo>
                <a:cubicBezTo>
                  <a:pt x="61" y="53"/>
                  <a:pt x="60" y="51"/>
                  <a:pt x="58" y="48"/>
                </a:cubicBezTo>
                <a:cubicBezTo>
                  <a:pt x="58" y="48"/>
                  <a:pt x="58" y="48"/>
                  <a:pt x="58" y="48"/>
                </a:cubicBezTo>
                <a:cubicBezTo>
                  <a:pt x="58" y="48"/>
                  <a:pt x="58" y="48"/>
                  <a:pt x="58" y="48"/>
                </a:cubicBezTo>
                <a:cubicBezTo>
                  <a:pt x="61" y="48"/>
                  <a:pt x="64" y="47"/>
                  <a:pt x="66" y="47"/>
                </a:cubicBezTo>
                <a:cubicBezTo>
                  <a:pt x="67" y="50"/>
                  <a:pt x="69" y="52"/>
                  <a:pt x="70" y="55"/>
                </a:cubicBezTo>
                <a:cubicBezTo>
                  <a:pt x="68" y="55"/>
                  <a:pt x="66" y="55"/>
                  <a:pt x="65" y="56"/>
                </a:cubicBezTo>
                <a:cubicBezTo>
                  <a:pt x="64" y="56"/>
                  <a:pt x="64" y="56"/>
                  <a:pt x="63" y="56"/>
                </a:cubicBezTo>
                <a:cubicBezTo>
                  <a:pt x="63" y="56"/>
                  <a:pt x="63" y="56"/>
                  <a:pt x="63" y="56"/>
                </a:cubicBezTo>
                <a:moveTo>
                  <a:pt x="39" y="49"/>
                </a:moveTo>
                <a:cubicBezTo>
                  <a:pt x="39" y="49"/>
                  <a:pt x="39" y="49"/>
                  <a:pt x="39" y="49"/>
                </a:cubicBezTo>
                <a:cubicBezTo>
                  <a:pt x="39" y="48"/>
                  <a:pt x="40" y="48"/>
                  <a:pt x="40" y="47"/>
                </a:cubicBezTo>
                <a:cubicBezTo>
                  <a:pt x="40" y="47"/>
                  <a:pt x="40" y="47"/>
                  <a:pt x="40" y="47"/>
                </a:cubicBezTo>
                <a:cubicBezTo>
                  <a:pt x="41" y="47"/>
                  <a:pt x="41" y="47"/>
                  <a:pt x="41" y="47"/>
                </a:cubicBezTo>
                <a:cubicBezTo>
                  <a:pt x="43" y="47"/>
                  <a:pt x="44" y="47"/>
                  <a:pt x="46" y="48"/>
                </a:cubicBezTo>
                <a:cubicBezTo>
                  <a:pt x="45" y="49"/>
                  <a:pt x="42" y="49"/>
                  <a:pt x="42" y="49"/>
                </a:cubicBezTo>
                <a:cubicBezTo>
                  <a:pt x="41" y="48"/>
                  <a:pt x="41" y="47"/>
                  <a:pt x="40" y="48"/>
                </a:cubicBezTo>
                <a:cubicBezTo>
                  <a:pt x="40" y="48"/>
                  <a:pt x="40" y="49"/>
                  <a:pt x="41" y="49"/>
                </a:cubicBezTo>
                <a:cubicBezTo>
                  <a:pt x="40" y="49"/>
                  <a:pt x="40" y="49"/>
                  <a:pt x="39" y="49"/>
                </a:cubicBezTo>
                <a:cubicBezTo>
                  <a:pt x="39" y="49"/>
                  <a:pt x="39" y="49"/>
                  <a:pt x="39" y="49"/>
                </a:cubicBezTo>
                <a:moveTo>
                  <a:pt x="71" y="55"/>
                </a:moveTo>
                <a:cubicBezTo>
                  <a:pt x="69" y="52"/>
                  <a:pt x="68" y="50"/>
                  <a:pt x="67" y="47"/>
                </a:cubicBezTo>
                <a:cubicBezTo>
                  <a:pt x="67" y="47"/>
                  <a:pt x="67" y="47"/>
                  <a:pt x="67" y="47"/>
                </a:cubicBezTo>
                <a:cubicBezTo>
                  <a:pt x="69" y="47"/>
                  <a:pt x="71" y="47"/>
                  <a:pt x="74" y="46"/>
                </a:cubicBezTo>
                <a:cubicBezTo>
                  <a:pt x="75" y="49"/>
                  <a:pt x="76" y="52"/>
                  <a:pt x="77" y="54"/>
                </a:cubicBezTo>
                <a:cubicBezTo>
                  <a:pt x="75" y="55"/>
                  <a:pt x="74" y="55"/>
                  <a:pt x="72" y="55"/>
                </a:cubicBezTo>
                <a:cubicBezTo>
                  <a:pt x="71" y="55"/>
                  <a:pt x="71" y="55"/>
                  <a:pt x="71" y="55"/>
                </a:cubicBezTo>
                <a:cubicBezTo>
                  <a:pt x="71" y="55"/>
                  <a:pt x="71" y="55"/>
                  <a:pt x="71" y="55"/>
                </a:cubicBezTo>
                <a:moveTo>
                  <a:pt x="74" y="46"/>
                </a:moveTo>
                <a:cubicBezTo>
                  <a:pt x="77" y="46"/>
                  <a:pt x="79" y="46"/>
                  <a:pt x="81" y="46"/>
                </a:cubicBezTo>
                <a:cubicBezTo>
                  <a:pt x="82" y="48"/>
                  <a:pt x="83" y="51"/>
                  <a:pt x="83" y="54"/>
                </a:cubicBezTo>
                <a:cubicBezTo>
                  <a:pt x="83" y="54"/>
                  <a:pt x="83" y="54"/>
                  <a:pt x="83" y="54"/>
                </a:cubicBezTo>
                <a:cubicBezTo>
                  <a:pt x="81" y="54"/>
                  <a:pt x="79" y="54"/>
                  <a:pt x="77" y="54"/>
                </a:cubicBezTo>
                <a:cubicBezTo>
                  <a:pt x="76" y="52"/>
                  <a:pt x="75" y="49"/>
                  <a:pt x="74" y="46"/>
                </a:cubicBezTo>
                <a:moveTo>
                  <a:pt x="36" y="46"/>
                </a:moveTo>
                <a:cubicBezTo>
                  <a:pt x="36" y="46"/>
                  <a:pt x="36" y="46"/>
                  <a:pt x="36" y="46"/>
                </a:cubicBezTo>
                <a:cubicBezTo>
                  <a:pt x="36" y="45"/>
                  <a:pt x="36" y="45"/>
                  <a:pt x="36" y="45"/>
                </a:cubicBezTo>
                <a:cubicBezTo>
                  <a:pt x="36" y="45"/>
                  <a:pt x="36" y="45"/>
                  <a:pt x="36" y="45"/>
                </a:cubicBezTo>
                <a:cubicBezTo>
                  <a:pt x="36" y="45"/>
                  <a:pt x="36" y="45"/>
                  <a:pt x="36" y="45"/>
                </a:cubicBezTo>
                <a:cubicBezTo>
                  <a:pt x="36" y="45"/>
                  <a:pt x="36" y="45"/>
                  <a:pt x="36" y="45"/>
                </a:cubicBezTo>
                <a:cubicBezTo>
                  <a:pt x="36" y="45"/>
                  <a:pt x="36" y="46"/>
                  <a:pt x="36" y="46"/>
                </a:cubicBezTo>
                <a:cubicBezTo>
                  <a:pt x="36" y="46"/>
                  <a:pt x="36" y="46"/>
                  <a:pt x="36" y="46"/>
                </a:cubicBezTo>
                <a:moveTo>
                  <a:pt x="82" y="46"/>
                </a:moveTo>
                <a:cubicBezTo>
                  <a:pt x="84" y="45"/>
                  <a:pt x="87" y="45"/>
                  <a:pt x="89" y="45"/>
                </a:cubicBezTo>
                <a:cubicBezTo>
                  <a:pt x="90" y="48"/>
                  <a:pt x="90" y="50"/>
                  <a:pt x="91" y="53"/>
                </a:cubicBezTo>
                <a:cubicBezTo>
                  <a:pt x="88" y="53"/>
                  <a:pt x="86" y="54"/>
                  <a:pt x="84" y="54"/>
                </a:cubicBezTo>
                <a:cubicBezTo>
                  <a:pt x="82" y="46"/>
                  <a:pt x="82" y="46"/>
                  <a:pt x="82" y="46"/>
                </a:cubicBezTo>
                <a:moveTo>
                  <a:pt x="90" y="45"/>
                </a:moveTo>
                <a:cubicBezTo>
                  <a:pt x="92" y="45"/>
                  <a:pt x="94" y="45"/>
                  <a:pt x="97" y="44"/>
                </a:cubicBezTo>
                <a:cubicBezTo>
                  <a:pt x="97" y="44"/>
                  <a:pt x="97" y="44"/>
                  <a:pt x="97" y="44"/>
                </a:cubicBezTo>
                <a:cubicBezTo>
                  <a:pt x="97" y="47"/>
                  <a:pt x="97" y="50"/>
                  <a:pt x="97" y="52"/>
                </a:cubicBezTo>
                <a:cubicBezTo>
                  <a:pt x="91" y="53"/>
                  <a:pt x="91" y="53"/>
                  <a:pt x="91" y="53"/>
                </a:cubicBezTo>
                <a:cubicBezTo>
                  <a:pt x="91" y="50"/>
                  <a:pt x="90" y="48"/>
                  <a:pt x="90" y="45"/>
                </a:cubicBezTo>
                <a:moveTo>
                  <a:pt x="98" y="52"/>
                </a:moveTo>
                <a:cubicBezTo>
                  <a:pt x="98" y="50"/>
                  <a:pt x="97" y="47"/>
                  <a:pt x="97" y="44"/>
                </a:cubicBezTo>
                <a:cubicBezTo>
                  <a:pt x="98" y="44"/>
                  <a:pt x="100" y="44"/>
                  <a:pt x="101" y="44"/>
                </a:cubicBezTo>
                <a:cubicBezTo>
                  <a:pt x="101" y="47"/>
                  <a:pt x="101" y="49"/>
                  <a:pt x="101" y="52"/>
                </a:cubicBezTo>
                <a:cubicBezTo>
                  <a:pt x="100" y="52"/>
                  <a:pt x="99" y="52"/>
                  <a:pt x="98" y="52"/>
                </a:cubicBezTo>
                <a:cubicBezTo>
                  <a:pt x="98" y="52"/>
                  <a:pt x="98" y="52"/>
                  <a:pt x="98" y="52"/>
                </a:cubicBezTo>
                <a:moveTo>
                  <a:pt x="101" y="44"/>
                </a:moveTo>
                <a:cubicBezTo>
                  <a:pt x="102" y="44"/>
                  <a:pt x="102" y="44"/>
                  <a:pt x="102" y="44"/>
                </a:cubicBezTo>
                <a:cubicBezTo>
                  <a:pt x="103" y="44"/>
                  <a:pt x="104" y="44"/>
                  <a:pt x="105" y="44"/>
                </a:cubicBezTo>
                <a:cubicBezTo>
                  <a:pt x="105" y="52"/>
                  <a:pt x="105" y="52"/>
                  <a:pt x="105" y="52"/>
                </a:cubicBezTo>
                <a:cubicBezTo>
                  <a:pt x="102" y="52"/>
                  <a:pt x="102" y="52"/>
                  <a:pt x="102" y="52"/>
                </a:cubicBezTo>
                <a:cubicBezTo>
                  <a:pt x="102" y="49"/>
                  <a:pt x="102" y="47"/>
                  <a:pt x="101" y="44"/>
                </a:cubicBezTo>
                <a:moveTo>
                  <a:pt x="6" y="17"/>
                </a:moveTo>
                <a:cubicBezTo>
                  <a:pt x="6" y="17"/>
                  <a:pt x="6" y="17"/>
                  <a:pt x="6" y="17"/>
                </a:cubicBezTo>
                <a:cubicBezTo>
                  <a:pt x="6" y="17"/>
                  <a:pt x="6" y="17"/>
                  <a:pt x="6" y="17"/>
                </a:cubicBezTo>
                <a:cubicBezTo>
                  <a:pt x="6" y="17"/>
                  <a:pt x="6" y="17"/>
                  <a:pt x="6" y="17"/>
                </a:cubicBezTo>
                <a:moveTo>
                  <a:pt x="6" y="17"/>
                </a:moveTo>
                <a:cubicBezTo>
                  <a:pt x="6" y="17"/>
                  <a:pt x="6" y="17"/>
                  <a:pt x="6" y="17"/>
                </a:cubicBezTo>
                <a:cubicBezTo>
                  <a:pt x="6" y="17"/>
                  <a:pt x="6" y="17"/>
                  <a:pt x="6" y="17"/>
                </a:cubicBezTo>
                <a:cubicBezTo>
                  <a:pt x="6" y="17"/>
                  <a:pt x="6" y="17"/>
                  <a:pt x="6" y="17"/>
                </a:cubicBezTo>
                <a:moveTo>
                  <a:pt x="6" y="17"/>
                </a:moveTo>
                <a:cubicBezTo>
                  <a:pt x="6" y="17"/>
                  <a:pt x="6" y="17"/>
                  <a:pt x="6" y="17"/>
                </a:cubicBezTo>
                <a:cubicBezTo>
                  <a:pt x="6" y="17"/>
                  <a:pt x="6" y="17"/>
                  <a:pt x="6" y="17"/>
                </a:cubicBezTo>
                <a:cubicBezTo>
                  <a:pt x="6" y="17"/>
                  <a:pt x="6" y="17"/>
                  <a:pt x="6" y="17"/>
                </a:cubicBezTo>
                <a:moveTo>
                  <a:pt x="6" y="17"/>
                </a:move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moveTo>
                  <a:pt x="6" y="17"/>
                </a:move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moveTo>
                  <a:pt x="4" y="16"/>
                </a:moveTo>
                <a:cubicBezTo>
                  <a:pt x="4" y="16"/>
                  <a:pt x="4" y="16"/>
                  <a:pt x="4" y="16"/>
                </a:cubicBezTo>
                <a:cubicBezTo>
                  <a:pt x="4" y="16"/>
                  <a:pt x="4" y="16"/>
                  <a:pt x="4" y="16"/>
                </a:cubicBezTo>
                <a:moveTo>
                  <a:pt x="13" y="16"/>
                </a:moveTo>
                <a:cubicBezTo>
                  <a:pt x="13" y="16"/>
                  <a:pt x="13" y="16"/>
                  <a:pt x="13" y="16"/>
                </a:cubicBezTo>
                <a:cubicBezTo>
                  <a:pt x="13" y="16"/>
                  <a:pt x="13" y="16"/>
                  <a:pt x="13" y="16"/>
                </a:cubicBezTo>
                <a:cubicBezTo>
                  <a:pt x="13" y="16"/>
                  <a:pt x="13" y="16"/>
                  <a:pt x="13" y="16"/>
                </a:cubicBezTo>
                <a:moveTo>
                  <a:pt x="13" y="16"/>
                </a:moveTo>
                <a:cubicBezTo>
                  <a:pt x="13" y="16"/>
                  <a:pt x="13" y="16"/>
                  <a:pt x="13" y="16"/>
                </a:cubicBezTo>
                <a:cubicBezTo>
                  <a:pt x="13" y="16"/>
                  <a:pt x="13" y="16"/>
                  <a:pt x="13" y="16"/>
                </a:cubicBezTo>
                <a:cubicBezTo>
                  <a:pt x="13" y="16"/>
                  <a:pt x="13" y="16"/>
                  <a:pt x="13" y="16"/>
                </a:cubicBezTo>
                <a:moveTo>
                  <a:pt x="4" y="16"/>
                </a:moveTo>
                <a:cubicBezTo>
                  <a:pt x="4" y="16"/>
                  <a:pt x="4" y="16"/>
                  <a:pt x="4" y="16"/>
                </a:cubicBezTo>
                <a:cubicBezTo>
                  <a:pt x="4" y="16"/>
                  <a:pt x="4" y="16"/>
                  <a:pt x="4" y="16"/>
                </a:cubicBezTo>
                <a:cubicBezTo>
                  <a:pt x="4" y="16"/>
                  <a:pt x="4" y="16"/>
                  <a:pt x="4" y="16"/>
                </a:cubicBezTo>
                <a:moveTo>
                  <a:pt x="3" y="16"/>
                </a:moveTo>
                <a:cubicBezTo>
                  <a:pt x="4" y="16"/>
                  <a:pt x="4" y="16"/>
                  <a:pt x="4" y="16"/>
                </a:cubicBezTo>
                <a:cubicBezTo>
                  <a:pt x="4" y="16"/>
                  <a:pt x="4" y="16"/>
                  <a:pt x="4" y="16"/>
                </a:cubicBezTo>
                <a:cubicBezTo>
                  <a:pt x="4" y="16"/>
                  <a:pt x="4" y="16"/>
                  <a:pt x="4" y="16"/>
                </a:cubicBezTo>
                <a:cubicBezTo>
                  <a:pt x="3" y="16"/>
                  <a:pt x="3" y="16"/>
                  <a:pt x="3" y="16"/>
                </a:cubicBezTo>
                <a:moveTo>
                  <a:pt x="13" y="15"/>
                </a:moveTo>
                <a:cubicBezTo>
                  <a:pt x="13" y="15"/>
                  <a:pt x="13" y="15"/>
                  <a:pt x="13" y="15"/>
                </a:cubicBezTo>
                <a:cubicBezTo>
                  <a:pt x="13" y="16"/>
                  <a:pt x="13" y="16"/>
                  <a:pt x="13" y="16"/>
                </a:cubicBezTo>
                <a:cubicBezTo>
                  <a:pt x="13" y="15"/>
                  <a:pt x="13" y="15"/>
                  <a:pt x="13" y="15"/>
                </a:cubicBezTo>
                <a:moveTo>
                  <a:pt x="13" y="16"/>
                </a:moveTo>
                <a:cubicBezTo>
                  <a:pt x="13" y="15"/>
                  <a:pt x="13" y="15"/>
                  <a:pt x="13" y="15"/>
                </a:cubicBezTo>
                <a:cubicBezTo>
                  <a:pt x="13" y="16"/>
                  <a:pt x="13" y="16"/>
                  <a:pt x="13" y="16"/>
                </a:cubicBezTo>
                <a:cubicBezTo>
                  <a:pt x="13" y="16"/>
                  <a:pt x="13" y="16"/>
                  <a:pt x="13" y="16"/>
                </a:cubicBezTo>
                <a:cubicBezTo>
                  <a:pt x="13" y="16"/>
                  <a:pt x="13" y="16"/>
                  <a:pt x="13" y="16"/>
                </a:cubicBezTo>
                <a:moveTo>
                  <a:pt x="13" y="15"/>
                </a:moveTo>
                <a:cubicBezTo>
                  <a:pt x="13" y="15"/>
                  <a:pt x="13" y="15"/>
                  <a:pt x="13" y="15"/>
                </a:cubicBezTo>
                <a:cubicBezTo>
                  <a:pt x="14" y="16"/>
                  <a:pt x="14" y="16"/>
                  <a:pt x="14" y="16"/>
                </a:cubicBezTo>
                <a:cubicBezTo>
                  <a:pt x="13" y="15"/>
                  <a:pt x="13" y="15"/>
                  <a:pt x="13" y="15"/>
                </a:cubicBezTo>
                <a:moveTo>
                  <a:pt x="13" y="15"/>
                </a:moveTo>
                <a:cubicBezTo>
                  <a:pt x="13" y="15"/>
                  <a:pt x="13" y="15"/>
                  <a:pt x="13" y="15"/>
                </a:cubicBezTo>
                <a:cubicBezTo>
                  <a:pt x="13" y="16"/>
                  <a:pt x="13" y="16"/>
                  <a:pt x="13" y="16"/>
                </a:cubicBezTo>
                <a:cubicBezTo>
                  <a:pt x="13" y="15"/>
                  <a:pt x="13" y="15"/>
                  <a:pt x="13" y="15"/>
                </a:cubicBezTo>
                <a:moveTo>
                  <a:pt x="14" y="15"/>
                </a:moveTo>
                <a:cubicBezTo>
                  <a:pt x="14" y="15"/>
                  <a:pt x="14" y="15"/>
                  <a:pt x="14" y="15"/>
                </a:cubicBezTo>
                <a:cubicBezTo>
                  <a:pt x="14" y="15"/>
                  <a:pt x="14" y="15"/>
                  <a:pt x="14" y="15"/>
                </a:cubicBezTo>
                <a:cubicBezTo>
                  <a:pt x="14" y="15"/>
                  <a:pt x="14" y="15"/>
                  <a:pt x="14" y="15"/>
                </a:cubicBezTo>
                <a:moveTo>
                  <a:pt x="13" y="15"/>
                </a:moveTo>
                <a:cubicBezTo>
                  <a:pt x="13" y="15"/>
                  <a:pt x="13" y="15"/>
                  <a:pt x="13" y="15"/>
                </a:cubicBezTo>
                <a:cubicBezTo>
                  <a:pt x="13" y="15"/>
                  <a:pt x="13" y="15"/>
                  <a:pt x="13" y="15"/>
                </a:cubicBezTo>
                <a:cubicBezTo>
                  <a:pt x="13" y="15"/>
                  <a:pt x="13" y="15"/>
                  <a:pt x="13" y="15"/>
                </a:cubicBezTo>
                <a:moveTo>
                  <a:pt x="3" y="15"/>
                </a:moveTo>
                <a:cubicBezTo>
                  <a:pt x="3" y="15"/>
                  <a:pt x="3" y="15"/>
                  <a:pt x="3" y="15"/>
                </a:cubicBezTo>
                <a:cubicBezTo>
                  <a:pt x="3" y="15"/>
                  <a:pt x="3" y="15"/>
                  <a:pt x="3" y="15"/>
                </a:cubicBezTo>
                <a:cubicBezTo>
                  <a:pt x="3" y="15"/>
                  <a:pt x="3" y="15"/>
                  <a:pt x="3" y="15"/>
                </a:cubicBezTo>
                <a:moveTo>
                  <a:pt x="14" y="15"/>
                </a:moveTo>
                <a:cubicBezTo>
                  <a:pt x="14" y="15"/>
                  <a:pt x="14" y="15"/>
                  <a:pt x="14" y="15"/>
                </a:cubicBezTo>
                <a:cubicBezTo>
                  <a:pt x="14" y="15"/>
                  <a:pt x="14" y="15"/>
                  <a:pt x="14" y="15"/>
                </a:cubicBezTo>
                <a:cubicBezTo>
                  <a:pt x="14" y="15"/>
                  <a:pt x="14" y="15"/>
                  <a:pt x="14" y="15"/>
                </a:cubicBezTo>
                <a:cubicBezTo>
                  <a:pt x="13" y="15"/>
                  <a:pt x="13" y="15"/>
                  <a:pt x="13" y="15"/>
                </a:cubicBezTo>
                <a:cubicBezTo>
                  <a:pt x="14" y="15"/>
                  <a:pt x="14" y="15"/>
                  <a:pt x="14" y="15"/>
                </a:cubicBezTo>
                <a:cubicBezTo>
                  <a:pt x="14" y="15"/>
                  <a:pt x="14" y="15"/>
                  <a:pt x="14" y="15"/>
                </a:cubicBezTo>
                <a:moveTo>
                  <a:pt x="13" y="15"/>
                </a:moveTo>
                <a:cubicBezTo>
                  <a:pt x="14" y="16"/>
                  <a:pt x="14" y="16"/>
                  <a:pt x="14" y="16"/>
                </a:cubicBezTo>
                <a:cubicBezTo>
                  <a:pt x="13" y="15"/>
                  <a:pt x="13" y="15"/>
                  <a:pt x="13" y="15"/>
                </a:cubicBezTo>
                <a:moveTo>
                  <a:pt x="13" y="15"/>
                </a:moveTo>
                <a:cubicBezTo>
                  <a:pt x="13" y="15"/>
                  <a:pt x="13" y="15"/>
                  <a:pt x="13" y="15"/>
                </a:cubicBezTo>
                <a:cubicBezTo>
                  <a:pt x="13" y="15"/>
                  <a:pt x="13" y="15"/>
                  <a:pt x="13" y="15"/>
                </a:cubicBezTo>
                <a:cubicBezTo>
                  <a:pt x="13" y="15"/>
                  <a:pt x="13" y="15"/>
                  <a:pt x="13" y="15"/>
                </a:cubicBezTo>
                <a:cubicBezTo>
                  <a:pt x="13" y="15"/>
                  <a:pt x="13" y="15"/>
                  <a:pt x="13" y="15"/>
                </a:cubicBezTo>
                <a:moveTo>
                  <a:pt x="14" y="15"/>
                </a:moveTo>
                <a:cubicBezTo>
                  <a:pt x="13" y="15"/>
                  <a:pt x="13" y="15"/>
                  <a:pt x="13" y="15"/>
                </a:cubicBezTo>
                <a:cubicBezTo>
                  <a:pt x="13" y="15"/>
                  <a:pt x="13" y="15"/>
                  <a:pt x="13" y="15"/>
                </a:cubicBezTo>
                <a:cubicBezTo>
                  <a:pt x="14" y="15"/>
                  <a:pt x="14" y="15"/>
                  <a:pt x="14" y="15"/>
                </a:cubicBezTo>
                <a:cubicBezTo>
                  <a:pt x="14" y="15"/>
                  <a:pt x="14" y="15"/>
                  <a:pt x="14" y="15"/>
                </a:cubicBezTo>
                <a:moveTo>
                  <a:pt x="3" y="15"/>
                </a:moveTo>
                <a:cubicBezTo>
                  <a:pt x="3" y="15"/>
                  <a:pt x="3" y="15"/>
                  <a:pt x="3" y="15"/>
                </a:cubicBezTo>
                <a:cubicBezTo>
                  <a:pt x="3" y="15"/>
                  <a:pt x="3" y="15"/>
                  <a:pt x="3" y="15"/>
                </a:cubicBezTo>
                <a:cubicBezTo>
                  <a:pt x="3" y="15"/>
                  <a:pt x="3" y="15"/>
                  <a:pt x="3" y="15"/>
                </a:cubicBezTo>
                <a:moveTo>
                  <a:pt x="2" y="15"/>
                </a:moveTo>
                <a:cubicBezTo>
                  <a:pt x="2" y="15"/>
                  <a:pt x="2" y="15"/>
                  <a:pt x="2" y="15"/>
                </a:cubicBezTo>
                <a:cubicBezTo>
                  <a:pt x="2" y="15"/>
                  <a:pt x="2" y="15"/>
                  <a:pt x="2" y="15"/>
                </a:cubicBezTo>
                <a:cubicBezTo>
                  <a:pt x="2" y="15"/>
                  <a:pt x="2" y="15"/>
                  <a:pt x="2" y="15"/>
                </a:cubicBezTo>
                <a:moveTo>
                  <a:pt x="2" y="14"/>
                </a:moveTo>
                <a:cubicBezTo>
                  <a:pt x="2" y="14"/>
                  <a:pt x="2" y="14"/>
                  <a:pt x="2" y="14"/>
                </a:cubicBezTo>
                <a:cubicBezTo>
                  <a:pt x="2" y="14"/>
                  <a:pt x="2" y="14"/>
                  <a:pt x="2" y="14"/>
                </a:cubicBezTo>
                <a:cubicBezTo>
                  <a:pt x="2" y="14"/>
                  <a:pt x="2" y="14"/>
                  <a:pt x="2" y="14"/>
                </a:cubicBezTo>
                <a:moveTo>
                  <a:pt x="2" y="13"/>
                </a:moveTo>
                <a:cubicBezTo>
                  <a:pt x="2" y="13"/>
                  <a:pt x="2" y="13"/>
                  <a:pt x="2" y="13"/>
                </a:cubicBezTo>
                <a:cubicBezTo>
                  <a:pt x="2" y="13"/>
                  <a:pt x="2" y="13"/>
                  <a:pt x="2" y="13"/>
                </a:cubicBezTo>
                <a:cubicBezTo>
                  <a:pt x="2" y="13"/>
                  <a:pt x="2" y="13"/>
                  <a:pt x="2" y="13"/>
                </a:cubicBezTo>
                <a:moveTo>
                  <a:pt x="2" y="13"/>
                </a:moveTo>
                <a:cubicBezTo>
                  <a:pt x="2" y="13"/>
                  <a:pt x="2" y="13"/>
                  <a:pt x="2" y="13"/>
                </a:cubicBezTo>
                <a:cubicBezTo>
                  <a:pt x="2" y="13"/>
                  <a:pt x="2" y="13"/>
                  <a:pt x="2" y="13"/>
                </a:cubicBezTo>
                <a:cubicBezTo>
                  <a:pt x="2" y="13"/>
                  <a:pt x="2" y="13"/>
                  <a:pt x="2" y="13"/>
                </a:cubicBezTo>
                <a:moveTo>
                  <a:pt x="1" y="13"/>
                </a:moveTo>
                <a:cubicBezTo>
                  <a:pt x="2" y="14"/>
                  <a:pt x="2" y="14"/>
                  <a:pt x="2" y="14"/>
                </a:cubicBezTo>
                <a:cubicBezTo>
                  <a:pt x="2" y="14"/>
                  <a:pt x="2" y="14"/>
                  <a:pt x="2" y="14"/>
                </a:cubicBezTo>
                <a:cubicBezTo>
                  <a:pt x="1" y="13"/>
                  <a:pt x="1" y="13"/>
                  <a:pt x="1" y="13"/>
                </a:cubicBezTo>
                <a:moveTo>
                  <a:pt x="2" y="13"/>
                </a:moveTo>
                <a:cubicBezTo>
                  <a:pt x="2" y="13"/>
                  <a:pt x="2" y="13"/>
                  <a:pt x="2" y="13"/>
                </a:cubicBezTo>
                <a:cubicBezTo>
                  <a:pt x="2" y="13"/>
                  <a:pt x="2" y="13"/>
                  <a:pt x="2" y="13"/>
                </a:cubicBezTo>
                <a:cubicBezTo>
                  <a:pt x="2" y="13"/>
                  <a:pt x="2" y="13"/>
                  <a:pt x="2" y="13"/>
                </a:cubicBezTo>
                <a:moveTo>
                  <a:pt x="1" y="11"/>
                </a:moveTo>
                <a:cubicBezTo>
                  <a:pt x="1" y="11"/>
                  <a:pt x="1" y="11"/>
                  <a:pt x="1" y="11"/>
                </a:cubicBezTo>
                <a:cubicBezTo>
                  <a:pt x="1" y="12"/>
                  <a:pt x="1" y="12"/>
                  <a:pt x="1" y="12"/>
                </a:cubicBezTo>
                <a:cubicBezTo>
                  <a:pt x="1" y="11"/>
                  <a:pt x="1" y="11"/>
                  <a:pt x="1" y="11"/>
                </a:cubicBezTo>
                <a:moveTo>
                  <a:pt x="1" y="11"/>
                </a:moveTo>
                <a:cubicBezTo>
                  <a:pt x="1" y="11"/>
                  <a:pt x="1" y="11"/>
                  <a:pt x="1" y="11"/>
                </a:cubicBezTo>
                <a:cubicBezTo>
                  <a:pt x="1" y="11"/>
                  <a:pt x="1" y="11"/>
                  <a:pt x="1" y="11"/>
                </a:cubicBezTo>
                <a:cubicBezTo>
                  <a:pt x="1" y="11"/>
                  <a:pt x="1" y="11"/>
                  <a:pt x="1" y="11"/>
                </a:cubicBezTo>
                <a:moveTo>
                  <a:pt x="1" y="11"/>
                </a:moveTo>
                <a:cubicBezTo>
                  <a:pt x="1" y="11"/>
                  <a:pt x="1" y="11"/>
                  <a:pt x="1" y="11"/>
                </a:cubicBezTo>
                <a:cubicBezTo>
                  <a:pt x="1" y="11"/>
                  <a:pt x="1" y="11"/>
                  <a:pt x="1" y="11"/>
                </a:cubicBezTo>
                <a:cubicBezTo>
                  <a:pt x="1" y="11"/>
                  <a:pt x="1" y="11"/>
                  <a:pt x="1" y="11"/>
                </a:cubicBezTo>
                <a:moveTo>
                  <a:pt x="1" y="11"/>
                </a:moveTo>
                <a:cubicBezTo>
                  <a:pt x="1" y="11"/>
                  <a:pt x="1" y="11"/>
                  <a:pt x="1" y="11"/>
                </a:cubicBezTo>
                <a:cubicBezTo>
                  <a:pt x="1" y="11"/>
                  <a:pt x="1" y="11"/>
                  <a:pt x="1" y="11"/>
                </a:cubicBezTo>
                <a:cubicBezTo>
                  <a:pt x="1" y="11"/>
                  <a:pt x="1" y="11"/>
                  <a:pt x="1" y="11"/>
                </a:cubicBezTo>
                <a:moveTo>
                  <a:pt x="0" y="10"/>
                </a:moveTo>
                <a:cubicBezTo>
                  <a:pt x="0" y="10"/>
                  <a:pt x="0" y="10"/>
                  <a:pt x="0" y="10"/>
                </a:cubicBezTo>
                <a:cubicBezTo>
                  <a:pt x="0" y="10"/>
                  <a:pt x="0" y="10"/>
                  <a:pt x="0" y="10"/>
                </a:cubicBezTo>
                <a:cubicBezTo>
                  <a:pt x="0" y="10"/>
                  <a:pt x="0" y="10"/>
                  <a:pt x="0" y="10"/>
                </a:cubicBezTo>
                <a:moveTo>
                  <a:pt x="15" y="8"/>
                </a:moveTo>
                <a:cubicBezTo>
                  <a:pt x="15" y="8"/>
                  <a:pt x="15" y="8"/>
                  <a:pt x="15" y="8"/>
                </a:cubicBezTo>
                <a:cubicBezTo>
                  <a:pt x="15" y="8"/>
                  <a:pt x="15" y="8"/>
                  <a:pt x="15" y="8"/>
                </a:cubicBezTo>
                <a:cubicBezTo>
                  <a:pt x="15" y="8"/>
                  <a:pt x="15" y="8"/>
                  <a:pt x="15" y="8"/>
                </a:cubicBezTo>
                <a:moveTo>
                  <a:pt x="15" y="8"/>
                </a:moveTo>
                <a:cubicBezTo>
                  <a:pt x="15" y="8"/>
                  <a:pt x="15" y="8"/>
                  <a:pt x="15" y="8"/>
                </a:cubicBezTo>
                <a:cubicBezTo>
                  <a:pt x="15" y="8"/>
                  <a:pt x="15" y="8"/>
                  <a:pt x="15" y="8"/>
                </a:cubicBezTo>
                <a:cubicBezTo>
                  <a:pt x="15" y="8"/>
                  <a:pt x="15" y="8"/>
                  <a:pt x="15" y="8"/>
                </a:cubicBezTo>
                <a:moveTo>
                  <a:pt x="15" y="7"/>
                </a:moveTo>
                <a:cubicBezTo>
                  <a:pt x="15" y="7"/>
                  <a:pt x="15" y="7"/>
                  <a:pt x="15" y="7"/>
                </a:cubicBezTo>
                <a:cubicBezTo>
                  <a:pt x="15" y="7"/>
                  <a:pt x="15" y="7"/>
                  <a:pt x="15" y="7"/>
                </a:cubicBezTo>
                <a:cubicBezTo>
                  <a:pt x="15" y="7"/>
                  <a:pt x="15" y="7"/>
                  <a:pt x="15" y="7"/>
                </a:cubicBezTo>
                <a:moveTo>
                  <a:pt x="15" y="8"/>
                </a:moveTo>
                <a:cubicBezTo>
                  <a:pt x="15" y="7"/>
                  <a:pt x="15" y="7"/>
                  <a:pt x="15" y="7"/>
                </a:cubicBezTo>
                <a:cubicBezTo>
                  <a:pt x="15" y="8"/>
                  <a:pt x="15" y="8"/>
                  <a:pt x="15" y="8"/>
                </a:cubicBezTo>
                <a:cubicBezTo>
                  <a:pt x="15" y="8"/>
                  <a:pt x="15" y="8"/>
                  <a:pt x="15" y="8"/>
                </a:cubicBezTo>
                <a:cubicBezTo>
                  <a:pt x="15" y="8"/>
                  <a:pt x="15" y="8"/>
                  <a:pt x="15" y="8"/>
                </a:cubicBezTo>
                <a:moveTo>
                  <a:pt x="15" y="4"/>
                </a:moveTo>
                <a:cubicBezTo>
                  <a:pt x="15" y="4"/>
                  <a:pt x="15" y="4"/>
                  <a:pt x="15" y="4"/>
                </a:cubicBezTo>
                <a:cubicBezTo>
                  <a:pt x="15" y="4"/>
                  <a:pt x="15" y="4"/>
                  <a:pt x="15" y="4"/>
                </a:cubicBezTo>
                <a:cubicBezTo>
                  <a:pt x="15" y="4"/>
                  <a:pt x="15" y="4"/>
                  <a:pt x="15" y="4"/>
                </a:cubicBezTo>
                <a:moveTo>
                  <a:pt x="15" y="3"/>
                </a:moveTo>
                <a:cubicBezTo>
                  <a:pt x="15" y="3"/>
                  <a:pt x="15" y="3"/>
                  <a:pt x="15" y="3"/>
                </a:cubicBezTo>
                <a:cubicBezTo>
                  <a:pt x="15" y="3"/>
                  <a:pt x="15" y="3"/>
                  <a:pt x="15" y="3"/>
                </a:cubicBezTo>
                <a:cubicBezTo>
                  <a:pt x="15" y="3"/>
                  <a:pt x="15" y="3"/>
                  <a:pt x="15" y="3"/>
                </a:cubicBezTo>
                <a:moveTo>
                  <a:pt x="14" y="3"/>
                </a:moveTo>
                <a:cubicBezTo>
                  <a:pt x="14" y="3"/>
                  <a:pt x="14" y="3"/>
                  <a:pt x="14" y="3"/>
                </a:cubicBezTo>
                <a:cubicBezTo>
                  <a:pt x="14" y="3"/>
                  <a:pt x="14" y="3"/>
                  <a:pt x="14" y="3"/>
                </a:cubicBezTo>
                <a:cubicBezTo>
                  <a:pt x="14" y="3"/>
                  <a:pt x="14" y="3"/>
                  <a:pt x="14" y="3"/>
                </a:cubicBezTo>
                <a:moveTo>
                  <a:pt x="3" y="2"/>
                </a:moveTo>
                <a:cubicBezTo>
                  <a:pt x="2" y="3"/>
                  <a:pt x="2" y="3"/>
                  <a:pt x="2" y="3"/>
                </a:cubicBezTo>
                <a:cubicBezTo>
                  <a:pt x="2" y="3"/>
                  <a:pt x="2" y="3"/>
                  <a:pt x="1" y="4"/>
                </a:cubicBezTo>
                <a:cubicBezTo>
                  <a:pt x="2" y="3"/>
                  <a:pt x="2" y="3"/>
                  <a:pt x="3" y="2"/>
                </a:cubicBezTo>
                <a:moveTo>
                  <a:pt x="3" y="2"/>
                </a:moveTo>
                <a:cubicBezTo>
                  <a:pt x="3" y="2"/>
                  <a:pt x="3" y="2"/>
                  <a:pt x="3" y="2"/>
                </a:cubicBezTo>
                <a:cubicBezTo>
                  <a:pt x="3" y="2"/>
                  <a:pt x="3" y="2"/>
                  <a:pt x="3" y="2"/>
                </a:cubicBezTo>
                <a:moveTo>
                  <a:pt x="12" y="1"/>
                </a:moveTo>
                <a:cubicBezTo>
                  <a:pt x="12" y="1"/>
                  <a:pt x="12" y="1"/>
                  <a:pt x="12" y="1"/>
                </a:cubicBezTo>
                <a:cubicBezTo>
                  <a:pt x="12" y="1"/>
                  <a:pt x="12" y="1"/>
                  <a:pt x="12" y="1"/>
                </a:cubicBezTo>
                <a:cubicBezTo>
                  <a:pt x="12" y="1"/>
                  <a:pt x="12" y="1"/>
                  <a:pt x="12" y="1"/>
                </a:cubicBezTo>
                <a:moveTo>
                  <a:pt x="6" y="1"/>
                </a:moveTo>
                <a:cubicBezTo>
                  <a:pt x="6" y="1"/>
                  <a:pt x="6" y="1"/>
                  <a:pt x="6" y="1"/>
                </a:cubicBezTo>
                <a:cubicBezTo>
                  <a:pt x="6" y="1"/>
                  <a:pt x="6" y="1"/>
                  <a:pt x="6" y="1"/>
                </a:cubicBezTo>
                <a:cubicBezTo>
                  <a:pt x="6" y="1"/>
                  <a:pt x="6" y="1"/>
                  <a:pt x="6" y="1"/>
                </a:cubicBezTo>
                <a:cubicBezTo>
                  <a:pt x="6" y="1"/>
                  <a:pt x="6" y="1"/>
                  <a:pt x="6" y="1"/>
                </a:cubicBezTo>
                <a:moveTo>
                  <a:pt x="7" y="1"/>
                </a:moveTo>
                <a:cubicBezTo>
                  <a:pt x="7" y="1"/>
                  <a:pt x="7" y="1"/>
                  <a:pt x="7" y="1"/>
                </a:cubicBezTo>
                <a:cubicBezTo>
                  <a:pt x="7" y="1"/>
                  <a:pt x="7" y="1"/>
                  <a:pt x="7" y="1"/>
                </a:cubicBezTo>
                <a:cubicBezTo>
                  <a:pt x="7" y="1"/>
                  <a:pt x="7" y="1"/>
                  <a:pt x="7" y="1"/>
                </a:cubicBezTo>
                <a:moveTo>
                  <a:pt x="11" y="1"/>
                </a:moveTo>
                <a:cubicBezTo>
                  <a:pt x="11" y="1"/>
                  <a:pt x="11" y="1"/>
                  <a:pt x="11" y="1"/>
                </a:cubicBezTo>
                <a:cubicBezTo>
                  <a:pt x="11" y="1"/>
                  <a:pt x="11" y="1"/>
                  <a:pt x="11" y="1"/>
                </a:cubicBezTo>
                <a:cubicBezTo>
                  <a:pt x="11" y="1"/>
                  <a:pt x="11" y="1"/>
                  <a:pt x="11" y="1"/>
                </a:cubicBezTo>
                <a:cubicBezTo>
                  <a:pt x="11" y="1"/>
                  <a:pt x="11" y="1"/>
                  <a:pt x="11" y="1"/>
                </a:cubicBezTo>
                <a:cubicBezTo>
                  <a:pt x="11" y="1"/>
                  <a:pt x="11" y="1"/>
                  <a:pt x="11" y="1"/>
                </a:cubicBezTo>
                <a:moveTo>
                  <a:pt x="7" y="1"/>
                </a:moveTo>
                <a:cubicBezTo>
                  <a:pt x="7" y="1"/>
                  <a:pt x="7" y="1"/>
                  <a:pt x="7" y="1"/>
                </a:cubicBezTo>
                <a:cubicBezTo>
                  <a:pt x="7" y="1"/>
                  <a:pt x="7" y="1"/>
                  <a:pt x="7" y="1"/>
                </a:cubicBezTo>
                <a:cubicBezTo>
                  <a:pt x="7" y="1"/>
                  <a:pt x="7" y="1"/>
                  <a:pt x="7" y="1"/>
                </a:cubicBezTo>
                <a:moveTo>
                  <a:pt x="7" y="1"/>
                </a:moveTo>
                <a:cubicBezTo>
                  <a:pt x="7" y="1"/>
                  <a:pt x="7" y="1"/>
                  <a:pt x="7" y="1"/>
                </a:cubicBezTo>
                <a:cubicBezTo>
                  <a:pt x="6" y="1"/>
                  <a:pt x="6" y="1"/>
                  <a:pt x="6" y="1"/>
                </a:cubicBezTo>
                <a:cubicBezTo>
                  <a:pt x="6" y="1"/>
                  <a:pt x="6" y="1"/>
                  <a:pt x="6" y="1"/>
                </a:cubicBezTo>
                <a:cubicBezTo>
                  <a:pt x="6" y="2"/>
                  <a:pt x="4" y="1"/>
                  <a:pt x="3" y="2"/>
                </a:cubicBezTo>
                <a:cubicBezTo>
                  <a:pt x="2" y="2"/>
                  <a:pt x="1" y="4"/>
                  <a:pt x="1" y="5"/>
                </a:cubicBezTo>
                <a:cubicBezTo>
                  <a:pt x="1" y="4"/>
                  <a:pt x="1" y="4"/>
                  <a:pt x="1" y="4"/>
                </a:cubicBezTo>
                <a:cubicBezTo>
                  <a:pt x="0" y="5"/>
                  <a:pt x="0" y="5"/>
                  <a:pt x="0" y="5"/>
                </a:cubicBezTo>
                <a:cubicBezTo>
                  <a:pt x="1" y="5"/>
                  <a:pt x="1" y="5"/>
                  <a:pt x="1" y="5"/>
                </a:cubicBezTo>
                <a:cubicBezTo>
                  <a:pt x="0" y="6"/>
                  <a:pt x="0" y="6"/>
                  <a:pt x="0" y="6"/>
                </a:cubicBezTo>
                <a:cubicBezTo>
                  <a:pt x="0" y="7"/>
                  <a:pt x="0" y="11"/>
                  <a:pt x="1" y="12"/>
                </a:cubicBezTo>
                <a:cubicBezTo>
                  <a:pt x="1" y="12"/>
                  <a:pt x="0" y="11"/>
                  <a:pt x="0" y="10"/>
                </a:cubicBezTo>
                <a:cubicBezTo>
                  <a:pt x="0" y="11"/>
                  <a:pt x="0" y="12"/>
                  <a:pt x="1" y="12"/>
                </a:cubicBezTo>
                <a:cubicBezTo>
                  <a:pt x="1" y="12"/>
                  <a:pt x="1" y="12"/>
                  <a:pt x="1" y="12"/>
                </a:cubicBezTo>
                <a:cubicBezTo>
                  <a:pt x="1" y="13"/>
                  <a:pt x="2" y="14"/>
                  <a:pt x="2" y="14"/>
                </a:cubicBezTo>
                <a:cubicBezTo>
                  <a:pt x="2" y="14"/>
                  <a:pt x="2" y="14"/>
                  <a:pt x="2" y="14"/>
                </a:cubicBezTo>
                <a:cubicBezTo>
                  <a:pt x="2" y="15"/>
                  <a:pt x="2" y="15"/>
                  <a:pt x="2" y="15"/>
                </a:cubicBezTo>
                <a:cubicBezTo>
                  <a:pt x="2" y="15"/>
                  <a:pt x="2" y="15"/>
                  <a:pt x="2" y="15"/>
                </a:cubicBezTo>
                <a:cubicBezTo>
                  <a:pt x="2" y="15"/>
                  <a:pt x="2" y="15"/>
                  <a:pt x="2" y="15"/>
                </a:cubicBezTo>
                <a:cubicBezTo>
                  <a:pt x="2" y="15"/>
                  <a:pt x="2" y="15"/>
                  <a:pt x="2" y="15"/>
                </a:cubicBezTo>
                <a:cubicBezTo>
                  <a:pt x="3" y="15"/>
                  <a:pt x="3" y="15"/>
                  <a:pt x="3" y="16"/>
                </a:cubicBezTo>
                <a:cubicBezTo>
                  <a:pt x="3" y="16"/>
                  <a:pt x="3" y="16"/>
                  <a:pt x="3" y="16"/>
                </a:cubicBezTo>
                <a:cubicBezTo>
                  <a:pt x="3" y="15"/>
                  <a:pt x="3" y="15"/>
                  <a:pt x="3" y="15"/>
                </a:cubicBezTo>
                <a:cubicBezTo>
                  <a:pt x="3" y="15"/>
                  <a:pt x="3" y="15"/>
                  <a:pt x="3" y="15"/>
                </a:cubicBezTo>
                <a:cubicBezTo>
                  <a:pt x="3" y="16"/>
                  <a:pt x="3" y="16"/>
                  <a:pt x="3" y="16"/>
                </a:cubicBezTo>
                <a:cubicBezTo>
                  <a:pt x="3" y="16"/>
                  <a:pt x="3" y="16"/>
                  <a:pt x="3" y="16"/>
                </a:cubicBezTo>
                <a:cubicBezTo>
                  <a:pt x="3" y="16"/>
                  <a:pt x="3" y="15"/>
                  <a:pt x="3" y="15"/>
                </a:cubicBezTo>
                <a:cubicBezTo>
                  <a:pt x="3" y="15"/>
                  <a:pt x="3" y="15"/>
                  <a:pt x="3" y="15"/>
                </a:cubicBezTo>
                <a:cubicBezTo>
                  <a:pt x="3" y="15"/>
                  <a:pt x="3" y="15"/>
                  <a:pt x="3" y="15"/>
                </a:cubicBezTo>
                <a:cubicBezTo>
                  <a:pt x="3" y="15"/>
                  <a:pt x="3" y="15"/>
                  <a:pt x="3" y="15"/>
                </a:cubicBezTo>
                <a:cubicBezTo>
                  <a:pt x="3" y="16"/>
                  <a:pt x="3" y="16"/>
                  <a:pt x="3" y="16"/>
                </a:cubicBezTo>
                <a:cubicBezTo>
                  <a:pt x="3" y="16"/>
                  <a:pt x="3" y="16"/>
                  <a:pt x="3" y="16"/>
                </a:cubicBezTo>
                <a:cubicBezTo>
                  <a:pt x="3" y="16"/>
                  <a:pt x="3" y="16"/>
                  <a:pt x="3"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4" y="16"/>
                  <a:pt x="4" y="16"/>
                  <a:pt x="4" y="16"/>
                </a:cubicBezTo>
                <a:cubicBezTo>
                  <a:pt x="5" y="17"/>
                  <a:pt x="5" y="17"/>
                  <a:pt x="5" y="17"/>
                </a:cubicBezTo>
                <a:cubicBezTo>
                  <a:pt x="5" y="16"/>
                  <a:pt x="5" y="16"/>
                  <a:pt x="5" y="16"/>
                </a:cubicBezTo>
                <a:cubicBezTo>
                  <a:pt x="5" y="16"/>
                  <a:pt x="5" y="16"/>
                  <a:pt x="5" y="16"/>
                </a:cubicBezTo>
                <a:cubicBezTo>
                  <a:pt x="5" y="17"/>
                  <a:pt x="5" y="17"/>
                  <a:pt x="5" y="17"/>
                </a:cubicBezTo>
                <a:cubicBezTo>
                  <a:pt x="5" y="16"/>
                  <a:pt x="5" y="16"/>
                  <a:pt x="5" y="16"/>
                </a:cubicBezTo>
                <a:cubicBezTo>
                  <a:pt x="5" y="16"/>
                  <a:pt x="5" y="16"/>
                  <a:pt x="5" y="16"/>
                </a:cubicBezTo>
                <a:cubicBezTo>
                  <a:pt x="5" y="16"/>
                  <a:pt x="5" y="16"/>
                  <a:pt x="5" y="16"/>
                </a:cubicBezTo>
                <a:cubicBezTo>
                  <a:pt x="5" y="16"/>
                  <a:pt x="5" y="16"/>
                  <a:pt x="5" y="16"/>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7"/>
                  <a:pt x="5" y="17"/>
                  <a:pt x="5" y="17"/>
                </a:cubicBezTo>
                <a:cubicBezTo>
                  <a:pt x="5" y="18"/>
                  <a:pt x="5" y="18"/>
                  <a:pt x="5" y="18"/>
                </a:cubicBezTo>
                <a:cubicBezTo>
                  <a:pt x="5" y="17"/>
                  <a:pt x="5" y="17"/>
                  <a:pt x="5" y="17"/>
                </a:cubicBezTo>
                <a:cubicBezTo>
                  <a:pt x="6" y="18"/>
                  <a:pt x="6" y="18"/>
                  <a:pt x="6" y="18"/>
                </a:cubicBezTo>
                <a:cubicBezTo>
                  <a:pt x="6" y="18"/>
                  <a:pt x="6" y="18"/>
                  <a:pt x="6" y="18"/>
                </a:cubicBezTo>
                <a:cubicBezTo>
                  <a:pt x="6" y="17"/>
                  <a:pt x="6" y="17"/>
                  <a:pt x="6" y="17"/>
                </a:cubicBezTo>
                <a:cubicBezTo>
                  <a:pt x="6" y="17"/>
                  <a:pt x="6" y="17"/>
                  <a:pt x="6" y="17"/>
                </a:cubicBezTo>
                <a:cubicBezTo>
                  <a:pt x="6" y="18"/>
                  <a:pt x="6" y="18"/>
                  <a:pt x="6" y="18"/>
                </a:cubicBezTo>
                <a:cubicBezTo>
                  <a:pt x="6" y="18"/>
                  <a:pt x="6" y="18"/>
                  <a:pt x="6" y="18"/>
                </a:cubicBezTo>
                <a:cubicBezTo>
                  <a:pt x="6" y="18"/>
                  <a:pt x="6" y="18"/>
                  <a:pt x="6" y="18"/>
                </a:cubicBezTo>
                <a:cubicBezTo>
                  <a:pt x="6" y="18"/>
                  <a:pt x="6" y="18"/>
                  <a:pt x="6" y="18"/>
                </a:cubicBezTo>
                <a:cubicBezTo>
                  <a:pt x="5" y="18"/>
                  <a:pt x="5" y="18"/>
                  <a:pt x="5" y="18"/>
                </a:cubicBezTo>
                <a:cubicBezTo>
                  <a:pt x="5" y="19"/>
                  <a:pt x="5" y="19"/>
                  <a:pt x="5" y="20"/>
                </a:cubicBezTo>
                <a:cubicBezTo>
                  <a:pt x="4" y="21"/>
                  <a:pt x="4" y="21"/>
                  <a:pt x="4" y="22"/>
                </a:cubicBezTo>
                <a:cubicBezTo>
                  <a:pt x="3" y="23"/>
                  <a:pt x="3" y="23"/>
                  <a:pt x="3" y="24"/>
                </a:cubicBezTo>
                <a:cubicBezTo>
                  <a:pt x="3" y="24"/>
                  <a:pt x="3" y="25"/>
                  <a:pt x="3" y="25"/>
                </a:cubicBezTo>
                <a:cubicBezTo>
                  <a:pt x="3" y="27"/>
                  <a:pt x="3" y="28"/>
                  <a:pt x="3" y="30"/>
                </a:cubicBezTo>
                <a:cubicBezTo>
                  <a:pt x="4" y="33"/>
                  <a:pt x="4" y="33"/>
                  <a:pt x="4" y="33"/>
                </a:cubicBezTo>
                <a:cubicBezTo>
                  <a:pt x="4" y="35"/>
                  <a:pt x="5" y="37"/>
                  <a:pt x="5" y="39"/>
                </a:cubicBezTo>
                <a:cubicBezTo>
                  <a:pt x="6" y="39"/>
                  <a:pt x="6" y="40"/>
                  <a:pt x="6" y="41"/>
                </a:cubicBezTo>
                <a:cubicBezTo>
                  <a:pt x="7" y="42"/>
                  <a:pt x="7" y="43"/>
                  <a:pt x="7" y="44"/>
                </a:cubicBezTo>
                <a:cubicBezTo>
                  <a:pt x="8" y="45"/>
                  <a:pt x="8" y="46"/>
                  <a:pt x="8" y="47"/>
                </a:cubicBezTo>
                <a:cubicBezTo>
                  <a:pt x="8" y="47"/>
                  <a:pt x="9" y="48"/>
                  <a:pt x="9" y="49"/>
                </a:cubicBezTo>
                <a:cubicBezTo>
                  <a:pt x="8" y="51"/>
                  <a:pt x="8" y="51"/>
                  <a:pt x="8" y="51"/>
                </a:cubicBezTo>
                <a:cubicBezTo>
                  <a:pt x="7" y="51"/>
                  <a:pt x="7" y="51"/>
                  <a:pt x="7" y="51"/>
                </a:cubicBezTo>
                <a:cubicBezTo>
                  <a:pt x="6" y="53"/>
                  <a:pt x="4" y="57"/>
                  <a:pt x="5" y="60"/>
                </a:cubicBezTo>
                <a:cubicBezTo>
                  <a:pt x="5" y="61"/>
                  <a:pt x="6" y="62"/>
                  <a:pt x="6" y="63"/>
                </a:cubicBezTo>
                <a:cubicBezTo>
                  <a:pt x="6" y="63"/>
                  <a:pt x="7" y="63"/>
                  <a:pt x="7" y="64"/>
                </a:cubicBezTo>
                <a:cubicBezTo>
                  <a:pt x="7" y="65"/>
                  <a:pt x="8" y="66"/>
                  <a:pt x="8" y="66"/>
                </a:cubicBezTo>
                <a:cubicBezTo>
                  <a:pt x="8" y="67"/>
                  <a:pt x="9" y="68"/>
                  <a:pt x="9" y="68"/>
                </a:cubicBezTo>
                <a:cubicBezTo>
                  <a:pt x="9" y="70"/>
                  <a:pt x="9" y="71"/>
                  <a:pt x="10" y="72"/>
                </a:cubicBezTo>
                <a:cubicBezTo>
                  <a:pt x="10" y="74"/>
                  <a:pt x="11" y="75"/>
                  <a:pt x="11" y="77"/>
                </a:cubicBezTo>
                <a:cubicBezTo>
                  <a:pt x="12" y="79"/>
                  <a:pt x="13" y="81"/>
                  <a:pt x="13" y="83"/>
                </a:cubicBezTo>
                <a:cubicBezTo>
                  <a:pt x="13" y="85"/>
                  <a:pt x="12" y="86"/>
                  <a:pt x="12" y="88"/>
                </a:cubicBezTo>
                <a:cubicBezTo>
                  <a:pt x="12" y="89"/>
                  <a:pt x="11" y="90"/>
                  <a:pt x="11" y="92"/>
                </a:cubicBezTo>
                <a:cubicBezTo>
                  <a:pt x="10" y="94"/>
                  <a:pt x="10" y="96"/>
                  <a:pt x="10" y="98"/>
                </a:cubicBezTo>
                <a:cubicBezTo>
                  <a:pt x="10" y="100"/>
                  <a:pt x="10" y="101"/>
                  <a:pt x="10" y="102"/>
                </a:cubicBezTo>
                <a:cubicBezTo>
                  <a:pt x="9" y="107"/>
                  <a:pt x="9" y="112"/>
                  <a:pt x="10" y="117"/>
                </a:cubicBezTo>
                <a:cubicBezTo>
                  <a:pt x="10" y="118"/>
                  <a:pt x="10" y="121"/>
                  <a:pt x="11" y="122"/>
                </a:cubicBezTo>
                <a:cubicBezTo>
                  <a:pt x="12" y="122"/>
                  <a:pt x="12" y="122"/>
                  <a:pt x="13" y="122"/>
                </a:cubicBezTo>
                <a:cubicBezTo>
                  <a:pt x="13" y="123"/>
                  <a:pt x="13" y="123"/>
                  <a:pt x="14" y="124"/>
                </a:cubicBezTo>
                <a:cubicBezTo>
                  <a:pt x="14" y="124"/>
                  <a:pt x="14" y="124"/>
                  <a:pt x="14" y="124"/>
                </a:cubicBezTo>
                <a:cubicBezTo>
                  <a:pt x="14" y="125"/>
                  <a:pt x="14" y="125"/>
                  <a:pt x="14" y="125"/>
                </a:cubicBezTo>
                <a:cubicBezTo>
                  <a:pt x="14" y="125"/>
                  <a:pt x="15" y="125"/>
                  <a:pt x="16" y="125"/>
                </a:cubicBezTo>
                <a:cubicBezTo>
                  <a:pt x="16" y="125"/>
                  <a:pt x="17" y="125"/>
                  <a:pt x="17" y="125"/>
                </a:cubicBezTo>
                <a:cubicBezTo>
                  <a:pt x="18" y="125"/>
                  <a:pt x="18" y="125"/>
                  <a:pt x="18" y="125"/>
                </a:cubicBezTo>
                <a:cubicBezTo>
                  <a:pt x="18" y="125"/>
                  <a:pt x="18" y="125"/>
                  <a:pt x="18" y="125"/>
                </a:cubicBezTo>
                <a:cubicBezTo>
                  <a:pt x="19" y="124"/>
                  <a:pt x="20" y="124"/>
                  <a:pt x="21" y="124"/>
                </a:cubicBezTo>
                <a:cubicBezTo>
                  <a:pt x="21" y="125"/>
                  <a:pt x="22" y="125"/>
                  <a:pt x="22" y="125"/>
                </a:cubicBezTo>
                <a:cubicBezTo>
                  <a:pt x="23" y="125"/>
                  <a:pt x="29" y="123"/>
                  <a:pt x="29" y="123"/>
                </a:cubicBezTo>
                <a:cubicBezTo>
                  <a:pt x="29" y="123"/>
                  <a:pt x="29" y="123"/>
                  <a:pt x="29" y="123"/>
                </a:cubicBezTo>
                <a:cubicBezTo>
                  <a:pt x="29" y="123"/>
                  <a:pt x="29" y="123"/>
                  <a:pt x="29" y="123"/>
                </a:cubicBezTo>
                <a:cubicBezTo>
                  <a:pt x="29" y="123"/>
                  <a:pt x="29" y="123"/>
                  <a:pt x="29" y="123"/>
                </a:cubicBezTo>
                <a:cubicBezTo>
                  <a:pt x="29" y="122"/>
                  <a:pt x="29" y="122"/>
                  <a:pt x="29" y="122"/>
                </a:cubicBezTo>
                <a:cubicBezTo>
                  <a:pt x="29" y="121"/>
                  <a:pt x="28" y="121"/>
                  <a:pt x="28" y="121"/>
                </a:cubicBezTo>
                <a:cubicBezTo>
                  <a:pt x="27" y="121"/>
                  <a:pt x="27" y="121"/>
                  <a:pt x="27" y="121"/>
                </a:cubicBezTo>
                <a:cubicBezTo>
                  <a:pt x="26" y="121"/>
                  <a:pt x="24" y="121"/>
                  <a:pt x="23" y="121"/>
                </a:cubicBezTo>
                <a:cubicBezTo>
                  <a:pt x="23" y="120"/>
                  <a:pt x="23" y="120"/>
                  <a:pt x="23" y="120"/>
                </a:cubicBezTo>
                <a:cubicBezTo>
                  <a:pt x="23" y="120"/>
                  <a:pt x="23" y="120"/>
                  <a:pt x="23" y="120"/>
                </a:cubicBezTo>
                <a:cubicBezTo>
                  <a:pt x="22" y="120"/>
                  <a:pt x="22" y="120"/>
                  <a:pt x="22" y="120"/>
                </a:cubicBezTo>
                <a:cubicBezTo>
                  <a:pt x="22" y="120"/>
                  <a:pt x="22" y="120"/>
                  <a:pt x="22" y="120"/>
                </a:cubicBezTo>
                <a:cubicBezTo>
                  <a:pt x="22" y="120"/>
                  <a:pt x="23" y="119"/>
                  <a:pt x="23" y="119"/>
                </a:cubicBezTo>
                <a:cubicBezTo>
                  <a:pt x="23" y="119"/>
                  <a:pt x="23" y="118"/>
                  <a:pt x="23" y="118"/>
                </a:cubicBezTo>
                <a:cubicBezTo>
                  <a:pt x="23" y="117"/>
                  <a:pt x="22" y="116"/>
                  <a:pt x="22" y="115"/>
                </a:cubicBezTo>
                <a:cubicBezTo>
                  <a:pt x="22" y="114"/>
                  <a:pt x="22" y="113"/>
                  <a:pt x="22" y="112"/>
                </a:cubicBezTo>
                <a:cubicBezTo>
                  <a:pt x="22" y="110"/>
                  <a:pt x="22" y="109"/>
                  <a:pt x="21" y="107"/>
                </a:cubicBezTo>
                <a:cubicBezTo>
                  <a:pt x="21" y="105"/>
                  <a:pt x="21" y="103"/>
                  <a:pt x="21" y="101"/>
                </a:cubicBezTo>
                <a:cubicBezTo>
                  <a:pt x="21" y="99"/>
                  <a:pt x="20" y="96"/>
                  <a:pt x="21" y="95"/>
                </a:cubicBezTo>
                <a:cubicBezTo>
                  <a:pt x="21" y="92"/>
                  <a:pt x="22" y="90"/>
                  <a:pt x="22" y="88"/>
                </a:cubicBezTo>
                <a:cubicBezTo>
                  <a:pt x="23" y="87"/>
                  <a:pt x="22" y="85"/>
                  <a:pt x="22" y="83"/>
                </a:cubicBezTo>
                <a:cubicBezTo>
                  <a:pt x="22" y="82"/>
                  <a:pt x="22" y="81"/>
                  <a:pt x="22" y="80"/>
                </a:cubicBezTo>
                <a:cubicBezTo>
                  <a:pt x="23" y="81"/>
                  <a:pt x="23" y="82"/>
                  <a:pt x="23" y="82"/>
                </a:cubicBezTo>
                <a:cubicBezTo>
                  <a:pt x="24" y="83"/>
                  <a:pt x="24" y="84"/>
                  <a:pt x="24" y="85"/>
                </a:cubicBezTo>
                <a:cubicBezTo>
                  <a:pt x="25" y="86"/>
                  <a:pt x="25" y="87"/>
                  <a:pt x="25" y="88"/>
                </a:cubicBezTo>
                <a:cubicBezTo>
                  <a:pt x="25" y="90"/>
                  <a:pt x="25" y="91"/>
                  <a:pt x="26" y="92"/>
                </a:cubicBezTo>
                <a:cubicBezTo>
                  <a:pt x="26" y="93"/>
                  <a:pt x="26" y="93"/>
                  <a:pt x="26" y="94"/>
                </a:cubicBezTo>
                <a:cubicBezTo>
                  <a:pt x="27" y="96"/>
                  <a:pt x="27" y="97"/>
                  <a:pt x="28" y="99"/>
                </a:cubicBezTo>
                <a:cubicBezTo>
                  <a:pt x="28" y="99"/>
                  <a:pt x="28" y="100"/>
                  <a:pt x="29" y="101"/>
                </a:cubicBezTo>
                <a:cubicBezTo>
                  <a:pt x="30" y="104"/>
                  <a:pt x="31" y="107"/>
                  <a:pt x="32" y="109"/>
                </a:cubicBezTo>
                <a:cubicBezTo>
                  <a:pt x="34" y="113"/>
                  <a:pt x="36" y="117"/>
                  <a:pt x="39" y="118"/>
                </a:cubicBezTo>
                <a:cubicBezTo>
                  <a:pt x="40" y="118"/>
                  <a:pt x="40" y="117"/>
                  <a:pt x="41" y="116"/>
                </a:cubicBezTo>
                <a:cubicBezTo>
                  <a:pt x="41" y="117"/>
                  <a:pt x="42" y="118"/>
                  <a:pt x="43" y="118"/>
                </a:cubicBezTo>
                <a:cubicBezTo>
                  <a:pt x="43" y="118"/>
                  <a:pt x="43" y="118"/>
                  <a:pt x="43" y="118"/>
                </a:cubicBezTo>
                <a:cubicBezTo>
                  <a:pt x="43" y="119"/>
                  <a:pt x="43" y="119"/>
                  <a:pt x="43" y="119"/>
                </a:cubicBezTo>
                <a:cubicBezTo>
                  <a:pt x="44" y="118"/>
                  <a:pt x="44" y="118"/>
                  <a:pt x="44" y="118"/>
                </a:cubicBezTo>
                <a:cubicBezTo>
                  <a:pt x="47" y="116"/>
                  <a:pt x="47" y="116"/>
                  <a:pt x="47" y="116"/>
                </a:cubicBezTo>
                <a:cubicBezTo>
                  <a:pt x="47" y="115"/>
                  <a:pt x="47" y="115"/>
                  <a:pt x="47" y="115"/>
                </a:cubicBezTo>
                <a:cubicBezTo>
                  <a:pt x="47" y="115"/>
                  <a:pt x="47" y="114"/>
                  <a:pt x="48" y="114"/>
                </a:cubicBezTo>
                <a:cubicBezTo>
                  <a:pt x="50" y="112"/>
                  <a:pt x="51" y="111"/>
                  <a:pt x="53" y="110"/>
                </a:cubicBezTo>
                <a:cubicBezTo>
                  <a:pt x="53" y="109"/>
                  <a:pt x="54" y="109"/>
                  <a:pt x="54" y="108"/>
                </a:cubicBezTo>
                <a:cubicBezTo>
                  <a:pt x="54" y="108"/>
                  <a:pt x="54" y="108"/>
                  <a:pt x="54" y="108"/>
                </a:cubicBezTo>
                <a:cubicBezTo>
                  <a:pt x="54" y="108"/>
                  <a:pt x="54" y="108"/>
                  <a:pt x="54" y="108"/>
                </a:cubicBezTo>
                <a:cubicBezTo>
                  <a:pt x="54" y="108"/>
                  <a:pt x="54" y="108"/>
                  <a:pt x="54" y="108"/>
                </a:cubicBezTo>
                <a:cubicBezTo>
                  <a:pt x="53" y="107"/>
                  <a:pt x="53" y="107"/>
                  <a:pt x="53" y="107"/>
                </a:cubicBezTo>
                <a:cubicBezTo>
                  <a:pt x="52" y="107"/>
                  <a:pt x="52" y="108"/>
                  <a:pt x="51" y="108"/>
                </a:cubicBezTo>
                <a:cubicBezTo>
                  <a:pt x="50" y="108"/>
                  <a:pt x="49" y="109"/>
                  <a:pt x="48" y="109"/>
                </a:cubicBezTo>
                <a:cubicBezTo>
                  <a:pt x="47" y="109"/>
                  <a:pt x="46" y="110"/>
                  <a:pt x="46" y="109"/>
                </a:cubicBezTo>
                <a:cubicBezTo>
                  <a:pt x="46" y="109"/>
                  <a:pt x="46" y="109"/>
                  <a:pt x="46" y="109"/>
                </a:cubicBezTo>
                <a:cubicBezTo>
                  <a:pt x="46" y="108"/>
                  <a:pt x="46" y="108"/>
                  <a:pt x="46" y="108"/>
                </a:cubicBezTo>
                <a:cubicBezTo>
                  <a:pt x="46" y="108"/>
                  <a:pt x="46" y="108"/>
                  <a:pt x="46" y="108"/>
                </a:cubicBezTo>
                <a:cubicBezTo>
                  <a:pt x="45" y="106"/>
                  <a:pt x="44" y="105"/>
                  <a:pt x="43" y="104"/>
                </a:cubicBezTo>
                <a:cubicBezTo>
                  <a:pt x="41" y="100"/>
                  <a:pt x="41" y="100"/>
                  <a:pt x="41" y="100"/>
                </a:cubicBezTo>
                <a:cubicBezTo>
                  <a:pt x="40" y="99"/>
                  <a:pt x="39" y="97"/>
                  <a:pt x="38" y="96"/>
                </a:cubicBezTo>
                <a:cubicBezTo>
                  <a:pt x="37" y="94"/>
                  <a:pt x="36" y="92"/>
                  <a:pt x="35" y="90"/>
                </a:cubicBezTo>
                <a:cubicBezTo>
                  <a:pt x="34" y="87"/>
                  <a:pt x="35" y="85"/>
                  <a:pt x="34" y="82"/>
                </a:cubicBezTo>
                <a:cubicBezTo>
                  <a:pt x="33" y="80"/>
                  <a:pt x="32" y="78"/>
                  <a:pt x="31" y="76"/>
                </a:cubicBezTo>
                <a:cubicBezTo>
                  <a:pt x="31" y="75"/>
                  <a:pt x="30" y="74"/>
                  <a:pt x="30" y="72"/>
                </a:cubicBezTo>
                <a:cubicBezTo>
                  <a:pt x="29" y="70"/>
                  <a:pt x="28" y="67"/>
                  <a:pt x="26" y="65"/>
                </a:cubicBezTo>
                <a:cubicBezTo>
                  <a:pt x="25" y="62"/>
                  <a:pt x="24" y="60"/>
                  <a:pt x="23" y="59"/>
                </a:cubicBezTo>
                <a:cubicBezTo>
                  <a:pt x="22" y="58"/>
                  <a:pt x="21" y="57"/>
                  <a:pt x="20" y="56"/>
                </a:cubicBezTo>
                <a:cubicBezTo>
                  <a:pt x="20" y="55"/>
                  <a:pt x="20" y="55"/>
                  <a:pt x="20" y="55"/>
                </a:cubicBezTo>
                <a:cubicBezTo>
                  <a:pt x="20" y="55"/>
                  <a:pt x="20" y="54"/>
                  <a:pt x="20" y="54"/>
                </a:cubicBezTo>
                <a:cubicBezTo>
                  <a:pt x="20" y="53"/>
                  <a:pt x="21" y="52"/>
                  <a:pt x="20" y="51"/>
                </a:cubicBezTo>
                <a:cubicBezTo>
                  <a:pt x="20" y="50"/>
                  <a:pt x="20" y="50"/>
                  <a:pt x="20" y="49"/>
                </a:cubicBezTo>
                <a:cubicBezTo>
                  <a:pt x="21" y="47"/>
                  <a:pt x="20" y="44"/>
                  <a:pt x="19" y="42"/>
                </a:cubicBezTo>
                <a:cubicBezTo>
                  <a:pt x="21" y="42"/>
                  <a:pt x="23" y="43"/>
                  <a:pt x="25" y="43"/>
                </a:cubicBezTo>
                <a:cubicBezTo>
                  <a:pt x="27" y="43"/>
                  <a:pt x="29" y="43"/>
                  <a:pt x="30" y="44"/>
                </a:cubicBezTo>
                <a:cubicBezTo>
                  <a:pt x="31" y="44"/>
                  <a:pt x="32" y="44"/>
                  <a:pt x="32" y="44"/>
                </a:cubicBezTo>
                <a:cubicBezTo>
                  <a:pt x="32" y="44"/>
                  <a:pt x="33" y="46"/>
                  <a:pt x="34" y="46"/>
                </a:cubicBezTo>
                <a:cubicBezTo>
                  <a:pt x="35" y="47"/>
                  <a:pt x="35" y="47"/>
                  <a:pt x="35" y="47"/>
                </a:cubicBezTo>
                <a:cubicBezTo>
                  <a:pt x="35" y="48"/>
                  <a:pt x="35" y="48"/>
                  <a:pt x="35" y="48"/>
                </a:cubicBezTo>
                <a:cubicBezTo>
                  <a:pt x="36" y="48"/>
                  <a:pt x="36" y="48"/>
                  <a:pt x="36" y="48"/>
                </a:cubicBezTo>
                <a:cubicBezTo>
                  <a:pt x="36" y="49"/>
                  <a:pt x="37" y="49"/>
                  <a:pt x="37" y="49"/>
                </a:cubicBezTo>
                <a:cubicBezTo>
                  <a:pt x="38" y="49"/>
                  <a:pt x="38" y="49"/>
                  <a:pt x="38" y="49"/>
                </a:cubicBezTo>
                <a:cubicBezTo>
                  <a:pt x="38" y="49"/>
                  <a:pt x="38" y="49"/>
                  <a:pt x="38" y="49"/>
                </a:cubicBezTo>
                <a:cubicBezTo>
                  <a:pt x="38" y="49"/>
                  <a:pt x="38" y="49"/>
                  <a:pt x="38" y="49"/>
                </a:cubicBezTo>
                <a:cubicBezTo>
                  <a:pt x="37" y="49"/>
                  <a:pt x="37" y="49"/>
                  <a:pt x="37" y="49"/>
                </a:cubicBezTo>
                <a:cubicBezTo>
                  <a:pt x="38" y="50"/>
                  <a:pt x="38" y="50"/>
                  <a:pt x="38" y="50"/>
                </a:cubicBezTo>
                <a:cubicBezTo>
                  <a:pt x="37" y="50"/>
                  <a:pt x="37" y="50"/>
                  <a:pt x="37" y="50"/>
                </a:cubicBezTo>
                <a:cubicBezTo>
                  <a:pt x="39" y="52"/>
                  <a:pt x="41" y="54"/>
                  <a:pt x="43" y="57"/>
                </a:cubicBezTo>
                <a:cubicBezTo>
                  <a:pt x="48" y="62"/>
                  <a:pt x="52" y="67"/>
                  <a:pt x="57" y="72"/>
                </a:cubicBezTo>
                <a:cubicBezTo>
                  <a:pt x="57" y="73"/>
                  <a:pt x="58" y="74"/>
                  <a:pt x="59" y="75"/>
                </a:cubicBezTo>
                <a:cubicBezTo>
                  <a:pt x="60" y="76"/>
                  <a:pt x="60" y="76"/>
                  <a:pt x="60" y="76"/>
                </a:cubicBezTo>
                <a:cubicBezTo>
                  <a:pt x="61" y="77"/>
                  <a:pt x="61" y="77"/>
                  <a:pt x="61" y="77"/>
                </a:cubicBezTo>
                <a:cubicBezTo>
                  <a:pt x="61" y="77"/>
                  <a:pt x="61" y="77"/>
                  <a:pt x="61" y="77"/>
                </a:cubicBezTo>
                <a:cubicBezTo>
                  <a:pt x="62" y="78"/>
                  <a:pt x="62" y="78"/>
                  <a:pt x="63" y="79"/>
                </a:cubicBezTo>
                <a:cubicBezTo>
                  <a:pt x="61" y="80"/>
                  <a:pt x="59" y="83"/>
                  <a:pt x="58" y="84"/>
                </a:cubicBezTo>
                <a:cubicBezTo>
                  <a:pt x="58" y="86"/>
                  <a:pt x="57" y="88"/>
                  <a:pt x="56" y="89"/>
                </a:cubicBezTo>
                <a:cubicBezTo>
                  <a:pt x="56" y="91"/>
                  <a:pt x="56" y="91"/>
                  <a:pt x="56" y="91"/>
                </a:cubicBezTo>
                <a:cubicBezTo>
                  <a:pt x="55" y="91"/>
                  <a:pt x="55" y="92"/>
                  <a:pt x="55" y="92"/>
                </a:cubicBezTo>
                <a:cubicBezTo>
                  <a:pt x="55" y="93"/>
                  <a:pt x="55" y="93"/>
                  <a:pt x="55" y="93"/>
                </a:cubicBezTo>
                <a:cubicBezTo>
                  <a:pt x="55" y="94"/>
                  <a:pt x="55" y="95"/>
                  <a:pt x="55" y="95"/>
                </a:cubicBezTo>
                <a:cubicBezTo>
                  <a:pt x="55" y="96"/>
                  <a:pt x="56" y="98"/>
                  <a:pt x="56" y="99"/>
                </a:cubicBezTo>
                <a:cubicBezTo>
                  <a:pt x="56" y="101"/>
                  <a:pt x="57" y="103"/>
                  <a:pt x="57" y="105"/>
                </a:cubicBezTo>
                <a:cubicBezTo>
                  <a:pt x="58" y="105"/>
                  <a:pt x="58" y="105"/>
                  <a:pt x="58" y="105"/>
                </a:cubicBezTo>
                <a:cubicBezTo>
                  <a:pt x="58" y="105"/>
                  <a:pt x="58" y="105"/>
                  <a:pt x="58" y="105"/>
                </a:cubicBezTo>
                <a:cubicBezTo>
                  <a:pt x="57" y="105"/>
                  <a:pt x="57" y="105"/>
                  <a:pt x="57" y="105"/>
                </a:cubicBezTo>
                <a:cubicBezTo>
                  <a:pt x="57" y="106"/>
                  <a:pt x="57" y="106"/>
                  <a:pt x="57" y="106"/>
                </a:cubicBezTo>
                <a:cubicBezTo>
                  <a:pt x="57" y="106"/>
                  <a:pt x="56" y="106"/>
                  <a:pt x="55" y="106"/>
                </a:cubicBezTo>
                <a:cubicBezTo>
                  <a:pt x="55" y="107"/>
                  <a:pt x="56" y="107"/>
                  <a:pt x="56" y="108"/>
                </a:cubicBezTo>
                <a:cubicBezTo>
                  <a:pt x="53" y="109"/>
                  <a:pt x="53" y="113"/>
                  <a:pt x="55" y="115"/>
                </a:cubicBezTo>
                <a:cubicBezTo>
                  <a:pt x="56" y="116"/>
                  <a:pt x="57" y="116"/>
                  <a:pt x="59" y="116"/>
                </a:cubicBezTo>
                <a:cubicBezTo>
                  <a:pt x="60" y="116"/>
                  <a:pt x="60" y="116"/>
                  <a:pt x="61" y="115"/>
                </a:cubicBezTo>
                <a:cubicBezTo>
                  <a:pt x="62" y="115"/>
                  <a:pt x="62" y="113"/>
                  <a:pt x="62" y="112"/>
                </a:cubicBezTo>
                <a:cubicBezTo>
                  <a:pt x="63" y="110"/>
                  <a:pt x="61" y="108"/>
                  <a:pt x="60" y="108"/>
                </a:cubicBezTo>
                <a:cubicBezTo>
                  <a:pt x="60" y="107"/>
                  <a:pt x="60" y="107"/>
                  <a:pt x="61" y="106"/>
                </a:cubicBezTo>
                <a:cubicBezTo>
                  <a:pt x="60" y="106"/>
                  <a:pt x="60" y="105"/>
                  <a:pt x="60" y="105"/>
                </a:cubicBezTo>
                <a:cubicBezTo>
                  <a:pt x="60" y="105"/>
                  <a:pt x="60" y="105"/>
                  <a:pt x="60" y="105"/>
                </a:cubicBezTo>
                <a:cubicBezTo>
                  <a:pt x="60" y="105"/>
                  <a:pt x="60" y="105"/>
                  <a:pt x="60" y="105"/>
                </a:cubicBezTo>
                <a:cubicBezTo>
                  <a:pt x="59" y="105"/>
                  <a:pt x="59" y="105"/>
                  <a:pt x="59" y="105"/>
                </a:cubicBezTo>
                <a:cubicBezTo>
                  <a:pt x="60" y="104"/>
                  <a:pt x="60" y="104"/>
                  <a:pt x="60" y="104"/>
                </a:cubicBezTo>
                <a:cubicBezTo>
                  <a:pt x="60" y="104"/>
                  <a:pt x="60" y="104"/>
                  <a:pt x="60" y="104"/>
                </a:cubicBezTo>
                <a:cubicBezTo>
                  <a:pt x="76" y="100"/>
                  <a:pt x="92" y="96"/>
                  <a:pt x="108" y="92"/>
                </a:cubicBezTo>
                <a:cubicBezTo>
                  <a:pt x="108" y="93"/>
                  <a:pt x="108" y="93"/>
                  <a:pt x="108" y="93"/>
                </a:cubicBezTo>
                <a:cubicBezTo>
                  <a:pt x="109" y="93"/>
                  <a:pt x="109" y="93"/>
                  <a:pt x="109" y="93"/>
                </a:cubicBezTo>
                <a:cubicBezTo>
                  <a:pt x="109" y="93"/>
                  <a:pt x="109" y="93"/>
                  <a:pt x="109" y="93"/>
                </a:cubicBezTo>
                <a:cubicBezTo>
                  <a:pt x="108" y="94"/>
                  <a:pt x="107" y="94"/>
                  <a:pt x="107" y="94"/>
                </a:cubicBezTo>
                <a:cubicBezTo>
                  <a:pt x="107" y="95"/>
                  <a:pt x="107" y="95"/>
                  <a:pt x="107" y="96"/>
                </a:cubicBezTo>
                <a:cubicBezTo>
                  <a:pt x="103" y="98"/>
                  <a:pt x="105" y="104"/>
                  <a:pt x="109" y="104"/>
                </a:cubicBezTo>
                <a:cubicBezTo>
                  <a:pt x="115" y="104"/>
                  <a:pt x="115" y="97"/>
                  <a:pt x="111" y="96"/>
                </a:cubicBezTo>
                <a:cubicBezTo>
                  <a:pt x="111" y="96"/>
                  <a:pt x="111" y="96"/>
                  <a:pt x="111" y="96"/>
                </a:cubicBezTo>
                <a:cubicBezTo>
                  <a:pt x="111" y="95"/>
                  <a:pt x="111" y="95"/>
                  <a:pt x="112" y="94"/>
                </a:cubicBezTo>
                <a:cubicBezTo>
                  <a:pt x="112" y="94"/>
                  <a:pt x="112" y="93"/>
                  <a:pt x="112" y="93"/>
                </a:cubicBezTo>
                <a:cubicBezTo>
                  <a:pt x="111" y="93"/>
                  <a:pt x="111" y="93"/>
                  <a:pt x="111" y="93"/>
                </a:cubicBezTo>
                <a:cubicBezTo>
                  <a:pt x="111" y="92"/>
                  <a:pt x="111" y="92"/>
                  <a:pt x="111" y="92"/>
                </a:cubicBezTo>
                <a:cubicBezTo>
                  <a:pt x="112" y="92"/>
                  <a:pt x="112" y="92"/>
                  <a:pt x="112" y="92"/>
                </a:cubicBezTo>
                <a:cubicBezTo>
                  <a:pt x="111" y="92"/>
                  <a:pt x="111" y="92"/>
                  <a:pt x="111" y="92"/>
                </a:cubicBezTo>
                <a:cubicBezTo>
                  <a:pt x="112" y="92"/>
                  <a:pt x="113" y="91"/>
                  <a:pt x="113" y="91"/>
                </a:cubicBezTo>
                <a:cubicBezTo>
                  <a:pt x="114" y="90"/>
                  <a:pt x="113" y="89"/>
                  <a:pt x="113" y="89"/>
                </a:cubicBezTo>
                <a:cubicBezTo>
                  <a:pt x="112" y="89"/>
                  <a:pt x="110" y="90"/>
                  <a:pt x="109" y="90"/>
                </a:cubicBezTo>
                <a:cubicBezTo>
                  <a:pt x="107" y="90"/>
                  <a:pt x="105" y="91"/>
                  <a:pt x="102" y="92"/>
                </a:cubicBezTo>
                <a:cubicBezTo>
                  <a:pt x="94" y="93"/>
                  <a:pt x="86" y="95"/>
                  <a:pt x="77" y="97"/>
                </a:cubicBezTo>
                <a:cubicBezTo>
                  <a:pt x="77" y="96"/>
                  <a:pt x="77" y="95"/>
                  <a:pt x="76" y="93"/>
                </a:cubicBezTo>
                <a:cubicBezTo>
                  <a:pt x="76" y="92"/>
                  <a:pt x="76" y="91"/>
                  <a:pt x="76" y="90"/>
                </a:cubicBezTo>
                <a:cubicBezTo>
                  <a:pt x="76" y="90"/>
                  <a:pt x="76" y="89"/>
                  <a:pt x="76" y="89"/>
                </a:cubicBezTo>
                <a:cubicBezTo>
                  <a:pt x="76" y="86"/>
                  <a:pt x="76" y="83"/>
                  <a:pt x="77" y="80"/>
                </a:cubicBezTo>
                <a:cubicBezTo>
                  <a:pt x="77" y="79"/>
                  <a:pt x="77" y="78"/>
                  <a:pt x="77" y="77"/>
                </a:cubicBezTo>
                <a:cubicBezTo>
                  <a:pt x="78" y="77"/>
                  <a:pt x="80" y="76"/>
                  <a:pt x="81" y="76"/>
                </a:cubicBezTo>
                <a:cubicBezTo>
                  <a:pt x="82" y="76"/>
                  <a:pt x="83" y="76"/>
                  <a:pt x="84" y="75"/>
                </a:cubicBezTo>
                <a:cubicBezTo>
                  <a:pt x="85" y="75"/>
                  <a:pt x="86" y="75"/>
                  <a:pt x="87" y="74"/>
                </a:cubicBezTo>
                <a:cubicBezTo>
                  <a:pt x="88" y="74"/>
                  <a:pt x="87" y="72"/>
                  <a:pt x="86" y="72"/>
                </a:cubicBezTo>
                <a:cubicBezTo>
                  <a:pt x="91" y="71"/>
                  <a:pt x="96" y="70"/>
                  <a:pt x="101" y="69"/>
                </a:cubicBezTo>
                <a:cubicBezTo>
                  <a:pt x="103" y="69"/>
                  <a:pt x="106" y="69"/>
                  <a:pt x="107" y="67"/>
                </a:cubicBezTo>
                <a:cubicBezTo>
                  <a:pt x="108" y="66"/>
                  <a:pt x="107" y="63"/>
                  <a:pt x="107" y="61"/>
                </a:cubicBezTo>
                <a:cubicBezTo>
                  <a:pt x="107" y="55"/>
                  <a:pt x="106" y="49"/>
                  <a:pt x="106" y="43"/>
                </a:cubicBezTo>
                <a:cubicBezTo>
                  <a:pt x="105" y="43"/>
                  <a:pt x="106" y="43"/>
                  <a:pt x="105" y="43"/>
                </a:cubicBezTo>
                <a:cubicBezTo>
                  <a:pt x="104" y="43"/>
                  <a:pt x="103" y="43"/>
                  <a:pt x="101" y="43"/>
                </a:cubicBezTo>
                <a:cubicBezTo>
                  <a:pt x="98" y="44"/>
                  <a:pt x="94" y="44"/>
                  <a:pt x="90" y="44"/>
                </a:cubicBezTo>
                <a:cubicBezTo>
                  <a:pt x="81" y="45"/>
                  <a:pt x="72" y="46"/>
                  <a:pt x="63" y="47"/>
                </a:cubicBezTo>
                <a:cubicBezTo>
                  <a:pt x="59" y="47"/>
                  <a:pt x="55" y="48"/>
                  <a:pt x="51" y="48"/>
                </a:cubicBezTo>
                <a:cubicBezTo>
                  <a:pt x="51" y="48"/>
                  <a:pt x="48" y="48"/>
                  <a:pt x="47" y="48"/>
                </a:cubicBezTo>
                <a:cubicBezTo>
                  <a:pt x="46" y="48"/>
                  <a:pt x="46" y="47"/>
                  <a:pt x="45" y="47"/>
                </a:cubicBezTo>
                <a:cubicBezTo>
                  <a:pt x="44" y="46"/>
                  <a:pt x="42" y="46"/>
                  <a:pt x="41" y="46"/>
                </a:cubicBezTo>
                <a:cubicBezTo>
                  <a:pt x="41" y="45"/>
                  <a:pt x="42" y="44"/>
                  <a:pt x="41" y="44"/>
                </a:cubicBezTo>
                <a:cubicBezTo>
                  <a:pt x="41" y="43"/>
                  <a:pt x="40" y="43"/>
                  <a:pt x="39" y="43"/>
                </a:cubicBezTo>
                <a:cubicBezTo>
                  <a:pt x="38" y="42"/>
                  <a:pt x="37" y="41"/>
                  <a:pt x="35" y="41"/>
                </a:cubicBezTo>
                <a:cubicBezTo>
                  <a:pt x="35" y="41"/>
                  <a:pt x="35" y="40"/>
                  <a:pt x="34" y="40"/>
                </a:cubicBezTo>
                <a:cubicBezTo>
                  <a:pt x="33" y="40"/>
                  <a:pt x="33" y="40"/>
                  <a:pt x="33" y="40"/>
                </a:cubicBezTo>
                <a:cubicBezTo>
                  <a:pt x="31" y="39"/>
                  <a:pt x="30" y="38"/>
                  <a:pt x="28" y="37"/>
                </a:cubicBezTo>
                <a:cubicBezTo>
                  <a:pt x="26" y="36"/>
                  <a:pt x="25" y="36"/>
                  <a:pt x="23" y="35"/>
                </a:cubicBezTo>
                <a:cubicBezTo>
                  <a:pt x="23" y="34"/>
                  <a:pt x="22" y="34"/>
                  <a:pt x="21" y="34"/>
                </a:cubicBezTo>
                <a:cubicBezTo>
                  <a:pt x="21" y="34"/>
                  <a:pt x="20" y="34"/>
                  <a:pt x="20" y="34"/>
                </a:cubicBezTo>
                <a:cubicBezTo>
                  <a:pt x="20" y="32"/>
                  <a:pt x="20" y="30"/>
                  <a:pt x="18" y="29"/>
                </a:cubicBezTo>
                <a:cubicBezTo>
                  <a:pt x="17" y="27"/>
                  <a:pt x="15" y="26"/>
                  <a:pt x="14" y="24"/>
                </a:cubicBezTo>
                <a:cubicBezTo>
                  <a:pt x="13" y="22"/>
                  <a:pt x="13" y="22"/>
                  <a:pt x="13" y="22"/>
                </a:cubicBezTo>
                <a:cubicBezTo>
                  <a:pt x="13" y="21"/>
                  <a:pt x="12" y="21"/>
                  <a:pt x="12" y="21"/>
                </a:cubicBezTo>
                <a:cubicBezTo>
                  <a:pt x="11" y="20"/>
                  <a:pt x="12" y="17"/>
                  <a:pt x="12" y="17"/>
                </a:cubicBezTo>
                <a:cubicBezTo>
                  <a:pt x="13" y="17"/>
                  <a:pt x="13" y="17"/>
                  <a:pt x="13" y="17"/>
                </a:cubicBezTo>
                <a:cubicBezTo>
                  <a:pt x="13" y="16"/>
                  <a:pt x="13" y="16"/>
                  <a:pt x="13" y="16"/>
                </a:cubicBezTo>
                <a:cubicBezTo>
                  <a:pt x="13" y="16"/>
                  <a:pt x="13" y="16"/>
                  <a:pt x="13" y="16"/>
                </a:cubicBezTo>
                <a:cubicBezTo>
                  <a:pt x="13" y="17"/>
                  <a:pt x="13" y="17"/>
                  <a:pt x="13" y="17"/>
                </a:cubicBezTo>
                <a:cubicBezTo>
                  <a:pt x="13" y="17"/>
                  <a:pt x="13" y="17"/>
                  <a:pt x="13" y="17"/>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4" y="16"/>
                  <a:pt x="14" y="16"/>
                  <a:pt x="14" y="16"/>
                </a:cubicBezTo>
                <a:cubicBezTo>
                  <a:pt x="14" y="16"/>
                  <a:pt x="14" y="16"/>
                  <a:pt x="14" y="16"/>
                </a:cubicBezTo>
                <a:cubicBezTo>
                  <a:pt x="14" y="16"/>
                  <a:pt x="14" y="16"/>
                  <a:pt x="14" y="16"/>
                </a:cubicBezTo>
                <a:cubicBezTo>
                  <a:pt x="13" y="16"/>
                  <a:pt x="13" y="16"/>
                  <a:pt x="13" y="16"/>
                </a:cubicBezTo>
                <a:cubicBezTo>
                  <a:pt x="13" y="16"/>
                  <a:pt x="13" y="16"/>
                  <a:pt x="13" y="16"/>
                </a:cubicBezTo>
                <a:cubicBezTo>
                  <a:pt x="14" y="16"/>
                  <a:pt x="14" y="16"/>
                  <a:pt x="14" y="16"/>
                </a:cubicBezTo>
                <a:cubicBezTo>
                  <a:pt x="14" y="16"/>
                  <a:pt x="14" y="16"/>
                  <a:pt x="14" y="16"/>
                </a:cubicBezTo>
                <a:cubicBezTo>
                  <a:pt x="14" y="16"/>
                  <a:pt x="14" y="16"/>
                  <a:pt x="14" y="16"/>
                </a:cubicBezTo>
                <a:cubicBezTo>
                  <a:pt x="14" y="16"/>
                  <a:pt x="14" y="16"/>
                  <a:pt x="14" y="16"/>
                </a:cubicBezTo>
                <a:cubicBezTo>
                  <a:pt x="14" y="16"/>
                  <a:pt x="14" y="16"/>
                  <a:pt x="14" y="16"/>
                </a:cubicBezTo>
                <a:cubicBezTo>
                  <a:pt x="14" y="15"/>
                  <a:pt x="14" y="15"/>
                  <a:pt x="14" y="15"/>
                </a:cubicBezTo>
                <a:cubicBezTo>
                  <a:pt x="14" y="16"/>
                  <a:pt x="14" y="16"/>
                  <a:pt x="14" y="16"/>
                </a:cubicBezTo>
                <a:cubicBezTo>
                  <a:pt x="14" y="16"/>
                  <a:pt x="14" y="16"/>
                  <a:pt x="14" y="16"/>
                </a:cubicBezTo>
                <a:cubicBezTo>
                  <a:pt x="14" y="15"/>
                  <a:pt x="14" y="15"/>
                  <a:pt x="14" y="15"/>
                </a:cubicBezTo>
                <a:cubicBezTo>
                  <a:pt x="14" y="16"/>
                  <a:pt x="14" y="16"/>
                  <a:pt x="14" y="16"/>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4" y="15"/>
                  <a:pt x="14" y="15"/>
                  <a:pt x="14" y="15"/>
                </a:cubicBezTo>
                <a:cubicBezTo>
                  <a:pt x="15" y="15"/>
                  <a:pt x="15" y="15"/>
                  <a:pt x="15" y="15"/>
                </a:cubicBezTo>
                <a:cubicBezTo>
                  <a:pt x="14" y="15"/>
                  <a:pt x="14" y="15"/>
                  <a:pt x="14" y="15"/>
                </a:cubicBezTo>
                <a:cubicBezTo>
                  <a:pt x="15" y="15"/>
                  <a:pt x="15" y="15"/>
                  <a:pt x="15" y="15"/>
                </a:cubicBezTo>
                <a:cubicBezTo>
                  <a:pt x="14" y="15"/>
                  <a:pt x="14" y="15"/>
                  <a:pt x="14" y="15"/>
                </a:cubicBezTo>
                <a:cubicBezTo>
                  <a:pt x="15" y="15"/>
                  <a:pt x="15" y="15"/>
                  <a:pt x="15" y="15"/>
                </a:cubicBezTo>
                <a:cubicBezTo>
                  <a:pt x="16" y="14"/>
                  <a:pt x="16" y="14"/>
                  <a:pt x="16" y="14"/>
                </a:cubicBezTo>
                <a:cubicBezTo>
                  <a:pt x="16" y="14"/>
                  <a:pt x="15" y="13"/>
                  <a:pt x="15" y="13"/>
                </a:cubicBezTo>
                <a:cubicBezTo>
                  <a:pt x="16" y="12"/>
                  <a:pt x="16" y="12"/>
                  <a:pt x="16" y="12"/>
                </a:cubicBezTo>
                <a:cubicBezTo>
                  <a:pt x="15" y="12"/>
                  <a:pt x="15" y="12"/>
                  <a:pt x="15" y="12"/>
                </a:cubicBezTo>
                <a:cubicBezTo>
                  <a:pt x="15" y="12"/>
                  <a:pt x="15" y="12"/>
                  <a:pt x="15" y="12"/>
                </a:cubicBezTo>
                <a:cubicBezTo>
                  <a:pt x="16" y="11"/>
                  <a:pt x="16" y="11"/>
                  <a:pt x="15" y="10"/>
                </a:cubicBezTo>
                <a:cubicBezTo>
                  <a:pt x="16" y="10"/>
                  <a:pt x="16" y="10"/>
                  <a:pt x="16" y="10"/>
                </a:cubicBezTo>
                <a:cubicBezTo>
                  <a:pt x="16" y="10"/>
                  <a:pt x="16" y="10"/>
                  <a:pt x="16" y="10"/>
                </a:cubicBezTo>
                <a:cubicBezTo>
                  <a:pt x="16" y="9"/>
                  <a:pt x="15" y="8"/>
                  <a:pt x="15" y="8"/>
                </a:cubicBezTo>
                <a:cubicBezTo>
                  <a:pt x="15" y="8"/>
                  <a:pt x="15" y="8"/>
                  <a:pt x="15" y="8"/>
                </a:cubicBezTo>
                <a:cubicBezTo>
                  <a:pt x="15" y="8"/>
                  <a:pt x="15" y="8"/>
                  <a:pt x="15" y="8"/>
                </a:cubicBezTo>
                <a:cubicBezTo>
                  <a:pt x="15" y="8"/>
                  <a:pt x="15" y="8"/>
                  <a:pt x="15" y="8"/>
                </a:cubicBezTo>
                <a:cubicBezTo>
                  <a:pt x="15" y="7"/>
                  <a:pt x="15" y="7"/>
                  <a:pt x="15" y="7"/>
                </a:cubicBezTo>
                <a:cubicBezTo>
                  <a:pt x="15" y="8"/>
                  <a:pt x="15" y="8"/>
                  <a:pt x="15" y="8"/>
                </a:cubicBezTo>
                <a:cubicBezTo>
                  <a:pt x="15" y="7"/>
                  <a:pt x="15" y="6"/>
                  <a:pt x="15" y="6"/>
                </a:cubicBezTo>
                <a:cubicBezTo>
                  <a:pt x="15" y="6"/>
                  <a:pt x="15" y="6"/>
                  <a:pt x="15" y="6"/>
                </a:cubicBezTo>
                <a:cubicBezTo>
                  <a:pt x="15" y="6"/>
                  <a:pt x="15" y="6"/>
                  <a:pt x="15" y="6"/>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7"/>
                  <a:pt x="15" y="7"/>
                  <a:pt x="15" y="7"/>
                </a:cubicBezTo>
                <a:cubicBezTo>
                  <a:pt x="15" y="8"/>
                  <a:pt x="15" y="8"/>
                  <a:pt x="15" y="8"/>
                </a:cubicBezTo>
                <a:cubicBezTo>
                  <a:pt x="15" y="8"/>
                  <a:pt x="15" y="8"/>
                  <a:pt x="15" y="8"/>
                </a:cubicBezTo>
                <a:cubicBezTo>
                  <a:pt x="15" y="8"/>
                  <a:pt x="15" y="8"/>
                  <a:pt x="15" y="8"/>
                </a:cubicBezTo>
                <a:cubicBezTo>
                  <a:pt x="15" y="8"/>
                  <a:pt x="15" y="8"/>
                  <a:pt x="15" y="8"/>
                </a:cubicBezTo>
                <a:cubicBezTo>
                  <a:pt x="16" y="7"/>
                  <a:pt x="15" y="6"/>
                  <a:pt x="15" y="6"/>
                </a:cubicBezTo>
                <a:cubicBezTo>
                  <a:pt x="15" y="6"/>
                  <a:pt x="15" y="6"/>
                  <a:pt x="15" y="6"/>
                </a:cubicBezTo>
                <a:cubicBezTo>
                  <a:pt x="15" y="6"/>
                  <a:pt x="15" y="6"/>
                  <a:pt x="15" y="6"/>
                </a:cubicBezTo>
                <a:cubicBezTo>
                  <a:pt x="15" y="6"/>
                  <a:pt x="15" y="6"/>
                  <a:pt x="15" y="5"/>
                </a:cubicBezTo>
                <a:cubicBezTo>
                  <a:pt x="15" y="5"/>
                  <a:pt x="15" y="5"/>
                  <a:pt x="15" y="5"/>
                </a:cubicBezTo>
                <a:cubicBezTo>
                  <a:pt x="15" y="5"/>
                  <a:pt x="15" y="4"/>
                  <a:pt x="15" y="4"/>
                </a:cubicBezTo>
                <a:cubicBezTo>
                  <a:pt x="15" y="2"/>
                  <a:pt x="13" y="1"/>
                  <a:pt x="11" y="1"/>
                </a:cubicBezTo>
                <a:cubicBezTo>
                  <a:pt x="10" y="1"/>
                  <a:pt x="10" y="1"/>
                  <a:pt x="9" y="1"/>
                </a:cubicBezTo>
                <a:cubicBezTo>
                  <a:pt x="8" y="1"/>
                  <a:pt x="8" y="1"/>
                  <a:pt x="8" y="1"/>
                </a:cubicBezTo>
                <a:cubicBezTo>
                  <a:pt x="8" y="1"/>
                  <a:pt x="7" y="1"/>
                  <a:pt x="7" y="1"/>
                </a:cubicBezTo>
                <a:cubicBezTo>
                  <a:pt x="7" y="0"/>
                  <a:pt x="7" y="0"/>
                  <a:pt x="7" y="0"/>
                </a:cubicBezTo>
                <a:cubicBezTo>
                  <a:pt x="7" y="1"/>
                  <a:pt x="7" y="1"/>
                  <a:pt x="7" y="1"/>
                </a:cubicBezTo>
              </a:path>
            </a:pathLst>
          </a:custGeom>
          <a:gradFill flip="none" rotWithShape="1">
            <a:gsLst>
              <a:gs pos="0">
                <a:schemeClr val="bg1"/>
              </a:gs>
              <a:gs pos="100000">
                <a:srgbClr val="00447C"/>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5" name="Freeform 4716"/>
          <p:cNvSpPr>
            <a:spLocks/>
          </p:cNvSpPr>
          <p:nvPr/>
        </p:nvSpPr>
        <p:spPr bwMode="auto">
          <a:xfrm>
            <a:off x="6173367" y="2675053"/>
            <a:ext cx="57503" cy="22116"/>
          </a:xfrm>
          <a:custGeom>
            <a:avLst/>
            <a:gdLst>
              <a:gd name="T0" fmla="*/ 1 w 21"/>
              <a:gd name="T1" fmla="*/ 6 h 8"/>
              <a:gd name="T2" fmla="*/ 5 w 21"/>
              <a:gd name="T3" fmla="*/ 8 h 8"/>
              <a:gd name="T4" fmla="*/ 19 w 21"/>
              <a:gd name="T5" fmla="*/ 5 h 8"/>
              <a:gd name="T6" fmla="*/ 20 w 21"/>
              <a:gd name="T7" fmla="*/ 5 h 8"/>
              <a:gd name="T8" fmla="*/ 21 w 21"/>
              <a:gd name="T9" fmla="*/ 4 h 8"/>
              <a:gd name="T10" fmla="*/ 20 w 21"/>
              <a:gd name="T11" fmla="*/ 3 h 8"/>
              <a:gd name="T12" fmla="*/ 13 w 21"/>
              <a:gd name="T13" fmla="*/ 5 h 8"/>
              <a:gd name="T14" fmla="*/ 4 w 21"/>
              <a:gd name="T15" fmla="*/ 7 h 8"/>
              <a:gd name="T16" fmla="*/ 2 w 21"/>
              <a:gd name="T17" fmla="*/ 5 h 8"/>
              <a:gd name="T18" fmla="*/ 3 w 21"/>
              <a:gd name="T19" fmla="*/ 5 h 8"/>
              <a:gd name="T20" fmla="*/ 12 w 21"/>
              <a:gd name="T21" fmla="*/ 3 h 8"/>
              <a:gd name="T22" fmla="*/ 19 w 21"/>
              <a:gd name="T23" fmla="*/ 1 h 8"/>
              <a:gd name="T24" fmla="*/ 20 w 21"/>
              <a:gd name="T25" fmla="*/ 1 h 8"/>
              <a:gd name="T26" fmla="*/ 19 w 21"/>
              <a:gd name="T27" fmla="*/ 0 h 8"/>
              <a:gd name="T28" fmla="*/ 2 w 21"/>
              <a:gd name="T29" fmla="*/ 4 h 8"/>
              <a:gd name="T30" fmla="*/ 1 w 21"/>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8">
                <a:moveTo>
                  <a:pt x="1" y="6"/>
                </a:moveTo>
                <a:cubicBezTo>
                  <a:pt x="3" y="8"/>
                  <a:pt x="3" y="8"/>
                  <a:pt x="5" y="8"/>
                </a:cubicBezTo>
                <a:cubicBezTo>
                  <a:pt x="10" y="6"/>
                  <a:pt x="14" y="6"/>
                  <a:pt x="19" y="5"/>
                </a:cubicBezTo>
                <a:cubicBezTo>
                  <a:pt x="19" y="5"/>
                  <a:pt x="20" y="5"/>
                  <a:pt x="20" y="5"/>
                </a:cubicBezTo>
                <a:cubicBezTo>
                  <a:pt x="20" y="5"/>
                  <a:pt x="21" y="4"/>
                  <a:pt x="21" y="4"/>
                </a:cubicBezTo>
                <a:cubicBezTo>
                  <a:pt x="21" y="3"/>
                  <a:pt x="20" y="3"/>
                  <a:pt x="20" y="3"/>
                </a:cubicBezTo>
                <a:cubicBezTo>
                  <a:pt x="17" y="4"/>
                  <a:pt x="15" y="4"/>
                  <a:pt x="13" y="5"/>
                </a:cubicBezTo>
                <a:cubicBezTo>
                  <a:pt x="10" y="5"/>
                  <a:pt x="7" y="6"/>
                  <a:pt x="4" y="7"/>
                </a:cubicBezTo>
                <a:cubicBezTo>
                  <a:pt x="3" y="7"/>
                  <a:pt x="2" y="6"/>
                  <a:pt x="2" y="5"/>
                </a:cubicBezTo>
                <a:cubicBezTo>
                  <a:pt x="2" y="5"/>
                  <a:pt x="3" y="5"/>
                  <a:pt x="3" y="5"/>
                </a:cubicBezTo>
                <a:cubicBezTo>
                  <a:pt x="6" y="4"/>
                  <a:pt x="9" y="3"/>
                  <a:pt x="12" y="3"/>
                </a:cubicBezTo>
                <a:cubicBezTo>
                  <a:pt x="14" y="2"/>
                  <a:pt x="17" y="2"/>
                  <a:pt x="19" y="1"/>
                </a:cubicBezTo>
                <a:cubicBezTo>
                  <a:pt x="20" y="1"/>
                  <a:pt x="20" y="1"/>
                  <a:pt x="20" y="1"/>
                </a:cubicBezTo>
                <a:cubicBezTo>
                  <a:pt x="20" y="0"/>
                  <a:pt x="19" y="0"/>
                  <a:pt x="19" y="0"/>
                </a:cubicBezTo>
                <a:cubicBezTo>
                  <a:pt x="13" y="1"/>
                  <a:pt x="8" y="2"/>
                  <a:pt x="2" y="4"/>
                </a:cubicBezTo>
                <a:cubicBezTo>
                  <a:pt x="0" y="4"/>
                  <a:pt x="0" y="4"/>
                  <a:pt x="1"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2" name="Freeform 4753"/>
          <p:cNvSpPr>
            <a:spLocks noEditPoints="1"/>
          </p:cNvSpPr>
          <p:nvPr/>
        </p:nvSpPr>
        <p:spPr bwMode="auto">
          <a:xfrm>
            <a:off x="4980544" y="1707820"/>
            <a:ext cx="343545" cy="255079"/>
          </a:xfrm>
          <a:custGeom>
            <a:avLst/>
            <a:gdLst>
              <a:gd name="T0" fmla="*/ 114 w 126"/>
              <a:gd name="T1" fmla="*/ 12 h 93"/>
              <a:gd name="T2" fmla="*/ 109 w 126"/>
              <a:gd name="T3" fmla="*/ 7 h 93"/>
              <a:gd name="T4" fmla="*/ 105 w 126"/>
              <a:gd name="T5" fmla="*/ 3 h 93"/>
              <a:gd name="T6" fmla="*/ 96 w 126"/>
              <a:gd name="T7" fmla="*/ 8 h 93"/>
              <a:gd name="T8" fmla="*/ 89 w 126"/>
              <a:gd name="T9" fmla="*/ 7 h 93"/>
              <a:gd name="T10" fmla="*/ 73 w 126"/>
              <a:gd name="T11" fmla="*/ 10 h 93"/>
              <a:gd name="T12" fmla="*/ 29 w 126"/>
              <a:gd name="T13" fmla="*/ 3 h 93"/>
              <a:gd name="T14" fmla="*/ 11 w 126"/>
              <a:gd name="T15" fmla="*/ 8 h 93"/>
              <a:gd name="T16" fmla="*/ 10 w 126"/>
              <a:gd name="T17" fmla="*/ 26 h 93"/>
              <a:gd name="T18" fmla="*/ 6 w 126"/>
              <a:gd name="T19" fmla="*/ 50 h 93"/>
              <a:gd name="T20" fmla="*/ 1 w 126"/>
              <a:gd name="T21" fmla="*/ 73 h 93"/>
              <a:gd name="T22" fmla="*/ 2 w 126"/>
              <a:gd name="T23" fmla="*/ 78 h 93"/>
              <a:gd name="T24" fmla="*/ 15 w 126"/>
              <a:gd name="T25" fmla="*/ 49 h 93"/>
              <a:gd name="T26" fmla="*/ 20 w 126"/>
              <a:gd name="T27" fmla="*/ 74 h 93"/>
              <a:gd name="T28" fmla="*/ 27 w 126"/>
              <a:gd name="T29" fmla="*/ 79 h 93"/>
              <a:gd name="T30" fmla="*/ 28 w 126"/>
              <a:gd name="T31" fmla="*/ 53 h 93"/>
              <a:gd name="T32" fmla="*/ 28 w 126"/>
              <a:gd name="T33" fmla="*/ 55 h 93"/>
              <a:gd name="T34" fmla="*/ 31 w 126"/>
              <a:gd name="T35" fmla="*/ 55 h 93"/>
              <a:gd name="T36" fmla="*/ 31 w 126"/>
              <a:gd name="T37" fmla="*/ 56 h 93"/>
              <a:gd name="T38" fmla="*/ 34 w 126"/>
              <a:gd name="T39" fmla="*/ 55 h 93"/>
              <a:gd name="T40" fmla="*/ 35 w 126"/>
              <a:gd name="T41" fmla="*/ 57 h 93"/>
              <a:gd name="T42" fmla="*/ 37 w 126"/>
              <a:gd name="T43" fmla="*/ 55 h 93"/>
              <a:gd name="T44" fmla="*/ 38 w 126"/>
              <a:gd name="T45" fmla="*/ 56 h 93"/>
              <a:gd name="T46" fmla="*/ 43 w 126"/>
              <a:gd name="T47" fmla="*/ 47 h 93"/>
              <a:gd name="T48" fmla="*/ 64 w 126"/>
              <a:gd name="T49" fmla="*/ 64 h 93"/>
              <a:gd name="T50" fmla="*/ 61 w 126"/>
              <a:gd name="T51" fmla="*/ 82 h 93"/>
              <a:gd name="T52" fmla="*/ 67 w 126"/>
              <a:gd name="T53" fmla="*/ 86 h 93"/>
              <a:gd name="T54" fmla="*/ 65 w 126"/>
              <a:gd name="T55" fmla="*/ 80 h 93"/>
              <a:gd name="T56" fmla="*/ 70 w 126"/>
              <a:gd name="T57" fmla="*/ 67 h 93"/>
              <a:gd name="T58" fmla="*/ 74 w 126"/>
              <a:gd name="T59" fmla="*/ 59 h 93"/>
              <a:gd name="T60" fmla="*/ 75 w 126"/>
              <a:gd name="T61" fmla="*/ 86 h 93"/>
              <a:gd name="T62" fmla="*/ 84 w 126"/>
              <a:gd name="T63" fmla="*/ 91 h 93"/>
              <a:gd name="T64" fmla="*/ 80 w 126"/>
              <a:gd name="T65" fmla="*/ 73 h 93"/>
              <a:gd name="T66" fmla="*/ 82 w 126"/>
              <a:gd name="T67" fmla="*/ 56 h 93"/>
              <a:gd name="T68" fmla="*/ 92 w 126"/>
              <a:gd name="T69" fmla="*/ 45 h 93"/>
              <a:gd name="T70" fmla="*/ 99 w 126"/>
              <a:gd name="T71" fmla="*/ 40 h 93"/>
              <a:gd name="T72" fmla="*/ 106 w 126"/>
              <a:gd name="T73" fmla="*/ 38 h 93"/>
              <a:gd name="T74" fmla="*/ 110 w 126"/>
              <a:gd name="T75" fmla="*/ 24 h 93"/>
              <a:gd name="T76" fmla="*/ 112 w 126"/>
              <a:gd name="T77" fmla="*/ 17 h 93"/>
              <a:gd name="T78" fmla="*/ 119 w 126"/>
              <a:gd name="T79" fmla="*/ 10 h 93"/>
              <a:gd name="T80" fmla="*/ 10 w 126"/>
              <a:gd name="T81" fmla="*/ 17 h 93"/>
              <a:gd name="T82" fmla="*/ 10 w 126"/>
              <a:gd name="T83"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93">
                <a:moveTo>
                  <a:pt x="119" y="10"/>
                </a:moveTo>
                <a:cubicBezTo>
                  <a:pt x="119" y="10"/>
                  <a:pt x="116" y="10"/>
                  <a:pt x="114" y="12"/>
                </a:cubicBezTo>
                <a:cubicBezTo>
                  <a:pt x="114" y="12"/>
                  <a:pt x="113" y="13"/>
                  <a:pt x="112" y="10"/>
                </a:cubicBezTo>
                <a:cubicBezTo>
                  <a:pt x="112" y="10"/>
                  <a:pt x="110" y="8"/>
                  <a:pt x="109" y="7"/>
                </a:cubicBezTo>
                <a:cubicBezTo>
                  <a:pt x="109" y="7"/>
                  <a:pt x="108" y="4"/>
                  <a:pt x="105" y="3"/>
                </a:cubicBezTo>
                <a:cubicBezTo>
                  <a:pt x="105" y="3"/>
                  <a:pt x="105" y="3"/>
                  <a:pt x="105" y="3"/>
                </a:cubicBezTo>
                <a:cubicBezTo>
                  <a:pt x="101" y="3"/>
                  <a:pt x="99" y="6"/>
                  <a:pt x="99" y="6"/>
                </a:cubicBezTo>
                <a:cubicBezTo>
                  <a:pt x="98" y="6"/>
                  <a:pt x="96" y="8"/>
                  <a:pt x="96" y="8"/>
                </a:cubicBezTo>
                <a:cubicBezTo>
                  <a:pt x="94" y="10"/>
                  <a:pt x="93" y="9"/>
                  <a:pt x="93" y="9"/>
                </a:cubicBezTo>
                <a:cubicBezTo>
                  <a:pt x="92" y="7"/>
                  <a:pt x="89" y="7"/>
                  <a:pt x="89" y="7"/>
                </a:cubicBezTo>
                <a:cubicBezTo>
                  <a:pt x="83" y="7"/>
                  <a:pt x="85" y="10"/>
                  <a:pt x="86" y="11"/>
                </a:cubicBezTo>
                <a:cubicBezTo>
                  <a:pt x="79" y="10"/>
                  <a:pt x="73" y="10"/>
                  <a:pt x="73" y="10"/>
                </a:cubicBezTo>
                <a:cubicBezTo>
                  <a:pt x="58" y="9"/>
                  <a:pt x="44" y="6"/>
                  <a:pt x="44" y="6"/>
                </a:cubicBezTo>
                <a:cubicBezTo>
                  <a:pt x="34" y="0"/>
                  <a:pt x="29" y="3"/>
                  <a:pt x="29" y="3"/>
                </a:cubicBezTo>
                <a:cubicBezTo>
                  <a:pt x="24" y="4"/>
                  <a:pt x="20" y="3"/>
                  <a:pt x="20" y="3"/>
                </a:cubicBezTo>
                <a:cubicBezTo>
                  <a:pt x="15" y="3"/>
                  <a:pt x="12" y="5"/>
                  <a:pt x="11" y="8"/>
                </a:cubicBezTo>
                <a:cubicBezTo>
                  <a:pt x="11" y="8"/>
                  <a:pt x="11" y="8"/>
                  <a:pt x="11" y="8"/>
                </a:cubicBezTo>
                <a:cubicBezTo>
                  <a:pt x="6" y="17"/>
                  <a:pt x="8" y="23"/>
                  <a:pt x="10" y="26"/>
                </a:cubicBezTo>
                <a:cubicBezTo>
                  <a:pt x="9" y="36"/>
                  <a:pt x="6" y="44"/>
                  <a:pt x="6" y="44"/>
                </a:cubicBezTo>
                <a:cubicBezTo>
                  <a:pt x="4" y="46"/>
                  <a:pt x="6" y="50"/>
                  <a:pt x="6" y="50"/>
                </a:cubicBezTo>
                <a:cubicBezTo>
                  <a:pt x="7" y="60"/>
                  <a:pt x="1" y="72"/>
                  <a:pt x="1" y="72"/>
                </a:cubicBezTo>
                <a:cubicBezTo>
                  <a:pt x="0" y="75"/>
                  <a:pt x="1" y="73"/>
                  <a:pt x="1" y="73"/>
                </a:cubicBezTo>
                <a:cubicBezTo>
                  <a:pt x="2" y="72"/>
                  <a:pt x="2" y="73"/>
                  <a:pt x="2" y="73"/>
                </a:cubicBezTo>
                <a:cubicBezTo>
                  <a:pt x="1" y="75"/>
                  <a:pt x="2" y="78"/>
                  <a:pt x="2" y="78"/>
                </a:cubicBezTo>
                <a:cubicBezTo>
                  <a:pt x="5" y="80"/>
                  <a:pt x="8" y="79"/>
                  <a:pt x="8" y="79"/>
                </a:cubicBezTo>
                <a:cubicBezTo>
                  <a:pt x="5" y="66"/>
                  <a:pt x="15" y="49"/>
                  <a:pt x="15" y="49"/>
                </a:cubicBezTo>
                <a:cubicBezTo>
                  <a:pt x="19" y="72"/>
                  <a:pt x="19" y="72"/>
                  <a:pt x="19" y="72"/>
                </a:cubicBezTo>
                <a:cubicBezTo>
                  <a:pt x="18" y="76"/>
                  <a:pt x="20" y="74"/>
                  <a:pt x="20" y="74"/>
                </a:cubicBezTo>
                <a:cubicBezTo>
                  <a:pt x="21" y="73"/>
                  <a:pt x="21" y="79"/>
                  <a:pt x="21" y="79"/>
                </a:cubicBezTo>
                <a:cubicBezTo>
                  <a:pt x="24" y="81"/>
                  <a:pt x="27" y="79"/>
                  <a:pt x="27" y="79"/>
                </a:cubicBezTo>
                <a:cubicBezTo>
                  <a:pt x="15" y="62"/>
                  <a:pt x="27" y="44"/>
                  <a:pt x="27" y="44"/>
                </a:cubicBezTo>
                <a:cubicBezTo>
                  <a:pt x="27" y="44"/>
                  <a:pt x="26" y="50"/>
                  <a:pt x="28" y="53"/>
                </a:cubicBezTo>
                <a:cubicBezTo>
                  <a:pt x="27" y="53"/>
                  <a:pt x="27" y="55"/>
                  <a:pt x="27" y="55"/>
                </a:cubicBezTo>
                <a:cubicBezTo>
                  <a:pt x="26" y="57"/>
                  <a:pt x="28" y="55"/>
                  <a:pt x="28" y="55"/>
                </a:cubicBezTo>
                <a:cubicBezTo>
                  <a:pt x="28" y="53"/>
                  <a:pt x="28" y="53"/>
                  <a:pt x="28" y="53"/>
                </a:cubicBezTo>
                <a:cubicBezTo>
                  <a:pt x="29" y="54"/>
                  <a:pt x="31" y="55"/>
                  <a:pt x="31" y="55"/>
                </a:cubicBezTo>
                <a:cubicBezTo>
                  <a:pt x="31" y="56"/>
                  <a:pt x="31" y="56"/>
                  <a:pt x="31" y="56"/>
                </a:cubicBezTo>
                <a:cubicBezTo>
                  <a:pt x="31" y="58"/>
                  <a:pt x="31" y="56"/>
                  <a:pt x="31" y="56"/>
                </a:cubicBezTo>
                <a:cubicBezTo>
                  <a:pt x="31" y="55"/>
                  <a:pt x="31" y="55"/>
                  <a:pt x="31" y="55"/>
                </a:cubicBezTo>
                <a:cubicBezTo>
                  <a:pt x="34" y="55"/>
                  <a:pt x="34" y="55"/>
                  <a:pt x="34" y="55"/>
                </a:cubicBezTo>
                <a:cubicBezTo>
                  <a:pt x="34" y="57"/>
                  <a:pt x="34" y="57"/>
                  <a:pt x="34" y="57"/>
                </a:cubicBezTo>
                <a:cubicBezTo>
                  <a:pt x="34" y="59"/>
                  <a:pt x="35" y="57"/>
                  <a:pt x="35" y="57"/>
                </a:cubicBezTo>
                <a:cubicBezTo>
                  <a:pt x="35" y="55"/>
                  <a:pt x="35" y="55"/>
                  <a:pt x="35" y="55"/>
                </a:cubicBezTo>
                <a:cubicBezTo>
                  <a:pt x="37" y="55"/>
                  <a:pt x="37" y="55"/>
                  <a:pt x="37" y="55"/>
                </a:cubicBezTo>
                <a:cubicBezTo>
                  <a:pt x="37" y="56"/>
                  <a:pt x="37" y="56"/>
                  <a:pt x="37" y="56"/>
                </a:cubicBezTo>
                <a:cubicBezTo>
                  <a:pt x="38" y="58"/>
                  <a:pt x="38" y="56"/>
                  <a:pt x="38" y="56"/>
                </a:cubicBezTo>
                <a:cubicBezTo>
                  <a:pt x="38" y="54"/>
                  <a:pt x="38" y="54"/>
                  <a:pt x="38" y="54"/>
                </a:cubicBezTo>
                <a:cubicBezTo>
                  <a:pt x="41" y="53"/>
                  <a:pt x="43" y="47"/>
                  <a:pt x="43" y="47"/>
                </a:cubicBezTo>
                <a:cubicBezTo>
                  <a:pt x="52" y="54"/>
                  <a:pt x="69" y="51"/>
                  <a:pt x="69" y="51"/>
                </a:cubicBezTo>
                <a:cubicBezTo>
                  <a:pt x="68" y="58"/>
                  <a:pt x="64" y="64"/>
                  <a:pt x="64" y="64"/>
                </a:cubicBezTo>
                <a:cubicBezTo>
                  <a:pt x="65" y="69"/>
                  <a:pt x="59" y="81"/>
                  <a:pt x="59" y="81"/>
                </a:cubicBezTo>
                <a:cubicBezTo>
                  <a:pt x="61" y="80"/>
                  <a:pt x="61" y="82"/>
                  <a:pt x="61" y="82"/>
                </a:cubicBezTo>
                <a:cubicBezTo>
                  <a:pt x="60" y="83"/>
                  <a:pt x="62" y="85"/>
                  <a:pt x="62" y="85"/>
                </a:cubicBezTo>
                <a:cubicBezTo>
                  <a:pt x="64" y="86"/>
                  <a:pt x="67" y="86"/>
                  <a:pt x="67" y="86"/>
                </a:cubicBezTo>
                <a:cubicBezTo>
                  <a:pt x="64" y="84"/>
                  <a:pt x="65" y="80"/>
                  <a:pt x="65" y="80"/>
                </a:cubicBezTo>
                <a:cubicBezTo>
                  <a:pt x="65" y="80"/>
                  <a:pt x="64" y="80"/>
                  <a:pt x="65" y="80"/>
                </a:cubicBezTo>
                <a:cubicBezTo>
                  <a:pt x="66" y="79"/>
                  <a:pt x="66" y="74"/>
                  <a:pt x="66" y="74"/>
                </a:cubicBezTo>
                <a:cubicBezTo>
                  <a:pt x="67" y="69"/>
                  <a:pt x="70" y="67"/>
                  <a:pt x="70" y="67"/>
                </a:cubicBezTo>
                <a:cubicBezTo>
                  <a:pt x="73" y="65"/>
                  <a:pt x="74" y="61"/>
                  <a:pt x="74" y="59"/>
                </a:cubicBezTo>
                <a:cubicBezTo>
                  <a:pt x="74" y="59"/>
                  <a:pt x="74" y="59"/>
                  <a:pt x="74" y="59"/>
                </a:cubicBezTo>
                <a:cubicBezTo>
                  <a:pt x="75" y="64"/>
                  <a:pt x="75" y="68"/>
                  <a:pt x="75" y="68"/>
                </a:cubicBezTo>
                <a:cubicBezTo>
                  <a:pt x="77" y="71"/>
                  <a:pt x="75" y="86"/>
                  <a:pt x="75" y="86"/>
                </a:cubicBezTo>
                <a:cubicBezTo>
                  <a:pt x="77" y="85"/>
                  <a:pt x="77" y="90"/>
                  <a:pt x="77" y="90"/>
                </a:cubicBezTo>
                <a:cubicBezTo>
                  <a:pt x="80" y="93"/>
                  <a:pt x="84" y="91"/>
                  <a:pt x="84" y="91"/>
                </a:cubicBezTo>
                <a:cubicBezTo>
                  <a:pt x="80" y="86"/>
                  <a:pt x="80" y="74"/>
                  <a:pt x="80" y="74"/>
                </a:cubicBezTo>
                <a:cubicBezTo>
                  <a:pt x="80" y="74"/>
                  <a:pt x="77" y="75"/>
                  <a:pt x="80" y="73"/>
                </a:cubicBezTo>
                <a:cubicBezTo>
                  <a:pt x="82" y="71"/>
                  <a:pt x="81" y="64"/>
                  <a:pt x="81" y="64"/>
                </a:cubicBezTo>
                <a:cubicBezTo>
                  <a:pt x="82" y="56"/>
                  <a:pt x="82" y="56"/>
                  <a:pt x="82" y="56"/>
                </a:cubicBezTo>
                <a:cubicBezTo>
                  <a:pt x="87" y="56"/>
                  <a:pt x="88" y="51"/>
                  <a:pt x="88" y="51"/>
                </a:cubicBezTo>
                <a:cubicBezTo>
                  <a:pt x="87" y="48"/>
                  <a:pt x="92" y="45"/>
                  <a:pt x="92" y="45"/>
                </a:cubicBezTo>
                <a:cubicBezTo>
                  <a:pt x="95" y="44"/>
                  <a:pt x="99" y="41"/>
                  <a:pt x="99" y="41"/>
                </a:cubicBezTo>
                <a:cubicBezTo>
                  <a:pt x="99" y="40"/>
                  <a:pt x="99" y="40"/>
                  <a:pt x="99" y="40"/>
                </a:cubicBezTo>
                <a:cubicBezTo>
                  <a:pt x="99" y="40"/>
                  <a:pt x="100" y="40"/>
                  <a:pt x="100" y="40"/>
                </a:cubicBezTo>
                <a:cubicBezTo>
                  <a:pt x="101" y="40"/>
                  <a:pt x="106" y="42"/>
                  <a:pt x="106" y="38"/>
                </a:cubicBezTo>
                <a:cubicBezTo>
                  <a:pt x="106" y="38"/>
                  <a:pt x="107" y="36"/>
                  <a:pt x="107" y="33"/>
                </a:cubicBezTo>
                <a:cubicBezTo>
                  <a:pt x="107" y="33"/>
                  <a:pt x="109" y="27"/>
                  <a:pt x="110" y="24"/>
                </a:cubicBezTo>
                <a:cubicBezTo>
                  <a:pt x="110" y="24"/>
                  <a:pt x="109" y="22"/>
                  <a:pt x="110" y="22"/>
                </a:cubicBezTo>
                <a:cubicBezTo>
                  <a:pt x="110" y="22"/>
                  <a:pt x="112" y="19"/>
                  <a:pt x="112" y="17"/>
                </a:cubicBezTo>
                <a:cubicBezTo>
                  <a:pt x="112" y="17"/>
                  <a:pt x="115" y="21"/>
                  <a:pt x="120" y="16"/>
                </a:cubicBezTo>
                <a:cubicBezTo>
                  <a:pt x="120" y="16"/>
                  <a:pt x="126" y="12"/>
                  <a:pt x="119" y="10"/>
                </a:cubicBezTo>
                <a:close/>
                <a:moveTo>
                  <a:pt x="10" y="14"/>
                </a:moveTo>
                <a:cubicBezTo>
                  <a:pt x="10" y="16"/>
                  <a:pt x="10" y="17"/>
                  <a:pt x="10" y="17"/>
                </a:cubicBezTo>
                <a:cubicBezTo>
                  <a:pt x="10" y="20"/>
                  <a:pt x="10" y="22"/>
                  <a:pt x="10" y="24"/>
                </a:cubicBezTo>
                <a:cubicBezTo>
                  <a:pt x="8" y="20"/>
                  <a:pt x="10" y="14"/>
                  <a:pt x="10" y="14"/>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3" name="Freeform 4754"/>
          <p:cNvSpPr>
            <a:spLocks noEditPoints="1"/>
          </p:cNvSpPr>
          <p:nvPr/>
        </p:nvSpPr>
        <p:spPr bwMode="auto">
          <a:xfrm>
            <a:off x="5529036" y="1954051"/>
            <a:ext cx="284567" cy="213794"/>
          </a:xfrm>
          <a:custGeom>
            <a:avLst/>
            <a:gdLst>
              <a:gd name="T0" fmla="*/ 14 w 104"/>
              <a:gd name="T1" fmla="*/ 4 h 78"/>
              <a:gd name="T2" fmla="*/ 20 w 104"/>
              <a:gd name="T3" fmla="*/ 1 h 78"/>
              <a:gd name="T4" fmla="*/ 21 w 104"/>
              <a:gd name="T5" fmla="*/ 4 h 78"/>
              <a:gd name="T6" fmla="*/ 20 w 104"/>
              <a:gd name="T7" fmla="*/ 6 h 78"/>
              <a:gd name="T8" fmla="*/ 83 w 104"/>
              <a:gd name="T9" fmla="*/ 32 h 78"/>
              <a:gd name="T10" fmla="*/ 103 w 104"/>
              <a:gd name="T11" fmla="*/ 54 h 78"/>
              <a:gd name="T12" fmla="*/ 100 w 104"/>
              <a:gd name="T13" fmla="*/ 57 h 78"/>
              <a:gd name="T14" fmla="*/ 102 w 104"/>
              <a:gd name="T15" fmla="*/ 56 h 78"/>
              <a:gd name="T16" fmla="*/ 104 w 104"/>
              <a:gd name="T17" fmla="*/ 58 h 78"/>
              <a:gd name="T18" fmla="*/ 100 w 104"/>
              <a:gd name="T19" fmla="*/ 61 h 78"/>
              <a:gd name="T20" fmla="*/ 92 w 104"/>
              <a:gd name="T21" fmla="*/ 66 h 78"/>
              <a:gd name="T22" fmla="*/ 95 w 104"/>
              <a:gd name="T23" fmla="*/ 73 h 78"/>
              <a:gd name="T24" fmla="*/ 95 w 104"/>
              <a:gd name="T25" fmla="*/ 75 h 78"/>
              <a:gd name="T26" fmla="*/ 90 w 104"/>
              <a:gd name="T27" fmla="*/ 77 h 78"/>
              <a:gd name="T28" fmla="*/ 89 w 104"/>
              <a:gd name="T29" fmla="*/ 76 h 78"/>
              <a:gd name="T30" fmla="*/ 87 w 104"/>
              <a:gd name="T31" fmla="*/ 76 h 78"/>
              <a:gd name="T32" fmla="*/ 84 w 104"/>
              <a:gd name="T33" fmla="*/ 74 h 78"/>
              <a:gd name="T34" fmla="*/ 83 w 104"/>
              <a:gd name="T35" fmla="*/ 72 h 78"/>
              <a:gd name="T36" fmla="*/ 58 w 104"/>
              <a:gd name="T37" fmla="*/ 73 h 78"/>
              <a:gd name="T38" fmla="*/ 59 w 104"/>
              <a:gd name="T39" fmla="*/ 76 h 78"/>
              <a:gd name="T40" fmla="*/ 57 w 104"/>
              <a:gd name="T41" fmla="*/ 77 h 78"/>
              <a:gd name="T42" fmla="*/ 56 w 104"/>
              <a:gd name="T43" fmla="*/ 77 h 78"/>
              <a:gd name="T44" fmla="*/ 54 w 104"/>
              <a:gd name="T45" fmla="*/ 75 h 78"/>
              <a:gd name="T46" fmla="*/ 54 w 104"/>
              <a:gd name="T47" fmla="*/ 73 h 78"/>
              <a:gd name="T48" fmla="*/ 54 w 104"/>
              <a:gd name="T49" fmla="*/ 70 h 78"/>
              <a:gd name="T50" fmla="*/ 52 w 104"/>
              <a:gd name="T51" fmla="*/ 69 h 78"/>
              <a:gd name="T52" fmla="*/ 48 w 104"/>
              <a:gd name="T53" fmla="*/ 69 h 78"/>
              <a:gd name="T54" fmla="*/ 51 w 104"/>
              <a:gd name="T55" fmla="*/ 54 h 78"/>
              <a:gd name="T56" fmla="*/ 16 w 104"/>
              <a:gd name="T57" fmla="*/ 49 h 78"/>
              <a:gd name="T58" fmla="*/ 13 w 104"/>
              <a:gd name="T59" fmla="*/ 51 h 78"/>
              <a:gd name="T60" fmla="*/ 11 w 104"/>
              <a:gd name="T61" fmla="*/ 45 h 78"/>
              <a:gd name="T62" fmla="*/ 13 w 104"/>
              <a:gd name="T63" fmla="*/ 35 h 78"/>
              <a:gd name="T64" fmla="*/ 5 w 104"/>
              <a:gd name="T65" fmla="*/ 44 h 78"/>
              <a:gd name="T66" fmla="*/ 6 w 104"/>
              <a:gd name="T67" fmla="*/ 45 h 78"/>
              <a:gd name="T68" fmla="*/ 6 w 104"/>
              <a:gd name="T69" fmla="*/ 47 h 78"/>
              <a:gd name="T70" fmla="*/ 5 w 104"/>
              <a:gd name="T71" fmla="*/ 48 h 78"/>
              <a:gd name="T72" fmla="*/ 1 w 104"/>
              <a:gd name="T73" fmla="*/ 44 h 78"/>
              <a:gd name="T74" fmla="*/ 1 w 104"/>
              <a:gd name="T75" fmla="*/ 43 h 78"/>
              <a:gd name="T76" fmla="*/ 1 w 104"/>
              <a:gd name="T77" fmla="*/ 38 h 78"/>
              <a:gd name="T78" fmla="*/ 3 w 104"/>
              <a:gd name="T79" fmla="*/ 34 h 78"/>
              <a:gd name="T80" fmla="*/ 7 w 104"/>
              <a:gd name="T81" fmla="*/ 28 h 78"/>
              <a:gd name="T82" fmla="*/ 9 w 104"/>
              <a:gd name="T83" fmla="*/ 27 h 78"/>
              <a:gd name="T84" fmla="*/ 11 w 104"/>
              <a:gd name="T85" fmla="*/ 22 h 78"/>
              <a:gd name="T86" fmla="*/ 14 w 104"/>
              <a:gd name="T87" fmla="*/ 12 h 78"/>
              <a:gd name="T88" fmla="*/ 19 w 104"/>
              <a:gd name="T89" fmla="*/ 5 h 78"/>
              <a:gd name="T90" fmla="*/ 17 w 104"/>
              <a:gd name="T91" fmla="*/ 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8">
                <a:moveTo>
                  <a:pt x="18" y="7"/>
                </a:moveTo>
                <a:cubicBezTo>
                  <a:pt x="18" y="7"/>
                  <a:pt x="18" y="7"/>
                  <a:pt x="18" y="6"/>
                </a:cubicBezTo>
                <a:cubicBezTo>
                  <a:pt x="17" y="7"/>
                  <a:pt x="14" y="6"/>
                  <a:pt x="14" y="4"/>
                </a:cubicBezTo>
                <a:cubicBezTo>
                  <a:pt x="14" y="2"/>
                  <a:pt x="16" y="0"/>
                  <a:pt x="18" y="1"/>
                </a:cubicBezTo>
                <a:cubicBezTo>
                  <a:pt x="19" y="2"/>
                  <a:pt x="20" y="3"/>
                  <a:pt x="20" y="4"/>
                </a:cubicBezTo>
                <a:cubicBezTo>
                  <a:pt x="20" y="3"/>
                  <a:pt x="21" y="2"/>
                  <a:pt x="20" y="1"/>
                </a:cubicBezTo>
                <a:cubicBezTo>
                  <a:pt x="20" y="0"/>
                  <a:pt x="20" y="0"/>
                  <a:pt x="21" y="0"/>
                </a:cubicBezTo>
                <a:cubicBezTo>
                  <a:pt x="21" y="1"/>
                  <a:pt x="21" y="2"/>
                  <a:pt x="21" y="3"/>
                </a:cubicBezTo>
                <a:cubicBezTo>
                  <a:pt x="21" y="3"/>
                  <a:pt x="21" y="4"/>
                  <a:pt x="21" y="4"/>
                </a:cubicBezTo>
                <a:cubicBezTo>
                  <a:pt x="21" y="5"/>
                  <a:pt x="20" y="5"/>
                  <a:pt x="20" y="6"/>
                </a:cubicBezTo>
                <a:cubicBezTo>
                  <a:pt x="20" y="6"/>
                  <a:pt x="20" y="6"/>
                  <a:pt x="20" y="6"/>
                </a:cubicBezTo>
                <a:cubicBezTo>
                  <a:pt x="20" y="6"/>
                  <a:pt x="20" y="6"/>
                  <a:pt x="20" y="6"/>
                </a:cubicBezTo>
                <a:cubicBezTo>
                  <a:pt x="22" y="5"/>
                  <a:pt x="23" y="5"/>
                  <a:pt x="25" y="4"/>
                </a:cubicBezTo>
                <a:cubicBezTo>
                  <a:pt x="32" y="2"/>
                  <a:pt x="39" y="4"/>
                  <a:pt x="46" y="7"/>
                </a:cubicBezTo>
                <a:cubicBezTo>
                  <a:pt x="58" y="12"/>
                  <a:pt x="74" y="23"/>
                  <a:pt x="83" y="32"/>
                </a:cubicBezTo>
                <a:cubicBezTo>
                  <a:pt x="89" y="38"/>
                  <a:pt x="95" y="46"/>
                  <a:pt x="96" y="54"/>
                </a:cubicBezTo>
                <a:cubicBezTo>
                  <a:pt x="98" y="54"/>
                  <a:pt x="99" y="54"/>
                  <a:pt x="101" y="53"/>
                </a:cubicBezTo>
                <a:cubicBezTo>
                  <a:pt x="102" y="53"/>
                  <a:pt x="102" y="53"/>
                  <a:pt x="103" y="54"/>
                </a:cubicBezTo>
                <a:cubicBezTo>
                  <a:pt x="103" y="55"/>
                  <a:pt x="101" y="56"/>
                  <a:pt x="101" y="56"/>
                </a:cubicBezTo>
                <a:cubicBezTo>
                  <a:pt x="100" y="57"/>
                  <a:pt x="99" y="57"/>
                  <a:pt x="98" y="57"/>
                </a:cubicBezTo>
                <a:cubicBezTo>
                  <a:pt x="99" y="57"/>
                  <a:pt x="100" y="57"/>
                  <a:pt x="100" y="57"/>
                </a:cubicBezTo>
                <a:cubicBezTo>
                  <a:pt x="101" y="57"/>
                  <a:pt x="101" y="57"/>
                  <a:pt x="101" y="56"/>
                </a:cubicBezTo>
                <a:cubicBezTo>
                  <a:pt x="101" y="56"/>
                  <a:pt x="102" y="56"/>
                  <a:pt x="102" y="56"/>
                </a:cubicBezTo>
                <a:cubicBezTo>
                  <a:pt x="102" y="56"/>
                  <a:pt x="102" y="56"/>
                  <a:pt x="102" y="56"/>
                </a:cubicBezTo>
                <a:cubicBezTo>
                  <a:pt x="103" y="56"/>
                  <a:pt x="103" y="56"/>
                  <a:pt x="103" y="56"/>
                </a:cubicBezTo>
                <a:cubicBezTo>
                  <a:pt x="103" y="56"/>
                  <a:pt x="104" y="56"/>
                  <a:pt x="104" y="56"/>
                </a:cubicBezTo>
                <a:cubicBezTo>
                  <a:pt x="104" y="57"/>
                  <a:pt x="104" y="57"/>
                  <a:pt x="104" y="58"/>
                </a:cubicBezTo>
                <a:cubicBezTo>
                  <a:pt x="104" y="58"/>
                  <a:pt x="104" y="58"/>
                  <a:pt x="104" y="58"/>
                </a:cubicBezTo>
                <a:cubicBezTo>
                  <a:pt x="103" y="59"/>
                  <a:pt x="103" y="59"/>
                  <a:pt x="103" y="59"/>
                </a:cubicBezTo>
                <a:cubicBezTo>
                  <a:pt x="102" y="60"/>
                  <a:pt x="101" y="60"/>
                  <a:pt x="100" y="61"/>
                </a:cubicBezTo>
                <a:cubicBezTo>
                  <a:pt x="100" y="61"/>
                  <a:pt x="100" y="61"/>
                  <a:pt x="100" y="61"/>
                </a:cubicBezTo>
                <a:cubicBezTo>
                  <a:pt x="98" y="62"/>
                  <a:pt x="96" y="61"/>
                  <a:pt x="94" y="61"/>
                </a:cubicBezTo>
                <a:cubicBezTo>
                  <a:pt x="93" y="63"/>
                  <a:pt x="92" y="64"/>
                  <a:pt x="92" y="66"/>
                </a:cubicBezTo>
                <a:cubicBezTo>
                  <a:pt x="92" y="69"/>
                  <a:pt x="93" y="70"/>
                  <a:pt x="94" y="72"/>
                </a:cubicBezTo>
                <a:cubicBezTo>
                  <a:pt x="94" y="72"/>
                  <a:pt x="94" y="72"/>
                  <a:pt x="95" y="72"/>
                </a:cubicBezTo>
                <a:cubicBezTo>
                  <a:pt x="95" y="72"/>
                  <a:pt x="95" y="72"/>
                  <a:pt x="95" y="73"/>
                </a:cubicBezTo>
                <a:cubicBezTo>
                  <a:pt x="96" y="73"/>
                  <a:pt x="95" y="73"/>
                  <a:pt x="95" y="74"/>
                </a:cubicBezTo>
                <a:cubicBezTo>
                  <a:pt x="95" y="74"/>
                  <a:pt x="95" y="74"/>
                  <a:pt x="95" y="74"/>
                </a:cubicBezTo>
                <a:cubicBezTo>
                  <a:pt x="95" y="74"/>
                  <a:pt x="95" y="75"/>
                  <a:pt x="95" y="75"/>
                </a:cubicBezTo>
                <a:cubicBezTo>
                  <a:pt x="94" y="75"/>
                  <a:pt x="93" y="76"/>
                  <a:pt x="93" y="76"/>
                </a:cubicBezTo>
                <a:cubicBezTo>
                  <a:pt x="92" y="77"/>
                  <a:pt x="92" y="77"/>
                  <a:pt x="91" y="77"/>
                </a:cubicBezTo>
                <a:cubicBezTo>
                  <a:pt x="91" y="77"/>
                  <a:pt x="90" y="77"/>
                  <a:pt x="90" y="77"/>
                </a:cubicBezTo>
                <a:cubicBezTo>
                  <a:pt x="90" y="77"/>
                  <a:pt x="90" y="77"/>
                  <a:pt x="90" y="77"/>
                </a:cubicBezTo>
                <a:cubicBezTo>
                  <a:pt x="89" y="76"/>
                  <a:pt x="89" y="76"/>
                  <a:pt x="89" y="76"/>
                </a:cubicBezTo>
                <a:cubicBezTo>
                  <a:pt x="89" y="76"/>
                  <a:pt x="89" y="76"/>
                  <a:pt x="89" y="76"/>
                </a:cubicBezTo>
                <a:cubicBezTo>
                  <a:pt x="89" y="76"/>
                  <a:pt x="89" y="76"/>
                  <a:pt x="89" y="76"/>
                </a:cubicBezTo>
                <a:cubicBezTo>
                  <a:pt x="88" y="76"/>
                  <a:pt x="88" y="76"/>
                  <a:pt x="88" y="76"/>
                </a:cubicBezTo>
                <a:cubicBezTo>
                  <a:pt x="87" y="76"/>
                  <a:pt x="87" y="76"/>
                  <a:pt x="87" y="76"/>
                </a:cubicBezTo>
                <a:cubicBezTo>
                  <a:pt x="87" y="75"/>
                  <a:pt x="87" y="75"/>
                  <a:pt x="86" y="75"/>
                </a:cubicBezTo>
                <a:cubicBezTo>
                  <a:pt x="86" y="75"/>
                  <a:pt x="85" y="75"/>
                  <a:pt x="85" y="74"/>
                </a:cubicBezTo>
                <a:cubicBezTo>
                  <a:pt x="85" y="74"/>
                  <a:pt x="85" y="74"/>
                  <a:pt x="84" y="74"/>
                </a:cubicBezTo>
                <a:cubicBezTo>
                  <a:pt x="84" y="74"/>
                  <a:pt x="84" y="73"/>
                  <a:pt x="84" y="73"/>
                </a:cubicBezTo>
                <a:cubicBezTo>
                  <a:pt x="84" y="73"/>
                  <a:pt x="84" y="73"/>
                  <a:pt x="83" y="73"/>
                </a:cubicBezTo>
                <a:cubicBezTo>
                  <a:pt x="83" y="72"/>
                  <a:pt x="83" y="72"/>
                  <a:pt x="83" y="72"/>
                </a:cubicBezTo>
                <a:cubicBezTo>
                  <a:pt x="75" y="70"/>
                  <a:pt x="71" y="68"/>
                  <a:pt x="65" y="62"/>
                </a:cubicBezTo>
                <a:cubicBezTo>
                  <a:pt x="65" y="62"/>
                  <a:pt x="65" y="62"/>
                  <a:pt x="65" y="62"/>
                </a:cubicBezTo>
                <a:cubicBezTo>
                  <a:pt x="62" y="65"/>
                  <a:pt x="60" y="69"/>
                  <a:pt x="58" y="73"/>
                </a:cubicBezTo>
                <a:cubicBezTo>
                  <a:pt x="58" y="74"/>
                  <a:pt x="58" y="74"/>
                  <a:pt x="58" y="74"/>
                </a:cubicBezTo>
                <a:cubicBezTo>
                  <a:pt x="58" y="74"/>
                  <a:pt x="58" y="74"/>
                  <a:pt x="58" y="75"/>
                </a:cubicBezTo>
                <a:cubicBezTo>
                  <a:pt x="59" y="75"/>
                  <a:pt x="59" y="75"/>
                  <a:pt x="59" y="76"/>
                </a:cubicBezTo>
                <a:cubicBezTo>
                  <a:pt x="59" y="76"/>
                  <a:pt x="59" y="76"/>
                  <a:pt x="59" y="76"/>
                </a:cubicBezTo>
                <a:cubicBezTo>
                  <a:pt x="58" y="77"/>
                  <a:pt x="58" y="77"/>
                  <a:pt x="58" y="77"/>
                </a:cubicBezTo>
                <a:cubicBezTo>
                  <a:pt x="58" y="77"/>
                  <a:pt x="57" y="78"/>
                  <a:pt x="57" y="77"/>
                </a:cubicBezTo>
                <a:cubicBezTo>
                  <a:pt x="57" y="77"/>
                  <a:pt x="57" y="77"/>
                  <a:pt x="57" y="77"/>
                </a:cubicBezTo>
                <a:cubicBezTo>
                  <a:pt x="56" y="77"/>
                  <a:pt x="56" y="77"/>
                  <a:pt x="56" y="77"/>
                </a:cubicBezTo>
                <a:cubicBezTo>
                  <a:pt x="56" y="77"/>
                  <a:pt x="56" y="77"/>
                  <a:pt x="56" y="77"/>
                </a:cubicBezTo>
                <a:cubicBezTo>
                  <a:pt x="56" y="77"/>
                  <a:pt x="56" y="77"/>
                  <a:pt x="55" y="77"/>
                </a:cubicBezTo>
                <a:cubicBezTo>
                  <a:pt x="55" y="76"/>
                  <a:pt x="55" y="76"/>
                  <a:pt x="54" y="76"/>
                </a:cubicBezTo>
                <a:cubicBezTo>
                  <a:pt x="54" y="76"/>
                  <a:pt x="54" y="75"/>
                  <a:pt x="54" y="75"/>
                </a:cubicBezTo>
                <a:cubicBezTo>
                  <a:pt x="54" y="75"/>
                  <a:pt x="54" y="74"/>
                  <a:pt x="54" y="74"/>
                </a:cubicBezTo>
                <a:cubicBezTo>
                  <a:pt x="54" y="74"/>
                  <a:pt x="54" y="73"/>
                  <a:pt x="54" y="73"/>
                </a:cubicBezTo>
                <a:cubicBezTo>
                  <a:pt x="54" y="73"/>
                  <a:pt x="54" y="73"/>
                  <a:pt x="54" y="73"/>
                </a:cubicBezTo>
                <a:cubicBezTo>
                  <a:pt x="53" y="73"/>
                  <a:pt x="53" y="73"/>
                  <a:pt x="53" y="73"/>
                </a:cubicBezTo>
                <a:cubicBezTo>
                  <a:pt x="53" y="72"/>
                  <a:pt x="53" y="72"/>
                  <a:pt x="53" y="71"/>
                </a:cubicBezTo>
                <a:cubicBezTo>
                  <a:pt x="54" y="71"/>
                  <a:pt x="54" y="71"/>
                  <a:pt x="54" y="70"/>
                </a:cubicBezTo>
                <a:cubicBezTo>
                  <a:pt x="55" y="68"/>
                  <a:pt x="56" y="67"/>
                  <a:pt x="56" y="65"/>
                </a:cubicBezTo>
                <a:cubicBezTo>
                  <a:pt x="56" y="64"/>
                  <a:pt x="56" y="64"/>
                  <a:pt x="56" y="64"/>
                </a:cubicBezTo>
                <a:cubicBezTo>
                  <a:pt x="54" y="65"/>
                  <a:pt x="53" y="67"/>
                  <a:pt x="52" y="69"/>
                </a:cubicBezTo>
                <a:cubicBezTo>
                  <a:pt x="52" y="70"/>
                  <a:pt x="52" y="72"/>
                  <a:pt x="52" y="73"/>
                </a:cubicBezTo>
                <a:cubicBezTo>
                  <a:pt x="52" y="74"/>
                  <a:pt x="51" y="74"/>
                  <a:pt x="50" y="73"/>
                </a:cubicBezTo>
                <a:cubicBezTo>
                  <a:pt x="48" y="72"/>
                  <a:pt x="48" y="71"/>
                  <a:pt x="48" y="69"/>
                </a:cubicBezTo>
                <a:cubicBezTo>
                  <a:pt x="47" y="68"/>
                  <a:pt x="48" y="67"/>
                  <a:pt x="49" y="66"/>
                </a:cubicBezTo>
                <a:cubicBezTo>
                  <a:pt x="51" y="62"/>
                  <a:pt x="52" y="59"/>
                  <a:pt x="53" y="55"/>
                </a:cubicBezTo>
                <a:cubicBezTo>
                  <a:pt x="52" y="55"/>
                  <a:pt x="51" y="54"/>
                  <a:pt x="51" y="54"/>
                </a:cubicBezTo>
                <a:cubicBezTo>
                  <a:pt x="39" y="51"/>
                  <a:pt x="29" y="45"/>
                  <a:pt x="21" y="36"/>
                </a:cubicBezTo>
                <a:cubicBezTo>
                  <a:pt x="19" y="37"/>
                  <a:pt x="18" y="39"/>
                  <a:pt x="17" y="40"/>
                </a:cubicBezTo>
                <a:cubicBezTo>
                  <a:pt x="17" y="43"/>
                  <a:pt x="16" y="46"/>
                  <a:pt x="16" y="49"/>
                </a:cubicBezTo>
                <a:cubicBezTo>
                  <a:pt x="16" y="49"/>
                  <a:pt x="17" y="50"/>
                  <a:pt x="17" y="51"/>
                </a:cubicBezTo>
                <a:cubicBezTo>
                  <a:pt x="17" y="51"/>
                  <a:pt x="17" y="52"/>
                  <a:pt x="17" y="52"/>
                </a:cubicBezTo>
                <a:cubicBezTo>
                  <a:pt x="16" y="53"/>
                  <a:pt x="14" y="52"/>
                  <a:pt x="13" y="51"/>
                </a:cubicBezTo>
                <a:cubicBezTo>
                  <a:pt x="12" y="50"/>
                  <a:pt x="11" y="49"/>
                  <a:pt x="12" y="48"/>
                </a:cubicBezTo>
                <a:cubicBezTo>
                  <a:pt x="12" y="48"/>
                  <a:pt x="12" y="47"/>
                  <a:pt x="12" y="47"/>
                </a:cubicBezTo>
                <a:cubicBezTo>
                  <a:pt x="12" y="46"/>
                  <a:pt x="11" y="46"/>
                  <a:pt x="11" y="45"/>
                </a:cubicBezTo>
                <a:cubicBezTo>
                  <a:pt x="11" y="45"/>
                  <a:pt x="11" y="44"/>
                  <a:pt x="11" y="44"/>
                </a:cubicBezTo>
                <a:cubicBezTo>
                  <a:pt x="11" y="43"/>
                  <a:pt x="12" y="42"/>
                  <a:pt x="12" y="40"/>
                </a:cubicBezTo>
                <a:cubicBezTo>
                  <a:pt x="13" y="38"/>
                  <a:pt x="13" y="36"/>
                  <a:pt x="13" y="35"/>
                </a:cubicBezTo>
                <a:cubicBezTo>
                  <a:pt x="12" y="35"/>
                  <a:pt x="11" y="35"/>
                  <a:pt x="10" y="36"/>
                </a:cubicBezTo>
                <a:cubicBezTo>
                  <a:pt x="9" y="36"/>
                  <a:pt x="9" y="36"/>
                  <a:pt x="9" y="36"/>
                </a:cubicBezTo>
                <a:cubicBezTo>
                  <a:pt x="7" y="39"/>
                  <a:pt x="6" y="41"/>
                  <a:pt x="5" y="44"/>
                </a:cubicBezTo>
                <a:cubicBezTo>
                  <a:pt x="6" y="44"/>
                  <a:pt x="6" y="44"/>
                  <a:pt x="6" y="44"/>
                </a:cubicBezTo>
                <a:cubicBezTo>
                  <a:pt x="6" y="44"/>
                  <a:pt x="6" y="45"/>
                  <a:pt x="6" y="45"/>
                </a:cubicBezTo>
                <a:cubicBezTo>
                  <a:pt x="6" y="45"/>
                  <a:pt x="6" y="45"/>
                  <a:pt x="6" y="45"/>
                </a:cubicBezTo>
                <a:cubicBezTo>
                  <a:pt x="6" y="46"/>
                  <a:pt x="6" y="46"/>
                  <a:pt x="6" y="46"/>
                </a:cubicBezTo>
                <a:cubicBezTo>
                  <a:pt x="7" y="46"/>
                  <a:pt x="7" y="46"/>
                  <a:pt x="7" y="47"/>
                </a:cubicBezTo>
                <a:cubicBezTo>
                  <a:pt x="7" y="47"/>
                  <a:pt x="6" y="47"/>
                  <a:pt x="6" y="47"/>
                </a:cubicBezTo>
                <a:cubicBezTo>
                  <a:pt x="6" y="47"/>
                  <a:pt x="6" y="48"/>
                  <a:pt x="6" y="48"/>
                </a:cubicBezTo>
                <a:cubicBezTo>
                  <a:pt x="6" y="48"/>
                  <a:pt x="6" y="48"/>
                  <a:pt x="6" y="48"/>
                </a:cubicBezTo>
                <a:cubicBezTo>
                  <a:pt x="5" y="48"/>
                  <a:pt x="5" y="48"/>
                  <a:pt x="5" y="48"/>
                </a:cubicBezTo>
                <a:cubicBezTo>
                  <a:pt x="4" y="48"/>
                  <a:pt x="2" y="47"/>
                  <a:pt x="2" y="46"/>
                </a:cubicBezTo>
                <a:cubicBezTo>
                  <a:pt x="1" y="46"/>
                  <a:pt x="1" y="45"/>
                  <a:pt x="1" y="45"/>
                </a:cubicBezTo>
                <a:cubicBezTo>
                  <a:pt x="1" y="45"/>
                  <a:pt x="1" y="45"/>
                  <a:pt x="1" y="44"/>
                </a:cubicBezTo>
                <a:cubicBezTo>
                  <a:pt x="1" y="44"/>
                  <a:pt x="1" y="44"/>
                  <a:pt x="1" y="44"/>
                </a:cubicBezTo>
                <a:cubicBezTo>
                  <a:pt x="1" y="44"/>
                  <a:pt x="1" y="43"/>
                  <a:pt x="1" y="43"/>
                </a:cubicBezTo>
                <a:cubicBezTo>
                  <a:pt x="1" y="43"/>
                  <a:pt x="1" y="43"/>
                  <a:pt x="1" y="43"/>
                </a:cubicBezTo>
                <a:cubicBezTo>
                  <a:pt x="1" y="43"/>
                  <a:pt x="1" y="43"/>
                  <a:pt x="1" y="43"/>
                </a:cubicBezTo>
                <a:cubicBezTo>
                  <a:pt x="0" y="43"/>
                  <a:pt x="0" y="42"/>
                  <a:pt x="0" y="41"/>
                </a:cubicBezTo>
                <a:cubicBezTo>
                  <a:pt x="0" y="40"/>
                  <a:pt x="1" y="39"/>
                  <a:pt x="1" y="38"/>
                </a:cubicBezTo>
                <a:cubicBezTo>
                  <a:pt x="1" y="38"/>
                  <a:pt x="1" y="38"/>
                  <a:pt x="1" y="38"/>
                </a:cubicBezTo>
                <a:cubicBezTo>
                  <a:pt x="2" y="37"/>
                  <a:pt x="2" y="36"/>
                  <a:pt x="2" y="36"/>
                </a:cubicBezTo>
                <a:cubicBezTo>
                  <a:pt x="3" y="35"/>
                  <a:pt x="3" y="34"/>
                  <a:pt x="3" y="34"/>
                </a:cubicBezTo>
                <a:cubicBezTo>
                  <a:pt x="3" y="33"/>
                  <a:pt x="3" y="32"/>
                  <a:pt x="4" y="31"/>
                </a:cubicBezTo>
                <a:cubicBezTo>
                  <a:pt x="4" y="31"/>
                  <a:pt x="4" y="31"/>
                  <a:pt x="4" y="31"/>
                </a:cubicBezTo>
                <a:cubicBezTo>
                  <a:pt x="5" y="30"/>
                  <a:pt x="6" y="29"/>
                  <a:pt x="7" y="28"/>
                </a:cubicBezTo>
                <a:cubicBezTo>
                  <a:pt x="7" y="28"/>
                  <a:pt x="7" y="28"/>
                  <a:pt x="7" y="28"/>
                </a:cubicBezTo>
                <a:cubicBezTo>
                  <a:pt x="8" y="28"/>
                  <a:pt x="8" y="27"/>
                  <a:pt x="9" y="27"/>
                </a:cubicBezTo>
                <a:cubicBezTo>
                  <a:pt x="9" y="27"/>
                  <a:pt x="9" y="27"/>
                  <a:pt x="9" y="27"/>
                </a:cubicBezTo>
                <a:cubicBezTo>
                  <a:pt x="9" y="27"/>
                  <a:pt x="10" y="26"/>
                  <a:pt x="10" y="26"/>
                </a:cubicBezTo>
                <a:cubicBezTo>
                  <a:pt x="10" y="26"/>
                  <a:pt x="10" y="26"/>
                  <a:pt x="10" y="26"/>
                </a:cubicBezTo>
                <a:cubicBezTo>
                  <a:pt x="11" y="25"/>
                  <a:pt x="11" y="24"/>
                  <a:pt x="11" y="22"/>
                </a:cubicBezTo>
                <a:cubicBezTo>
                  <a:pt x="11" y="22"/>
                  <a:pt x="11" y="22"/>
                  <a:pt x="11" y="22"/>
                </a:cubicBezTo>
                <a:cubicBezTo>
                  <a:pt x="11" y="20"/>
                  <a:pt x="12" y="18"/>
                  <a:pt x="12" y="16"/>
                </a:cubicBezTo>
                <a:cubicBezTo>
                  <a:pt x="13" y="15"/>
                  <a:pt x="13" y="14"/>
                  <a:pt x="14" y="12"/>
                </a:cubicBezTo>
                <a:cubicBezTo>
                  <a:pt x="15" y="11"/>
                  <a:pt x="16" y="10"/>
                  <a:pt x="16" y="9"/>
                </a:cubicBezTo>
                <a:cubicBezTo>
                  <a:pt x="17" y="8"/>
                  <a:pt x="18" y="8"/>
                  <a:pt x="18" y="7"/>
                </a:cubicBezTo>
                <a:close/>
                <a:moveTo>
                  <a:pt x="19" y="5"/>
                </a:moveTo>
                <a:cubicBezTo>
                  <a:pt x="19" y="4"/>
                  <a:pt x="18" y="3"/>
                  <a:pt x="17" y="2"/>
                </a:cubicBezTo>
                <a:cubicBezTo>
                  <a:pt x="16" y="2"/>
                  <a:pt x="15" y="3"/>
                  <a:pt x="16" y="4"/>
                </a:cubicBezTo>
                <a:cubicBezTo>
                  <a:pt x="16" y="4"/>
                  <a:pt x="16" y="5"/>
                  <a:pt x="17" y="5"/>
                </a:cubicBezTo>
                <a:cubicBezTo>
                  <a:pt x="17" y="5"/>
                  <a:pt x="18" y="5"/>
                  <a:pt x="19" y="5"/>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3" name="Freeform 4774"/>
          <p:cNvSpPr>
            <a:spLocks/>
          </p:cNvSpPr>
          <p:nvPr/>
        </p:nvSpPr>
        <p:spPr bwMode="auto">
          <a:xfrm>
            <a:off x="5567372" y="4724531"/>
            <a:ext cx="230013" cy="196101"/>
          </a:xfrm>
          <a:custGeom>
            <a:avLst/>
            <a:gdLst>
              <a:gd name="T0" fmla="*/ 77 w 84"/>
              <a:gd name="T1" fmla="*/ 66 h 72"/>
              <a:gd name="T2" fmla="*/ 82 w 84"/>
              <a:gd name="T3" fmla="*/ 61 h 72"/>
              <a:gd name="T4" fmla="*/ 83 w 84"/>
              <a:gd name="T5" fmla="*/ 53 h 72"/>
              <a:gd name="T6" fmla="*/ 84 w 84"/>
              <a:gd name="T7" fmla="*/ 44 h 72"/>
              <a:gd name="T8" fmla="*/ 83 w 84"/>
              <a:gd name="T9" fmla="*/ 35 h 72"/>
              <a:gd name="T10" fmla="*/ 79 w 84"/>
              <a:gd name="T11" fmla="*/ 29 h 72"/>
              <a:gd name="T12" fmla="*/ 78 w 84"/>
              <a:gd name="T13" fmla="*/ 27 h 72"/>
              <a:gd name="T14" fmla="*/ 78 w 84"/>
              <a:gd name="T15" fmla="*/ 19 h 72"/>
              <a:gd name="T16" fmla="*/ 76 w 84"/>
              <a:gd name="T17" fmla="*/ 17 h 72"/>
              <a:gd name="T18" fmla="*/ 73 w 84"/>
              <a:gd name="T19" fmla="*/ 14 h 72"/>
              <a:gd name="T20" fmla="*/ 72 w 84"/>
              <a:gd name="T21" fmla="*/ 10 h 72"/>
              <a:gd name="T22" fmla="*/ 68 w 84"/>
              <a:gd name="T23" fmla="*/ 3 h 72"/>
              <a:gd name="T24" fmla="*/ 60 w 84"/>
              <a:gd name="T25" fmla="*/ 0 h 72"/>
              <a:gd name="T26" fmla="*/ 63 w 84"/>
              <a:gd name="T27" fmla="*/ 11 h 72"/>
              <a:gd name="T28" fmla="*/ 67 w 84"/>
              <a:gd name="T29" fmla="*/ 16 h 72"/>
              <a:gd name="T30" fmla="*/ 67 w 84"/>
              <a:gd name="T31" fmla="*/ 18 h 72"/>
              <a:gd name="T32" fmla="*/ 71 w 84"/>
              <a:gd name="T33" fmla="*/ 28 h 72"/>
              <a:gd name="T34" fmla="*/ 73 w 84"/>
              <a:gd name="T35" fmla="*/ 30 h 72"/>
              <a:gd name="T36" fmla="*/ 73 w 84"/>
              <a:gd name="T37" fmla="*/ 31 h 72"/>
              <a:gd name="T38" fmla="*/ 77 w 84"/>
              <a:gd name="T39" fmla="*/ 44 h 72"/>
              <a:gd name="T40" fmla="*/ 80 w 84"/>
              <a:gd name="T41" fmla="*/ 48 h 72"/>
              <a:gd name="T42" fmla="*/ 82 w 84"/>
              <a:gd name="T43" fmla="*/ 56 h 72"/>
              <a:gd name="T44" fmla="*/ 80 w 84"/>
              <a:gd name="T45" fmla="*/ 53 h 72"/>
              <a:gd name="T46" fmla="*/ 75 w 84"/>
              <a:gd name="T47" fmla="*/ 44 h 72"/>
              <a:gd name="T48" fmla="*/ 69 w 84"/>
              <a:gd name="T49" fmla="*/ 37 h 72"/>
              <a:gd name="T50" fmla="*/ 61 w 84"/>
              <a:gd name="T51" fmla="*/ 34 h 72"/>
              <a:gd name="T52" fmla="*/ 59 w 84"/>
              <a:gd name="T53" fmla="*/ 32 h 72"/>
              <a:gd name="T54" fmla="*/ 54 w 84"/>
              <a:gd name="T55" fmla="*/ 26 h 72"/>
              <a:gd name="T56" fmla="*/ 51 w 84"/>
              <a:gd name="T57" fmla="*/ 25 h 72"/>
              <a:gd name="T58" fmla="*/ 46 w 84"/>
              <a:gd name="T59" fmla="*/ 24 h 72"/>
              <a:gd name="T60" fmla="*/ 43 w 84"/>
              <a:gd name="T61" fmla="*/ 21 h 72"/>
              <a:gd name="T62" fmla="*/ 35 w 84"/>
              <a:gd name="T63" fmla="*/ 17 h 72"/>
              <a:gd name="T64" fmla="*/ 27 w 84"/>
              <a:gd name="T65" fmla="*/ 19 h 72"/>
              <a:gd name="T66" fmla="*/ 35 w 84"/>
              <a:gd name="T67" fmla="*/ 28 h 72"/>
              <a:gd name="T68" fmla="*/ 42 w 84"/>
              <a:gd name="T69" fmla="*/ 29 h 72"/>
              <a:gd name="T70" fmla="*/ 43 w 84"/>
              <a:gd name="T71" fmla="*/ 31 h 72"/>
              <a:gd name="T72" fmla="*/ 53 w 84"/>
              <a:gd name="T73" fmla="*/ 37 h 72"/>
              <a:gd name="T74" fmla="*/ 57 w 84"/>
              <a:gd name="T75" fmla="*/ 38 h 72"/>
              <a:gd name="T76" fmla="*/ 58 w 84"/>
              <a:gd name="T77" fmla="*/ 39 h 72"/>
              <a:gd name="T78" fmla="*/ 69 w 84"/>
              <a:gd name="T79" fmla="*/ 49 h 72"/>
              <a:gd name="T80" fmla="*/ 74 w 84"/>
              <a:gd name="T81" fmla="*/ 50 h 72"/>
              <a:gd name="T82" fmla="*/ 80 w 84"/>
              <a:gd name="T83" fmla="*/ 55 h 72"/>
              <a:gd name="T84" fmla="*/ 81 w 84"/>
              <a:gd name="T85" fmla="*/ 59 h 72"/>
              <a:gd name="T86" fmla="*/ 80 w 84"/>
              <a:gd name="T87" fmla="*/ 63 h 72"/>
              <a:gd name="T88" fmla="*/ 76 w 84"/>
              <a:gd name="T89" fmla="*/ 65 h 72"/>
              <a:gd name="T90" fmla="*/ 67 w 84"/>
              <a:gd name="T91" fmla="*/ 67 h 72"/>
              <a:gd name="T92" fmla="*/ 38 w 84"/>
              <a:gd name="T93" fmla="*/ 56 h 72"/>
              <a:gd name="T94" fmla="*/ 3 w 84"/>
              <a:gd name="T95" fmla="*/ 20 h 72"/>
              <a:gd name="T96" fmla="*/ 0 w 84"/>
              <a:gd name="T97" fmla="*/ 22 h 72"/>
              <a:gd name="T98" fmla="*/ 45 w 84"/>
              <a:gd name="T99" fmla="*/ 63 h 72"/>
              <a:gd name="T100" fmla="*/ 77 w 84"/>
              <a:gd name="T101" fmla="*/ 6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 h="72">
                <a:moveTo>
                  <a:pt x="77" y="66"/>
                </a:moveTo>
                <a:cubicBezTo>
                  <a:pt x="79" y="65"/>
                  <a:pt x="81" y="63"/>
                  <a:pt x="82" y="61"/>
                </a:cubicBezTo>
                <a:cubicBezTo>
                  <a:pt x="83" y="58"/>
                  <a:pt x="83" y="56"/>
                  <a:pt x="83" y="53"/>
                </a:cubicBezTo>
                <a:cubicBezTo>
                  <a:pt x="83" y="49"/>
                  <a:pt x="83" y="48"/>
                  <a:pt x="84" y="44"/>
                </a:cubicBezTo>
                <a:cubicBezTo>
                  <a:pt x="84" y="40"/>
                  <a:pt x="84" y="38"/>
                  <a:pt x="83" y="35"/>
                </a:cubicBezTo>
                <a:cubicBezTo>
                  <a:pt x="82" y="32"/>
                  <a:pt x="80" y="31"/>
                  <a:pt x="79" y="29"/>
                </a:cubicBezTo>
                <a:cubicBezTo>
                  <a:pt x="78" y="28"/>
                  <a:pt x="78" y="28"/>
                  <a:pt x="78" y="27"/>
                </a:cubicBezTo>
                <a:cubicBezTo>
                  <a:pt x="79" y="24"/>
                  <a:pt x="79" y="22"/>
                  <a:pt x="78" y="19"/>
                </a:cubicBezTo>
                <a:cubicBezTo>
                  <a:pt x="77" y="18"/>
                  <a:pt x="76" y="18"/>
                  <a:pt x="76" y="17"/>
                </a:cubicBezTo>
                <a:cubicBezTo>
                  <a:pt x="75" y="16"/>
                  <a:pt x="73" y="15"/>
                  <a:pt x="73" y="14"/>
                </a:cubicBezTo>
                <a:cubicBezTo>
                  <a:pt x="72" y="13"/>
                  <a:pt x="72" y="11"/>
                  <a:pt x="72" y="10"/>
                </a:cubicBezTo>
                <a:cubicBezTo>
                  <a:pt x="72" y="7"/>
                  <a:pt x="71" y="5"/>
                  <a:pt x="68" y="3"/>
                </a:cubicBezTo>
                <a:cubicBezTo>
                  <a:pt x="66" y="2"/>
                  <a:pt x="63" y="1"/>
                  <a:pt x="60" y="0"/>
                </a:cubicBezTo>
                <a:cubicBezTo>
                  <a:pt x="60" y="5"/>
                  <a:pt x="61" y="8"/>
                  <a:pt x="63" y="11"/>
                </a:cubicBezTo>
                <a:cubicBezTo>
                  <a:pt x="64" y="13"/>
                  <a:pt x="66" y="14"/>
                  <a:pt x="67" y="16"/>
                </a:cubicBezTo>
                <a:cubicBezTo>
                  <a:pt x="67" y="16"/>
                  <a:pt x="67" y="17"/>
                  <a:pt x="67" y="18"/>
                </a:cubicBezTo>
                <a:cubicBezTo>
                  <a:pt x="67" y="22"/>
                  <a:pt x="68" y="25"/>
                  <a:pt x="71" y="28"/>
                </a:cubicBezTo>
                <a:cubicBezTo>
                  <a:pt x="72" y="28"/>
                  <a:pt x="73" y="29"/>
                  <a:pt x="73" y="30"/>
                </a:cubicBezTo>
                <a:cubicBezTo>
                  <a:pt x="73" y="30"/>
                  <a:pt x="74" y="31"/>
                  <a:pt x="73" y="31"/>
                </a:cubicBezTo>
                <a:cubicBezTo>
                  <a:pt x="73" y="37"/>
                  <a:pt x="73" y="40"/>
                  <a:pt x="77" y="44"/>
                </a:cubicBezTo>
                <a:cubicBezTo>
                  <a:pt x="79" y="45"/>
                  <a:pt x="79" y="47"/>
                  <a:pt x="80" y="48"/>
                </a:cubicBezTo>
                <a:cubicBezTo>
                  <a:pt x="81" y="50"/>
                  <a:pt x="82" y="53"/>
                  <a:pt x="82" y="56"/>
                </a:cubicBezTo>
                <a:cubicBezTo>
                  <a:pt x="81" y="55"/>
                  <a:pt x="81" y="54"/>
                  <a:pt x="80" y="53"/>
                </a:cubicBezTo>
                <a:cubicBezTo>
                  <a:pt x="77" y="49"/>
                  <a:pt x="77" y="48"/>
                  <a:pt x="75" y="44"/>
                </a:cubicBezTo>
                <a:cubicBezTo>
                  <a:pt x="73" y="41"/>
                  <a:pt x="71" y="38"/>
                  <a:pt x="69" y="37"/>
                </a:cubicBezTo>
                <a:cubicBezTo>
                  <a:pt x="65" y="35"/>
                  <a:pt x="63" y="35"/>
                  <a:pt x="61" y="34"/>
                </a:cubicBezTo>
                <a:cubicBezTo>
                  <a:pt x="60" y="34"/>
                  <a:pt x="60" y="33"/>
                  <a:pt x="59" y="32"/>
                </a:cubicBezTo>
                <a:cubicBezTo>
                  <a:pt x="58" y="30"/>
                  <a:pt x="57" y="28"/>
                  <a:pt x="54" y="26"/>
                </a:cubicBezTo>
                <a:cubicBezTo>
                  <a:pt x="53" y="25"/>
                  <a:pt x="52" y="25"/>
                  <a:pt x="51" y="25"/>
                </a:cubicBezTo>
                <a:cubicBezTo>
                  <a:pt x="49" y="24"/>
                  <a:pt x="47" y="25"/>
                  <a:pt x="46" y="24"/>
                </a:cubicBezTo>
                <a:cubicBezTo>
                  <a:pt x="45" y="23"/>
                  <a:pt x="44" y="22"/>
                  <a:pt x="43" y="21"/>
                </a:cubicBezTo>
                <a:cubicBezTo>
                  <a:pt x="41" y="19"/>
                  <a:pt x="39" y="17"/>
                  <a:pt x="35" y="17"/>
                </a:cubicBezTo>
                <a:cubicBezTo>
                  <a:pt x="33" y="17"/>
                  <a:pt x="30" y="18"/>
                  <a:pt x="27" y="19"/>
                </a:cubicBezTo>
                <a:cubicBezTo>
                  <a:pt x="29" y="23"/>
                  <a:pt x="32" y="26"/>
                  <a:pt x="35" y="28"/>
                </a:cubicBezTo>
                <a:cubicBezTo>
                  <a:pt x="38" y="29"/>
                  <a:pt x="41" y="28"/>
                  <a:pt x="42" y="29"/>
                </a:cubicBezTo>
                <a:cubicBezTo>
                  <a:pt x="43" y="30"/>
                  <a:pt x="43" y="30"/>
                  <a:pt x="43" y="31"/>
                </a:cubicBezTo>
                <a:cubicBezTo>
                  <a:pt x="46" y="35"/>
                  <a:pt x="48" y="37"/>
                  <a:pt x="53" y="37"/>
                </a:cubicBezTo>
                <a:cubicBezTo>
                  <a:pt x="54" y="38"/>
                  <a:pt x="56" y="38"/>
                  <a:pt x="57" y="38"/>
                </a:cubicBezTo>
                <a:cubicBezTo>
                  <a:pt x="57" y="38"/>
                  <a:pt x="57" y="39"/>
                  <a:pt x="58" y="39"/>
                </a:cubicBezTo>
                <a:cubicBezTo>
                  <a:pt x="61" y="44"/>
                  <a:pt x="63" y="48"/>
                  <a:pt x="69" y="49"/>
                </a:cubicBezTo>
                <a:cubicBezTo>
                  <a:pt x="71" y="49"/>
                  <a:pt x="73" y="49"/>
                  <a:pt x="74" y="50"/>
                </a:cubicBezTo>
                <a:cubicBezTo>
                  <a:pt x="76" y="51"/>
                  <a:pt x="79" y="53"/>
                  <a:pt x="80" y="55"/>
                </a:cubicBezTo>
                <a:cubicBezTo>
                  <a:pt x="81" y="57"/>
                  <a:pt x="81" y="58"/>
                  <a:pt x="81" y="59"/>
                </a:cubicBezTo>
                <a:cubicBezTo>
                  <a:pt x="81" y="60"/>
                  <a:pt x="81" y="61"/>
                  <a:pt x="80" y="63"/>
                </a:cubicBezTo>
                <a:cubicBezTo>
                  <a:pt x="78" y="64"/>
                  <a:pt x="77" y="65"/>
                  <a:pt x="76" y="65"/>
                </a:cubicBezTo>
                <a:cubicBezTo>
                  <a:pt x="73" y="67"/>
                  <a:pt x="71" y="67"/>
                  <a:pt x="67" y="67"/>
                </a:cubicBezTo>
                <a:cubicBezTo>
                  <a:pt x="56" y="67"/>
                  <a:pt x="47" y="62"/>
                  <a:pt x="38" y="56"/>
                </a:cubicBezTo>
                <a:cubicBezTo>
                  <a:pt x="24" y="46"/>
                  <a:pt x="11" y="30"/>
                  <a:pt x="3" y="20"/>
                </a:cubicBezTo>
                <a:cubicBezTo>
                  <a:pt x="0" y="22"/>
                  <a:pt x="0" y="22"/>
                  <a:pt x="0" y="22"/>
                </a:cubicBezTo>
                <a:cubicBezTo>
                  <a:pt x="9" y="34"/>
                  <a:pt x="28" y="54"/>
                  <a:pt x="45" y="63"/>
                </a:cubicBezTo>
                <a:cubicBezTo>
                  <a:pt x="52" y="67"/>
                  <a:pt x="68" y="72"/>
                  <a:pt x="77" y="66"/>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4" name="Freeform 4775"/>
          <p:cNvSpPr>
            <a:spLocks/>
          </p:cNvSpPr>
          <p:nvPr/>
        </p:nvSpPr>
        <p:spPr bwMode="auto">
          <a:xfrm>
            <a:off x="5247418" y="2036621"/>
            <a:ext cx="175459" cy="112057"/>
          </a:xfrm>
          <a:custGeom>
            <a:avLst/>
            <a:gdLst>
              <a:gd name="T0" fmla="*/ 8 w 64"/>
              <a:gd name="T1" fmla="*/ 13 h 41"/>
              <a:gd name="T2" fmla="*/ 11 w 64"/>
              <a:gd name="T3" fmla="*/ 1 h 41"/>
              <a:gd name="T4" fmla="*/ 19 w 64"/>
              <a:gd name="T5" fmla="*/ 12 h 41"/>
              <a:gd name="T6" fmla="*/ 30 w 64"/>
              <a:gd name="T7" fmla="*/ 11 h 41"/>
              <a:gd name="T8" fmla="*/ 30 w 64"/>
              <a:gd name="T9" fmla="*/ 5 h 41"/>
              <a:gd name="T10" fmla="*/ 39 w 64"/>
              <a:gd name="T11" fmla="*/ 7 h 41"/>
              <a:gd name="T12" fmla="*/ 53 w 64"/>
              <a:gd name="T13" fmla="*/ 17 h 41"/>
              <a:gd name="T14" fmla="*/ 60 w 64"/>
              <a:gd name="T15" fmla="*/ 25 h 41"/>
              <a:gd name="T16" fmla="*/ 60 w 64"/>
              <a:gd name="T17" fmla="*/ 38 h 41"/>
              <a:gd name="T18" fmla="*/ 44 w 64"/>
              <a:gd name="T19" fmla="*/ 38 h 41"/>
              <a:gd name="T20" fmla="*/ 43 w 64"/>
              <a:gd name="T21" fmla="*/ 26 h 41"/>
              <a:gd name="T22" fmla="*/ 43 w 64"/>
              <a:gd name="T23" fmla="*/ 38 h 41"/>
              <a:gd name="T24" fmla="*/ 61 w 64"/>
              <a:gd name="T25" fmla="*/ 39 h 41"/>
              <a:gd name="T26" fmla="*/ 59 w 64"/>
              <a:gd name="T27" fmla="*/ 21 h 41"/>
              <a:gd name="T28" fmla="*/ 55 w 64"/>
              <a:gd name="T29" fmla="*/ 17 h 41"/>
              <a:gd name="T30" fmla="*/ 34 w 64"/>
              <a:gd name="T31" fmla="*/ 4 h 41"/>
              <a:gd name="T32" fmla="*/ 29 w 64"/>
              <a:gd name="T33" fmla="*/ 4 h 41"/>
              <a:gd name="T34" fmla="*/ 29 w 64"/>
              <a:gd name="T35" fmla="*/ 10 h 41"/>
              <a:gd name="T36" fmla="*/ 19 w 64"/>
              <a:gd name="T37" fmla="*/ 11 h 41"/>
              <a:gd name="T38" fmla="*/ 11 w 64"/>
              <a:gd name="T39" fmla="*/ 0 h 41"/>
              <a:gd name="T40" fmla="*/ 9 w 64"/>
              <a:gd name="T41" fmla="*/ 10 h 41"/>
              <a:gd name="T42" fmla="*/ 1 w 64"/>
              <a:gd name="T43" fmla="*/ 17 h 41"/>
              <a:gd name="T44" fmla="*/ 2 w 64"/>
              <a:gd name="T45" fmla="*/ 19 h 41"/>
              <a:gd name="T46" fmla="*/ 17 w 64"/>
              <a:gd name="T47" fmla="*/ 19 h 41"/>
              <a:gd name="T48" fmla="*/ 24 w 64"/>
              <a:gd name="T49" fmla="*/ 34 h 41"/>
              <a:gd name="T50" fmla="*/ 24 w 64"/>
              <a:gd name="T51" fmla="*/ 38 h 41"/>
              <a:gd name="T52" fmla="*/ 29 w 64"/>
              <a:gd name="T53" fmla="*/ 37 h 41"/>
              <a:gd name="T54" fmla="*/ 40 w 64"/>
              <a:gd name="T55" fmla="*/ 40 h 41"/>
              <a:gd name="T56" fmla="*/ 40 w 64"/>
              <a:gd name="T57" fmla="*/ 39 h 41"/>
              <a:gd name="T58" fmla="*/ 29 w 64"/>
              <a:gd name="T59" fmla="*/ 36 h 41"/>
              <a:gd name="T60" fmla="*/ 25 w 64"/>
              <a:gd name="T61" fmla="*/ 37 h 41"/>
              <a:gd name="T62" fmla="*/ 25 w 64"/>
              <a:gd name="T63" fmla="*/ 31 h 41"/>
              <a:gd name="T64" fmla="*/ 16 w 64"/>
              <a:gd name="T65" fmla="*/ 18 h 41"/>
              <a:gd name="T66" fmla="*/ 1 w 64"/>
              <a:gd name="T67" fmla="*/ 1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41">
                <a:moveTo>
                  <a:pt x="1" y="18"/>
                </a:moveTo>
                <a:cubicBezTo>
                  <a:pt x="4" y="16"/>
                  <a:pt x="6" y="14"/>
                  <a:pt x="8" y="13"/>
                </a:cubicBezTo>
                <a:cubicBezTo>
                  <a:pt x="9" y="12"/>
                  <a:pt x="10" y="11"/>
                  <a:pt x="10" y="10"/>
                </a:cubicBezTo>
                <a:cubicBezTo>
                  <a:pt x="10" y="7"/>
                  <a:pt x="11" y="4"/>
                  <a:pt x="11" y="1"/>
                </a:cubicBezTo>
                <a:cubicBezTo>
                  <a:pt x="12" y="3"/>
                  <a:pt x="13" y="4"/>
                  <a:pt x="13" y="5"/>
                </a:cubicBezTo>
                <a:cubicBezTo>
                  <a:pt x="15" y="7"/>
                  <a:pt x="17" y="10"/>
                  <a:pt x="19" y="12"/>
                </a:cubicBezTo>
                <a:cubicBezTo>
                  <a:pt x="19" y="13"/>
                  <a:pt x="19" y="13"/>
                  <a:pt x="20" y="13"/>
                </a:cubicBezTo>
                <a:cubicBezTo>
                  <a:pt x="23" y="11"/>
                  <a:pt x="27" y="11"/>
                  <a:pt x="30" y="11"/>
                </a:cubicBezTo>
                <a:cubicBezTo>
                  <a:pt x="31" y="11"/>
                  <a:pt x="32" y="11"/>
                  <a:pt x="31" y="9"/>
                </a:cubicBezTo>
                <a:cubicBezTo>
                  <a:pt x="30" y="8"/>
                  <a:pt x="30" y="6"/>
                  <a:pt x="30" y="5"/>
                </a:cubicBezTo>
                <a:cubicBezTo>
                  <a:pt x="30" y="4"/>
                  <a:pt x="30" y="3"/>
                  <a:pt x="31" y="4"/>
                </a:cubicBezTo>
                <a:cubicBezTo>
                  <a:pt x="34" y="5"/>
                  <a:pt x="36" y="6"/>
                  <a:pt x="39" y="7"/>
                </a:cubicBezTo>
                <a:cubicBezTo>
                  <a:pt x="42" y="9"/>
                  <a:pt x="46" y="10"/>
                  <a:pt x="49" y="12"/>
                </a:cubicBezTo>
                <a:cubicBezTo>
                  <a:pt x="52" y="13"/>
                  <a:pt x="53" y="15"/>
                  <a:pt x="53" y="17"/>
                </a:cubicBezTo>
                <a:cubicBezTo>
                  <a:pt x="53" y="18"/>
                  <a:pt x="54" y="19"/>
                  <a:pt x="55" y="19"/>
                </a:cubicBezTo>
                <a:cubicBezTo>
                  <a:pt x="58" y="21"/>
                  <a:pt x="59" y="23"/>
                  <a:pt x="60" y="25"/>
                </a:cubicBezTo>
                <a:cubicBezTo>
                  <a:pt x="62" y="28"/>
                  <a:pt x="63" y="31"/>
                  <a:pt x="63" y="34"/>
                </a:cubicBezTo>
                <a:cubicBezTo>
                  <a:pt x="63" y="37"/>
                  <a:pt x="63" y="38"/>
                  <a:pt x="60" y="38"/>
                </a:cubicBezTo>
                <a:cubicBezTo>
                  <a:pt x="56" y="40"/>
                  <a:pt x="52" y="40"/>
                  <a:pt x="48" y="40"/>
                </a:cubicBezTo>
                <a:cubicBezTo>
                  <a:pt x="46" y="40"/>
                  <a:pt x="45" y="40"/>
                  <a:pt x="44" y="38"/>
                </a:cubicBezTo>
                <a:cubicBezTo>
                  <a:pt x="42" y="35"/>
                  <a:pt x="42" y="32"/>
                  <a:pt x="43" y="28"/>
                </a:cubicBezTo>
                <a:cubicBezTo>
                  <a:pt x="43" y="27"/>
                  <a:pt x="44" y="27"/>
                  <a:pt x="43" y="26"/>
                </a:cubicBezTo>
                <a:cubicBezTo>
                  <a:pt x="42" y="26"/>
                  <a:pt x="42" y="27"/>
                  <a:pt x="42" y="28"/>
                </a:cubicBezTo>
                <a:cubicBezTo>
                  <a:pt x="40" y="31"/>
                  <a:pt x="41" y="35"/>
                  <a:pt x="43" y="38"/>
                </a:cubicBezTo>
                <a:cubicBezTo>
                  <a:pt x="44" y="40"/>
                  <a:pt x="46" y="41"/>
                  <a:pt x="48" y="41"/>
                </a:cubicBezTo>
                <a:cubicBezTo>
                  <a:pt x="52" y="41"/>
                  <a:pt x="57" y="40"/>
                  <a:pt x="61" y="39"/>
                </a:cubicBezTo>
                <a:cubicBezTo>
                  <a:pt x="63" y="38"/>
                  <a:pt x="64" y="37"/>
                  <a:pt x="64" y="35"/>
                </a:cubicBezTo>
                <a:cubicBezTo>
                  <a:pt x="64" y="30"/>
                  <a:pt x="62" y="25"/>
                  <a:pt x="59" y="21"/>
                </a:cubicBezTo>
                <a:cubicBezTo>
                  <a:pt x="58" y="20"/>
                  <a:pt x="57" y="19"/>
                  <a:pt x="56" y="19"/>
                </a:cubicBezTo>
                <a:cubicBezTo>
                  <a:pt x="55" y="18"/>
                  <a:pt x="55" y="18"/>
                  <a:pt x="55" y="17"/>
                </a:cubicBezTo>
                <a:cubicBezTo>
                  <a:pt x="54" y="14"/>
                  <a:pt x="53" y="12"/>
                  <a:pt x="50" y="11"/>
                </a:cubicBezTo>
                <a:cubicBezTo>
                  <a:pt x="45" y="9"/>
                  <a:pt x="39" y="6"/>
                  <a:pt x="34" y="4"/>
                </a:cubicBezTo>
                <a:cubicBezTo>
                  <a:pt x="33" y="3"/>
                  <a:pt x="32" y="3"/>
                  <a:pt x="31" y="3"/>
                </a:cubicBezTo>
                <a:cubicBezTo>
                  <a:pt x="30" y="2"/>
                  <a:pt x="29" y="2"/>
                  <a:pt x="29" y="4"/>
                </a:cubicBezTo>
                <a:cubicBezTo>
                  <a:pt x="29" y="6"/>
                  <a:pt x="29" y="7"/>
                  <a:pt x="30" y="9"/>
                </a:cubicBezTo>
                <a:cubicBezTo>
                  <a:pt x="30" y="10"/>
                  <a:pt x="30" y="10"/>
                  <a:pt x="29" y="10"/>
                </a:cubicBezTo>
                <a:cubicBezTo>
                  <a:pt x="26" y="10"/>
                  <a:pt x="23" y="10"/>
                  <a:pt x="20" y="12"/>
                </a:cubicBezTo>
                <a:cubicBezTo>
                  <a:pt x="19" y="12"/>
                  <a:pt x="19" y="11"/>
                  <a:pt x="19" y="11"/>
                </a:cubicBezTo>
                <a:cubicBezTo>
                  <a:pt x="17" y="8"/>
                  <a:pt x="15" y="5"/>
                  <a:pt x="13" y="2"/>
                </a:cubicBezTo>
                <a:cubicBezTo>
                  <a:pt x="12" y="1"/>
                  <a:pt x="12" y="0"/>
                  <a:pt x="11" y="0"/>
                </a:cubicBezTo>
                <a:cubicBezTo>
                  <a:pt x="9" y="0"/>
                  <a:pt x="10" y="2"/>
                  <a:pt x="10" y="2"/>
                </a:cubicBezTo>
                <a:cubicBezTo>
                  <a:pt x="9" y="5"/>
                  <a:pt x="9" y="7"/>
                  <a:pt x="9" y="10"/>
                </a:cubicBezTo>
                <a:cubicBezTo>
                  <a:pt x="9" y="10"/>
                  <a:pt x="8" y="11"/>
                  <a:pt x="8" y="12"/>
                </a:cubicBezTo>
                <a:cubicBezTo>
                  <a:pt x="5" y="14"/>
                  <a:pt x="3" y="15"/>
                  <a:pt x="1" y="17"/>
                </a:cubicBezTo>
                <a:cubicBezTo>
                  <a:pt x="0" y="18"/>
                  <a:pt x="0" y="18"/>
                  <a:pt x="0" y="19"/>
                </a:cubicBezTo>
                <a:cubicBezTo>
                  <a:pt x="0" y="20"/>
                  <a:pt x="1" y="19"/>
                  <a:pt x="2" y="19"/>
                </a:cubicBezTo>
                <a:cubicBezTo>
                  <a:pt x="6" y="19"/>
                  <a:pt x="11" y="19"/>
                  <a:pt x="15" y="19"/>
                </a:cubicBezTo>
                <a:cubicBezTo>
                  <a:pt x="16" y="19"/>
                  <a:pt x="16" y="19"/>
                  <a:pt x="17" y="19"/>
                </a:cubicBezTo>
                <a:cubicBezTo>
                  <a:pt x="18" y="24"/>
                  <a:pt x="20" y="28"/>
                  <a:pt x="24" y="31"/>
                </a:cubicBezTo>
                <a:cubicBezTo>
                  <a:pt x="24" y="32"/>
                  <a:pt x="25" y="33"/>
                  <a:pt x="24" y="34"/>
                </a:cubicBezTo>
                <a:cubicBezTo>
                  <a:pt x="24" y="35"/>
                  <a:pt x="24" y="36"/>
                  <a:pt x="24" y="37"/>
                </a:cubicBezTo>
                <a:cubicBezTo>
                  <a:pt x="23" y="37"/>
                  <a:pt x="23" y="38"/>
                  <a:pt x="24" y="38"/>
                </a:cubicBezTo>
                <a:cubicBezTo>
                  <a:pt x="25" y="39"/>
                  <a:pt x="25" y="39"/>
                  <a:pt x="26" y="38"/>
                </a:cubicBezTo>
                <a:cubicBezTo>
                  <a:pt x="27" y="38"/>
                  <a:pt x="28" y="38"/>
                  <a:pt x="29" y="37"/>
                </a:cubicBezTo>
                <a:cubicBezTo>
                  <a:pt x="30" y="36"/>
                  <a:pt x="31" y="36"/>
                  <a:pt x="32" y="37"/>
                </a:cubicBezTo>
                <a:cubicBezTo>
                  <a:pt x="34" y="39"/>
                  <a:pt x="37" y="40"/>
                  <a:pt x="40" y="40"/>
                </a:cubicBezTo>
                <a:cubicBezTo>
                  <a:pt x="40" y="40"/>
                  <a:pt x="41" y="41"/>
                  <a:pt x="41" y="40"/>
                </a:cubicBezTo>
                <a:cubicBezTo>
                  <a:pt x="41" y="39"/>
                  <a:pt x="41" y="39"/>
                  <a:pt x="40" y="39"/>
                </a:cubicBezTo>
                <a:cubicBezTo>
                  <a:pt x="37" y="39"/>
                  <a:pt x="34" y="37"/>
                  <a:pt x="32" y="36"/>
                </a:cubicBezTo>
                <a:cubicBezTo>
                  <a:pt x="31" y="35"/>
                  <a:pt x="30" y="35"/>
                  <a:pt x="29" y="36"/>
                </a:cubicBezTo>
                <a:cubicBezTo>
                  <a:pt x="28" y="36"/>
                  <a:pt x="27" y="37"/>
                  <a:pt x="26" y="37"/>
                </a:cubicBezTo>
                <a:cubicBezTo>
                  <a:pt x="25" y="38"/>
                  <a:pt x="24" y="38"/>
                  <a:pt x="25" y="37"/>
                </a:cubicBezTo>
                <a:cubicBezTo>
                  <a:pt x="25" y="36"/>
                  <a:pt x="25" y="35"/>
                  <a:pt x="26" y="34"/>
                </a:cubicBezTo>
                <a:cubicBezTo>
                  <a:pt x="26" y="32"/>
                  <a:pt x="26" y="32"/>
                  <a:pt x="25" y="31"/>
                </a:cubicBezTo>
                <a:cubicBezTo>
                  <a:pt x="21" y="27"/>
                  <a:pt x="18" y="23"/>
                  <a:pt x="18" y="18"/>
                </a:cubicBezTo>
                <a:cubicBezTo>
                  <a:pt x="17" y="17"/>
                  <a:pt x="17" y="18"/>
                  <a:pt x="16" y="18"/>
                </a:cubicBezTo>
                <a:cubicBezTo>
                  <a:pt x="11" y="18"/>
                  <a:pt x="7" y="18"/>
                  <a:pt x="2" y="18"/>
                </a:cubicBezTo>
                <a:cubicBezTo>
                  <a:pt x="2" y="18"/>
                  <a:pt x="2" y="18"/>
                  <a:pt x="1" y="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5" name="Freeform 4776"/>
          <p:cNvSpPr>
            <a:spLocks noEditPoints="1"/>
          </p:cNvSpPr>
          <p:nvPr/>
        </p:nvSpPr>
        <p:spPr bwMode="auto">
          <a:xfrm>
            <a:off x="5390438" y="2101496"/>
            <a:ext cx="19167" cy="19167"/>
          </a:xfrm>
          <a:custGeom>
            <a:avLst/>
            <a:gdLst>
              <a:gd name="T0" fmla="*/ 4 w 7"/>
              <a:gd name="T1" fmla="*/ 0 h 7"/>
              <a:gd name="T2" fmla="*/ 6 w 7"/>
              <a:gd name="T3" fmla="*/ 4 h 7"/>
              <a:gd name="T4" fmla="*/ 3 w 7"/>
              <a:gd name="T5" fmla="*/ 6 h 7"/>
              <a:gd name="T6" fmla="*/ 0 w 7"/>
              <a:gd name="T7" fmla="*/ 3 h 7"/>
              <a:gd name="T8" fmla="*/ 4 w 7"/>
              <a:gd name="T9" fmla="*/ 0 h 7"/>
              <a:gd name="T10" fmla="*/ 3 w 7"/>
              <a:gd name="T11" fmla="*/ 5 h 7"/>
              <a:gd name="T12" fmla="*/ 5 w 7"/>
              <a:gd name="T13" fmla="*/ 4 h 7"/>
              <a:gd name="T14" fmla="*/ 3 w 7"/>
              <a:gd name="T15" fmla="*/ 1 h 7"/>
              <a:gd name="T16" fmla="*/ 1 w 7"/>
              <a:gd name="T17" fmla="*/ 3 h 7"/>
              <a:gd name="T18" fmla="*/ 3 w 7"/>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cubicBezTo>
                  <a:pt x="6" y="1"/>
                  <a:pt x="7" y="2"/>
                  <a:pt x="6" y="4"/>
                </a:cubicBezTo>
                <a:cubicBezTo>
                  <a:pt x="6" y="5"/>
                  <a:pt x="4" y="7"/>
                  <a:pt x="3" y="6"/>
                </a:cubicBezTo>
                <a:cubicBezTo>
                  <a:pt x="1" y="6"/>
                  <a:pt x="0" y="5"/>
                  <a:pt x="0" y="3"/>
                </a:cubicBezTo>
                <a:cubicBezTo>
                  <a:pt x="0" y="1"/>
                  <a:pt x="2" y="0"/>
                  <a:pt x="4" y="0"/>
                </a:cubicBezTo>
                <a:moveTo>
                  <a:pt x="3" y="5"/>
                </a:moveTo>
                <a:cubicBezTo>
                  <a:pt x="4" y="5"/>
                  <a:pt x="5" y="5"/>
                  <a:pt x="5" y="4"/>
                </a:cubicBezTo>
                <a:cubicBezTo>
                  <a:pt x="5" y="3"/>
                  <a:pt x="5" y="2"/>
                  <a:pt x="3" y="1"/>
                </a:cubicBezTo>
                <a:cubicBezTo>
                  <a:pt x="2" y="1"/>
                  <a:pt x="1" y="2"/>
                  <a:pt x="1" y="3"/>
                </a:cubicBezTo>
                <a:cubicBezTo>
                  <a:pt x="1" y="4"/>
                  <a:pt x="2" y="5"/>
                  <a:pt x="3"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3" name="Freeform 4784"/>
          <p:cNvSpPr>
            <a:spLocks/>
          </p:cNvSpPr>
          <p:nvPr/>
        </p:nvSpPr>
        <p:spPr bwMode="auto">
          <a:xfrm>
            <a:off x="5977266" y="2268108"/>
            <a:ext cx="160715" cy="169561"/>
          </a:xfrm>
          <a:custGeom>
            <a:avLst/>
            <a:gdLst>
              <a:gd name="T0" fmla="*/ 5 w 59"/>
              <a:gd name="T1" fmla="*/ 40 h 62"/>
              <a:gd name="T2" fmla="*/ 3 w 59"/>
              <a:gd name="T3" fmla="*/ 24 h 62"/>
              <a:gd name="T4" fmla="*/ 2 w 59"/>
              <a:gd name="T5" fmla="*/ 18 h 62"/>
              <a:gd name="T6" fmla="*/ 5 w 59"/>
              <a:gd name="T7" fmla="*/ 13 h 62"/>
              <a:gd name="T8" fmla="*/ 8 w 59"/>
              <a:gd name="T9" fmla="*/ 8 h 62"/>
              <a:gd name="T10" fmla="*/ 11 w 59"/>
              <a:gd name="T11" fmla="*/ 7 h 62"/>
              <a:gd name="T12" fmla="*/ 17 w 59"/>
              <a:gd name="T13" fmla="*/ 4 h 62"/>
              <a:gd name="T14" fmla="*/ 22 w 59"/>
              <a:gd name="T15" fmla="*/ 2 h 62"/>
              <a:gd name="T16" fmla="*/ 26 w 59"/>
              <a:gd name="T17" fmla="*/ 1 h 62"/>
              <a:gd name="T18" fmla="*/ 28 w 59"/>
              <a:gd name="T19" fmla="*/ 4 h 62"/>
              <a:gd name="T20" fmla="*/ 33 w 59"/>
              <a:gd name="T21" fmla="*/ 4 h 62"/>
              <a:gd name="T22" fmla="*/ 31 w 59"/>
              <a:gd name="T23" fmla="*/ 7 h 62"/>
              <a:gd name="T24" fmla="*/ 25 w 59"/>
              <a:gd name="T25" fmla="*/ 21 h 62"/>
              <a:gd name="T26" fmla="*/ 26 w 59"/>
              <a:gd name="T27" fmla="*/ 21 h 62"/>
              <a:gd name="T28" fmla="*/ 30 w 59"/>
              <a:gd name="T29" fmla="*/ 27 h 62"/>
              <a:gd name="T30" fmla="*/ 54 w 59"/>
              <a:gd name="T31" fmla="*/ 27 h 62"/>
              <a:gd name="T32" fmla="*/ 57 w 59"/>
              <a:gd name="T33" fmla="*/ 26 h 62"/>
              <a:gd name="T34" fmla="*/ 57 w 59"/>
              <a:gd name="T35" fmla="*/ 26 h 62"/>
              <a:gd name="T36" fmla="*/ 58 w 59"/>
              <a:gd name="T37" fmla="*/ 26 h 62"/>
              <a:gd name="T38" fmla="*/ 57 w 59"/>
              <a:gd name="T39" fmla="*/ 27 h 62"/>
              <a:gd name="T40" fmla="*/ 58 w 59"/>
              <a:gd name="T41" fmla="*/ 27 h 62"/>
              <a:gd name="T42" fmla="*/ 58 w 59"/>
              <a:gd name="T43" fmla="*/ 27 h 62"/>
              <a:gd name="T44" fmla="*/ 58 w 59"/>
              <a:gd name="T45" fmla="*/ 28 h 62"/>
              <a:gd name="T46" fmla="*/ 59 w 59"/>
              <a:gd name="T47" fmla="*/ 27 h 62"/>
              <a:gd name="T48" fmla="*/ 58 w 59"/>
              <a:gd name="T49" fmla="*/ 29 h 62"/>
              <a:gd name="T50" fmla="*/ 59 w 59"/>
              <a:gd name="T51" fmla="*/ 29 h 62"/>
              <a:gd name="T52" fmla="*/ 59 w 59"/>
              <a:gd name="T53" fmla="*/ 29 h 62"/>
              <a:gd name="T54" fmla="*/ 58 w 59"/>
              <a:gd name="T55" fmla="*/ 30 h 62"/>
              <a:gd name="T56" fmla="*/ 59 w 59"/>
              <a:gd name="T57" fmla="*/ 30 h 62"/>
              <a:gd name="T58" fmla="*/ 59 w 59"/>
              <a:gd name="T59" fmla="*/ 30 h 62"/>
              <a:gd name="T60" fmla="*/ 58 w 59"/>
              <a:gd name="T61" fmla="*/ 33 h 62"/>
              <a:gd name="T62" fmla="*/ 57 w 59"/>
              <a:gd name="T63" fmla="*/ 35 h 62"/>
              <a:gd name="T64" fmla="*/ 56 w 59"/>
              <a:gd name="T65" fmla="*/ 36 h 62"/>
              <a:gd name="T66" fmla="*/ 51 w 59"/>
              <a:gd name="T67" fmla="*/ 35 h 62"/>
              <a:gd name="T68" fmla="*/ 50 w 59"/>
              <a:gd name="T69" fmla="*/ 36 h 62"/>
              <a:gd name="T70" fmla="*/ 50 w 59"/>
              <a:gd name="T71" fmla="*/ 37 h 62"/>
              <a:gd name="T72" fmla="*/ 50 w 59"/>
              <a:gd name="T73" fmla="*/ 38 h 62"/>
              <a:gd name="T74" fmla="*/ 49 w 59"/>
              <a:gd name="T75" fmla="*/ 38 h 62"/>
              <a:gd name="T76" fmla="*/ 24 w 59"/>
              <a:gd name="T77" fmla="*/ 52 h 62"/>
              <a:gd name="T78" fmla="*/ 14 w 59"/>
              <a:gd name="T79" fmla="*/ 50 h 62"/>
              <a:gd name="T80" fmla="*/ 10 w 59"/>
              <a:gd name="T81" fmla="*/ 49 h 62"/>
              <a:gd name="T82" fmla="*/ 9 w 59"/>
              <a:gd name="T83" fmla="*/ 53 h 62"/>
              <a:gd name="T84" fmla="*/ 10 w 59"/>
              <a:gd name="T85" fmla="*/ 56 h 62"/>
              <a:gd name="T86" fmla="*/ 13 w 59"/>
              <a:gd name="T87" fmla="*/ 61 h 62"/>
              <a:gd name="T88" fmla="*/ 11 w 59"/>
              <a:gd name="T89" fmla="*/ 59 h 62"/>
              <a:gd name="T90" fmla="*/ 6 w 59"/>
              <a:gd name="T91" fmla="*/ 56 h 62"/>
              <a:gd name="T92" fmla="*/ 5 w 59"/>
              <a:gd name="T93" fmla="*/ 56 h 62"/>
              <a:gd name="T94" fmla="*/ 11 w 59"/>
              <a:gd name="T95" fmla="*/ 60 h 62"/>
              <a:gd name="T96" fmla="*/ 10 w 59"/>
              <a:gd name="T97" fmla="*/ 61 h 62"/>
              <a:gd name="T98" fmla="*/ 5 w 59"/>
              <a:gd name="T99" fmla="*/ 58 h 62"/>
              <a:gd name="T100" fmla="*/ 7 w 59"/>
              <a:gd name="T101" fmla="*/ 61 h 62"/>
              <a:gd name="T102" fmla="*/ 6 w 59"/>
              <a:gd name="T103" fmla="*/ 62 h 62"/>
              <a:gd name="T104" fmla="*/ 4 w 59"/>
              <a:gd name="T105" fmla="*/ 57 h 62"/>
              <a:gd name="T106" fmla="*/ 2 w 59"/>
              <a:gd name="T107" fmla="*/ 54 h 62"/>
              <a:gd name="T108" fmla="*/ 0 w 59"/>
              <a:gd name="T109" fmla="*/ 53 h 62"/>
              <a:gd name="T110" fmla="*/ 4 w 59"/>
              <a:gd name="T111" fmla="*/ 52 h 62"/>
              <a:gd name="T112" fmla="*/ 3 w 59"/>
              <a:gd name="T113" fmla="*/ 50 h 62"/>
              <a:gd name="T114" fmla="*/ 3 w 59"/>
              <a:gd name="T115" fmla="*/ 50 h 62"/>
              <a:gd name="T116" fmla="*/ 7 w 59"/>
              <a:gd name="T117"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 h="62">
                <a:moveTo>
                  <a:pt x="7" y="47"/>
                </a:moveTo>
                <a:cubicBezTo>
                  <a:pt x="5" y="45"/>
                  <a:pt x="4" y="42"/>
                  <a:pt x="5" y="40"/>
                </a:cubicBezTo>
                <a:cubicBezTo>
                  <a:pt x="2" y="35"/>
                  <a:pt x="1" y="30"/>
                  <a:pt x="3" y="24"/>
                </a:cubicBezTo>
                <a:cubicBezTo>
                  <a:pt x="3" y="24"/>
                  <a:pt x="3" y="24"/>
                  <a:pt x="3" y="24"/>
                </a:cubicBezTo>
                <a:cubicBezTo>
                  <a:pt x="3" y="23"/>
                  <a:pt x="3" y="23"/>
                  <a:pt x="2" y="22"/>
                </a:cubicBezTo>
                <a:cubicBezTo>
                  <a:pt x="2" y="21"/>
                  <a:pt x="2" y="19"/>
                  <a:pt x="2" y="18"/>
                </a:cubicBezTo>
                <a:cubicBezTo>
                  <a:pt x="2" y="17"/>
                  <a:pt x="3" y="17"/>
                  <a:pt x="4" y="17"/>
                </a:cubicBezTo>
                <a:cubicBezTo>
                  <a:pt x="4" y="15"/>
                  <a:pt x="4" y="14"/>
                  <a:pt x="5" y="13"/>
                </a:cubicBezTo>
                <a:cubicBezTo>
                  <a:pt x="5" y="12"/>
                  <a:pt x="6" y="11"/>
                  <a:pt x="7" y="12"/>
                </a:cubicBezTo>
                <a:cubicBezTo>
                  <a:pt x="7" y="10"/>
                  <a:pt x="7" y="9"/>
                  <a:pt x="8" y="8"/>
                </a:cubicBezTo>
                <a:cubicBezTo>
                  <a:pt x="9" y="7"/>
                  <a:pt x="10" y="6"/>
                  <a:pt x="11" y="7"/>
                </a:cubicBezTo>
                <a:cubicBezTo>
                  <a:pt x="11" y="7"/>
                  <a:pt x="11" y="7"/>
                  <a:pt x="11" y="7"/>
                </a:cubicBezTo>
                <a:cubicBezTo>
                  <a:pt x="12" y="6"/>
                  <a:pt x="13" y="4"/>
                  <a:pt x="14" y="3"/>
                </a:cubicBezTo>
                <a:cubicBezTo>
                  <a:pt x="15" y="3"/>
                  <a:pt x="16" y="3"/>
                  <a:pt x="17" y="4"/>
                </a:cubicBezTo>
                <a:cubicBezTo>
                  <a:pt x="17" y="2"/>
                  <a:pt x="20" y="0"/>
                  <a:pt x="22" y="2"/>
                </a:cubicBezTo>
                <a:cubicBezTo>
                  <a:pt x="22" y="2"/>
                  <a:pt x="22" y="2"/>
                  <a:pt x="22" y="2"/>
                </a:cubicBezTo>
                <a:cubicBezTo>
                  <a:pt x="22" y="2"/>
                  <a:pt x="22" y="2"/>
                  <a:pt x="22" y="2"/>
                </a:cubicBezTo>
                <a:cubicBezTo>
                  <a:pt x="23" y="1"/>
                  <a:pt x="25" y="1"/>
                  <a:pt x="26" y="1"/>
                </a:cubicBezTo>
                <a:cubicBezTo>
                  <a:pt x="28" y="1"/>
                  <a:pt x="29" y="2"/>
                  <a:pt x="28" y="4"/>
                </a:cubicBezTo>
                <a:cubicBezTo>
                  <a:pt x="28" y="4"/>
                  <a:pt x="28" y="4"/>
                  <a:pt x="28" y="4"/>
                </a:cubicBezTo>
                <a:cubicBezTo>
                  <a:pt x="29" y="3"/>
                  <a:pt x="31" y="3"/>
                  <a:pt x="32" y="4"/>
                </a:cubicBezTo>
                <a:cubicBezTo>
                  <a:pt x="33" y="4"/>
                  <a:pt x="33" y="4"/>
                  <a:pt x="33" y="4"/>
                </a:cubicBezTo>
                <a:cubicBezTo>
                  <a:pt x="34" y="5"/>
                  <a:pt x="33" y="6"/>
                  <a:pt x="32" y="7"/>
                </a:cubicBezTo>
                <a:cubicBezTo>
                  <a:pt x="32" y="7"/>
                  <a:pt x="31" y="7"/>
                  <a:pt x="31" y="7"/>
                </a:cubicBezTo>
                <a:cubicBezTo>
                  <a:pt x="28" y="9"/>
                  <a:pt x="25" y="14"/>
                  <a:pt x="24" y="16"/>
                </a:cubicBezTo>
                <a:cubicBezTo>
                  <a:pt x="25" y="18"/>
                  <a:pt x="25" y="19"/>
                  <a:pt x="25" y="21"/>
                </a:cubicBezTo>
                <a:cubicBezTo>
                  <a:pt x="26" y="21"/>
                  <a:pt x="26" y="21"/>
                  <a:pt x="26" y="21"/>
                </a:cubicBezTo>
                <a:cubicBezTo>
                  <a:pt x="26" y="21"/>
                  <a:pt x="26" y="21"/>
                  <a:pt x="26" y="21"/>
                </a:cubicBezTo>
                <a:cubicBezTo>
                  <a:pt x="26" y="21"/>
                  <a:pt x="26" y="21"/>
                  <a:pt x="26" y="22"/>
                </a:cubicBezTo>
                <a:cubicBezTo>
                  <a:pt x="27" y="24"/>
                  <a:pt x="28" y="26"/>
                  <a:pt x="30" y="27"/>
                </a:cubicBezTo>
                <a:cubicBezTo>
                  <a:pt x="32" y="27"/>
                  <a:pt x="35" y="28"/>
                  <a:pt x="37" y="29"/>
                </a:cubicBezTo>
                <a:cubicBezTo>
                  <a:pt x="42" y="28"/>
                  <a:pt x="49" y="24"/>
                  <a:pt x="54" y="27"/>
                </a:cubicBezTo>
                <a:cubicBezTo>
                  <a:pt x="54" y="25"/>
                  <a:pt x="58" y="24"/>
                  <a:pt x="57" y="26"/>
                </a:cubicBezTo>
                <a:cubicBezTo>
                  <a:pt x="57" y="26"/>
                  <a:pt x="57" y="26"/>
                  <a:pt x="57" y="26"/>
                </a:cubicBezTo>
                <a:cubicBezTo>
                  <a:pt x="57" y="26"/>
                  <a:pt x="57" y="26"/>
                  <a:pt x="57" y="26"/>
                </a:cubicBezTo>
                <a:cubicBezTo>
                  <a:pt x="57" y="26"/>
                  <a:pt x="57" y="26"/>
                  <a:pt x="57" y="26"/>
                </a:cubicBezTo>
                <a:cubicBezTo>
                  <a:pt x="57" y="26"/>
                  <a:pt x="58" y="26"/>
                  <a:pt x="58" y="26"/>
                </a:cubicBezTo>
                <a:cubicBezTo>
                  <a:pt x="58" y="26"/>
                  <a:pt x="58" y="26"/>
                  <a:pt x="58" y="26"/>
                </a:cubicBezTo>
                <a:cubicBezTo>
                  <a:pt x="58" y="26"/>
                  <a:pt x="57" y="27"/>
                  <a:pt x="57" y="27"/>
                </a:cubicBezTo>
                <a:cubicBezTo>
                  <a:pt x="57" y="27"/>
                  <a:pt x="57" y="27"/>
                  <a:pt x="57" y="27"/>
                </a:cubicBezTo>
                <a:cubicBezTo>
                  <a:pt x="57" y="27"/>
                  <a:pt x="57" y="27"/>
                  <a:pt x="57" y="27"/>
                </a:cubicBezTo>
                <a:cubicBezTo>
                  <a:pt x="58" y="27"/>
                  <a:pt x="58" y="27"/>
                  <a:pt x="58" y="27"/>
                </a:cubicBezTo>
                <a:cubicBezTo>
                  <a:pt x="58" y="27"/>
                  <a:pt x="58" y="27"/>
                  <a:pt x="58" y="27"/>
                </a:cubicBezTo>
                <a:cubicBezTo>
                  <a:pt x="58" y="27"/>
                  <a:pt x="58" y="27"/>
                  <a:pt x="58" y="27"/>
                </a:cubicBezTo>
                <a:cubicBezTo>
                  <a:pt x="58" y="27"/>
                  <a:pt x="58" y="27"/>
                  <a:pt x="58" y="28"/>
                </a:cubicBezTo>
                <a:cubicBezTo>
                  <a:pt x="58" y="28"/>
                  <a:pt x="58" y="28"/>
                  <a:pt x="58" y="28"/>
                </a:cubicBezTo>
                <a:cubicBezTo>
                  <a:pt x="58" y="28"/>
                  <a:pt x="59" y="27"/>
                  <a:pt x="59" y="27"/>
                </a:cubicBezTo>
                <a:cubicBezTo>
                  <a:pt x="59" y="27"/>
                  <a:pt x="59" y="27"/>
                  <a:pt x="59" y="27"/>
                </a:cubicBezTo>
                <a:cubicBezTo>
                  <a:pt x="59" y="28"/>
                  <a:pt x="58" y="29"/>
                  <a:pt x="58" y="29"/>
                </a:cubicBezTo>
                <a:cubicBezTo>
                  <a:pt x="58" y="29"/>
                  <a:pt x="58" y="29"/>
                  <a:pt x="58" y="29"/>
                </a:cubicBezTo>
                <a:cubicBezTo>
                  <a:pt x="58" y="29"/>
                  <a:pt x="58" y="29"/>
                  <a:pt x="58" y="29"/>
                </a:cubicBezTo>
                <a:cubicBezTo>
                  <a:pt x="58" y="29"/>
                  <a:pt x="58" y="29"/>
                  <a:pt x="59" y="29"/>
                </a:cubicBezTo>
                <a:cubicBezTo>
                  <a:pt x="59" y="29"/>
                  <a:pt x="59" y="29"/>
                  <a:pt x="59" y="29"/>
                </a:cubicBezTo>
                <a:cubicBezTo>
                  <a:pt x="59" y="29"/>
                  <a:pt x="59" y="29"/>
                  <a:pt x="59" y="29"/>
                </a:cubicBezTo>
                <a:cubicBezTo>
                  <a:pt x="59" y="29"/>
                  <a:pt x="58" y="29"/>
                  <a:pt x="58" y="30"/>
                </a:cubicBezTo>
                <a:cubicBezTo>
                  <a:pt x="58" y="30"/>
                  <a:pt x="58" y="30"/>
                  <a:pt x="58" y="30"/>
                </a:cubicBezTo>
                <a:cubicBezTo>
                  <a:pt x="58" y="30"/>
                  <a:pt x="58" y="30"/>
                  <a:pt x="58" y="30"/>
                </a:cubicBezTo>
                <a:cubicBezTo>
                  <a:pt x="58" y="30"/>
                  <a:pt x="59" y="30"/>
                  <a:pt x="59" y="30"/>
                </a:cubicBezTo>
                <a:cubicBezTo>
                  <a:pt x="59" y="30"/>
                  <a:pt x="59" y="30"/>
                  <a:pt x="59" y="30"/>
                </a:cubicBezTo>
                <a:cubicBezTo>
                  <a:pt x="59" y="30"/>
                  <a:pt x="59" y="30"/>
                  <a:pt x="59" y="30"/>
                </a:cubicBezTo>
                <a:cubicBezTo>
                  <a:pt x="59" y="30"/>
                  <a:pt x="58" y="30"/>
                  <a:pt x="58" y="31"/>
                </a:cubicBezTo>
                <a:cubicBezTo>
                  <a:pt x="58" y="31"/>
                  <a:pt x="58" y="33"/>
                  <a:pt x="58" y="33"/>
                </a:cubicBezTo>
                <a:cubicBezTo>
                  <a:pt x="57" y="33"/>
                  <a:pt x="57" y="33"/>
                  <a:pt x="57" y="34"/>
                </a:cubicBezTo>
                <a:cubicBezTo>
                  <a:pt x="57" y="34"/>
                  <a:pt x="57" y="35"/>
                  <a:pt x="57" y="35"/>
                </a:cubicBezTo>
                <a:cubicBezTo>
                  <a:pt x="57" y="35"/>
                  <a:pt x="57" y="36"/>
                  <a:pt x="57" y="36"/>
                </a:cubicBezTo>
                <a:cubicBezTo>
                  <a:pt x="57" y="36"/>
                  <a:pt x="57" y="36"/>
                  <a:pt x="56" y="36"/>
                </a:cubicBezTo>
                <a:cubicBezTo>
                  <a:pt x="56" y="35"/>
                  <a:pt x="55" y="35"/>
                  <a:pt x="54" y="34"/>
                </a:cubicBezTo>
                <a:cubicBezTo>
                  <a:pt x="54" y="36"/>
                  <a:pt x="52" y="36"/>
                  <a:pt x="51" y="35"/>
                </a:cubicBezTo>
                <a:cubicBezTo>
                  <a:pt x="51" y="35"/>
                  <a:pt x="50" y="35"/>
                  <a:pt x="50" y="36"/>
                </a:cubicBezTo>
                <a:cubicBezTo>
                  <a:pt x="50" y="36"/>
                  <a:pt x="50" y="36"/>
                  <a:pt x="50" y="36"/>
                </a:cubicBezTo>
                <a:cubicBezTo>
                  <a:pt x="50" y="36"/>
                  <a:pt x="50" y="36"/>
                  <a:pt x="50" y="37"/>
                </a:cubicBezTo>
                <a:cubicBezTo>
                  <a:pt x="50" y="37"/>
                  <a:pt x="50" y="37"/>
                  <a:pt x="50" y="37"/>
                </a:cubicBezTo>
                <a:cubicBezTo>
                  <a:pt x="50" y="37"/>
                  <a:pt x="50" y="37"/>
                  <a:pt x="50" y="38"/>
                </a:cubicBezTo>
                <a:cubicBezTo>
                  <a:pt x="50" y="38"/>
                  <a:pt x="50" y="38"/>
                  <a:pt x="50" y="38"/>
                </a:cubicBezTo>
                <a:cubicBezTo>
                  <a:pt x="50" y="38"/>
                  <a:pt x="49" y="38"/>
                  <a:pt x="49" y="38"/>
                </a:cubicBezTo>
                <a:cubicBezTo>
                  <a:pt x="49" y="38"/>
                  <a:pt x="49" y="38"/>
                  <a:pt x="49" y="38"/>
                </a:cubicBezTo>
                <a:cubicBezTo>
                  <a:pt x="49" y="38"/>
                  <a:pt x="48" y="38"/>
                  <a:pt x="48" y="37"/>
                </a:cubicBezTo>
                <a:cubicBezTo>
                  <a:pt x="44" y="46"/>
                  <a:pt x="34" y="55"/>
                  <a:pt x="24" y="52"/>
                </a:cubicBezTo>
                <a:cubicBezTo>
                  <a:pt x="21" y="53"/>
                  <a:pt x="17" y="52"/>
                  <a:pt x="15" y="50"/>
                </a:cubicBezTo>
                <a:cubicBezTo>
                  <a:pt x="15" y="50"/>
                  <a:pt x="15" y="50"/>
                  <a:pt x="14" y="50"/>
                </a:cubicBezTo>
                <a:cubicBezTo>
                  <a:pt x="14" y="50"/>
                  <a:pt x="14" y="50"/>
                  <a:pt x="14" y="50"/>
                </a:cubicBezTo>
                <a:cubicBezTo>
                  <a:pt x="13" y="50"/>
                  <a:pt x="11" y="50"/>
                  <a:pt x="10" y="49"/>
                </a:cubicBezTo>
                <a:cubicBezTo>
                  <a:pt x="10" y="49"/>
                  <a:pt x="10" y="49"/>
                  <a:pt x="10" y="49"/>
                </a:cubicBezTo>
                <a:cubicBezTo>
                  <a:pt x="9" y="50"/>
                  <a:pt x="9" y="52"/>
                  <a:pt x="9" y="53"/>
                </a:cubicBezTo>
                <a:cubicBezTo>
                  <a:pt x="9" y="54"/>
                  <a:pt x="10" y="54"/>
                  <a:pt x="10" y="55"/>
                </a:cubicBezTo>
                <a:cubicBezTo>
                  <a:pt x="11" y="56"/>
                  <a:pt x="10" y="56"/>
                  <a:pt x="10" y="56"/>
                </a:cubicBezTo>
                <a:cubicBezTo>
                  <a:pt x="12" y="57"/>
                  <a:pt x="12" y="58"/>
                  <a:pt x="13" y="59"/>
                </a:cubicBezTo>
                <a:cubicBezTo>
                  <a:pt x="13" y="60"/>
                  <a:pt x="14" y="60"/>
                  <a:pt x="13" y="61"/>
                </a:cubicBezTo>
                <a:cubicBezTo>
                  <a:pt x="13" y="61"/>
                  <a:pt x="13" y="60"/>
                  <a:pt x="13" y="60"/>
                </a:cubicBezTo>
                <a:cubicBezTo>
                  <a:pt x="12" y="60"/>
                  <a:pt x="12" y="59"/>
                  <a:pt x="11" y="59"/>
                </a:cubicBezTo>
                <a:cubicBezTo>
                  <a:pt x="10" y="58"/>
                  <a:pt x="8" y="56"/>
                  <a:pt x="7" y="55"/>
                </a:cubicBezTo>
                <a:cubicBezTo>
                  <a:pt x="7" y="56"/>
                  <a:pt x="6" y="57"/>
                  <a:pt x="6" y="56"/>
                </a:cubicBezTo>
                <a:cubicBezTo>
                  <a:pt x="6" y="55"/>
                  <a:pt x="6" y="55"/>
                  <a:pt x="6" y="54"/>
                </a:cubicBezTo>
                <a:cubicBezTo>
                  <a:pt x="6" y="55"/>
                  <a:pt x="5" y="55"/>
                  <a:pt x="5" y="56"/>
                </a:cubicBezTo>
                <a:cubicBezTo>
                  <a:pt x="7" y="57"/>
                  <a:pt x="8" y="58"/>
                  <a:pt x="10" y="59"/>
                </a:cubicBezTo>
                <a:cubicBezTo>
                  <a:pt x="10" y="59"/>
                  <a:pt x="11" y="60"/>
                  <a:pt x="11" y="60"/>
                </a:cubicBezTo>
                <a:cubicBezTo>
                  <a:pt x="11" y="61"/>
                  <a:pt x="11" y="61"/>
                  <a:pt x="11" y="62"/>
                </a:cubicBezTo>
                <a:cubicBezTo>
                  <a:pt x="11" y="61"/>
                  <a:pt x="11" y="61"/>
                  <a:pt x="10" y="61"/>
                </a:cubicBezTo>
                <a:cubicBezTo>
                  <a:pt x="10" y="61"/>
                  <a:pt x="10" y="61"/>
                  <a:pt x="10" y="60"/>
                </a:cubicBezTo>
                <a:cubicBezTo>
                  <a:pt x="8" y="59"/>
                  <a:pt x="7" y="59"/>
                  <a:pt x="5" y="58"/>
                </a:cubicBezTo>
                <a:cubicBezTo>
                  <a:pt x="5" y="58"/>
                  <a:pt x="6" y="59"/>
                  <a:pt x="6" y="60"/>
                </a:cubicBezTo>
                <a:cubicBezTo>
                  <a:pt x="7" y="60"/>
                  <a:pt x="7" y="61"/>
                  <a:pt x="7" y="61"/>
                </a:cubicBezTo>
                <a:cubicBezTo>
                  <a:pt x="7" y="62"/>
                  <a:pt x="7" y="62"/>
                  <a:pt x="6" y="62"/>
                </a:cubicBezTo>
                <a:cubicBezTo>
                  <a:pt x="6" y="62"/>
                  <a:pt x="6" y="62"/>
                  <a:pt x="6" y="62"/>
                </a:cubicBezTo>
                <a:cubicBezTo>
                  <a:pt x="6" y="61"/>
                  <a:pt x="6" y="61"/>
                  <a:pt x="5" y="60"/>
                </a:cubicBezTo>
                <a:cubicBezTo>
                  <a:pt x="5" y="59"/>
                  <a:pt x="4" y="58"/>
                  <a:pt x="4" y="57"/>
                </a:cubicBezTo>
                <a:cubicBezTo>
                  <a:pt x="3" y="56"/>
                  <a:pt x="2" y="55"/>
                  <a:pt x="2" y="55"/>
                </a:cubicBezTo>
                <a:cubicBezTo>
                  <a:pt x="2" y="54"/>
                  <a:pt x="2" y="54"/>
                  <a:pt x="2" y="54"/>
                </a:cubicBezTo>
                <a:cubicBezTo>
                  <a:pt x="2" y="54"/>
                  <a:pt x="1" y="54"/>
                  <a:pt x="0" y="53"/>
                </a:cubicBezTo>
                <a:cubicBezTo>
                  <a:pt x="0" y="53"/>
                  <a:pt x="0" y="53"/>
                  <a:pt x="0" y="53"/>
                </a:cubicBezTo>
                <a:cubicBezTo>
                  <a:pt x="0" y="53"/>
                  <a:pt x="0" y="53"/>
                  <a:pt x="1" y="53"/>
                </a:cubicBezTo>
                <a:cubicBezTo>
                  <a:pt x="2" y="53"/>
                  <a:pt x="3" y="53"/>
                  <a:pt x="4" y="52"/>
                </a:cubicBezTo>
                <a:cubicBezTo>
                  <a:pt x="4" y="52"/>
                  <a:pt x="4" y="52"/>
                  <a:pt x="4" y="51"/>
                </a:cubicBezTo>
                <a:cubicBezTo>
                  <a:pt x="4" y="51"/>
                  <a:pt x="3" y="51"/>
                  <a:pt x="3" y="50"/>
                </a:cubicBezTo>
                <a:cubicBezTo>
                  <a:pt x="3" y="50"/>
                  <a:pt x="2" y="50"/>
                  <a:pt x="2" y="50"/>
                </a:cubicBezTo>
                <a:cubicBezTo>
                  <a:pt x="3" y="50"/>
                  <a:pt x="3" y="50"/>
                  <a:pt x="3" y="50"/>
                </a:cubicBezTo>
                <a:cubicBezTo>
                  <a:pt x="4" y="50"/>
                  <a:pt x="4" y="50"/>
                  <a:pt x="5" y="50"/>
                </a:cubicBezTo>
                <a:cubicBezTo>
                  <a:pt x="6" y="49"/>
                  <a:pt x="6" y="48"/>
                  <a:pt x="7" y="47"/>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79" name="Freeform 4808"/>
          <p:cNvSpPr>
            <a:spLocks/>
          </p:cNvSpPr>
          <p:nvPr/>
        </p:nvSpPr>
        <p:spPr bwMode="auto">
          <a:xfrm rot="21375134">
            <a:off x="2634366" y="2843925"/>
            <a:ext cx="1573164" cy="1046042"/>
          </a:xfrm>
          <a:custGeom>
            <a:avLst/>
            <a:gdLst>
              <a:gd name="T0" fmla="*/ 706 w 706"/>
              <a:gd name="T1" fmla="*/ 0 h 427"/>
              <a:gd name="T2" fmla="*/ 0 w 706"/>
              <a:gd name="T3" fmla="*/ 427 h 427"/>
              <a:gd name="T4" fmla="*/ 613 w 706"/>
              <a:gd name="T5" fmla="*/ 168 h 427"/>
              <a:gd name="connsiteX0" fmla="*/ 10000 w 10000"/>
              <a:gd name="connsiteY0" fmla="*/ 0 h 10000"/>
              <a:gd name="connsiteX1" fmla="*/ 0 w 10000"/>
              <a:gd name="connsiteY1" fmla="*/ 10000 h 10000"/>
              <a:gd name="connsiteX2" fmla="*/ 9339 w 10000"/>
              <a:gd name="connsiteY2" fmla="*/ 3482 h 10000"/>
            </a:gdLst>
            <a:ahLst/>
            <a:cxnLst>
              <a:cxn ang="0">
                <a:pos x="connsiteX0" y="connsiteY0"/>
              </a:cxn>
              <a:cxn ang="0">
                <a:pos x="connsiteX1" y="connsiteY1"/>
              </a:cxn>
              <a:cxn ang="0">
                <a:pos x="connsiteX2" y="connsiteY2"/>
              </a:cxn>
            </a:cxnLst>
            <a:rect l="l" t="t" r="r" b="b"/>
            <a:pathLst>
              <a:path w="10000" h="10000">
                <a:moveTo>
                  <a:pt x="10000" y="0"/>
                </a:moveTo>
                <a:cubicBezTo>
                  <a:pt x="10000" y="0"/>
                  <a:pt x="0" y="1710"/>
                  <a:pt x="0" y="10000"/>
                </a:cubicBezTo>
                <a:cubicBezTo>
                  <a:pt x="864" y="6206"/>
                  <a:pt x="9339" y="3482"/>
                  <a:pt x="9339" y="3482"/>
                </a:cubicBez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80" name="Freeform 4809"/>
          <p:cNvSpPr>
            <a:spLocks/>
          </p:cNvSpPr>
          <p:nvPr/>
        </p:nvSpPr>
        <p:spPr bwMode="auto">
          <a:xfrm rot="21375134">
            <a:off x="2688382" y="3896859"/>
            <a:ext cx="1308499" cy="598054"/>
          </a:xfrm>
          <a:custGeom>
            <a:avLst/>
            <a:gdLst>
              <a:gd name="T0" fmla="*/ 511 w 511"/>
              <a:gd name="T1" fmla="*/ 163 h 347"/>
              <a:gd name="T2" fmla="*/ 0 w 511"/>
              <a:gd name="T3" fmla="*/ 0 h 347"/>
              <a:gd name="T4" fmla="*/ 442 w 511"/>
              <a:gd name="T5" fmla="*/ 347 h 347"/>
              <a:gd name="connsiteX0" fmla="*/ 10074 w 10074"/>
              <a:gd name="connsiteY0" fmla="*/ 3280 h 10000"/>
              <a:gd name="connsiteX1" fmla="*/ 0 w 10074"/>
              <a:gd name="connsiteY1" fmla="*/ 0 h 10000"/>
              <a:gd name="connsiteX2" fmla="*/ 8650 w 10074"/>
              <a:gd name="connsiteY2" fmla="*/ 10000 h 10000"/>
              <a:gd name="connsiteX0" fmla="*/ 10074 w 10074"/>
              <a:gd name="connsiteY0" fmla="*/ 3280 h 10000"/>
              <a:gd name="connsiteX1" fmla="*/ 0 w 10074"/>
              <a:gd name="connsiteY1" fmla="*/ 0 h 10000"/>
              <a:gd name="connsiteX2" fmla="*/ 8650 w 10074"/>
              <a:gd name="connsiteY2" fmla="*/ 10000 h 10000"/>
              <a:gd name="connsiteX0" fmla="*/ 10074 w 10074"/>
              <a:gd name="connsiteY0" fmla="*/ 3280 h 10000"/>
              <a:gd name="connsiteX1" fmla="*/ 0 w 10074"/>
              <a:gd name="connsiteY1" fmla="*/ 0 h 10000"/>
              <a:gd name="connsiteX2" fmla="*/ 8650 w 10074"/>
              <a:gd name="connsiteY2" fmla="*/ 10000 h 10000"/>
              <a:gd name="connsiteX0" fmla="*/ 10074 w 10074"/>
              <a:gd name="connsiteY0" fmla="*/ 3280 h 10000"/>
              <a:gd name="connsiteX1" fmla="*/ 0 w 10074"/>
              <a:gd name="connsiteY1" fmla="*/ 0 h 10000"/>
              <a:gd name="connsiteX2" fmla="*/ 8650 w 10074"/>
              <a:gd name="connsiteY2" fmla="*/ 10000 h 10000"/>
              <a:gd name="connsiteX0" fmla="*/ 10074 w 10074"/>
              <a:gd name="connsiteY0" fmla="*/ 3280 h 11550"/>
              <a:gd name="connsiteX1" fmla="*/ 0 w 10074"/>
              <a:gd name="connsiteY1" fmla="*/ 0 h 11550"/>
              <a:gd name="connsiteX2" fmla="*/ 9951 w 10074"/>
              <a:gd name="connsiteY2" fmla="*/ 11550 h 11550"/>
            </a:gdLst>
            <a:ahLst/>
            <a:cxnLst>
              <a:cxn ang="0">
                <a:pos x="connsiteX0" y="connsiteY0"/>
              </a:cxn>
              <a:cxn ang="0">
                <a:pos x="connsiteX1" y="connsiteY1"/>
              </a:cxn>
              <a:cxn ang="0">
                <a:pos x="connsiteX2" y="connsiteY2"/>
              </a:cxn>
            </a:cxnLst>
            <a:rect l="l" t="t" r="r" b="b"/>
            <a:pathLst>
              <a:path w="10074" h="11550">
                <a:moveTo>
                  <a:pt x="10074" y="3280"/>
                </a:moveTo>
                <a:cubicBezTo>
                  <a:pt x="10074" y="3280"/>
                  <a:pt x="4352" y="8261"/>
                  <a:pt x="0" y="0"/>
                </a:cubicBezTo>
                <a:cubicBezTo>
                  <a:pt x="66" y="4379"/>
                  <a:pt x="9951" y="11550"/>
                  <a:pt x="9951" y="11550"/>
                </a:cubicBez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2" name="Group 1"/>
          <p:cNvGrpSpPr/>
          <p:nvPr/>
        </p:nvGrpSpPr>
        <p:grpSpPr>
          <a:xfrm>
            <a:off x="647319" y="2413006"/>
            <a:ext cx="3675570" cy="612149"/>
            <a:chOff x="266319" y="2413005"/>
            <a:chExt cx="3675570" cy="612149"/>
          </a:xfrm>
        </p:grpSpPr>
        <p:sp>
          <p:nvSpPr>
            <p:cNvPr id="781" name="Line 4791"/>
            <p:cNvSpPr>
              <a:spLocks noChangeShapeType="1"/>
            </p:cNvSpPr>
            <p:nvPr/>
          </p:nvSpPr>
          <p:spPr bwMode="auto">
            <a:xfrm flipH="1">
              <a:off x="266319" y="2413005"/>
              <a:ext cx="1540326" cy="0"/>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82" name="Line 4791"/>
            <p:cNvSpPr>
              <a:spLocks noChangeShapeType="1"/>
            </p:cNvSpPr>
            <p:nvPr/>
          </p:nvSpPr>
          <p:spPr bwMode="auto">
            <a:xfrm flipH="1" flipV="1">
              <a:off x="1799979" y="2413005"/>
              <a:ext cx="2141910" cy="612149"/>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pic>
        <p:nvPicPr>
          <p:cNvPr id="791" name="Picture 790"/>
          <p:cNvPicPr>
            <a:picLocks noChangeAspect="1"/>
          </p:cNvPicPr>
          <p:nvPr/>
        </p:nvPicPr>
        <p:blipFill>
          <a:blip r:embed="rId14"/>
          <a:stretch>
            <a:fillRect/>
          </a:stretch>
        </p:blipFill>
        <p:spPr>
          <a:xfrm>
            <a:off x="3342922" y="1908765"/>
            <a:ext cx="3016945" cy="3041474"/>
          </a:xfrm>
          <a:prstGeom prst="rect">
            <a:avLst/>
          </a:prstGeom>
        </p:spPr>
      </p:pic>
      <p:sp>
        <p:nvSpPr>
          <p:cNvPr id="795" name="Rectangle 794"/>
          <p:cNvSpPr/>
          <p:nvPr/>
        </p:nvSpPr>
        <p:spPr>
          <a:xfrm>
            <a:off x="647320" y="2854172"/>
            <a:ext cx="2056413" cy="1052596"/>
          </a:xfrm>
          <a:prstGeom prst="rect">
            <a:avLst/>
          </a:prstGeom>
        </p:spPr>
        <p:txBody>
          <a:bodyPr wrap="square" lIns="0" tIns="0" rIns="0" bIns="0" anchor="b">
            <a:spAutoFit/>
          </a:bodyPr>
          <a:lstStyle/>
          <a:p>
            <a:pPr>
              <a:lnSpc>
                <a:spcPct val="95000"/>
              </a:lnSpc>
            </a:pPr>
            <a:r>
              <a:rPr lang="en-US" dirty="0" smtClean="0">
                <a:solidFill>
                  <a:srgbClr val="FFFFFF"/>
                </a:solidFill>
                <a:latin typeface="Myriad SemiBold" panose="02000803050000020004" pitchFamily="2" charset="0"/>
              </a:rPr>
              <a:t>Unique combination</a:t>
            </a:r>
          </a:p>
          <a:p>
            <a:pPr>
              <a:lnSpc>
                <a:spcPct val="95000"/>
              </a:lnSpc>
            </a:pPr>
            <a:r>
              <a:rPr lang="en-US" dirty="0" smtClean="0">
                <a:solidFill>
                  <a:srgbClr val="FFFFFF"/>
                </a:solidFill>
                <a:latin typeface="Myriad SemiBold" panose="02000803050000020004" pitchFamily="2" charset="0"/>
              </a:rPr>
              <a:t>of </a:t>
            </a:r>
            <a:r>
              <a:rPr lang="en-US" dirty="0" smtClean="0">
                <a:solidFill>
                  <a:srgbClr val="F9981D"/>
                </a:solidFill>
                <a:latin typeface="Myriad SemiBold" panose="02000803050000020004" pitchFamily="2" charset="0"/>
              </a:rPr>
              <a:t>strategic</a:t>
            </a:r>
            <a:r>
              <a:rPr lang="en-US" dirty="0" smtClean="0">
                <a:solidFill>
                  <a:srgbClr val="FFFFFF"/>
                </a:solidFill>
                <a:latin typeface="Myriad SemiBold" panose="02000803050000020004" pitchFamily="2" charset="0"/>
              </a:rPr>
              <a:t> business</a:t>
            </a:r>
          </a:p>
          <a:p>
            <a:pPr>
              <a:lnSpc>
                <a:spcPct val="95000"/>
              </a:lnSpc>
            </a:pPr>
            <a:r>
              <a:rPr lang="en-US" dirty="0" smtClean="0">
                <a:solidFill>
                  <a:srgbClr val="FFFFFF"/>
                </a:solidFill>
                <a:latin typeface="Myriad SemiBold" panose="02000803050000020004" pitchFamily="2" charset="0"/>
              </a:rPr>
              <a:t>development and</a:t>
            </a:r>
          </a:p>
          <a:p>
            <a:pPr>
              <a:lnSpc>
                <a:spcPct val="95000"/>
              </a:lnSpc>
            </a:pPr>
            <a:r>
              <a:rPr lang="en-US" dirty="0" smtClean="0">
                <a:solidFill>
                  <a:srgbClr val="FFFFFF"/>
                </a:solidFill>
                <a:latin typeface="Myriad SemiBold" panose="02000803050000020004" pitchFamily="2" charset="0"/>
              </a:rPr>
              <a:t>in-depth </a:t>
            </a:r>
            <a:r>
              <a:rPr lang="en-US" dirty="0" smtClean="0">
                <a:solidFill>
                  <a:srgbClr val="F9981D"/>
                </a:solidFill>
                <a:latin typeface="Myriad SemiBold" panose="02000803050000020004" pitchFamily="2" charset="0"/>
              </a:rPr>
              <a:t>research</a:t>
            </a:r>
            <a:endParaRPr lang="en-US" dirty="0">
              <a:solidFill>
                <a:srgbClr val="F9981D"/>
              </a:solidFill>
              <a:latin typeface="Myriad SemiBold" panose="02000803050000020004" pitchFamily="2" charset="0"/>
            </a:endParaRPr>
          </a:p>
        </p:txBody>
      </p:sp>
      <p:sp>
        <p:nvSpPr>
          <p:cNvPr id="796" name="Rectangle 795"/>
          <p:cNvSpPr/>
          <p:nvPr/>
        </p:nvSpPr>
        <p:spPr>
          <a:xfrm>
            <a:off x="647319" y="4746370"/>
            <a:ext cx="2417187" cy="789447"/>
          </a:xfrm>
          <a:prstGeom prst="rect">
            <a:avLst/>
          </a:prstGeom>
        </p:spPr>
        <p:txBody>
          <a:bodyPr wrap="square" lIns="0" tIns="0" rIns="0" bIns="0" anchor="b">
            <a:spAutoFit/>
          </a:bodyPr>
          <a:lstStyle/>
          <a:p>
            <a:pPr>
              <a:lnSpc>
                <a:spcPct val="95000"/>
              </a:lnSpc>
            </a:pPr>
            <a:r>
              <a:rPr lang="en-US" dirty="0">
                <a:solidFill>
                  <a:srgbClr val="FFFFFF"/>
                </a:solidFill>
                <a:latin typeface="Myriad SemiBold" panose="02000803050000020004" pitchFamily="2" charset="0"/>
              </a:rPr>
              <a:t>F&amp;A coverage from </a:t>
            </a:r>
            <a:r>
              <a:rPr lang="en-US" dirty="0" smtClean="0">
                <a:solidFill>
                  <a:srgbClr val="FFFFFF"/>
                </a:solidFill>
                <a:latin typeface="Myriad SemiBold" panose="02000803050000020004" pitchFamily="2" charset="0"/>
              </a:rPr>
              <a:t>farm </a:t>
            </a:r>
            <a:br>
              <a:rPr lang="en-US" dirty="0" smtClean="0">
                <a:solidFill>
                  <a:srgbClr val="FFFFFF"/>
                </a:solidFill>
                <a:latin typeface="Myriad SemiBold" panose="02000803050000020004" pitchFamily="2" charset="0"/>
              </a:rPr>
            </a:br>
            <a:r>
              <a:rPr lang="en-US" dirty="0" smtClean="0">
                <a:solidFill>
                  <a:srgbClr val="FFFFFF"/>
                </a:solidFill>
                <a:latin typeface="Myriad SemiBold" panose="02000803050000020004" pitchFamily="2" charset="0"/>
              </a:rPr>
              <a:t>to </a:t>
            </a:r>
            <a:r>
              <a:rPr lang="en-US" dirty="0">
                <a:solidFill>
                  <a:srgbClr val="FFFFFF"/>
                </a:solidFill>
                <a:latin typeface="Myriad SemiBold" panose="02000803050000020004" pitchFamily="2" charset="0"/>
              </a:rPr>
              <a:t>fork, across </a:t>
            </a:r>
            <a:r>
              <a:rPr lang="en-US" dirty="0">
                <a:solidFill>
                  <a:srgbClr val="F9981D"/>
                </a:solidFill>
                <a:latin typeface="Myriad SemiBold" panose="02000803050000020004" pitchFamily="2" charset="0"/>
              </a:rPr>
              <a:t>rural</a:t>
            </a:r>
            <a:r>
              <a:rPr lang="en-US" dirty="0">
                <a:solidFill>
                  <a:srgbClr val="FFFFFF"/>
                </a:solidFill>
                <a:latin typeface="Myriad SemiBold" panose="02000803050000020004" pitchFamily="2" charset="0"/>
              </a:rPr>
              <a:t> </a:t>
            </a:r>
            <a:r>
              <a:rPr lang="en-US" dirty="0" smtClean="0">
                <a:solidFill>
                  <a:srgbClr val="FFFFFF"/>
                </a:solidFill>
                <a:latin typeface="Myriad SemiBold" panose="02000803050000020004" pitchFamily="2" charset="0"/>
              </a:rPr>
              <a:t>and</a:t>
            </a:r>
            <a:r>
              <a:rPr lang="en-US" dirty="0" smtClean="0">
                <a:solidFill>
                  <a:schemeClr val="bg1"/>
                </a:solidFill>
                <a:latin typeface="Myriad SemiBold" panose="02000803050000020004" pitchFamily="2" charset="0"/>
              </a:rPr>
              <a:t> </a:t>
            </a:r>
            <a:r>
              <a:rPr lang="en-US" dirty="0" smtClean="0">
                <a:solidFill>
                  <a:srgbClr val="F9981D"/>
                </a:solidFill>
                <a:latin typeface="Myriad SemiBold" panose="02000803050000020004" pitchFamily="2" charset="0"/>
              </a:rPr>
              <a:t>wholesale</a:t>
            </a:r>
            <a:r>
              <a:rPr lang="en-US" dirty="0" smtClean="0">
                <a:solidFill>
                  <a:srgbClr val="FFFFFF"/>
                </a:solidFill>
                <a:latin typeface="Myriad SemiBold" panose="02000803050000020004" pitchFamily="2" charset="0"/>
              </a:rPr>
              <a:t> </a:t>
            </a:r>
            <a:r>
              <a:rPr lang="en-US" dirty="0">
                <a:solidFill>
                  <a:srgbClr val="FFFFFF"/>
                </a:solidFill>
                <a:latin typeface="Myriad SemiBold" panose="02000803050000020004" pitchFamily="2" charset="0"/>
              </a:rPr>
              <a:t>sectors</a:t>
            </a:r>
          </a:p>
        </p:txBody>
      </p:sp>
      <p:sp>
        <p:nvSpPr>
          <p:cNvPr id="790" name="Freeform 4792"/>
          <p:cNvSpPr>
            <a:spLocks/>
          </p:cNvSpPr>
          <p:nvPr/>
        </p:nvSpPr>
        <p:spPr bwMode="auto">
          <a:xfrm flipH="1">
            <a:off x="647319" y="3919808"/>
            <a:ext cx="3832840" cy="1651716"/>
          </a:xfrm>
          <a:custGeom>
            <a:avLst/>
            <a:gdLst>
              <a:gd name="T0" fmla="*/ 2921 w 2921"/>
              <a:gd name="T1" fmla="*/ 943 h 943"/>
              <a:gd name="T2" fmla="*/ 1387 w 2921"/>
              <a:gd name="T3" fmla="*/ 943 h 943"/>
              <a:gd name="T4" fmla="*/ 0 w 2921"/>
              <a:gd name="T5" fmla="*/ 0 h 943"/>
              <a:gd name="connsiteX0" fmla="*/ 9641 w 9641"/>
              <a:gd name="connsiteY0" fmla="*/ 13718 h 13718"/>
              <a:gd name="connsiteX1" fmla="*/ 4389 w 9641"/>
              <a:gd name="connsiteY1" fmla="*/ 13718 h 13718"/>
              <a:gd name="connsiteX2" fmla="*/ 0 w 9641"/>
              <a:gd name="connsiteY2" fmla="*/ 0 h 13718"/>
              <a:gd name="connsiteX0" fmla="*/ 10000 w 10000"/>
              <a:gd name="connsiteY0" fmla="*/ 10000 h 10000"/>
              <a:gd name="connsiteX1" fmla="*/ 4552 w 10000"/>
              <a:gd name="connsiteY1" fmla="*/ 10000 h 10000"/>
              <a:gd name="connsiteX2" fmla="*/ 0 w 10000"/>
              <a:gd name="connsiteY2" fmla="*/ 0 h 10000"/>
              <a:gd name="connsiteX0" fmla="*/ 10000 w 10000"/>
              <a:gd name="connsiteY0" fmla="*/ 10000 h 10000"/>
              <a:gd name="connsiteX1" fmla="*/ 4552 w 10000"/>
              <a:gd name="connsiteY1" fmla="*/ 10000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10000" y="10000"/>
                </a:moveTo>
                <a:lnTo>
                  <a:pt x="4552" y="10000"/>
                </a:lnTo>
                <a:cubicBezTo>
                  <a:pt x="3059" y="6936"/>
                  <a:pt x="1567" y="3410"/>
                  <a:pt x="0" y="0"/>
                </a:cubicBez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97" name="Rectangle 796"/>
          <p:cNvSpPr/>
          <p:nvPr/>
        </p:nvSpPr>
        <p:spPr>
          <a:xfrm>
            <a:off x="6825209" y="1143066"/>
            <a:ext cx="2433473" cy="1315745"/>
          </a:xfrm>
          <a:prstGeom prst="rect">
            <a:avLst/>
          </a:prstGeom>
        </p:spPr>
        <p:txBody>
          <a:bodyPr wrap="square" lIns="0" tIns="0" rIns="0" bIns="0">
            <a:spAutoFit/>
          </a:bodyPr>
          <a:lstStyle/>
          <a:p>
            <a:pPr algn="r">
              <a:lnSpc>
                <a:spcPct val="95000"/>
              </a:lnSpc>
            </a:pPr>
            <a:r>
              <a:rPr lang="en-US" dirty="0">
                <a:solidFill>
                  <a:srgbClr val="FFFFFF"/>
                </a:solidFill>
                <a:latin typeface="Myriad SemiBold" panose="02000803050000020004" pitchFamily="2" charset="0"/>
              </a:rPr>
              <a:t>Broad </a:t>
            </a:r>
            <a:r>
              <a:rPr lang="en-US" dirty="0">
                <a:solidFill>
                  <a:srgbClr val="F9981D"/>
                </a:solidFill>
                <a:latin typeface="Myriad SemiBold" panose="02000803050000020004" pitchFamily="2" charset="0"/>
              </a:rPr>
              <a:t>knowledge</a:t>
            </a:r>
            <a:r>
              <a:rPr lang="en-US" dirty="0">
                <a:solidFill>
                  <a:srgbClr val="FFFFFF"/>
                </a:solidFill>
                <a:latin typeface="Myriad SemiBold" panose="02000803050000020004" pitchFamily="2" charset="0"/>
              </a:rPr>
              <a:t> of </a:t>
            </a:r>
          </a:p>
          <a:p>
            <a:pPr algn="r">
              <a:lnSpc>
                <a:spcPct val="95000"/>
              </a:lnSpc>
            </a:pPr>
            <a:r>
              <a:rPr lang="en-US" dirty="0">
                <a:solidFill>
                  <a:srgbClr val="FFFFFF"/>
                </a:solidFill>
                <a:latin typeface="Myriad SemiBold" panose="02000803050000020004" pitchFamily="2" charset="0"/>
              </a:rPr>
              <a:t>innovation, strategic </a:t>
            </a:r>
          </a:p>
          <a:p>
            <a:pPr algn="r">
              <a:lnSpc>
                <a:spcPct val="95000"/>
              </a:lnSpc>
            </a:pPr>
            <a:r>
              <a:rPr lang="en-US" dirty="0">
                <a:solidFill>
                  <a:srgbClr val="FFFFFF"/>
                </a:solidFill>
                <a:latin typeface="Myriad SemiBold" panose="02000803050000020004" pitchFamily="2" charset="0"/>
              </a:rPr>
              <a:t>development and</a:t>
            </a:r>
          </a:p>
          <a:p>
            <a:pPr algn="r">
              <a:lnSpc>
                <a:spcPct val="95000"/>
              </a:lnSpc>
            </a:pPr>
            <a:r>
              <a:rPr lang="en-US" dirty="0">
                <a:solidFill>
                  <a:srgbClr val="F9981D"/>
                </a:solidFill>
                <a:latin typeface="Myriad SemiBold" panose="02000803050000020004" pitchFamily="2" charset="0"/>
              </a:rPr>
              <a:t>risk-reward</a:t>
            </a:r>
            <a:r>
              <a:rPr lang="en-US" dirty="0">
                <a:solidFill>
                  <a:srgbClr val="FFFFFF"/>
                </a:solidFill>
                <a:latin typeface="Myriad SemiBold" panose="02000803050000020004" pitchFamily="2" charset="0"/>
              </a:rPr>
              <a:t> balances</a:t>
            </a:r>
          </a:p>
          <a:p>
            <a:pPr algn="r">
              <a:lnSpc>
                <a:spcPct val="95000"/>
              </a:lnSpc>
            </a:pPr>
            <a:r>
              <a:rPr lang="en-US" dirty="0">
                <a:solidFill>
                  <a:srgbClr val="FFFFFF"/>
                </a:solidFill>
                <a:latin typeface="Myriad SemiBold" panose="02000803050000020004" pitchFamily="2" charset="0"/>
              </a:rPr>
              <a:t>along the value chain</a:t>
            </a:r>
          </a:p>
        </p:txBody>
      </p:sp>
      <p:sp>
        <p:nvSpPr>
          <p:cNvPr id="798" name="Rectangle 797"/>
          <p:cNvSpPr/>
          <p:nvPr/>
        </p:nvSpPr>
        <p:spPr>
          <a:xfrm>
            <a:off x="7127493" y="3114147"/>
            <a:ext cx="2131188" cy="789447"/>
          </a:xfrm>
          <a:prstGeom prst="rect">
            <a:avLst/>
          </a:prstGeom>
        </p:spPr>
        <p:txBody>
          <a:bodyPr wrap="square" lIns="0" tIns="0" rIns="0" bIns="0" anchor="b">
            <a:spAutoFit/>
          </a:bodyPr>
          <a:lstStyle/>
          <a:p>
            <a:pPr algn="r">
              <a:lnSpc>
                <a:spcPct val="95000"/>
              </a:lnSpc>
            </a:pPr>
            <a:r>
              <a:rPr lang="en-US" dirty="0">
                <a:solidFill>
                  <a:srgbClr val="FFFFFF"/>
                </a:solidFill>
                <a:latin typeface="Myriad SemiBold" panose="02000803050000020004" pitchFamily="2" charset="0"/>
              </a:rPr>
              <a:t>Vast global </a:t>
            </a:r>
            <a:r>
              <a:rPr lang="en-US" dirty="0">
                <a:solidFill>
                  <a:srgbClr val="F9981D"/>
                </a:solidFill>
                <a:latin typeface="Myriad SemiBold" panose="02000803050000020004" pitchFamily="2" charset="0"/>
              </a:rPr>
              <a:t>network</a:t>
            </a:r>
          </a:p>
          <a:p>
            <a:pPr algn="r">
              <a:lnSpc>
                <a:spcPct val="95000"/>
              </a:lnSpc>
            </a:pPr>
            <a:r>
              <a:rPr lang="en-US" dirty="0">
                <a:solidFill>
                  <a:srgbClr val="FFFFFF"/>
                </a:solidFill>
                <a:latin typeface="Myriad SemiBold" panose="02000803050000020004" pitchFamily="2" charset="0"/>
              </a:rPr>
              <a:t>with access to all</a:t>
            </a:r>
          </a:p>
          <a:p>
            <a:pPr algn="r">
              <a:lnSpc>
                <a:spcPct val="95000"/>
              </a:lnSpc>
            </a:pPr>
            <a:r>
              <a:rPr lang="en-US" dirty="0">
                <a:solidFill>
                  <a:srgbClr val="FFFFFF"/>
                </a:solidFill>
                <a:latin typeface="Myriad SemiBold" panose="02000803050000020004" pitchFamily="2" charset="0"/>
              </a:rPr>
              <a:t>players in the market</a:t>
            </a:r>
          </a:p>
        </p:txBody>
      </p:sp>
      <p:sp>
        <p:nvSpPr>
          <p:cNvPr id="799" name="Rectangle 798"/>
          <p:cNvSpPr/>
          <p:nvPr/>
        </p:nvSpPr>
        <p:spPr>
          <a:xfrm>
            <a:off x="6961875" y="4746370"/>
            <a:ext cx="2296806" cy="789447"/>
          </a:xfrm>
          <a:prstGeom prst="rect">
            <a:avLst/>
          </a:prstGeom>
        </p:spPr>
        <p:txBody>
          <a:bodyPr wrap="square" lIns="0" tIns="0" rIns="0" bIns="0" anchor="b">
            <a:spAutoFit/>
          </a:bodyPr>
          <a:lstStyle/>
          <a:p>
            <a:pPr algn="r">
              <a:lnSpc>
                <a:spcPct val="95000"/>
              </a:lnSpc>
            </a:pPr>
            <a:r>
              <a:rPr lang="en-US" dirty="0">
                <a:solidFill>
                  <a:srgbClr val="F9981D"/>
                </a:solidFill>
                <a:latin typeface="Myriad SemiBold" panose="02000803050000020004" pitchFamily="2" charset="0"/>
              </a:rPr>
              <a:t>Global</a:t>
            </a:r>
            <a:r>
              <a:rPr lang="en-US" dirty="0">
                <a:solidFill>
                  <a:srgbClr val="FFFFFF"/>
                </a:solidFill>
                <a:latin typeface="Myriad SemiBold" panose="02000803050000020004" pitchFamily="2" charset="0"/>
              </a:rPr>
              <a:t> team of experts</a:t>
            </a:r>
          </a:p>
          <a:p>
            <a:pPr algn="r">
              <a:lnSpc>
                <a:spcPct val="95000"/>
              </a:lnSpc>
            </a:pPr>
            <a:r>
              <a:rPr lang="en-US" dirty="0">
                <a:solidFill>
                  <a:srgbClr val="FFFFFF"/>
                </a:solidFill>
                <a:latin typeface="Myriad SemiBold" panose="02000803050000020004" pitchFamily="2" charset="0"/>
              </a:rPr>
              <a:t>with real-time insights</a:t>
            </a:r>
          </a:p>
          <a:p>
            <a:pPr algn="r">
              <a:lnSpc>
                <a:spcPct val="95000"/>
              </a:lnSpc>
            </a:pPr>
            <a:r>
              <a:rPr lang="en-US" dirty="0">
                <a:solidFill>
                  <a:srgbClr val="FFFFFF"/>
                </a:solidFill>
                <a:latin typeface="Myriad SemiBold" panose="02000803050000020004" pitchFamily="2" charset="0"/>
              </a:rPr>
              <a:t>into </a:t>
            </a:r>
            <a:r>
              <a:rPr lang="en-US" dirty="0">
                <a:solidFill>
                  <a:srgbClr val="F9981D"/>
                </a:solidFill>
                <a:latin typeface="Myriad SemiBold" panose="02000803050000020004" pitchFamily="2" charset="0"/>
              </a:rPr>
              <a:t>local</a:t>
            </a:r>
            <a:r>
              <a:rPr lang="en-US" dirty="0">
                <a:solidFill>
                  <a:srgbClr val="FFFFFF"/>
                </a:solidFill>
                <a:latin typeface="Myriad SemiBold" panose="02000803050000020004" pitchFamily="2" charset="0"/>
              </a:rPr>
              <a:t> markets</a:t>
            </a:r>
          </a:p>
        </p:txBody>
      </p:sp>
      <p:sp>
        <p:nvSpPr>
          <p:cNvPr id="800" name="Freeform 4792"/>
          <p:cNvSpPr>
            <a:spLocks/>
          </p:cNvSpPr>
          <p:nvPr/>
        </p:nvSpPr>
        <p:spPr bwMode="auto">
          <a:xfrm>
            <a:off x="5090397" y="3919808"/>
            <a:ext cx="4168284" cy="1651716"/>
          </a:xfrm>
          <a:custGeom>
            <a:avLst/>
            <a:gdLst>
              <a:gd name="T0" fmla="*/ 2921 w 2921"/>
              <a:gd name="T1" fmla="*/ 943 h 943"/>
              <a:gd name="T2" fmla="*/ 1387 w 2921"/>
              <a:gd name="T3" fmla="*/ 943 h 943"/>
              <a:gd name="T4" fmla="*/ 0 w 2921"/>
              <a:gd name="T5" fmla="*/ 0 h 943"/>
              <a:gd name="connsiteX0" fmla="*/ 9641 w 9641"/>
              <a:gd name="connsiteY0" fmla="*/ 13718 h 13718"/>
              <a:gd name="connsiteX1" fmla="*/ 4389 w 9641"/>
              <a:gd name="connsiteY1" fmla="*/ 13718 h 13718"/>
              <a:gd name="connsiteX2" fmla="*/ 0 w 9641"/>
              <a:gd name="connsiteY2" fmla="*/ 0 h 13718"/>
              <a:gd name="connsiteX0" fmla="*/ 10000 w 10000"/>
              <a:gd name="connsiteY0" fmla="*/ 10000 h 10000"/>
              <a:gd name="connsiteX1" fmla="*/ 4552 w 10000"/>
              <a:gd name="connsiteY1" fmla="*/ 10000 h 10000"/>
              <a:gd name="connsiteX2" fmla="*/ 0 w 10000"/>
              <a:gd name="connsiteY2" fmla="*/ 0 h 10000"/>
              <a:gd name="connsiteX0" fmla="*/ 10000 w 10000"/>
              <a:gd name="connsiteY0" fmla="*/ 10000 h 10000"/>
              <a:gd name="connsiteX1" fmla="*/ 4552 w 10000"/>
              <a:gd name="connsiteY1" fmla="*/ 10000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10000" y="10000"/>
                </a:moveTo>
                <a:lnTo>
                  <a:pt x="4552" y="10000"/>
                </a:lnTo>
                <a:cubicBezTo>
                  <a:pt x="3059" y="6936"/>
                  <a:pt x="1567" y="3410"/>
                  <a:pt x="0" y="0"/>
                </a:cubicBez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12514" name="Group 12513"/>
          <p:cNvGrpSpPr/>
          <p:nvPr/>
        </p:nvGrpSpPr>
        <p:grpSpPr>
          <a:xfrm rot="1725832">
            <a:off x="5360017" y="2824357"/>
            <a:ext cx="1368453" cy="1942844"/>
            <a:chOff x="4856886" y="2605980"/>
            <a:chExt cx="1559170" cy="1942844"/>
          </a:xfrm>
        </p:grpSpPr>
        <p:sp>
          <p:nvSpPr>
            <p:cNvPr id="801" name="Line 4788"/>
            <p:cNvSpPr>
              <a:spLocks noChangeShapeType="1"/>
            </p:cNvSpPr>
            <p:nvPr/>
          </p:nvSpPr>
          <p:spPr bwMode="auto">
            <a:xfrm flipH="1">
              <a:off x="5148736" y="3350349"/>
              <a:ext cx="1267320" cy="1198475"/>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02" name="Line 4789"/>
            <p:cNvSpPr>
              <a:spLocks noChangeShapeType="1"/>
            </p:cNvSpPr>
            <p:nvPr/>
          </p:nvSpPr>
          <p:spPr bwMode="auto">
            <a:xfrm flipH="1" flipV="1">
              <a:off x="4856886" y="2605980"/>
              <a:ext cx="1559167" cy="744369"/>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03" name="Line 4790"/>
            <p:cNvSpPr>
              <a:spLocks noChangeShapeType="1"/>
            </p:cNvSpPr>
            <p:nvPr/>
          </p:nvSpPr>
          <p:spPr bwMode="auto">
            <a:xfrm flipH="1" flipV="1">
              <a:off x="5012070" y="3134948"/>
              <a:ext cx="1403983" cy="215399"/>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04" name="Line 4791"/>
            <p:cNvSpPr>
              <a:spLocks noChangeShapeType="1"/>
            </p:cNvSpPr>
            <p:nvPr/>
          </p:nvSpPr>
          <p:spPr bwMode="auto">
            <a:xfrm flipH="1">
              <a:off x="5129014" y="3350348"/>
              <a:ext cx="1278193" cy="401891"/>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05" name="Line 4791"/>
            <p:cNvSpPr>
              <a:spLocks noChangeShapeType="1"/>
            </p:cNvSpPr>
            <p:nvPr/>
          </p:nvSpPr>
          <p:spPr bwMode="auto">
            <a:xfrm flipH="1" flipV="1">
              <a:off x="5590220" y="3348963"/>
              <a:ext cx="824360" cy="10231"/>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806" name="Oval 805"/>
          <p:cNvSpPr/>
          <p:nvPr/>
        </p:nvSpPr>
        <p:spPr>
          <a:xfrm>
            <a:off x="2960323" y="1546495"/>
            <a:ext cx="3849282" cy="3767028"/>
          </a:xfrm>
          <a:prstGeom prst="ellipse">
            <a:avLst/>
          </a:prstGeom>
          <a:noFill/>
          <a:ln w="9525">
            <a:gradFill flip="none" rotWithShape="1">
              <a:gsLst>
                <a:gs pos="49000">
                  <a:srgbClr val="185A8D"/>
                </a:gs>
                <a:gs pos="0">
                  <a:schemeClr val="accent3">
                    <a:lumMod val="50000"/>
                  </a:schemeClr>
                </a:gs>
                <a:gs pos="0">
                  <a:srgbClr val="185A8D"/>
                </a:gs>
                <a:gs pos="100000">
                  <a:schemeClr val="accent3">
                    <a:lumMod val="60000"/>
                    <a:lumOff val="40000"/>
                  </a:schemeClr>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sp>
        <p:nvSpPr>
          <p:cNvPr id="696" name="Freeform 4717"/>
          <p:cNvSpPr>
            <a:spLocks/>
          </p:cNvSpPr>
          <p:nvPr/>
        </p:nvSpPr>
        <p:spPr bwMode="auto">
          <a:xfrm>
            <a:off x="6375365" y="2655886"/>
            <a:ext cx="25065" cy="16218"/>
          </a:xfrm>
          <a:custGeom>
            <a:avLst/>
            <a:gdLst>
              <a:gd name="T0" fmla="*/ 5 w 9"/>
              <a:gd name="T1" fmla="*/ 2 h 6"/>
              <a:gd name="T2" fmla="*/ 1 w 9"/>
              <a:gd name="T3" fmla="*/ 4 h 6"/>
              <a:gd name="T4" fmla="*/ 1 w 9"/>
              <a:gd name="T5" fmla="*/ 6 h 6"/>
              <a:gd name="T6" fmla="*/ 2 w 9"/>
              <a:gd name="T7" fmla="*/ 6 h 6"/>
              <a:gd name="T8" fmla="*/ 9 w 9"/>
              <a:gd name="T9" fmla="*/ 3 h 6"/>
              <a:gd name="T10" fmla="*/ 9 w 9"/>
              <a:gd name="T11" fmla="*/ 2 h 6"/>
              <a:gd name="T12" fmla="*/ 9 w 9"/>
              <a:gd name="T13" fmla="*/ 1 h 6"/>
              <a:gd name="T14" fmla="*/ 1 w 9"/>
              <a:gd name="T15" fmla="*/ 0 h 6"/>
              <a:gd name="T16" fmla="*/ 0 w 9"/>
              <a:gd name="T17" fmla="*/ 1 h 6"/>
              <a:gd name="T18" fmla="*/ 1 w 9"/>
              <a:gd name="T19" fmla="*/ 1 h 6"/>
              <a:gd name="T20" fmla="*/ 5 w 9"/>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5" y="2"/>
                </a:moveTo>
                <a:cubicBezTo>
                  <a:pt x="4" y="3"/>
                  <a:pt x="3" y="4"/>
                  <a:pt x="1" y="4"/>
                </a:cubicBezTo>
                <a:cubicBezTo>
                  <a:pt x="1" y="5"/>
                  <a:pt x="0" y="5"/>
                  <a:pt x="1" y="6"/>
                </a:cubicBezTo>
                <a:cubicBezTo>
                  <a:pt x="1" y="6"/>
                  <a:pt x="1" y="6"/>
                  <a:pt x="2" y="6"/>
                </a:cubicBezTo>
                <a:cubicBezTo>
                  <a:pt x="4" y="4"/>
                  <a:pt x="6" y="3"/>
                  <a:pt x="9" y="3"/>
                </a:cubicBezTo>
                <a:cubicBezTo>
                  <a:pt x="9" y="2"/>
                  <a:pt x="9" y="2"/>
                  <a:pt x="9" y="2"/>
                </a:cubicBezTo>
                <a:cubicBezTo>
                  <a:pt x="9" y="1"/>
                  <a:pt x="9" y="1"/>
                  <a:pt x="9" y="1"/>
                </a:cubicBezTo>
                <a:cubicBezTo>
                  <a:pt x="6" y="1"/>
                  <a:pt x="3" y="1"/>
                  <a:pt x="1" y="0"/>
                </a:cubicBezTo>
                <a:cubicBezTo>
                  <a:pt x="1" y="0"/>
                  <a:pt x="0" y="0"/>
                  <a:pt x="0" y="1"/>
                </a:cubicBezTo>
                <a:cubicBezTo>
                  <a:pt x="0" y="1"/>
                  <a:pt x="0" y="1"/>
                  <a:pt x="1" y="1"/>
                </a:cubicBezTo>
                <a:cubicBezTo>
                  <a:pt x="2" y="2"/>
                  <a:pt x="4" y="2"/>
                  <a:pt x="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7" name="Freeform 4718"/>
          <p:cNvSpPr>
            <a:spLocks noEditPoints="1"/>
          </p:cNvSpPr>
          <p:nvPr/>
        </p:nvSpPr>
        <p:spPr bwMode="auto">
          <a:xfrm>
            <a:off x="6233819" y="2645564"/>
            <a:ext cx="44233" cy="32438"/>
          </a:xfrm>
          <a:custGeom>
            <a:avLst/>
            <a:gdLst>
              <a:gd name="T0" fmla="*/ 4 w 16"/>
              <a:gd name="T1" fmla="*/ 4 h 12"/>
              <a:gd name="T2" fmla="*/ 0 w 16"/>
              <a:gd name="T3" fmla="*/ 10 h 12"/>
              <a:gd name="T4" fmla="*/ 2 w 16"/>
              <a:gd name="T5" fmla="*/ 12 h 12"/>
              <a:gd name="T6" fmla="*/ 9 w 16"/>
              <a:gd name="T7" fmla="*/ 10 h 12"/>
              <a:gd name="T8" fmla="*/ 13 w 16"/>
              <a:gd name="T9" fmla="*/ 7 h 12"/>
              <a:gd name="T10" fmla="*/ 16 w 16"/>
              <a:gd name="T11" fmla="*/ 1 h 12"/>
              <a:gd name="T12" fmla="*/ 16 w 16"/>
              <a:gd name="T13" fmla="*/ 1 h 12"/>
              <a:gd name="T14" fmla="*/ 15 w 16"/>
              <a:gd name="T15" fmla="*/ 0 h 12"/>
              <a:gd name="T16" fmla="*/ 4 w 16"/>
              <a:gd name="T17" fmla="*/ 4 h 12"/>
              <a:gd name="T18" fmla="*/ 3 w 16"/>
              <a:gd name="T19" fmla="*/ 7 h 12"/>
              <a:gd name="T20" fmla="*/ 13 w 16"/>
              <a:gd name="T21" fmla="*/ 2 h 12"/>
              <a:gd name="T22" fmla="*/ 12 w 16"/>
              <a:gd name="T23" fmla="*/ 6 h 12"/>
              <a:gd name="T24" fmla="*/ 7 w 16"/>
              <a:gd name="T25" fmla="*/ 10 h 12"/>
              <a:gd name="T26" fmla="*/ 4 w 16"/>
              <a:gd name="T27" fmla="*/ 10 h 12"/>
              <a:gd name="T28" fmla="*/ 2 w 16"/>
              <a:gd name="T29" fmla="*/ 10 h 12"/>
              <a:gd name="T30" fmla="*/ 2 w 16"/>
              <a:gd name="T31" fmla="*/ 8 h 12"/>
              <a:gd name="T32" fmla="*/ 3 w 16"/>
              <a:gd name="T3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4" y="4"/>
                </a:moveTo>
                <a:cubicBezTo>
                  <a:pt x="2" y="6"/>
                  <a:pt x="1" y="7"/>
                  <a:pt x="0" y="10"/>
                </a:cubicBezTo>
                <a:cubicBezTo>
                  <a:pt x="0" y="12"/>
                  <a:pt x="1" y="12"/>
                  <a:pt x="2" y="12"/>
                </a:cubicBezTo>
                <a:cubicBezTo>
                  <a:pt x="5" y="11"/>
                  <a:pt x="7" y="11"/>
                  <a:pt x="9" y="10"/>
                </a:cubicBezTo>
                <a:cubicBezTo>
                  <a:pt x="11" y="10"/>
                  <a:pt x="12" y="9"/>
                  <a:pt x="13" y="7"/>
                </a:cubicBezTo>
                <a:cubicBezTo>
                  <a:pt x="13" y="5"/>
                  <a:pt x="14" y="3"/>
                  <a:pt x="16" y="1"/>
                </a:cubicBezTo>
                <a:cubicBezTo>
                  <a:pt x="16" y="1"/>
                  <a:pt x="16" y="1"/>
                  <a:pt x="16" y="1"/>
                </a:cubicBezTo>
                <a:cubicBezTo>
                  <a:pt x="15" y="0"/>
                  <a:pt x="15" y="0"/>
                  <a:pt x="15" y="0"/>
                </a:cubicBezTo>
                <a:cubicBezTo>
                  <a:pt x="11" y="1"/>
                  <a:pt x="7" y="2"/>
                  <a:pt x="4" y="4"/>
                </a:cubicBezTo>
                <a:moveTo>
                  <a:pt x="3" y="7"/>
                </a:moveTo>
                <a:cubicBezTo>
                  <a:pt x="6" y="4"/>
                  <a:pt x="9" y="3"/>
                  <a:pt x="13" y="2"/>
                </a:cubicBezTo>
                <a:cubicBezTo>
                  <a:pt x="13" y="3"/>
                  <a:pt x="12" y="4"/>
                  <a:pt x="12" y="6"/>
                </a:cubicBezTo>
                <a:cubicBezTo>
                  <a:pt x="11" y="8"/>
                  <a:pt x="9" y="10"/>
                  <a:pt x="7" y="10"/>
                </a:cubicBezTo>
                <a:cubicBezTo>
                  <a:pt x="6" y="10"/>
                  <a:pt x="5" y="10"/>
                  <a:pt x="4" y="10"/>
                </a:cubicBezTo>
                <a:cubicBezTo>
                  <a:pt x="3" y="10"/>
                  <a:pt x="2" y="11"/>
                  <a:pt x="2" y="10"/>
                </a:cubicBezTo>
                <a:cubicBezTo>
                  <a:pt x="1" y="10"/>
                  <a:pt x="2" y="9"/>
                  <a:pt x="2" y="8"/>
                </a:cubicBezTo>
                <a:cubicBezTo>
                  <a:pt x="2" y="8"/>
                  <a:pt x="3" y="7"/>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9" name="Freeform 4720"/>
          <p:cNvSpPr>
            <a:spLocks noEditPoints="1"/>
          </p:cNvSpPr>
          <p:nvPr/>
        </p:nvSpPr>
        <p:spPr bwMode="auto">
          <a:xfrm>
            <a:off x="6310490" y="2672105"/>
            <a:ext cx="42759" cy="22116"/>
          </a:xfrm>
          <a:custGeom>
            <a:avLst/>
            <a:gdLst>
              <a:gd name="T0" fmla="*/ 1 w 16"/>
              <a:gd name="T1" fmla="*/ 3 h 8"/>
              <a:gd name="T2" fmla="*/ 1 w 16"/>
              <a:gd name="T3" fmla="*/ 4 h 8"/>
              <a:gd name="T4" fmla="*/ 7 w 16"/>
              <a:gd name="T5" fmla="*/ 7 h 8"/>
              <a:gd name="T6" fmla="*/ 15 w 16"/>
              <a:gd name="T7" fmla="*/ 8 h 8"/>
              <a:gd name="T8" fmla="*/ 16 w 16"/>
              <a:gd name="T9" fmla="*/ 7 h 8"/>
              <a:gd name="T10" fmla="*/ 15 w 16"/>
              <a:gd name="T11" fmla="*/ 6 h 8"/>
              <a:gd name="T12" fmla="*/ 12 w 16"/>
              <a:gd name="T13" fmla="*/ 3 h 8"/>
              <a:gd name="T14" fmla="*/ 6 w 16"/>
              <a:gd name="T15" fmla="*/ 0 h 8"/>
              <a:gd name="T16" fmla="*/ 2 w 16"/>
              <a:gd name="T17" fmla="*/ 0 h 8"/>
              <a:gd name="T18" fmla="*/ 1 w 16"/>
              <a:gd name="T19" fmla="*/ 3 h 8"/>
              <a:gd name="T20" fmla="*/ 2 w 16"/>
              <a:gd name="T21" fmla="*/ 2 h 8"/>
              <a:gd name="T22" fmla="*/ 6 w 16"/>
              <a:gd name="T23" fmla="*/ 1 h 8"/>
              <a:gd name="T24" fmla="*/ 11 w 16"/>
              <a:gd name="T25" fmla="*/ 3 h 8"/>
              <a:gd name="T26" fmla="*/ 13 w 16"/>
              <a:gd name="T27" fmla="*/ 7 h 8"/>
              <a:gd name="T28" fmla="*/ 7 w 16"/>
              <a:gd name="T29" fmla="*/ 6 h 8"/>
              <a:gd name="T30" fmla="*/ 2 w 16"/>
              <a:gd name="T31" fmla="*/ 3 h 8"/>
              <a:gd name="T32" fmla="*/ 2 w 16"/>
              <a:gd name="T3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1" y="3"/>
                </a:moveTo>
                <a:cubicBezTo>
                  <a:pt x="1" y="3"/>
                  <a:pt x="1" y="4"/>
                  <a:pt x="1" y="4"/>
                </a:cubicBezTo>
                <a:cubicBezTo>
                  <a:pt x="3" y="6"/>
                  <a:pt x="5" y="7"/>
                  <a:pt x="7" y="7"/>
                </a:cubicBezTo>
                <a:cubicBezTo>
                  <a:pt x="10" y="8"/>
                  <a:pt x="12" y="8"/>
                  <a:pt x="15" y="8"/>
                </a:cubicBezTo>
                <a:cubicBezTo>
                  <a:pt x="15" y="8"/>
                  <a:pt x="16" y="8"/>
                  <a:pt x="16" y="7"/>
                </a:cubicBezTo>
                <a:cubicBezTo>
                  <a:pt x="16" y="7"/>
                  <a:pt x="15" y="7"/>
                  <a:pt x="15" y="6"/>
                </a:cubicBezTo>
                <a:cubicBezTo>
                  <a:pt x="14" y="6"/>
                  <a:pt x="13" y="4"/>
                  <a:pt x="12" y="3"/>
                </a:cubicBezTo>
                <a:cubicBezTo>
                  <a:pt x="11" y="1"/>
                  <a:pt x="9" y="0"/>
                  <a:pt x="6" y="0"/>
                </a:cubicBezTo>
                <a:cubicBezTo>
                  <a:pt x="5" y="0"/>
                  <a:pt x="3" y="0"/>
                  <a:pt x="2" y="0"/>
                </a:cubicBezTo>
                <a:cubicBezTo>
                  <a:pt x="0" y="1"/>
                  <a:pt x="0" y="1"/>
                  <a:pt x="1" y="3"/>
                </a:cubicBezTo>
                <a:moveTo>
                  <a:pt x="2" y="2"/>
                </a:moveTo>
                <a:cubicBezTo>
                  <a:pt x="4" y="1"/>
                  <a:pt x="5" y="1"/>
                  <a:pt x="6" y="1"/>
                </a:cubicBezTo>
                <a:cubicBezTo>
                  <a:pt x="8" y="1"/>
                  <a:pt x="10" y="2"/>
                  <a:pt x="11" y="3"/>
                </a:cubicBezTo>
                <a:cubicBezTo>
                  <a:pt x="11" y="4"/>
                  <a:pt x="12" y="5"/>
                  <a:pt x="13" y="7"/>
                </a:cubicBezTo>
                <a:cubicBezTo>
                  <a:pt x="11" y="7"/>
                  <a:pt x="9" y="6"/>
                  <a:pt x="7" y="6"/>
                </a:cubicBezTo>
                <a:cubicBezTo>
                  <a:pt x="5" y="5"/>
                  <a:pt x="3" y="5"/>
                  <a:pt x="2" y="3"/>
                </a:cubicBezTo>
                <a:cubicBezTo>
                  <a:pt x="1" y="2"/>
                  <a:pt x="2"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0" name="Freeform 4721"/>
          <p:cNvSpPr>
            <a:spLocks noEditPoints="1"/>
          </p:cNvSpPr>
          <p:nvPr/>
        </p:nvSpPr>
        <p:spPr bwMode="auto">
          <a:xfrm>
            <a:off x="6310489" y="2639668"/>
            <a:ext cx="38336" cy="29489"/>
          </a:xfrm>
          <a:custGeom>
            <a:avLst/>
            <a:gdLst>
              <a:gd name="T0" fmla="*/ 3 w 14"/>
              <a:gd name="T1" fmla="*/ 4 h 11"/>
              <a:gd name="T2" fmla="*/ 0 w 14"/>
              <a:gd name="T3" fmla="*/ 9 h 11"/>
              <a:gd name="T4" fmla="*/ 1 w 14"/>
              <a:gd name="T5" fmla="*/ 11 h 11"/>
              <a:gd name="T6" fmla="*/ 8 w 14"/>
              <a:gd name="T7" fmla="*/ 10 h 11"/>
              <a:gd name="T8" fmla="*/ 11 w 14"/>
              <a:gd name="T9" fmla="*/ 6 h 11"/>
              <a:gd name="T10" fmla="*/ 13 w 14"/>
              <a:gd name="T11" fmla="*/ 2 h 11"/>
              <a:gd name="T12" fmla="*/ 13 w 14"/>
              <a:gd name="T13" fmla="*/ 1 h 11"/>
              <a:gd name="T14" fmla="*/ 12 w 14"/>
              <a:gd name="T15" fmla="*/ 1 h 11"/>
              <a:gd name="T16" fmla="*/ 3 w 14"/>
              <a:gd name="T17" fmla="*/ 4 h 11"/>
              <a:gd name="T18" fmla="*/ 2 w 14"/>
              <a:gd name="T19" fmla="*/ 6 h 11"/>
              <a:gd name="T20" fmla="*/ 11 w 14"/>
              <a:gd name="T21" fmla="*/ 2 h 11"/>
              <a:gd name="T22" fmla="*/ 3 w 14"/>
              <a:gd name="T23" fmla="*/ 9 h 11"/>
              <a:gd name="T24" fmla="*/ 1 w 14"/>
              <a:gd name="T25" fmla="*/ 9 h 11"/>
              <a:gd name="T26" fmla="*/ 2 w 14"/>
              <a:gd name="T27" fmla="*/ 7 h 11"/>
              <a:gd name="T28" fmla="*/ 2 w 14"/>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1">
                <a:moveTo>
                  <a:pt x="3" y="4"/>
                </a:moveTo>
                <a:cubicBezTo>
                  <a:pt x="1" y="5"/>
                  <a:pt x="0" y="7"/>
                  <a:pt x="0" y="9"/>
                </a:cubicBezTo>
                <a:cubicBezTo>
                  <a:pt x="0" y="10"/>
                  <a:pt x="0" y="11"/>
                  <a:pt x="1" y="11"/>
                </a:cubicBezTo>
                <a:cubicBezTo>
                  <a:pt x="3" y="10"/>
                  <a:pt x="6" y="10"/>
                  <a:pt x="8" y="10"/>
                </a:cubicBezTo>
                <a:cubicBezTo>
                  <a:pt x="9" y="9"/>
                  <a:pt x="10" y="8"/>
                  <a:pt x="11" y="6"/>
                </a:cubicBezTo>
                <a:cubicBezTo>
                  <a:pt x="11" y="5"/>
                  <a:pt x="12" y="3"/>
                  <a:pt x="13" y="2"/>
                </a:cubicBezTo>
                <a:cubicBezTo>
                  <a:pt x="13" y="2"/>
                  <a:pt x="14" y="1"/>
                  <a:pt x="13" y="1"/>
                </a:cubicBezTo>
                <a:cubicBezTo>
                  <a:pt x="13" y="0"/>
                  <a:pt x="13" y="1"/>
                  <a:pt x="12" y="1"/>
                </a:cubicBezTo>
                <a:cubicBezTo>
                  <a:pt x="9" y="1"/>
                  <a:pt x="6" y="2"/>
                  <a:pt x="3" y="4"/>
                </a:cubicBezTo>
                <a:moveTo>
                  <a:pt x="2" y="6"/>
                </a:moveTo>
                <a:cubicBezTo>
                  <a:pt x="4" y="4"/>
                  <a:pt x="8" y="3"/>
                  <a:pt x="11" y="2"/>
                </a:cubicBezTo>
                <a:cubicBezTo>
                  <a:pt x="10" y="7"/>
                  <a:pt x="8" y="9"/>
                  <a:pt x="3" y="9"/>
                </a:cubicBezTo>
                <a:cubicBezTo>
                  <a:pt x="2" y="9"/>
                  <a:pt x="1" y="10"/>
                  <a:pt x="1" y="9"/>
                </a:cubicBezTo>
                <a:cubicBezTo>
                  <a:pt x="1" y="9"/>
                  <a:pt x="1" y="8"/>
                  <a:pt x="2" y="7"/>
                </a:cubicBezTo>
                <a:cubicBezTo>
                  <a:pt x="2" y="7"/>
                  <a:pt x="2" y="7"/>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1" name="Freeform 4722"/>
          <p:cNvSpPr>
            <a:spLocks noEditPoints="1"/>
          </p:cNvSpPr>
          <p:nvPr/>
        </p:nvSpPr>
        <p:spPr bwMode="auto">
          <a:xfrm>
            <a:off x="6272154" y="2645565"/>
            <a:ext cx="38336" cy="29489"/>
          </a:xfrm>
          <a:custGeom>
            <a:avLst/>
            <a:gdLst>
              <a:gd name="T0" fmla="*/ 4 w 14"/>
              <a:gd name="T1" fmla="*/ 4 h 11"/>
              <a:gd name="T2" fmla="*/ 1 w 14"/>
              <a:gd name="T3" fmla="*/ 9 h 11"/>
              <a:gd name="T4" fmla="*/ 2 w 14"/>
              <a:gd name="T5" fmla="*/ 10 h 11"/>
              <a:gd name="T6" fmla="*/ 8 w 14"/>
              <a:gd name="T7" fmla="*/ 9 h 11"/>
              <a:gd name="T8" fmla="*/ 12 w 14"/>
              <a:gd name="T9" fmla="*/ 6 h 11"/>
              <a:gd name="T10" fmla="*/ 14 w 14"/>
              <a:gd name="T11" fmla="*/ 1 h 11"/>
              <a:gd name="T12" fmla="*/ 14 w 14"/>
              <a:gd name="T13" fmla="*/ 0 h 11"/>
              <a:gd name="T14" fmla="*/ 13 w 14"/>
              <a:gd name="T15" fmla="*/ 0 h 11"/>
              <a:gd name="T16" fmla="*/ 4 w 14"/>
              <a:gd name="T17" fmla="*/ 4 h 11"/>
              <a:gd name="T18" fmla="*/ 3 w 14"/>
              <a:gd name="T19" fmla="*/ 6 h 11"/>
              <a:gd name="T20" fmla="*/ 12 w 14"/>
              <a:gd name="T21" fmla="*/ 2 h 11"/>
              <a:gd name="T22" fmla="*/ 4 w 14"/>
              <a:gd name="T23" fmla="*/ 9 h 11"/>
              <a:gd name="T24" fmla="*/ 2 w 14"/>
              <a:gd name="T25" fmla="*/ 9 h 11"/>
              <a:gd name="T26" fmla="*/ 2 w 14"/>
              <a:gd name="T27" fmla="*/ 7 h 11"/>
              <a:gd name="T28" fmla="*/ 3 w 14"/>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1">
                <a:moveTo>
                  <a:pt x="4" y="4"/>
                </a:moveTo>
                <a:cubicBezTo>
                  <a:pt x="2" y="5"/>
                  <a:pt x="0" y="7"/>
                  <a:pt x="1" y="9"/>
                </a:cubicBezTo>
                <a:cubicBezTo>
                  <a:pt x="1" y="10"/>
                  <a:pt x="1" y="11"/>
                  <a:pt x="2" y="10"/>
                </a:cubicBezTo>
                <a:cubicBezTo>
                  <a:pt x="4" y="10"/>
                  <a:pt x="6" y="10"/>
                  <a:pt x="8" y="9"/>
                </a:cubicBezTo>
                <a:cubicBezTo>
                  <a:pt x="10" y="8"/>
                  <a:pt x="11" y="7"/>
                  <a:pt x="12" y="6"/>
                </a:cubicBezTo>
                <a:cubicBezTo>
                  <a:pt x="12" y="4"/>
                  <a:pt x="12" y="2"/>
                  <a:pt x="14" y="1"/>
                </a:cubicBezTo>
                <a:cubicBezTo>
                  <a:pt x="14" y="1"/>
                  <a:pt x="14" y="1"/>
                  <a:pt x="14" y="0"/>
                </a:cubicBezTo>
                <a:cubicBezTo>
                  <a:pt x="14" y="0"/>
                  <a:pt x="13" y="0"/>
                  <a:pt x="13" y="0"/>
                </a:cubicBezTo>
                <a:cubicBezTo>
                  <a:pt x="10" y="1"/>
                  <a:pt x="7" y="2"/>
                  <a:pt x="4" y="4"/>
                </a:cubicBezTo>
                <a:moveTo>
                  <a:pt x="3" y="6"/>
                </a:moveTo>
                <a:cubicBezTo>
                  <a:pt x="5" y="3"/>
                  <a:pt x="8" y="3"/>
                  <a:pt x="12" y="2"/>
                </a:cubicBezTo>
                <a:cubicBezTo>
                  <a:pt x="10" y="8"/>
                  <a:pt x="10" y="8"/>
                  <a:pt x="4" y="9"/>
                </a:cubicBezTo>
                <a:cubicBezTo>
                  <a:pt x="3" y="9"/>
                  <a:pt x="2" y="10"/>
                  <a:pt x="2" y="9"/>
                </a:cubicBezTo>
                <a:cubicBezTo>
                  <a:pt x="2" y="8"/>
                  <a:pt x="2" y="7"/>
                  <a:pt x="2" y="7"/>
                </a:cubicBezTo>
                <a:cubicBezTo>
                  <a:pt x="3" y="6"/>
                  <a:pt x="3"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2" name="Freeform 4723"/>
          <p:cNvSpPr>
            <a:spLocks noEditPoints="1"/>
          </p:cNvSpPr>
          <p:nvPr/>
        </p:nvSpPr>
        <p:spPr bwMode="auto">
          <a:xfrm>
            <a:off x="6275104" y="2675053"/>
            <a:ext cx="42759" cy="22116"/>
          </a:xfrm>
          <a:custGeom>
            <a:avLst/>
            <a:gdLst>
              <a:gd name="T0" fmla="*/ 0 w 16"/>
              <a:gd name="T1" fmla="*/ 3 h 8"/>
              <a:gd name="T2" fmla="*/ 1 w 16"/>
              <a:gd name="T3" fmla="*/ 4 h 8"/>
              <a:gd name="T4" fmla="*/ 8 w 16"/>
              <a:gd name="T5" fmla="*/ 8 h 8"/>
              <a:gd name="T6" fmla="*/ 15 w 16"/>
              <a:gd name="T7" fmla="*/ 8 h 8"/>
              <a:gd name="T8" fmla="*/ 16 w 16"/>
              <a:gd name="T9" fmla="*/ 8 h 8"/>
              <a:gd name="T10" fmla="*/ 15 w 16"/>
              <a:gd name="T11" fmla="*/ 7 h 8"/>
              <a:gd name="T12" fmla="*/ 12 w 16"/>
              <a:gd name="T13" fmla="*/ 3 h 8"/>
              <a:gd name="T14" fmla="*/ 6 w 16"/>
              <a:gd name="T15" fmla="*/ 1 h 8"/>
              <a:gd name="T16" fmla="*/ 2 w 16"/>
              <a:gd name="T17" fmla="*/ 1 h 8"/>
              <a:gd name="T18" fmla="*/ 0 w 16"/>
              <a:gd name="T19" fmla="*/ 3 h 8"/>
              <a:gd name="T20" fmla="*/ 2 w 16"/>
              <a:gd name="T21" fmla="*/ 2 h 8"/>
              <a:gd name="T22" fmla="*/ 10 w 16"/>
              <a:gd name="T23" fmla="*/ 3 h 8"/>
              <a:gd name="T24" fmla="*/ 13 w 16"/>
              <a:gd name="T25" fmla="*/ 7 h 8"/>
              <a:gd name="T26" fmla="*/ 13 w 16"/>
              <a:gd name="T27" fmla="*/ 7 h 8"/>
              <a:gd name="T28" fmla="*/ 4 w 16"/>
              <a:gd name="T29" fmla="*/ 5 h 8"/>
              <a:gd name="T30" fmla="*/ 2 w 16"/>
              <a:gd name="T31" fmla="*/ 3 h 8"/>
              <a:gd name="T32" fmla="*/ 2 w 16"/>
              <a:gd name="T3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0" y="3"/>
                </a:moveTo>
                <a:cubicBezTo>
                  <a:pt x="0" y="3"/>
                  <a:pt x="1" y="4"/>
                  <a:pt x="1" y="4"/>
                </a:cubicBezTo>
                <a:cubicBezTo>
                  <a:pt x="3" y="7"/>
                  <a:pt x="5" y="8"/>
                  <a:pt x="8" y="8"/>
                </a:cubicBezTo>
                <a:cubicBezTo>
                  <a:pt x="10" y="8"/>
                  <a:pt x="12" y="8"/>
                  <a:pt x="15" y="8"/>
                </a:cubicBezTo>
                <a:cubicBezTo>
                  <a:pt x="15" y="8"/>
                  <a:pt x="15" y="8"/>
                  <a:pt x="16" y="8"/>
                </a:cubicBezTo>
                <a:cubicBezTo>
                  <a:pt x="16" y="7"/>
                  <a:pt x="15" y="7"/>
                  <a:pt x="15" y="7"/>
                </a:cubicBezTo>
                <a:cubicBezTo>
                  <a:pt x="13" y="6"/>
                  <a:pt x="13" y="5"/>
                  <a:pt x="12" y="3"/>
                </a:cubicBezTo>
                <a:cubicBezTo>
                  <a:pt x="10" y="1"/>
                  <a:pt x="8" y="0"/>
                  <a:pt x="6" y="1"/>
                </a:cubicBezTo>
                <a:cubicBezTo>
                  <a:pt x="4" y="1"/>
                  <a:pt x="3" y="1"/>
                  <a:pt x="2" y="1"/>
                </a:cubicBezTo>
                <a:cubicBezTo>
                  <a:pt x="0" y="1"/>
                  <a:pt x="0" y="2"/>
                  <a:pt x="0" y="3"/>
                </a:cubicBezTo>
                <a:moveTo>
                  <a:pt x="2" y="2"/>
                </a:moveTo>
                <a:cubicBezTo>
                  <a:pt x="5" y="2"/>
                  <a:pt x="7" y="1"/>
                  <a:pt x="10" y="3"/>
                </a:cubicBezTo>
                <a:cubicBezTo>
                  <a:pt x="11" y="4"/>
                  <a:pt x="12" y="5"/>
                  <a:pt x="13" y="7"/>
                </a:cubicBezTo>
                <a:cubicBezTo>
                  <a:pt x="13" y="7"/>
                  <a:pt x="13" y="7"/>
                  <a:pt x="13" y="7"/>
                </a:cubicBezTo>
                <a:cubicBezTo>
                  <a:pt x="10" y="7"/>
                  <a:pt x="7" y="7"/>
                  <a:pt x="4" y="5"/>
                </a:cubicBezTo>
                <a:cubicBezTo>
                  <a:pt x="3" y="5"/>
                  <a:pt x="2" y="4"/>
                  <a:pt x="2" y="3"/>
                </a:cubicBezTo>
                <a:cubicBezTo>
                  <a:pt x="2" y="3"/>
                  <a:pt x="1"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3" name="Freeform 4724"/>
          <p:cNvSpPr>
            <a:spLocks noEditPoints="1"/>
          </p:cNvSpPr>
          <p:nvPr/>
        </p:nvSpPr>
        <p:spPr bwMode="auto">
          <a:xfrm>
            <a:off x="6345875" y="2667683"/>
            <a:ext cx="38336" cy="19167"/>
          </a:xfrm>
          <a:custGeom>
            <a:avLst/>
            <a:gdLst>
              <a:gd name="T0" fmla="*/ 0 w 14"/>
              <a:gd name="T1" fmla="*/ 3 h 7"/>
              <a:gd name="T2" fmla="*/ 1 w 14"/>
              <a:gd name="T3" fmla="*/ 4 h 7"/>
              <a:gd name="T4" fmla="*/ 5 w 14"/>
              <a:gd name="T5" fmla="*/ 6 h 7"/>
              <a:gd name="T6" fmla="*/ 13 w 14"/>
              <a:gd name="T7" fmla="*/ 7 h 7"/>
              <a:gd name="T8" fmla="*/ 14 w 14"/>
              <a:gd name="T9" fmla="*/ 7 h 7"/>
              <a:gd name="T10" fmla="*/ 13 w 14"/>
              <a:gd name="T11" fmla="*/ 6 h 7"/>
              <a:gd name="T12" fmla="*/ 10 w 14"/>
              <a:gd name="T13" fmla="*/ 3 h 7"/>
              <a:gd name="T14" fmla="*/ 6 w 14"/>
              <a:gd name="T15" fmla="*/ 0 h 7"/>
              <a:gd name="T16" fmla="*/ 2 w 14"/>
              <a:gd name="T17" fmla="*/ 1 h 7"/>
              <a:gd name="T18" fmla="*/ 0 w 14"/>
              <a:gd name="T19" fmla="*/ 3 h 7"/>
              <a:gd name="T20" fmla="*/ 2 w 14"/>
              <a:gd name="T21" fmla="*/ 2 h 7"/>
              <a:gd name="T22" fmla="*/ 11 w 14"/>
              <a:gd name="T23" fmla="*/ 6 h 7"/>
              <a:gd name="T24" fmla="*/ 3 w 14"/>
              <a:gd name="T25" fmla="*/ 4 h 7"/>
              <a:gd name="T26" fmla="*/ 2 w 14"/>
              <a:gd name="T27" fmla="*/ 3 h 7"/>
              <a:gd name="T28" fmla="*/ 2 w 14"/>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7">
                <a:moveTo>
                  <a:pt x="0" y="3"/>
                </a:moveTo>
                <a:cubicBezTo>
                  <a:pt x="1" y="3"/>
                  <a:pt x="1" y="4"/>
                  <a:pt x="1" y="4"/>
                </a:cubicBezTo>
                <a:cubicBezTo>
                  <a:pt x="2" y="5"/>
                  <a:pt x="3" y="6"/>
                  <a:pt x="5" y="6"/>
                </a:cubicBezTo>
                <a:cubicBezTo>
                  <a:pt x="7" y="7"/>
                  <a:pt x="10" y="7"/>
                  <a:pt x="13" y="7"/>
                </a:cubicBezTo>
                <a:cubicBezTo>
                  <a:pt x="13" y="7"/>
                  <a:pt x="13" y="7"/>
                  <a:pt x="14" y="7"/>
                </a:cubicBezTo>
                <a:cubicBezTo>
                  <a:pt x="14" y="6"/>
                  <a:pt x="13" y="6"/>
                  <a:pt x="13" y="6"/>
                </a:cubicBezTo>
                <a:cubicBezTo>
                  <a:pt x="12" y="5"/>
                  <a:pt x="11" y="4"/>
                  <a:pt x="10" y="3"/>
                </a:cubicBezTo>
                <a:cubicBezTo>
                  <a:pt x="9" y="1"/>
                  <a:pt x="8" y="0"/>
                  <a:pt x="6" y="0"/>
                </a:cubicBezTo>
                <a:cubicBezTo>
                  <a:pt x="4" y="0"/>
                  <a:pt x="3" y="1"/>
                  <a:pt x="2" y="1"/>
                </a:cubicBezTo>
                <a:cubicBezTo>
                  <a:pt x="0" y="1"/>
                  <a:pt x="0" y="1"/>
                  <a:pt x="0" y="3"/>
                </a:cubicBezTo>
                <a:moveTo>
                  <a:pt x="2" y="2"/>
                </a:moveTo>
                <a:cubicBezTo>
                  <a:pt x="8" y="1"/>
                  <a:pt x="8" y="2"/>
                  <a:pt x="11" y="6"/>
                </a:cubicBezTo>
                <a:cubicBezTo>
                  <a:pt x="8" y="6"/>
                  <a:pt x="6" y="6"/>
                  <a:pt x="3" y="4"/>
                </a:cubicBezTo>
                <a:cubicBezTo>
                  <a:pt x="3" y="4"/>
                  <a:pt x="2" y="4"/>
                  <a:pt x="2" y="3"/>
                </a:cubicBezTo>
                <a:cubicBezTo>
                  <a:pt x="1" y="2"/>
                  <a:pt x="1"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4" name="Freeform 4725"/>
          <p:cNvSpPr>
            <a:spLocks noEditPoints="1"/>
          </p:cNvSpPr>
          <p:nvPr/>
        </p:nvSpPr>
        <p:spPr bwMode="auto">
          <a:xfrm>
            <a:off x="6342927" y="2639667"/>
            <a:ext cx="32438" cy="28014"/>
          </a:xfrm>
          <a:custGeom>
            <a:avLst/>
            <a:gdLst>
              <a:gd name="T0" fmla="*/ 3 w 12"/>
              <a:gd name="T1" fmla="*/ 4 h 10"/>
              <a:gd name="T2" fmla="*/ 0 w 12"/>
              <a:gd name="T3" fmla="*/ 8 h 10"/>
              <a:gd name="T4" fmla="*/ 2 w 12"/>
              <a:gd name="T5" fmla="*/ 9 h 10"/>
              <a:gd name="T6" fmla="*/ 6 w 12"/>
              <a:gd name="T7" fmla="*/ 9 h 10"/>
              <a:gd name="T8" fmla="*/ 10 w 12"/>
              <a:gd name="T9" fmla="*/ 5 h 10"/>
              <a:gd name="T10" fmla="*/ 12 w 12"/>
              <a:gd name="T11" fmla="*/ 1 h 10"/>
              <a:gd name="T12" fmla="*/ 12 w 12"/>
              <a:gd name="T13" fmla="*/ 1 h 10"/>
              <a:gd name="T14" fmla="*/ 11 w 12"/>
              <a:gd name="T15" fmla="*/ 0 h 10"/>
              <a:gd name="T16" fmla="*/ 3 w 12"/>
              <a:gd name="T17" fmla="*/ 4 h 10"/>
              <a:gd name="T18" fmla="*/ 3 w 12"/>
              <a:gd name="T19" fmla="*/ 5 h 10"/>
              <a:gd name="T20" fmla="*/ 10 w 12"/>
              <a:gd name="T21" fmla="*/ 2 h 10"/>
              <a:gd name="T22" fmla="*/ 7 w 12"/>
              <a:gd name="T23" fmla="*/ 7 h 10"/>
              <a:gd name="T24" fmla="*/ 3 w 12"/>
              <a:gd name="T25" fmla="*/ 8 h 10"/>
              <a:gd name="T26" fmla="*/ 2 w 12"/>
              <a:gd name="T27" fmla="*/ 8 h 10"/>
              <a:gd name="T28" fmla="*/ 2 w 12"/>
              <a:gd name="T29" fmla="*/ 6 h 10"/>
              <a:gd name="T30" fmla="*/ 3 w 12"/>
              <a:gd name="T3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0">
                <a:moveTo>
                  <a:pt x="3" y="4"/>
                </a:moveTo>
                <a:cubicBezTo>
                  <a:pt x="2" y="4"/>
                  <a:pt x="1" y="6"/>
                  <a:pt x="0" y="8"/>
                </a:cubicBezTo>
                <a:cubicBezTo>
                  <a:pt x="0" y="9"/>
                  <a:pt x="1" y="10"/>
                  <a:pt x="2" y="9"/>
                </a:cubicBezTo>
                <a:cubicBezTo>
                  <a:pt x="3" y="9"/>
                  <a:pt x="5" y="9"/>
                  <a:pt x="6" y="9"/>
                </a:cubicBezTo>
                <a:cubicBezTo>
                  <a:pt x="8" y="8"/>
                  <a:pt x="10" y="7"/>
                  <a:pt x="10" y="5"/>
                </a:cubicBezTo>
                <a:cubicBezTo>
                  <a:pt x="11" y="4"/>
                  <a:pt x="11" y="2"/>
                  <a:pt x="12" y="1"/>
                </a:cubicBezTo>
                <a:cubicBezTo>
                  <a:pt x="12" y="1"/>
                  <a:pt x="12" y="1"/>
                  <a:pt x="12" y="1"/>
                </a:cubicBezTo>
                <a:cubicBezTo>
                  <a:pt x="12" y="0"/>
                  <a:pt x="12" y="0"/>
                  <a:pt x="11" y="0"/>
                </a:cubicBezTo>
                <a:cubicBezTo>
                  <a:pt x="8" y="1"/>
                  <a:pt x="6" y="2"/>
                  <a:pt x="3" y="4"/>
                </a:cubicBezTo>
                <a:moveTo>
                  <a:pt x="3" y="5"/>
                </a:moveTo>
                <a:cubicBezTo>
                  <a:pt x="5" y="4"/>
                  <a:pt x="7" y="3"/>
                  <a:pt x="10" y="2"/>
                </a:cubicBezTo>
                <a:cubicBezTo>
                  <a:pt x="9" y="4"/>
                  <a:pt x="9" y="6"/>
                  <a:pt x="7" y="7"/>
                </a:cubicBezTo>
                <a:cubicBezTo>
                  <a:pt x="6" y="8"/>
                  <a:pt x="4" y="8"/>
                  <a:pt x="3" y="8"/>
                </a:cubicBezTo>
                <a:cubicBezTo>
                  <a:pt x="3" y="8"/>
                  <a:pt x="2" y="8"/>
                  <a:pt x="2" y="8"/>
                </a:cubicBezTo>
                <a:cubicBezTo>
                  <a:pt x="1" y="7"/>
                  <a:pt x="2" y="7"/>
                  <a:pt x="2" y="6"/>
                </a:cubicBezTo>
                <a:cubicBezTo>
                  <a:pt x="2" y="6"/>
                  <a:pt x="3" y="6"/>
                  <a:pt x="3"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3" name="Group 2"/>
          <p:cNvGrpSpPr/>
          <p:nvPr/>
        </p:nvGrpSpPr>
        <p:grpSpPr>
          <a:xfrm>
            <a:off x="6689683" y="2463307"/>
            <a:ext cx="2568996" cy="290251"/>
            <a:chOff x="6308683" y="2413005"/>
            <a:chExt cx="2568996" cy="290251"/>
          </a:xfrm>
        </p:grpSpPr>
        <p:sp>
          <p:nvSpPr>
            <p:cNvPr id="772" name="Line 4791"/>
            <p:cNvSpPr>
              <a:spLocks noChangeShapeType="1"/>
            </p:cNvSpPr>
            <p:nvPr/>
          </p:nvSpPr>
          <p:spPr bwMode="auto">
            <a:xfrm flipH="1">
              <a:off x="6764688" y="2413005"/>
              <a:ext cx="2112991" cy="0"/>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73" name="Line 4791"/>
            <p:cNvSpPr>
              <a:spLocks noChangeShapeType="1"/>
            </p:cNvSpPr>
            <p:nvPr/>
          </p:nvSpPr>
          <p:spPr bwMode="auto">
            <a:xfrm flipH="1">
              <a:off x="6308683" y="2413006"/>
              <a:ext cx="454144" cy="290250"/>
            </a:xfrm>
            <a:prstGeom prst="line">
              <a:avLst/>
            </a:prstGeom>
            <a:noFill/>
            <a:ln w="31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691" name="Freeform 4712"/>
          <p:cNvSpPr>
            <a:spLocks noEditPoints="1"/>
          </p:cNvSpPr>
          <p:nvPr/>
        </p:nvSpPr>
        <p:spPr bwMode="auto">
          <a:xfrm>
            <a:off x="6244141" y="4019746"/>
            <a:ext cx="137123" cy="179882"/>
          </a:xfrm>
          <a:custGeom>
            <a:avLst/>
            <a:gdLst>
              <a:gd name="T0" fmla="*/ 22 w 50"/>
              <a:gd name="T1" fmla="*/ 64 h 66"/>
              <a:gd name="T2" fmla="*/ 25 w 50"/>
              <a:gd name="T3" fmla="*/ 60 h 66"/>
              <a:gd name="T4" fmla="*/ 25 w 50"/>
              <a:gd name="T5" fmla="*/ 58 h 66"/>
              <a:gd name="T6" fmla="*/ 26 w 50"/>
              <a:gd name="T7" fmla="*/ 59 h 66"/>
              <a:gd name="T8" fmla="*/ 27 w 50"/>
              <a:gd name="T9" fmla="*/ 59 h 66"/>
              <a:gd name="T10" fmla="*/ 50 w 50"/>
              <a:gd name="T11" fmla="*/ 6 h 66"/>
              <a:gd name="T12" fmla="*/ 49 w 50"/>
              <a:gd name="T13" fmla="*/ 5 h 66"/>
              <a:gd name="T14" fmla="*/ 16 w 50"/>
              <a:gd name="T15" fmla="*/ 5 h 66"/>
              <a:gd name="T16" fmla="*/ 16 w 50"/>
              <a:gd name="T17" fmla="*/ 5 h 66"/>
              <a:gd name="T18" fmla="*/ 11 w 50"/>
              <a:gd name="T19" fmla="*/ 6 h 66"/>
              <a:gd name="T20" fmla="*/ 1 w 50"/>
              <a:gd name="T21" fmla="*/ 30 h 66"/>
              <a:gd name="T22" fmla="*/ 3 w 50"/>
              <a:gd name="T23" fmla="*/ 34 h 66"/>
              <a:gd name="T24" fmla="*/ 3 w 50"/>
              <a:gd name="T25" fmla="*/ 34 h 66"/>
              <a:gd name="T26" fmla="*/ 8 w 50"/>
              <a:gd name="T27" fmla="*/ 44 h 66"/>
              <a:gd name="T28" fmla="*/ 7 w 50"/>
              <a:gd name="T29" fmla="*/ 46 h 66"/>
              <a:gd name="T30" fmla="*/ 8 w 50"/>
              <a:gd name="T31" fmla="*/ 57 h 66"/>
              <a:gd name="T32" fmla="*/ 22 w 50"/>
              <a:gd name="T33" fmla="*/ 64 h 66"/>
              <a:gd name="T34" fmla="*/ 12 w 50"/>
              <a:gd name="T35" fmla="*/ 56 h 66"/>
              <a:gd name="T36" fmla="*/ 10 w 50"/>
              <a:gd name="T37" fmla="*/ 47 h 66"/>
              <a:gd name="T38" fmla="*/ 22 w 50"/>
              <a:gd name="T39" fmla="*/ 57 h 66"/>
              <a:gd name="T40" fmla="*/ 22 w 50"/>
              <a:gd name="T41" fmla="*/ 59 h 66"/>
              <a:gd name="T42" fmla="*/ 20 w 50"/>
              <a:gd name="T43" fmla="*/ 61 h 66"/>
              <a:gd name="T44" fmla="*/ 12 w 50"/>
              <a:gd name="T45"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66">
                <a:moveTo>
                  <a:pt x="22" y="64"/>
                </a:moveTo>
                <a:cubicBezTo>
                  <a:pt x="23" y="63"/>
                  <a:pt x="24" y="62"/>
                  <a:pt x="25" y="60"/>
                </a:cubicBezTo>
                <a:cubicBezTo>
                  <a:pt x="25" y="60"/>
                  <a:pt x="25" y="59"/>
                  <a:pt x="25" y="58"/>
                </a:cubicBezTo>
                <a:cubicBezTo>
                  <a:pt x="26" y="59"/>
                  <a:pt x="25" y="58"/>
                  <a:pt x="26" y="59"/>
                </a:cubicBezTo>
                <a:cubicBezTo>
                  <a:pt x="27" y="59"/>
                  <a:pt x="27" y="59"/>
                  <a:pt x="27" y="59"/>
                </a:cubicBezTo>
                <a:cubicBezTo>
                  <a:pt x="50" y="6"/>
                  <a:pt x="50" y="6"/>
                  <a:pt x="50" y="6"/>
                </a:cubicBezTo>
                <a:cubicBezTo>
                  <a:pt x="49" y="5"/>
                  <a:pt x="49" y="5"/>
                  <a:pt x="49" y="5"/>
                </a:cubicBezTo>
                <a:cubicBezTo>
                  <a:pt x="36" y="0"/>
                  <a:pt x="25" y="0"/>
                  <a:pt x="16" y="5"/>
                </a:cubicBezTo>
                <a:cubicBezTo>
                  <a:pt x="16" y="5"/>
                  <a:pt x="16" y="5"/>
                  <a:pt x="16" y="5"/>
                </a:cubicBezTo>
                <a:cubicBezTo>
                  <a:pt x="14" y="5"/>
                  <a:pt x="11" y="5"/>
                  <a:pt x="11" y="6"/>
                </a:cubicBezTo>
                <a:cubicBezTo>
                  <a:pt x="1" y="30"/>
                  <a:pt x="1" y="30"/>
                  <a:pt x="1" y="30"/>
                </a:cubicBezTo>
                <a:cubicBezTo>
                  <a:pt x="0" y="31"/>
                  <a:pt x="2" y="33"/>
                  <a:pt x="3" y="34"/>
                </a:cubicBezTo>
                <a:cubicBezTo>
                  <a:pt x="3" y="34"/>
                  <a:pt x="3" y="34"/>
                  <a:pt x="3" y="34"/>
                </a:cubicBezTo>
                <a:cubicBezTo>
                  <a:pt x="4" y="37"/>
                  <a:pt x="5" y="41"/>
                  <a:pt x="8" y="44"/>
                </a:cubicBezTo>
                <a:cubicBezTo>
                  <a:pt x="8" y="45"/>
                  <a:pt x="7" y="45"/>
                  <a:pt x="7" y="46"/>
                </a:cubicBezTo>
                <a:cubicBezTo>
                  <a:pt x="6" y="49"/>
                  <a:pt x="6" y="53"/>
                  <a:pt x="8" y="57"/>
                </a:cubicBezTo>
                <a:cubicBezTo>
                  <a:pt x="12" y="63"/>
                  <a:pt x="18" y="66"/>
                  <a:pt x="22" y="64"/>
                </a:cubicBezTo>
                <a:close/>
                <a:moveTo>
                  <a:pt x="12" y="56"/>
                </a:moveTo>
                <a:cubicBezTo>
                  <a:pt x="10" y="53"/>
                  <a:pt x="9" y="50"/>
                  <a:pt x="10" y="47"/>
                </a:cubicBezTo>
                <a:cubicBezTo>
                  <a:pt x="13" y="51"/>
                  <a:pt x="17" y="54"/>
                  <a:pt x="22" y="57"/>
                </a:cubicBezTo>
                <a:cubicBezTo>
                  <a:pt x="22" y="58"/>
                  <a:pt x="22" y="58"/>
                  <a:pt x="22" y="59"/>
                </a:cubicBezTo>
                <a:cubicBezTo>
                  <a:pt x="21" y="60"/>
                  <a:pt x="21" y="60"/>
                  <a:pt x="20" y="61"/>
                </a:cubicBezTo>
                <a:cubicBezTo>
                  <a:pt x="18" y="62"/>
                  <a:pt x="14" y="60"/>
                  <a:pt x="12" y="56"/>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2" name="Freeform 4713"/>
          <p:cNvSpPr>
            <a:spLocks/>
          </p:cNvSpPr>
          <p:nvPr/>
        </p:nvSpPr>
        <p:spPr bwMode="auto">
          <a:xfrm>
            <a:off x="6204330" y="3975514"/>
            <a:ext cx="89941" cy="188729"/>
          </a:xfrm>
          <a:custGeom>
            <a:avLst/>
            <a:gdLst>
              <a:gd name="T0" fmla="*/ 33 w 33"/>
              <a:gd name="T1" fmla="*/ 1 h 69"/>
              <a:gd name="T2" fmla="*/ 25 w 33"/>
              <a:gd name="T3" fmla="*/ 5 h 69"/>
              <a:gd name="T4" fmla="*/ 1 w 33"/>
              <a:gd name="T5" fmla="*/ 61 h 69"/>
              <a:gd name="T6" fmla="*/ 4 w 33"/>
              <a:gd name="T7" fmla="*/ 69 h 69"/>
              <a:gd name="T8" fmla="*/ 33 w 33"/>
              <a:gd name="T9" fmla="*/ 1 h 69"/>
            </a:gdLst>
            <a:ahLst/>
            <a:cxnLst>
              <a:cxn ang="0">
                <a:pos x="T0" y="T1"/>
              </a:cxn>
              <a:cxn ang="0">
                <a:pos x="T2" y="T3"/>
              </a:cxn>
              <a:cxn ang="0">
                <a:pos x="T4" y="T5"/>
              </a:cxn>
              <a:cxn ang="0">
                <a:pos x="T6" y="T7"/>
              </a:cxn>
              <a:cxn ang="0">
                <a:pos x="T8" y="T9"/>
              </a:cxn>
            </a:cxnLst>
            <a:rect l="0" t="0" r="r" b="b"/>
            <a:pathLst>
              <a:path w="33" h="69">
                <a:moveTo>
                  <a:pt x="33" y="1"/>
                </a:moveTo>
                <a:cubicBezTo>
                  <a:pt x="30" y="0"/>
                  <a:pt x="27" y="2"/>
                  <a:pt x="25" y="5"/>
                </a:cubicBezTo>
                <a:cubicBezTo>
                  <a:pt x="1" y="61"/>
                  <a:pt x="1" y="61"/>
                  <a:pt x="1" y="61"/>
                </a:cubicBezTo>
                <a:cubicBezTo>
                  <a:pt x="0" y="64"/>
                  <a:pt x="1" y="67"/>
                  <a:pt x="4" y="69"/>
                </a:cubicBezTo>
                <a:lnTo>
                  <a:pt x="33" y="1"/>
                </a:ln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3" name="Freeform 4714"/>
          <p:cNvSpPr>
            <a:spLocks/>
          </p:cNvSpPr>
          <p:nvPr/>
        </p:nvSpPr>
        <p:spPr bwMode="auto">
          <a:xfrm>
            <a:off x="6375365" y="4131804"/>
            <a:ext cx="112057" cy="64876"/>
          </a:xfrm>
          <a:custGeom>
            <a:avLst/>
            <a:gdLst>
              <a:gd name="T0" fmla="*/ 16 w 41"/>
              <a:gd name="T1" fmla="*/ 13 h 24"/>
              <a:gd name="T2" fmla="*/ 41 w 41"/>
              <a:gd name="T3" fmla="*/ 24 h 24"/>
              <a:gd name="T4" fmla="*/ 20 w 41"/>
              <a:gd name="T5" fmla="*/ 8 h 24"/>
              <a:gd name="T6" fmla="*/ 4 w 41"/>
              <a:gd name="T7" fmla="*/ 5 h 24"/>
              <a:gd name="T8" fmla="*/ 0 w 41"/>
              <a:gd name="T9" fmla="*/ 0 h 24"/>
              <a:gd name="T10" fmla="*/ 5 w 41"/>
              <a:gd name="T11" fmla="*/ 11 h 24"/>
              <a:gd name="T12" fmla="*/ 16 w 41"/>
              <a:gd name="T13" fmla="*/ 13 h 24"/>
            </a:gdLst>
            <a:ahLst/>
            <a:cxnLst>
              <a:cxn ang="0">
                <a:pos x="T0" y="T1"/>
              </a:cxn>
              <a:cxn ang="0">
                <a:pos x="T2" y="T3"/>
              </a:cxn>
              <a:cxn ang="0">
                <a:pos x="T4" y="T5"/>
              </a:cxn>
              <a:cxn ang="0">
                <a:pos x="T6" y="T7"/>
              </a:cxn>
              <a:cxn ang="0">
                <a:pos x="T8" y="T9"/>
              </a:cxn>
              <a:cxn ang="0">
                <a:pos x="T10" y="T11"/>
              </a:cxn>
              <a:cxn ang="0">
                <a:pos x="T12" y="T13"/>
              </a:cxn>
            </a:cxnLst>
            <a:rect l="0" t="0" r="r" b="b"/>
            <a:pathLst>
              <a:path w="41" h="24">
                <a:moveTo>
                  <a:pt x="16" y="13"/>
                </a:moveTo>
                <a:cubicBezTo>
                  <a:pt x="31" y="11"/>
                  <a:pt x="38" y="19"/>
                  <a:pt x="41" y="24"/>
                </a:cubicBezTo>
                <a:cubicBezTo>
                  <a:pt x="38" y="16"/>
                  <a:pt x="33" y="6"/>
                  <a:pt x="20" y="8"/>
                </a:cubicBezTo>
                <a:cubicBezTo>
                  <a:pt x="13" y="9"/>
                  <a:pt x="8" y="8"/>
                  <a:pt x="4" y="5"/>
                </a:cubicBezTo>
                <a:cubicBezTo>
                  <a:pt x="2" y="4"/>
                  <a:pt x="1" y="2"/>
                  <a:pt x="0" y="0"/>
                </a:cubicBezTo>
                <a:cubicBezTo>
                  <a:pt x="0" y="3"/>
                  <a:pt x="2" y="8"/>
                  <a:pt x="5" y="11"/>
                </a:cubicBezTo>
                <a:cubicBezTo>
                  <a:pt x="8" y="13"/>
                  <a:pt x="12" y="14"/>
                  <a:pt x="16" y="13"/>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4" name="Freeform 4715"/>
          <p:cNvSpPr>
            <a:spLocks/>
          </p:cNvSpPr>
          <p:nvPr/>
        </p:nvSpPr>
        <p:spPr bwMode="auto">
          <a:xfrm>
            <a:off x="6378314" y="4099367"/>
            <a:ext cx="95839" cy="42759"/>
          </a:xfrm>
          <a:custGeom>
            <a:avLst/>
            <a:gdLst>
              <a:gd name="T0" fmla="*/ 14 w 35"/>
              <a:gd name="T1" fmla="*/ 9 h 16"/>
              <a:gd name="T2" fmla="*/ 35 w 35"/>
              <a:gd name="T3" fmla="*/ 16 h 16"/>
              <a:gd name="T4" fmla="*/ 16 w 35"/>
              <a:gd name="T5" fmla="*/ 5 h 16"/>
              <a:gd name="T6" fmla="*/ 4 w 35"/>
              <a:gd name="T7" fmla="*/ 4 h 16"/>
              <a:gd name="T8" fmla="*/ 0 w 35"/>
              <a:gd name="T9" fmla="*/ 0 h 16"/>
              <a:gd name="T10" fmla="*/ 5 w 35"/>
              <a:gd name="T11" fmla="*/ 9 h 16"/>
              <a:gd name="T12" fmla="*/ 14 w 35"/>
              <a:gd name="T13" fmla="*/ 9 h 16"/>
            </a:gdLst>
            <a:ahLst/>
            <a:cxnLst>
              <a:cxn ang="0">
                <a:pos x="T0" y="T1"/>
              </a:cxn>
              <a:cxn ang="0">
                <a:pos x="T2" y="T3"/>
              </a:cxn>
              <a:cxn ang="0">
                <a:pos x="T4" y="T5"/>
              </a:cxn>
              <a:cxn ang="0">
                <a:pos x="T6" y="T7"/>
              </a:cxn>
              <a:cxn ang="0">
                <a:pos x="T8" y="T9"/>
              </a:cxn>
              <a:cxn ang="0">
                <a:pos x="T10" y="T11"/>
              </a:cxn>
              <a:cxn ang="0">
                <a:pos x="T12" y="T13"/>
              </a:cxn>
            </a:cxnLst>
            <a:rect l="0" t="0" r="r" b="b"/>
            <a:pathLst>
              <a:path w="35" h="16">
                <a:moveTo>
                  <a:pt x="14" y="9"/>
                </a:moveTo>
                <a:cubicBezTo>
                  <a:pt x="25" y="6"/>
                  <a:pt x="32" y="12"/>
                  <a:pt x="35" y="16"/>
                </a:cubicBezTo>
                <a:cubicBezTo>
                  <a:pt x="32" y="9"/>
                  <a:pt x="26" y="2"/>
                  <a:pt x="16" y="5"/>
                </a:cubicBezTo>
                <a:cubicBezTo>
                  <a:pt x="11" y="6"/>
                  <a:pt x="7" y="6"/>
                  <a:pt x="4" y="4"/>
                </a:cubicBezTo>
                <a:cubicBezTo>
                  <a:pt x="2" y="3"/>
                  <a:pt x="1" y="2"/>
                  <a:pt x="0" y="0"/>
                </a:cubicBezTo>
                <a:cubicBezTo>
                  <a:pt x="1" y="3"/>
                  <a:pt x="2" y="7"/>
                  <a:pt x="5" y="9"/>
                </a:cubicBezTo>
                <a:cubicBezTo>
                  <a:pt x="8" y="10"/>
                  <a:pt x="11" y="10"/>
                  <a:pt x="14" y="9"/>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698" name="Freeform 4719"/>
          <p:cNvSpPr>
            <a:spLocks noEditPoints="1"/>
          </p:cNvSpPr>
          <p:nvPr/>
        </p:nvSpPr>
        <p:spPr bwMode="auto">
          <a:xfrm>
            <a:off x="6236767" y="2680952"/>
            <a:ext cx="48656" cy="25065"/>
          </a:xfrm>
          <a:custGeom>
            <a:avLst/>
            <a:gdLst>
              <a:gd name="T0" fmla="*/ 0 w 18"/>
              <a:gd name="T1" fmla="*/ 3 h 9"/>
              <a:gd name="T2" fmla="*/ 1 w 18"/>
              <a:gd name="T3" fmla="*/ 5 h 9"/>
              <a:gd name="T4" fmla="*/ 7 w 18"/>
              <a:gd name="T5" fmla="*/ 8 h 9"/>
              <a:gd name="T6" fmla="*/ 17 w 18"/>
              <a:gd name="T7" fmla="*/ 9 h 9"/>
              <a:gd name="T8" fmla="*/ 18 w 18"/>
              <a:gd name="T9" fmla="*/ 9 h 9"/>
              <a:gd name="T10" fmla="*/ 17 w 18"/>
              <a:gd name="T11" fmla="*/ 8 h 9"/>
              <a:gd name="T12" fmla="*/ 13 w 18"/>
              <a:gd name="T13" fmla="*/ 4 h 9"/>
              <a:gd name="T14" fmla="*/ 7 w 18"/>
              <a:gd name="T15" fmla="*/ 0 h 9"/>
              <a:gd name="T16" fmla="*/ 1 w 18"/>
              <a:gd name="T17" fmla="*/ 1 h 9"/>
              <a:gd name="T18" fmla="*/ 0 w 18"/>
              <a:gd name="T19" fmla="*/ 3 h 9"/>
              <a:gd name="T20" fmla="*/ 2 w 18"/>
              <a:gd name="T21" fmla="*/ 2 h 9"/>
              <a:gd name="T22" fmla="*/ 8 w 18"/>
              <a:gd name="T23" fmla="*/ 2 h 9"/>
              <a:gd name="T24" fmla="*/ 12 w 18"/>
              <a:gd name="T25" fmla="*/ 4 h 9"/>
              <a:gd name="T26" fmla="*/ 15 w 18"/>
              <a:gd name="T27" fmla="*/ 8 h 9"/>
              <a:gd name="T28" fmla="*/ 4 w 18"/>
              <a:gd name="T29" fmla="*/ 6 h 9"/>
              <a:gd name="T30" fmla="*/ 1 w 18"/>
              <a:gd name="T31" fmla="*/ 3 h 9"/>
              <a:gd name="T32" fmla="*/ 2 w 18"/>
              <a:gd name="T3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9">
                <a:moveTo>
                  <a:pt x="0" y="3"/>
                </a:moveTo>
                <a:cubicBezTo>
                  <a:pt x="0" y="3"/>
                  <a:pt x="1" y="4"/>
                  <a:pt x="1" y="5"/>
                </a:cubicBezTo>
                <a:cubicBezTo>
                  <a:pt x="3" y="7"/>
                  <a:pt x="5" y="8"/>
                  <a:pt x="7" y="8"/>
                </a:cubicBezTo>
                <a:cubicBezTo>
                  <a:pt x="10" y="9"/>
                  <a:pt x="13" y="9"/>
                  <a:pt x="17" y="9"/>
                </a:cubicBezTo>
                <a:cubicBezTo>
                  <a:pt x="17" y="9"/>
                  <a:pt x="17" y="9"/>
                  <a:pt x="18" y="9"/>
                </a:cubicBezTo>
                <a:cubicBezTo>
                  <a:pt x="18" y="8"/>
                  <a:pt x="17" y="8"/>
                  <a:pt x="17" y="8"/>
                </a:cubicBezTo>
                <a:cubicBezTo>
                  <a:pt x="15" y="7"/>
                  <a:pt x="14" y="5"/>
                  <a:pt x="13" y="4"/>
                </a:cubicBezTo>
                <a:cubicBezTo>
                  <a:pt x="12" y="1"/>
                  <a:pt x="9" y="0"/>
                  <a:pt x="7" y="0"/>
                </a:cubicBezTo>
                <a:cubicBezTo>
                  <a:pt x="5" y="0"/>
                  <a:pt x="3" y="1"/>
                  <a:pt x="1" y="1"/>
                </a:cubicBezTo>
                <a:cubicBezTo>
                  <a:pt x="0" y="1"/>
                  <a:pt x="0" y="1"/>
                  <a:pt x="0" y="3"/>
                </a:cubicBezTo>
                <a:moveTo>
                  <a:pt x="2" y="2"/>
                </a:moveTo>
                <a:cubicBezTo>
                  <a:pt x="4" y="2"/>
                  <a:pt x="6" y="2"/>
                  <a:pt x="8" y="2"/>
                </a:cubicBezTo>
                <a:cubicBezTo>
                  <a:pt x="9" y="2"/>
                  <a:pt x="11" y="2"/>
                  <a:pt x="12" y="4"/>
                </a:cubicBezTo>
                <a:cubicBezTo>
                  <a:pt x="13" y="5"/>
                  <a:pt x="14" y="6"/>
                  <a:pt x="15" y="8"/>
                </a:cubicBezTo>
                <a:cubicBezTo>
                  <a:pt x="11" y="8"/>
                  <a:pt x="7" y="8"/>
                  <a:pt x="4" y="6"/>
                </a:cubicBezTo>
                <a:cubicBezTo>
                  <a:pt x="3" y="5"/>
                  <a:pt x="2" y="4"/>
                  <a:pt x="1" y="3"/>
                </a:cubicBezTo>
                <a:cubicBezTo>
                  <a:pt x="1" y="2"/>
                  <a:pt x="1"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5" name="Freeform 4726"/>
          <p:cNvSpPr>
            <a:spLocks/>
          </p:cNvSpPr>
          <p:nvPr/>
        </p:nvSpPr>
        <p:spPr bwMode="auto">
          <a:xfrm>
            <a:off x="6205804" y="2735506"/>
            <a:ext cx="60452" cy="25065"/>
          </a:xfrm>
          <a:custGeom>
            <a:avLst/>
            <a:gdLst>
              <a:gd name="T0" fmla="*/ 2 w 22"/>
              <a:gd name="T1" fmla="*/ 7 h 9"/>
              <a:gd name="T2" fmla="*/ 6 w 22"/>
              <a:gd name="T3" fmla="*/ 8 h 9"/>
              <a:gd name="T4" fmla="*/ 20 w 22"/>
              <a:gd name="T5" fmla="*/ 5 h 9"/>
              <a:gd name="T6" fmla="*/ 21 w 22"/>
              <a:gd name="T7" fmla="*/ 5 h 9"/>
              <a:gd name="T8" fmla="*/ 22 w 22"/>
              <a:gd name="T9" fmla="*/ 4 h 9"/>
              <a:gd name="T10" fmla="*/ 21 w 22"/>
              <a:gd name="T11" fmla="*/ 4 h 9"/>
              <a:gd name="T12" fmla="*/ 14 w 22"/>
              <a:gd name="T13" fmla="*/ 5 h 9"/>
              <a:gd name="T14" fmla="*/ 5 w 22"/>
              <a:gd name="T15" fmla="*/ 7 h 9"/>
              <a:gd name="T16" fmla="*/ 3 w 22"/>
              <a:gd name="T17" fmla="*/ 6 h 9"/>
              <a:gd name="T18" fmla="*/ 4 w 22"/>
              <a:gd name="T19" fmla="*/ 5 h 9"/>
              <a:gd name="T20" fmla="*/ 13 w 22"/>
              <a:gd name="T21" fmla="*/ 3 h 9"/>
              <a:gd name="T22" fmla="*/ 20 w 22"/>
              <a:gd name="T23" fmla="*/ 2 h 9"/>
              <a:gd name="T24" fmla="*/ 21 w 22"/>
              <a:gd name="T25" fmla="*/ 1 h 9"/>
              <a:gd name="T26" fmla="*/ 20 w 22"/>
              <a:gd name="T27" fmla="*/ 0 h 9"/>
              <a:gd name="T28" fmla="*/ 3 w 22"/>
              <a:gd name="T29" fmla="*/ 4 h 9"/>
              <a:gd name="T30" fmla="*/ 2 w 22"/>
              <a:gd name="T3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9">
                <a:moveTo>
                  <a:pt x="2" y="7"/>
                </a:moveTo>
                <a:cubicBezTo>
                  <a:pt x="3" y="9"/>
                  <a:pt x="3" y="9"/>
                  <a:pt x="6" y="8"/>
                </a:cubicBezTo>
                <a:cubicBezTo>
                  <a:pt x="10" y="7"/>
                  <a:pt x="15" y="6"/>
                  <a:pt x="20" y="5"/>
                </a:cubicBezTo>
                <a:cubicBezTo>
                  <a:pt x="20" y="5"/>
                  <a:pt x="20" y="5"/>
                  <a:pt x="21" y="5"/>
                </a:cubicBezTo>
                <a:cubicBezTo>
                  <a:pt x="21" y="5"/>
                  <a:pt x="22" y="5"/>
                  <a:pt x="22" y="4"/>
                </a:cubicBezTo>
                <a:cubicBezTo>
                  <a:pt x="21" y="4"/>
                  <a:pt x="21" y="4"/>
                  <a:pt x="21" y="4"/>
                </a:cubicBezTo>
                <a:cubicBezTo>
                  <a:pt x="18" y="4"/>
                  <a:pt x="16" y="4"/>
                  <a:pt x="14" y="5"/>
                </a:cubicBezTo>
                <a:cubicBezTo>
                  <a:pt x="11" y="5"/>
                  <a:pt x="8" y="6"/>
                  <a:pt x="5" y="7"/>
                </a:cubicBezTo>
                <a:cubicBezTo>
                  <a:pt x="4" y="7"/>
                  <a:pt x="3" y="6"/>
                  <a:pt x="3" y="6"/>
                </a:cubicBezTo>
                <a:cubicBezTo>
                  <a:pt x="3" y="5"/>
                  <a:pt x="3" y="5"/>
                  <a:pt x="4" y="5"/>
                </a:cubicBezTo>
                <a:cubicBezTo>
                  <a:pt x="7" y="4"/>
                  <a:pt x="10" y="3"/>
                  <a:pt x="13" y="3"/>
                </a:cubicBezTo>
                <a:cubicBezTo>
                  <a:pt x="15" y="2"/>
                  <a:pt x="17" y="2"/>
                  <a:pt x="20" y="2"/>
                </a:cubicBezTo>
                <a:cubicBezTo>
                  <a:pt x="20" y="2"/>
                  <a:pt x="21" y="2"/>
                  <a:pt x="21" y="1"/>
                </a:cubicBezTo>
                <a:cubicBezTo>
                  <a:pt x="21" y="0"/>
                  <a:pt x="20" y="0"/>
                  <a:pt x="20" y="0"/>
                </a:cubicBezTo>
                <a:cubicBezTo>
                  <a:pt x="14" y="1"/>
                  <a:pt x="8" y="2"/>
                  <a:pt x="3" y="4"/>
                </a:cubicBezTo>
                <a:cubicBezTo>
                  <a:pt x="0" y="4"/>
                  <a:pt x="0" y="5"/>
                  <a:pt x="2"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6" name="Freeform 4727"/>
          <p:cNvSpPr>
            <a:spLocks/>
          </p:cNvSpPr>
          <p:nvPr/>
        </p:nvSpPr>
        <p:spPr bwMode="auto">
          <a:xfrm>
            <a:off x="6410752" y="2716338"/>
            <a:ext cx="25065" cy="16218"/>
          </a:xfrm>
          <a:custGeom>
            <a:avLst/>
            <a:gdLst>
              <a:gd name="T0" fmla="*/ 5 w 9"/>
              <a:gd name="T1" fmla="*/ 3 h 6"/>
              <a:gd name="T2" fmla="*/ 1 w 9"/>
              <a:gd name="T3" fmla="*/ 5 h 6"/>
              <a:gd name="T4" fmla="*/ 0 w 9"/>
              <a:gd name="T5" fmla="*/ 6 h 6"/>
              <a:gd name="T6" fmla="*/ 2 w 9"/>
              <a:gd name="T7" fmla="*/ 6 h 6"/>
              <a:gd name="T8" fmla="*/ 8 w 9"/>
              <a:gd name="T9" fmla="*/ 3 h 6"/>
              <a:gd name="T10" fmla="*/ 9 w 9"/>
              <a:gd name="T11" fmla="*/ 2 h 6"/>
              <a:gd name="T12" fmla="*/ 8 w 9"/>
              <a:gd name="T13" fmla="*/ 2 h 6"/>
              <a:gd name="T14" fmla="*/ 1 w 9"/>
              <a:gd name="T15" fmla="*/ 0 h 6"/>
              <a:gd name="T16" fmla="*/ 0 w 9"/>
              <a:gd name="T17" fmla="*/ 1 h 6"/>
              <a:gd name="T18" fmla="*/ 1 w 9"/>
              <a:gd name="T19" fmla="*/ 2 h 6"/>
              <a:gd name="T20" fmla="*/ 5 w 9"/>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5" y="3"/>
                </a:moveTo>
                <a:cubicBezTo>
                  <a:pt x="4" y="3"/>
                  <a:pt x="2" y="4"/>
                  <a:pt x="1" y="5"/>
                </a:cubicBezTo>
                <a:cubicBezTo>
                  <a:pt x="1" y="5"/>
                  <a:pt x="0" y="5"/>
                  <a:pt x="0" y="6"/>
                </a:cubicBezTo>
                <a:cubicBezTo>
                  <a:pt x="1" y="6"/>
                  <a:pt x="1" y="6"/>
                  <a:pt x="2" y="6"/>
                </a:cubicBezTo>
                <a:cubicBezTo>
                  <a:pt x="4" y="5"/>
                  <a:pt x="6" y="3"/>
                  <a:pt x="8" y="3"/>
                </a:cubicBezTo>
                <a:cubicBezTo>
                  <a:pt x="9" y="3"/>
                  <a:pt x="9" y="2"/>
                  <a:pt x="9" y="2"/>
                </a:cubicBezTo>
                <a:cubicBezTo>
                  <a:pt x="9" y="2"/>
                  <a:pt x="9" y="2"/>
                  <a:pt x="8" y="2"/>
                </a:cubicBezTo>
                <a:cubicBezTo>
                  <a:pt x="6" y="1"/>
                  <a:pt x="3" y="1"/>
                  <a:pt x="1" y="0"/>
                </a:cubicBezTo>
                <a:cubicBezTo>
                  <a:pt x="0" y="0"/>
                  <a:pt x="0" y="0"/>
                  <a:pt x="0" y="1"/>
                </a:cubicBezTo>
                <a:cubicBezTo>
                  <a:pt x="0" y="1"/>
                  <a:pt x="0" y="2"/>
                  <a:pt x="1" y="2"/>
                </a:cubicBezTo>
                <a:cubicBezTo>
                  <a:pt x="2" y="2"/>
                  <a:pt x="3" y="2"/>
                  <a:pt x="5"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7" name="Freeform 4728"/>
          <p:cNvSpPr>
            <a:spLocks noEditPoints="1"/>
          </p:cNvSpPr>
          <p:nvPr/>
        </p:nvSpPr>
        <p:spPr bwMode="auto">
          <a:xfrm>
            <a:off x="6269206" y="2706017"/>
            <a:ext cx="44233" cy="32438"/>
          </a:xfrm>
          <a:custGeom>
            <a:avLst/>
            <a:gdLst>
              <a:gd name="T0" fmla="*/ 4 w 16"/>
              <a:gd name="T1" fmla="*/ 4 h 12"/>
              <a:gd name="T2" fmla="*/ 0 w 16"/>
              <a:gd name="T3" fmla="*/ 10 h 12"/>
              <a:gd name="T4" fmla="*/ 2 w 16"/>
              <a:gd name="T5" fmla="*/ 12 h 12"/>
              <a:gd name="T6" fmla="*/ 9 w 16"/>
              <a:gd name="T7" fmla="*/ 11 h 12"/>
              <a:gd name="T8" fmla="*/ 12 w 16"/>
              <a:gd name="T9" fmla="*/ 8 h 12"/>
              <a:gd name="T10" fmla="*/ 15 w 16"/>
              <a:gd name="T11" fmla="*/ 2 h 12"/>
              <a:gd name="T12" fmla="*/ 15 w 16"/>
              <a:gd name="T13" fmla="*/ 1 h 12"/>
              <a:gd name="T14" fmla="*/ 14 w 16"/>
              <a:gd name="T15" fmla="*/ 1 h 12"/>
              <a:gd name="T16" fmla="*/ 4 w 16"/>
              <a:gd name="T17" fmla="*/ 4 h 12"/>
              <a:gd name="T18" fmla="*/ 3 w 16"/>
              <a:gd name="T19" fmla="*/ 7 h 12"/>
              <a:gd name="T20" fmla="*/ 13 w 16"/>
              <a:gd name="T21" fmla="*/ 2 h 12"/>
              <a:gd name="T22" fmla="*/ 12 w 16"/>
              <a:gd name="T23" fmla="*/ 6 h 12"/>
              <a:gd name="T24" fmla="*/ 6 w 16"/>
              <a:gd name="T25" fmla="*/ 10 h 12"/>
              <a:gd name="T26" fmla="*/ 4 w 16"/>
              <a:gd name="T27" fmla="*/ 11 h 12"/>
              <a:gd name="T28" fmla="*/ 2 w 16"/>
              <a:gd name="T29" fmla="*/ 11 h 12"/>
              <a:gd name="T30" fmla="*/ 2 w 16"/>
              <a:gd name="T31" fmla="*/ 8 h 12"/>
              <a:gd name="T32" fmla="*/ 3 w 16"/>
              <a:gd name="T3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12">
                <a:moveTo>
                  <a:pt x="4" y="4"/>
                </a:moveTo>
                <a:cubicBezTo>
                  <a:pt x="2" y="6"/>
                  <a:pt x="0" y="8"/>
                  <a:pt x="0" y="10"/>
                </a:cubicBezTo>
                <a:cubicBezTo>
                  <a:pt x="0" y="12"/>
                  <a:pt x="0" y="12"/>
                  <a:pt x="2" y="12"/>
                </a:cubicBezTo>
                <a:cubicBezTo>
                  <a:pt x="4" y="12"/>
                  <a:pt x="7" y="12"/>
                  <a:pt x="9" y="11"/>
                </a:cubicBezTo>
                <a:cubicBezTo>
                  <a:pt x="11" y="10"/>
                  <a:pt x="12" y="9"/>
                  <a:pt x="12" y="8"/>
                </a:cubicBezTo>
                <a:cubicBezTo>
                  <a:pt x="13" y="5"/>
                  <a:pt x="14" y="3"/>
                  <a:pt x="15" y="2"/>
                </a:cubicBezTo>
                <a:cubicBezTo>
                  <a:pt x="16" y="1"/>
                  <a:pt x="16" y="1"/>
                  <a:pt x="15" y="1"/>
                </a:cubicBezTo>
                <a:cubicBezTo>
                  <a:pt x="15" y="0"/>
                  <a:pt x="15" y="0"/>
                  <a:pt x="14" y="1"/>
                </a:cubicBezTo>
                <a:cubicBezTo>
                  <a:pt x="11" y="1"/>
                  <a:pt x="7" y="2"/>
                  <a:pt x="4" y="4"/>
                </a:cubicBezTo>
                <a:moveTo>
                  <a:pt x="3" y="7"/>
                </a:moveTo>
                <a:cubicBezTo>
                  <a:pt x="5" y="4"/>
                  <a:pt x="9" y="3"/>
                  <a:pt x="13" y="2"/>
                </a:cubicBezTo>
                <a:cubicBezTo>
                  <a:pt x="13" y="3"/>
                  <a:pt x="12" y="5"/>
                  <a:pt x="12" y="6"/>
                </a:cubicBezTo>
                <a:cubicBezTo>
                  <a:pt x="11" y="8"/>
                  <a:pt x="9" y="10"/>
                  <a:pt x="6" y="10"/>
                </a:cubicBezTo>
                <a:cubicBezTo>
                  <a:pt x="5" y="10"/>
                  <a:pt x="5" y="10"/>
                  <a:pt x="4" y="11"/>
                </a:cubicBezTo>
                <a:cubicBezTo>
                  <a:pt x="3" y="11"/>
                  <a:pt x="2" y="11"/>
                  <a:pt x="2" y="11"/>
                </a:cubicBezTo>
                <a:cubicBezTo>
                  <a:pt x="1" y="10"/>
                  <a:pt x="2" y="9"/>
                  <a:pt x="2" y="8"/>
                </a:cubicBezTo>
                <a:cubicBezTo>
                  <a:pt x="2" y="8"/>
                  <a:pt x="2" y="8"/>
                  <a:pt x="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8" name="Freeform 4729"/>
          <p:cNvSpPr>
            <a:spLocks noEditPoints="1"/>
          </p:cNvSpPr>
          <p:nvPr/>
        </p:nvSpPr>
        <p:spPr bwMode="auto">
          <a:xfrm>
            <a:off x="6269205" y="2741404"/>
            <a:ext cx="48656" cy="23591"/>
          </a:xfrm>
          <a:custGeom>
            <a:avLst/>
            <a:gdLst>
              <a:gd name="T0" fmla="*/ 1 w 18"/>
              <a:gd name="T1" fmla="*/ 3 h 9"/>
              <a:gd name="T2" fmla="*/ 2 w 18"/>
              <a:gd name="T3" fmla="*/ 5 h 9"/>
              <a:gd name="T4" fmla="*/ 8 w 18"/>
              <a:gd name="T5" fmla="*/ 8 h 9"/>
              <a:gd name="T6" fmla="*/ 17 w 18"/>
              <a:gd name="T7" fmla="*/ 9 h 9"/>
              <a:gd name="T8" fmla="*/ 18 w 18"/>
              <a:gd name="T9" fmla="*/ 9 h 9"/>
              <a:gd name="T10" fmla="*/ 18 w 18"/>
              <a:gd name="T11" fmla="*/ 8 h 9"/>
              <a:gd name="T12" fmla="*/ 14 w 18"/>
              <a:gd name="T13" fmla="*/ 4 h 9"/>
              <a:gd name="T14" fmla="*/ 7 w 18"/>
              <a:gd name="T15" fmla="*/ 1 h 9"/>
              <a:gd name="T16" fmla="*/ 2 w 18"/>
              <a:gd name="T17" fmla="*/ 1 h 9"/>
              <a:gd name="T18" fmla="*/ 1 w 18"/>
              <a:gd name="T19" fmla="*/ 3 h 9"/>
              <a:gd name="T20" fmla="*/ 3 w 18"/>
              <a:gd name="T21" fmla="*/ 2 h 9"/>
              <a:gd name="T22" fmla="*/ 8 w 18"/>
              <a:gd name="T23" fmla="*/ 2 h 9"/>
              <a:gd name="T24" fmla="*/ 13 w 18"/>
              <a:gd name="T25" fmla="*/ 4 h 9"/>
              <a:gd name="T26" fmla="*/ 16 w 18"/>
              <a:gd name="T27" fmla="*/ 8 h 9"/>
              <a:gd name="T28" fmla="*/ 5 w 18"/>
              <a:gd name="T29" fmla="*/ 6 h 9"/>
              <a:gd name="T30" fmla="*/ 2 w 18"/>
              <a:gd name="T31" fmla="*/ 3 h 9"/>
              <a:gd name="T32" fmla="*/ 3 w 18"/>
              <a:gd name="T3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9">
                <a:moveTo>
                  <a:pt x="1" y="3"/>
                </a:moveTo>
                <a:cubicBezTo>
                  <a:pt x="1" y="4"/>
                  <a:pt x="1" y="4"/>
                  <a:pt x="2" y="5"/>
                </a:cubicBezTo>
                <a:cubicBezTo>
                  <a:pt x="3" y="7"/>
                  <a:pt x="5" y="8"/>
                  <a:pt x="8" y="8"/>
                </a:cubicBezTo>
                <a:cubicBezTo>
                  <a:pt x="11" y="9"/>
                  <a:pt x="14" y="9"/>
                  <a:pt x="17" y="9"/>
                </a:cubicBezTo>
                <a:cubicBezTo>
                  <a:pt x="18" y="9"/>
                  <a:pt x="18" y="9"/>
                  <a:pt x="18" y="9"/>
                </a:cubicBezTo>
                <a:cubicBezTo>
                  <a:pt x="18" y="8"/>
                  <a:pt x="18" y="8"/>
                  <a:pt x="18" y="8"/>
                </a:cubicBezTo>
                <a:cubicBezTo>
                  <a:pt x="16" y="7"/>
                  <a:pt x="15" y="5"/>
                  <a:pt x="14" y="4"/>
                </a:cubicBezTo>
                <a:cubicBezTo>
                  <a:pt x="13" y="1"/>
                  <a:pt x="10" y="0"/>
                  <a:pt x="7" y="1"/>
                </a:cubicBezTo>
                <a:cubicBezTo>
                  <a:pt x="6" y="1"/>
                  <a:pt x="4" y="1"/>
                  <a:pt x="2" y="1"/>
                </a:cubicBezTo>
                <a:cubicBezTo>
                  <a:pt x="1" y="1"/>
                  <a:pt x="0" y="2"/>
                  <a:pt x="1" y="3"/>
                </a:cubicBezTo>
                <a:moveTo>
                  <a:pt x="3" y="2"/>
                </a:moveTo>
                <a:cubicBezTo>
                  <a:pt x="5" y="2"/>
                  <a:pt x="6" y="2"/>
                  <a:pt x="8" y="2"/>
                </a:cubicBezTo>
                <a:cubicBezTo>
                  <a:pt x="10" y="2"/>
                  <a:pt x="11" y="2"/>
                  <a:pt x="13" y="4"/>
                </a:cubicBezTo>
                <a:cubicBezTo>
                  <a:pt x="14" y="5"/>
                  <a:pt x="15" y="6"/>
                  <a:pt x="16" y="8"/>
                </a:cubicBezTo>
                <a:cubicBezTo>
                  <a:pt x="12" y="8"/>
                  <a:pt x="8" y="8"/>
                  <a:pt x="5" y="6"/>
                </a:cubicBezTo>
                <a:cubicBezTo>
                  <a:pt x="4" y="5"/>
                  <a:pt x="3" y="4"/>
                  <a:pt x="2" y="3"/>
                </a:cubicBezTo>
                <a:cubicBezTo>
                  <a:pt x="2" y="3"/>
                  <a:pt x="2" y="2"/>
                  <a:pt x="3"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09" name="Freeform 4730"/>
          <p:cNvSpPr>
            <a:spLocks noEditPoints="1"/>
          </p:cNvSpPr>
          <p:nvPr/>
        </p:nvSpPr>
        <p:spPr bwMode="auto">
          <a:xfrm>
            <a:off x="6345876" y="2732557"/>
            <a:ext cx="44233" cy="22116"/>
          </a:xfrm>
          <a:custGeom>
            <a:avLst/>
            <a:gdLst>
              <a:gd name="T0" fmla="*/ 0 w 16"/>
              <a:gd name="T1" fmla="*/ 3 h 8"/>
              <a:gd name="T2" fmla="*/ 1 w 16"/>
              <a:gd name="T3" fmla="*/ 4 h 8"/>
              <a:gd name="T4" fmla="*/ 7 w 16"/>
              <a:gd name="T5" fmla="*/ 8 h 8"/>
              <a:gd name="T6" fmla="*/ 14 w 16"/>
              <a:gd name="T7" fmla="*/ 8 h 8"/>
              <a:gd name="T8" fmla="*/ 16 w 16"/>
              <a:gd name="T9" fmla="*/ 8 h 8"/>
              <a:gd name="T10" fmla="*/ 15 w 16"/>
              <a:gd name="T11" fmla="*/ 7 h 8"/>
              <a:gd name="T12" fmla="*/ 12 w 16"/>
              <a:gd name="T13" fmla="*/ 3 h 8"/>
              <a:gd name="T14" fmla="*/ 6 w 16"/>
              <a:gd name="T15" fmla="*/ 0 h 8"/>
              <a:gd name="T16" fmla="*/ 2 w 16"/>
              <a:gd name="T17" fmla="*/ 1 h 8"/>
              <a:gd name="T18" fmla="*/ 0 w 16"/>
              <a:gd name="T19" fmla="*/ 3 h 8"/>
              <a:gd name="T20" fmla="*/ 2 w 16"/>
              <a:gd name="T21" fmla="*/ 2 h 8"/>
              <a:gd name="T22" fmla="*/ 6 w 16"/>
              <a:gd name="T23" fmla="*/ 1 h 8"/>
              <a:gd name="T24" fmla="*/ 10 w 16"/>
              <a:gd name="T25" fmla="*/ 3 h 8"/>
              <a:gd name="T26" fmla="*/ 13 w 16"/>
              <a:gd name="T27" fmla="*/ 7 h 8"/>
              <a:gd name="T28" fmla="*/ 7 w 16"/>
              <a:gd name="T29" fmla="*/ 6 h 8"/>
              <a:gd name="T30" fmla="*/ 2 w 16"/>
              <a:gd name="T31" fmla="*/ 3 h 8"/>
              <a:gd name="T32" fmla="*/ 2 w 16"/>
              <a:gd name="T3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0" y="3"/>
                </a:moveTo>
                <a:cubicBezTo>
                  <a:pt x="0" y="3"/>
                  <a:pt x="1" y="4"/>
                  <a:pt x="1" y="4"/>
                </a:cubicBezTo>
                <a:cubicBezTo>
                  <a:pt x="3" y="6"/>
                  <a:pt x="5" y="7"/>
                  <a:pt x="7" y="8"/>
                </a:cubicBezTo>
                <a:cubicBezTo>
                  <a:pt x="10" y="8"/>
                  <a:pt x="12" y="8"/>
                  <a:pt x="14" y="8"/>
                </a:cubicBezTo>
                <a:cubicBezTo>
                  <a:pt x="15" y="8"/>
                  <a:pt x="15" y="8"/>
                  <a:pt x="16" y="8"/>
                </a:cubicBezTo>
                <a:cubicBezTo>
                  <a:pt x="16" y="7"/>
                  <a:pt x="15" y="7"/>
                  <a:pt x="15" y="7"/>
                </a:cubicBezTo>
                <a:cubicBezTo>
                  <a:pt x="13" y="6"/>
                  <a:pt x="13" y="5"/>
                  <a:pt x="12" y="3"/>
                </a:cubicBezTo>
                <a:cubicBezTo>
                  <a:pt x="11" y="1"/>
                  <a:pt x="8" y="0"/>
                  <a:pt x="6" y="0"/>
                </a:cubicBezTo>
                <a:cubicBezTo>
                  <a:pt x="4" y="0"/>
                  <a:pt x="3" y="0"/>
                  <a:pt x="2" y="1"/>
                </a:cubicBezTo>
                <a:cubicBezTo>
                  <a:pt x="0" y="1"/>
                  <a:pt x="0" y="1"/>
                  <a:pt x="0" y="3"/>
                </a:cubicBezTo>
                <a:moveTo>
                  <a:pt x="2" y="2"/>
                </a:moveTo>
                <a:cubicBezTo>
                  <a:pt x="4" y="2"/>
                  <a:pt x="5" y="1"/>
                  <a:pt x="6" y="1"/>
                </a:cubicBezTo>
                <a:cubicBezTo>
                  <a:pt x="8" y="1"/>
                  <a:pt x="9" y="2"/>
                  <a:pt x="10" y="3"/>
                </a:cubicBezTo>
                <a:cubicBezTo>
                  <a:pt x="11" y="4"/>
                  <a:pt x="12" y="5"/>
                  <a:pt x="13" y="7"/>
                </a:cubicBezTo>
                <a:cubicBezTo>
                  <a:pt x="11" y="7"/>
                  <a:pt x="9" y="7"/>
                  <a:pt x="7" y="6"/>
                </a:cubicBezTo>
                <a:cubicBezTo>
                  <a:pt x="5" y="6"/>
                  <a:pt x="3" y="5"/>
                  <a:pt x="2" y="3"/>
                </a:cubicBezTo>
                <a:cubicBezTo>
                  <a:pt x="1" y="2"/>
                  <a:pt x="1"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0" name="Freeform 4731"/>
          <p:cNvSpPr>
            <a:spLocks noEditPoints="1"/>
          </p:cNvSpPr>
          <p:nvPr/>
        </p:nvSpPr>
        <p:spPr bwMode="auto">
          <a:xfrm>
            <a:off x="6342927" y="2703068"/>
            <a:ext cx="38336" cy="26540"/>
          </a:xfrm>
          <a:custGeom>
            <a:avLst/>
            <a:gdLst>
              <a:gd name="T0" fmla="*/ 4 w 14"/>
              <a:gd name="T1" fmla="*/ 3 h 10"/>
              <a:gd name="T2" fmla="*/ 0 w 14"/>
              <a:gd name="T3" fmla="*/ 9 h 10"/>
              <a:gd name="T4" fmla="*/ 2 w 14"/>
              <a:gd name="T5" fmla="*/ 10 h 10"/>
              <a:gd name="T6" fmla="*/ 9 w 14"/>
              <a:gd name="T7" fmla="*/ 9 h 10"/>
              <a:gd name="T8" fmla="*/ 12 w 14"/>
              <a:gd name="T9" fmla="*/ 5 h 10"/>
              <a:gd name="T10" fmla="*/ 14 w 14"/>
              <a:gd name="T11" fmla="*/ 1 h 10"/>
              <a:gd name="T12" fmla="*/ 14 w 14"/>
              <a:gd name="T13" fmla="*/ 0 h 10"/>
              <a:gd name="T14" fmla="*/ 13 w 14"/>
              <a:gd name="T15" fmla="*/ 0 h 10"/>
              <a:gd name="T16" fmla="*/ 4 w 14"/>
              <a:gd name="T17" fmla="*/ 3 h 10"/>
              <a:gd name="T18" fmla="*/ 3 w 14"/>
              <a:gd name="T19" fmla="*/ 6 h 10"/>
              <a:gd name="T20" fmla="*/ 12 w 14"/>
              <a:gd name="T21" fmla="*/ 1 h 10"/>
              <a:gd name="T22" fmla="*/ 4 w 14"/>
              <a:gd name="T23" fmla="*/ 9 h 10"/>
              <a:gd name="T24" fmla="*/ 2 w 14"/>
              <a:gd name="T25" fmla="*/ 9 h 10"/>
              <a:gd name="T26" fmla="*/ 2 w 14"/>
              <a:gd name="T27" fmla="*/ 7 h 10"/>
              <a:gd name="T28" fmla="*/ 3 w 14"/>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0">
                <a:moveTo>
                  <a:pt x="4" y="3"/>
                </a:moveTo>
                <a:cubicBezTo>
                  <a:pt x="2" y="5"/>
                  <a:pt x="1" y="6"/>
                  <a:pt x="0" y="9"/>
                </a:cubicBezTo>
                <a:cubicBezTo>
                  <a:pt x="0" y="10"/>
                  <a:pt x="1" y="10"/>
                  <a:pt x="2" y="10"/>
                </a:cubicBezTo>
                <a:cubicBezTo>
                  <a:pt x="4" y="10"/>
                  <a:pt x="6" y="10"/>
                  <a:pt x="9" y="9"/>
                </a:cubicBezTo>
                <a:cubicBezTo>
                  <a:pt x="10" y="8"/>
                  <a:pt x="11" y="7"/>
                  <a:pt x="12" y="5"/>
                </a:cubicBezTo>
                <a:cubicBezTo>
                  <a:pt x="12" y="4"/>
                  <a:pt x="12" y="2"/>
                  <a:pt x="14" y="1"/>
                </a:cubicBezTo>
                <a:cubicBezTo>
                  <a:pt x="14" y="1"/>
                  <a:pt x="14" y="0"/>
                  <a:pt x="14" y="0"/>
                </a:cubicBezTo>
                <a:cubicBezTo>
                  <a:pt x="14" y="0"/>
                  <a:pt x="13" y="0"/>
                  <a:pt x="13" y="0"/>
                </a:cubicBezTo>
                <a:cubicBezTo>
                  <a:pt x="10" y="0"/>
                  <a:pt x="7" y="1"/>
                  <a:pt x="4" y="3"/>
                </a:cubicBezTo>
                <a:moveTo>
                  <a:pt x="3" y="6"/>
                </a:moveTo>
                <a:cubicBezTo>
                  <a:pt x="5" y="3"/>
                  <a:pt x="8" y="2"/>
                  <a:pt x="12" y="1"/>
                </a:cubicBezTo>
                <a:cubicBezTo>
                  <a:pt x="11" y="6"/>
                  <a:pt x="9" y="9"/>
                  <a:pt x="4" y="9"/>
                </a:cubicBezTo>
                <a:cubicBezTo>
                  <a:pt x="3" y="9"/>
                  <a:pt x="2" y="9"/>
                  <a:pt x="2" y="9"/>
                </a:cubicBezTo>
                <a:cubicBezTo>
                  <a:pt x="1" y="8"/>
                  <a:pt x="2" y="7"/>
                  <a:pt x="2" y="7"/>
                </a:cubicBezTo>
                <a:cubicBezTo>
                  <a:pt x="2" y="6"/>
                  <a:pt x="3"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1" name="Freeform 4732"/>
          <p:cNvSpPr>
            <a:spLocks noEditPoints="1"/>
          </p:cNvSpPr>
          <p:nvPr/>
        </p:nvSpPr>
        <p:spPr bwMode="auto">
          <a:xfrm>
            <a:off x="6307540" y="2706018"/>
            <a:ext cx="38336" cy="29489"/>
          </a:xfrm>
          <a:custGeom>
            <a:avLst/>
            <a:gdLst>
              <a:gd name="T0" fmla="*/ 3 w 14"/>
              <a:gd name="T1" fmla="*/ 4 h 11"/>
              <a:gd name="T2" fmla="*/ 0 w 14"/>
              <a:gd name="T3" fmla="*/ 10 h 11"/>
              <a:gd name="T4" fmla="*/ 1 w 14"/>
              <a:gd name="T5" fmla="*/ 11 h 11"/>
              <a:gd name="T6" fmla="*/ 8 w 14"/>
              <a:gd name="T7" fmla="*/ 9 h 11"/>
              <a:gd name="T8" fmla="*/ 11 w 14"/>
              <a:gd name="T9" fmla="*/ 6 h 11"/>
              <a:gd name="T10" fmla="*/ 14 w 14"/>
              <a:gd name="T11" fmla="*/ 1 h 11"/>
              <a:gd name="T12" fmla="*/ 14 w 14"/>
              <a:gd name="T13" fmla="*/ 1 h 11"/>
              <a:gd name="T14" fmla="*/ 13 w 14"/>
              <a:gd name="T15" fmla="*/ 0 h 11"/>
              <a:gd name="T16" fmla="*/ 3 w 14"/>
              <a:gd name="T17" fmla="*/ 4 h 11"/>
              <a:gd name="T18" fmla="*/ 3 w 14"/>
              <a:gd name="T19" fmla="*/ 6 h 11"/>
              <a:gd name="T20" fmla="*/ 12 w 14"/>
              <a:gd name="T21" fmla="*/ 2 h 11"/>
              <a:gd name="T22" fmla="*/ 4 w 14"/>
              <a:gd name="T23" fmla="*/ 9 h 11"/>
              <a:gd name="T24" fmla="*/ 2 w 14"/>
              <a:gd name="T25" fmla="*/ 9 h 11"/>
              <a:gd name="T26" fmla="*/ 2 w 14"/>
              <a:gd name="T27" fmla="*/ 7 h 11"/>
              <a:gd name="T28" fmla="*/ 3 w 14"/>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1">
                <a:moveTo>
                  <a:pt x="3" y="4"/>
                </a:moveTo>
                <a:cubicBezTo>
                  <a:pt x="2" y="5"/>
                  <a:pt x="0" y="7"/>
                  <a:pt x="0" y="10"/>
                </a:cubicBezTo>
                <a:cubicBezTo>
                  <a:pt x="0" y="10"/>
                  <a:pt x="1" y="11"/>
                  <a:pt x="1" y="11"/>
                </a:cubicBezTo>
                <a:cubicBezTo>
                  <a:pt x="4" y="10"/>
                  <a:pt x="6" y="10"/>
                  <a:pt x="8" y="9"/>
                </a:cubicBezTo>
                <a:cubicBezTo>
                  <a:pt x="10" y="9"/>
                  <a:pt x="11" y="8"/>
                  <a:pt x="11" y="6"/>
                </a:cubicBezTo>
                <a:cubicBezTo>
                  <a:pt x="12" y="4"/>
                  <a:pt x="12" y="3"/>
                  <a:pt x="14" y="1"/>
                </a:cubicBezTo>
                <a:cubicBezTo>
                  <a:pt x="14" y="1"/>
                  <a:pt x="14" y="1"/>
                  <a:pt x="14" y="1"/>
                </a:cubicBezTo>
                <a:cubicBezTo>
                  <a:pt x="14" y="0"/>
                  <a:pt x="13" y="0"/>
                  <a:pt x="13" y="0"/>
                </a:cubicBezTo>
                <a:cubicBezTo>
                  <a:pt x="10" y="1"/>
                  <a:pt x="6" y="2"/>
                  <a:pt x="3" y="4"/>
                </a:cubicBezTo>
                <a:moveTo>
                  <a:pt x="3" y="6"/>
                </a:moveTo>
                <a:cubicBezTo>
                  <a:pt x="5" y="4"/>
                  <a:pt x="8" y="3"/>
                  <a:pt x="12" y="2"/>
                </a:cubicBezTo>
                <a:cubicBezTo>
                  <a:pt x="10" y="8"/>
                  <a:pt x="9" y="8"/>
                  <a:pt x="4" y="9"/>
                </a:cubicBezTo>
                <a:cubicBezTo>
                  <a:pt x="3" y="9"/>
                  <a:pt x="2" y="10"/>
                  <a:pt x="2" y="9"/>
                </a:cubicBezTo>
                <a:cubicBezTo>
                  <a:pt x="1" y="8"/>
                  <a:pt x="2" y="8"/>
                  <a:pt x="2" y="7"/>
                </a:cubicBezTo>
                <a:cubicBezTo>
                  <a:pt x="2" y="7"/>
                  <a:pt x="3"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2" name="Freeform 4733"/>
          <p:cNvSpPr>
            <a:spLocks noEditPoints="1"/>
          </p:cNvSpPr>
          <p:nvPr/>
        </p:nvSpPr>
        <p:spPr bwMode="auto">
          <a:xfrm>
            <a:off x="6310490" y="2738454"/>
            <a:ext cx="42759" cy="22116"/>
          </a:xfrm>
          <a:custGeom>
            <a:avLst/>
            <a:gdLst>
              <a:gd name="T0" fmla="*/ 0 w 16"/>
              <a:gd name="T1" fmla="*/ 2 h 8"/>
              <a:gd name="T2" fmla="*/ 1 w 16"/>
              <a:gd name="T3" fmla="*/ 4 h 8"/>
              <a:gd name="T4" fmla="*/ 8 w 16"/>
              <a:gd name="T5" fmla="*/ 7 h 8"/>
              <a:gd name="T6" fmla="*/ 14 w 16"/>
              <a:gd name="T7" fmla="*/ 8 h 8"/>
              <a:gd name="T8" fmla="*/ 15 w 16"/>
              <a:gd name="T9" fmla="*/ 7 h 8"/>
              <a:gd name="T10" fmla="*/ 15 w 16"/>
              <a:gd name="T11" fmla="*/ 6 h 8"/>
              <a:gd name="T12" fmla="*/ 12 w 16"/>
              <a:gd name="T13" fmla="*/ 3 h 8"/>
              <a:gd name="T14" fmla="*/ 6 w 16"/>
              <a:gd name="T15" fmla="*/ 0 h 8"/>
              <a:gd name="T16" fmla="*/ 1 w 16"/>
              <a:gd name="T17" fmla="*/ 0 h 8"/>
              <a:gd name="T18" fmla="*/ 0 w 16"/>
              <a:gd name="T19" fmla="*/ 2 h 8"/>
              <a:gd name="T20" fmla="*/ 2 w 16"/>
              <a:gd name="T21" fmla="*/ 1 h 8"/>
              <a:gd name="T22" fmla="*/ 10 w 16"/>
              <a:gd name="T23" fmla="*/ 2 h 8"/>
              <a:gd name="T24" fmla="*/ 13 w 16"/>
              <a:gd name="T25" fmla="*/ 6 h 8"/>
              <a:gd name="T26" fmla="*/ 12 w 16"/>
              <a:gd name="T27" fmla="*/ 6 h 8"/>
              <a:gd name="T28" fmla="*/ 4 w 16"/>
              <a:gd name="T29" fmla="*/ 5 h 8"/>
              <a:gd name="T30" fmla="*/ 1 w 16"/>
              <a:gd name="T31" fmla="*/ 2 h 8"/>
              <a:gd name="T32" fmla="*/ 2 w 16"/>
              <a:gd name="T3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0" y="2"/>
                </a:moveTo>
                <a:cubicBezTo>
                  <a:pt x="0" y="3"/>
                  <a:pt x="0" y="3"/>
                  <a:pt x="1" y="4"/>
                </a:cubicBezTo>
                <a:cubicBezTo>
                  <a:pt x="3" y="6"/>
                  <a:pt x="5" y="7"/>
                  <a:pt x="8" y="7"/>
                </a:cubicBezTo>
                <a:cubicBezTo>
                  <a:pt x="10" y="8"/>
                  <a:pt x="12" y="8"/>
                  <a:pt x="14" y="8"/>
                </a:cubicBezTo>
                <a:cubicBezTo>
                  <a:pt x="15" y="8"/>
                  <a:pt x="15" y="8"/>
                  <a:pt x="15" y="7"/>
                </a:cubicBezTo>
                <a:cubicBezTo>
                  <a:pt x="16" y="7"/>
                  <a:pt x="15" y="6"/>
                  <a:pt x="15" y="6"/>
                </a:cubicBezTo>
                <a:cubicBezTo>
                  <a:pt x="13" y="5"/>
                  <a:pt x="12" y="4"/>
                  <a:pt x="12" y="3"/>
                </a:cubicBezTo>
                <a:cubicBezTo>
                  <a:pt x="10" y="0"/>
                  <a:pt x="8" y="0"/>
                  <a:pt x="6" y="0"/>
                </a:cubicBezTo>
                <a:cubicBezTo>
                  <a:pt x="4" y="0"/>
                  <a:pt x="3" y="0"/>
                  <a:pt x="1" y="0"/>
                </a:cubicBezTo>
                <a:cubicBezTo>
                  <a:pt x="0" y="0"/>
                  <a:pt x="0" y="1"/>
                  <a:pt x="0" y="2"/>
                </a:cubicBezTo>
                <a:moveTo>
                  <a:pt x="2" y="1"/>
                </a:moveTo>
                <a:cubicBezTo>
                  <a:pt x="4" y="1"/>
                  <a:pt x="7" y="0"/>
                  <a:pt x="10" y="2"/>
                </a:cubicBezTo>
                <a:cubicBezTo>
                  <a:pt x="11" y="3"/>
                  <a:pt x="12" y="5"/>
                  <a:pt x="13" y="6"/>
                </a:cubicBezTo>
                <a:cubicBezTo>
                  <a:pt x="13" y="6"/>
                  <a:pt x="13" y="6"/>
                  <a:pt x="12" y="6"/>
                </a:cubicBezTo>
                <a:cubicBezTo>
                  <a:pt x="9" y="6"/>
                  <a:pt x="6" y="6"/>
                  <a:pt x="4" y="5"/>
                </a:cubicBezTo>
                <a:cubicBezTo>
                  <a:pt x="3" y="4"/>
                  <a:pt x="2" y="4"/>
                  <a:pt x="1" y="2"/>
                </a:cubicBezTo>
                <a:cubicBezTo>
                  <a:pt x="1" y="2"/>
                  <a:pt x="1" y="1"/>
                  <a:pt x="2"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3" name="Freeform 4734"/>
          <p:cNvSpPr>
            <a:spLocks noEditPoints="1"/>
          </p:cNvSpPr>
          <p:nvPr/>
        </p:nvSpPr>
        <p:spPr bwMode="auto">
          <a:xfrm>
            <a:off x="6378313" y="2729609"/>
            <a:ext cx="38336" cy="19167"/>
          </a:xfrm>
          <a:custGeom>
            <a:avLst/>
            <a:gdLst>
              <a:gd name="T0" fmla="*/ 1 w 14"/>
              <a:gd name="T1" fmla="*/ 2 h 7"/>
              <a:gd name="T2" fmla="*/ 2 w 14"/>
              <a:gd name="T3" fmla="*/ 3 h 7"/>
              <a:gd name="T4" fmla="*/ 6 w 14"/>
              <a:gd name="T5" fmla="*/ 6 h 7"/>
              <a:gd name="T6" fmla="*/ 13 w 14"/>
              <a:gd name="T7" fmla="*/ 7 h 7"/>
              <a:gd name="T8" fmla="*/ 14 w 14"/>
              <a:gd name="T9" fmla="*/ 6 h 7"/>
              <a:gd name="T10" fmla="*/ 14 w 14"/>
              <a:gd name="T11" fmla="*/ 5 h 7"/>
              <a:gd name="T12" fmla="*/ 11 w 14"/>
              <a:gd name="T13" fmla="*/ 2 h 7"/>
              <a:gd name="T14" fmla="*/ 6 w 14"/>
              <a:gd name="T15" fmla="*/ 0 h 7"/>
              <a:gd name="T16" fmla="*/ 3 w 14"/>
              <a:gd name="T17" fmla="*/ 0 h 7"/>
              <a:gd name="T18" fmla="*/ 1 w 14"/>
              <a:gd name="T19" fmla="*/ 2 h 7"/>
              <a:gd name="T20" fmla="*/ 3 w 14"/>
              <a:gd name="T21" fmla="*/ 1 h 7"/>
              <a:gd name="T22" fmla="*/ 12 w 14"/>
              <a:gd name="T23" fmla="*/ 5 h 7"/>
              <a:gd name="T24" fmla="*/ 4 w 14"/>
              <a:gd name="T25" fmla="*/ 4 h 7"/>
              <a:gd name="T26" fmla="*/ 3 w 14"/>
              <a:gd name="T27" fmla="*/ 2 h 7"/>
              <a:gd name="T28" fmla="*/ 3 w 14"/>
              <a:gd name="T29"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7">
                <a:moveTo>
                  <a:pt x="1" y="2"/>
                </a:moveTo>
                <a:cubicBezTo>
                  <a:pt x="1" y="3"/>
                  <a:pt x="2" y="3"/>
                  <a:pt x="2" y="3"/>
                </a:cubicBezTo>
                <a:cubicBezTo>
                  <a:pt x="3" y="5"/>
                  <a:pt x="4" y="5"/>
                  <a:pt x="6" y="6"/>
                </a:cubicBezTo>
                <a:cubicBezTo>
                  <a:pt x="8" y="7"/>
                  <a:pt x="11" y="7"/>
                  <a:pt x="13" y="7"/>
                </a:cubicBezTo>
                <a:cubicBezTo>
                  <a:pt x="14" y="6"/>
                  <a:pt x="14" y="6"/>
                  <a:pt x="14" y="6"/>
                </a:cubicBezTo>
                <a:cubicBezTo>
                  <a:pt x="14" y="6"/>
                  <a:pt x="14" y="5"/>
                  <a:pt x="14" y="5"/>
                </a:cubicBezTo>
                <a:cubicBezTo>
                  <a:pt x="13" y="5"/>
                  <a:pt x="12" y="3"/>
                  <a:pt x="11" y="2"/>
                </a:cubicBezTo>
                <a:cubicBezTo>
                  <a:pt x="10" y="0"/>
                  <a:pt x="8" y="0"/>
                  <a:pt x="6" y="0"/>
                </a:cubicBezTo>
                <a:cubicBezTo>
                  <a:pt x="5" y="0"/>
                  <a:pt x="4" y="0"/>
                  <a:pt x="3" y="0"/>
                </a:cubicBezTo>
                <a:cubicBezTo>
                  <a:pt x="1" y="0"/>
                  <a:pt x="0" y="1"/>
                  <a:pt x="1" y="2"/>
                </a:cubicBezTo>
                <a:moveTo>
                  <a:pt x="3" y="1"/>
                </a:moveTo>
                <a:cubicBezTo>
                  <a:pt x="9" y="1"/>
                  <a:pt x="9" y="1"/>
                  <a:pt x="12" y="5"/>
                </a:cubicBezTo>
                <a:cubicBezTo>
                  <a:pt x="9" y="5"/>
                  <a:pt x="6" y="5"/>
                  <a:pt x="4" y="4"/>
                </a:cubicBezTo>
                <a:cubicBezTo>
                  <a:pt x="3" y="3"/>
                  <a:pt x="3" y="3"/>
                  <a:pt x="3" y="2"/>
                </a:cubicBezTo>
                <a:cubicBezTo>
                  <a:pt x="2" y="2"/>
                  <a:pt x="2"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4" name="Freeform 4735"/>
          <p:cNvSpPr>
            <a:spLocks noEditPoints="1"/>
          </p:cNvSpPr>
          <p:nvPr/>
        </p:nvSpPr>
        <p:spPr bwMode="auto">
          <a:xfrm>
            <a:off x="6378313" y="2703069"/>
            <a:ext cx="32438" cy="23591"/>
          </a:xfrm>
          <a:custGeom>
            <a:avLst/>
            <a:gdLst>
              <a:gd name="T0" fmla="*/ 3 w 12"/>
              <a:gd name="T1" fmla="*/ 3 h 9"/>
              <a:gd name="T2" fmla="*/ 0 w 12"/>
              <a:gd name="T3" fmla="*/ 7 h 9"/>
              <a:gd name="T4" fmla="*/ 2 w 12"/>
              <a:gd name="T5" fmla="*/ 9 h 9"/>
              <a:gd name="T6" fmla="*/ 6 w 12"/>
              <a:gd name="T7" fmla="*/ 8 h 9"/>
              <a:gd name="T8" fmla="*/ 10 w 12"/>
              <a:gd name="T9" fmla="*/ 4 h 9"/>
              <a:gd name="T10" fmla="*/ 12 w 12"/>
              <a:gd name="T11" fmla="*/ 1 h 9"/>
              <a:gd name="T12" fmla="*/ 12 w 12"/>
              <a:gd name="T13" fmla="*/ 0 h 9"/>
              <a:gd name="T14" fmla="*/ 11 w 12"/>
              <a:gd name="T15" fmla="*/ 0 h 9"/>
              <a:gd name="T16" fmla="*/ 3 w 12"/>
              <a:gd name="T17" fmla="*/ 3 h 9"/>
              <a:gd name="T18" fmla="*/ 3 w 12"/>
              <a:gd name="T19" fmla="*/ 4 h 9"/>
              <a:gd name="T20" fmla="*/ 10 w 12"/>
              <a:gd name="T21" fmla="*/ 1 h 9"/>
              <a:gd name="T22" fmla="*/ 7 w 12"/>
              <a:gd name="T23" fmla="*/ 6 h 9"/>
              <a:gd name="T24" fmla="*/ 3 w 12"/>
              <a:gd name="T25" fmla="*/ 7 h 9"/>
              <a:gd name="T26" fmla="*/ 2 w 12"/>
              <a:gd name="T27" fmla="*/ 7 h 9"/>
              <a:gd name="T28" fmla="*/ 2 w 12"/>
              <a:gd name="T29" fmla="*/ 6 h 9"/>
              <a:gd name="T30" fmla="*/ 3 w 12"/>
              <a:gd name="T3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3" y="3"/>
                </a:moveTo>
                <a:cubicBezTo>
                  <a:pt x="2" y="4"/>
                  <a:pt x="0" y="5"/>
                  <a:pt x="0" y="7"/>
                </a:cubicBezTo>
                <a:cubicBezTo>
                  <a:pt x="0" y="8"/>
                  <a:pt x="1" y="9"/>
                  <a:pt x="2" y="9"/>
                </a:cubicBezTo>
                <a:cubicBezTo>
                  <a:pt x="3" y="8"/>
                  <a:pt x="5" y="8"/>
                  <a:pt x="6" y="8"/>
                </a:cubicBezTo>
                <a:cubicBezTo>
                  <a:pt x="8" y="7"/>
                  <a:pt x="9" y="6"/>
                  <a:pt x="10" y="4"/>
                </a:cubicBezTo>
                <a:cubicBezTo>
                  <a:pt x="10" y="3"/>
                  <a:pt x="11" y="2"/>
                  <a:pt x="12" y="1"/>
                </a:cubicBezTo>
                <a:cubicBezTo>
                  <a:pt x="12" y="0"/>
                  <a:pt x="12" y="0"/>
                  <a:pt x="12" y="0"/>
                </a:cubicBezTo>
                <a:cubicBezTo>
                  <a:pt x="12" y="0"/>
                  <a:pt x="11" y="0"/>
                  <a:pt x="11" y="0"/>
                </a:cubicBezTo>
                <a:cubicBezTo>
                  <a:pt x="8" y="0"/>
                  <a:pt x="6" y="1"/>
                  <a:pt x="3" y="3"/>
                </a:cubicBezTo>
                <a:moveTo>
                  <a:pt x="3" y="4"/>
                </a:moveTo>
                <a:cubicBezTo>
                  <a:pt x="5" y="3"/>
                  <a:pt x="7" y="2"/>
                  <a:pt x="10" y="1"/>
                </a:cubicBezTo>
                <a:cubicBezTo>
                  <a:pt x="9" y="3"/>
                  <a:pt x="9" y="5"/>
                  <a:pt x="7" y="6"/>
                </a:cubicBezTo>
                <a:cubicBezTo>
                  <a:pt x="5" y="7"/>
                  <a:pt x="4" y="7"/>
                  <a:pt x="3" y="7"/>
                </a:cubicBezTo>
                <a:cubicBezTo>
                  <a:pt x="3" y="7"/>
                  <a:pt x="2" y="8"/>
                  <a:pt x="2" y="7"/>
                </a:cubicBezTo>
                <a:cubicBezTo>
                  <a:pt x="1" y="7"/>
                  <a:pt x="2" y="6"/>
                  <a:pt x="2" y="6"/>
                </a:cubicBezTo>
                <a:cubicBezTo>
                  <a:pt x="2" y="5"/>
                  <a:pt x="2" y="5"/>
                  <a:pt x="3"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5" name="Freeform 4736"/>
          <p:cNvSpPr>
            <a:spLocks/>
          </p:cNvSpPr>
          <p:nvPr/>
        </p:nvSpPr>
        <p:spPr bwMode="auto">
          <a:xfrm>
            <a:off x="6236768" y="2795958"/>
            <a:ext cx="57503" cy="22116"/>
          </a:xfrm>
          <a:custGeom>
            <a:avLst/>
            <a:gdLst>
              <a:gd name="T0" fmla="*/ 2 w 21"/>
              <a:gd name="T1" fmla="*/ 6 h 8"/>
              <a:gd name="T2" fmla="*/ 5 w 21"/>
              <a:gd name="T3" fmla="*/ 7 h 8"/>
              <a:gd name="T4" fmla="*/ 19 w 21"/>
              <a:gd name="T5" fmla="*/ 5 h 8"/>
              <a:gd name="T6" fmla="*/ 20 w 21"/>
              <a:gd name="T7" fmla="*/ 4 h 8"/>
              <a:gd name="T8" fmla="*/ 21 w 21"/>
              <a:gd name="T9" fmla="*/ 4 h 8"/>
              <a:gd name="T10" fmla="*/ 20 w 21"/>
              <a:gd name="T11" fmla="*/ 3 h 8"/>
              <a:gd name="T12" fmla="*/ 13 w 21"/>
              <a:gd name="T13" fmla="*/ 4 h 8"/>
              <a:gd name="T14" fmla="*/ 5 w 21"/>
              <a:gd name="T15" fmla="*/ 6 h 8"/>
              <a:gd name="T16" fmla="*/ 2 w 21"/>
              <a:gd name="T17" fmla="*/ 5 h 8"/>
              <a:gd name="T18" fmla="*/ 3 w 21"/>
              <a:gd name="T19" fmla="*/ 4 h 8"/>
              <a:gd name="T20" fmla="*/ 12 w 21"/>
              <a:gd name="T21" fmla="*/ 2 h 8"/>
              <a:gd name="T22" fmla="*/ 19 w 21"/>
              <a:gd name="T23" fmla="*/ 1 h 8"/>
              <a:gd name="T24" fmla="*/ 21 w 21"/>
              <a:gd name="T25" fmla="*/ 0 h 8"/>
              <a:gd name="T26" fmla="*/ 19 w 21"/>
              <a:gd name="T27" fmla="*/ 0 h 8"/>
              <a:gd name="T28" fmla="*/ 2 w 21"/>
              <a:gd name="T29" fmla="*/ 3 h 8"/>
              <a:gd name="T30" fmla="*/ 2 w 21"/>
              <a:gd name="T3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8">
                <a:moveTo>
                  <a:pt x="2" y="6"/>
                </a:moveTo>
                <a:cubicBezTo>
                  <a:pt x="3" y="8"/>
                  <a:pt x="3" y="8"/>
                  <a:pt x="5" y="7"/>
                </a:cubicBezTo>
                <a:cubicBezTo>
                  <a:pt x="10" y="6"/>
                  <a:pt x="14" y="5"/>
                  <a:pt x="19" y="5"/>
                </a:cubicBezTo>
                <a:cubicBezTo>
                  <a:pt x="20" y="5"/>
                  <a:pt x="20" y="4"/>
                  <a:pt x="20" y="4"/>
                </a:cubicBezTo>
                <a:cubicBezTo>
                  <a:pt x="21" y="4"/>
                  <a:pt x="21" y="4"/>
                  <a:pt x="21" y="4"/>
                </a:cubicBezTo>
                <a:cubicBezTo>
                  <a:pt x="21" y="3"/>
                  <a:pt x="21" y="3"/>
                  <a:pt x="20" y="3"/>
                </a:cubicBezTo>
                <a:cubicBezTo>
                  <a:pt x="18" y="4"/>
                  <a:pt x="15" y="4"/>
                  <a:pt x="13" y="4"/>
                </a:cubicBezTo>
                <a:cubicBezTo>
                  <a:pt x="10" y="5"/>
                  <a:pt x="7" y="6"/>
                  <a:pt x="5" y="6"/>
                </a:cubicBezTo>
                <a:cubicBezTo>
                  <a:pt x="4" y="7"/>
                  <a:pt x="2" y="6"/>
                  <a:pt x="2" y="5"/>
                </a:cubicBezTo>
                <a:cubicBezTo>
                  <a:pt x="2" y="4"/>
                  <a:pt x="3" y="4"/>
                  <a:pt x="3" y="4"/>
                </a:cubicBezTo>
                <a:cubicBezTo>
                  <a:pt x="6" y="4"/>
                  <a:pt x="9" y="3"/>
                  <a:pt x="12" y="2"/>
                </a:cubicBezTo>
                <a:cubicBezTo>
                  <a:pt x="15" y="2"/>
                  <a:pt x="17" y="2"/>
                  <a:pt x="19" y="1"/>
                </a:cubicBezTo>
                <a:cubicBezTo>
                  <a:pt x="20" y="1"/>
                  <a:pt x="21" y="1"/>
                  <a:pt x="21" y="0"/>
                </a:cubicBezTo>
                <a:cubicBezTo>
                  <a:pt x="21" y="0"/>
                  <a:pt x="20" y="0"/>
                  <a:pt x="19" y="0"/>
                </a:cubicBezTo>
                <a:cubicBezTo>
                  <a:pt x="14" y="1"/>
                  <a:pt x="8" y="2"/>
                  <a:pt x="2" y="3"/>
                </a:cubicBezTo>
                <a:cubicBezTo>
                  <a:pt x="0" y="4"/>
                  <a:pt x="0" y="4"/>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6" name="Freeform 4737"/>
          <p:cNvSpPr>
            <a:spLocks/>
          </p:cNvSpPr>
          <p:nvPr/>
        </p:nvSpPr>
        <p:spPr bwMode="auto">
          <a:xfrm>
            <a:off x="6438766" y="2776790"/>
            <a:ext cx="26540" cy="16218"/>
          </a:xfrm>
          <a:custGeom>
            <a:avLst/>
            <a:gdLst>
              <a:gd name="T0" fmla="*/ 6 w 10"/>
              <a:gd name="T1" fmla="*/ 2 h 6"/>
              <a:gd name="T2" fmla="*/ 2 w 10"/>
              <a:gd name="T3" fmla="*/ 4 h 6"/>
              <a:gd name="T4" fmla="*/ 1 w 10"/>
              <a:gd name="T5" fmla="*/ 5 h 6"/>
              <a:gd name="T6" fmla="*/ 2 w 10"/>
              <a:gd name="T7" fmla="*/ 5 h 6"/>
              <a:gd name="T8" fmla="*/ 9 w 10"/>
              <a:gd name="T9" fmla="*/ 2 h 6"/>
              <a:gd name="T10" fmla="*/ 10 w 10"/>
              <a:gd name="T11" fmla="*/ 2 h 6"/>
              <a:gd name="T12" fmla="*/ 9 w 10"/>
              <a:gd name="T13" fmla="*/ 1 h 6"/>
              <a:gd name="T14" fmla="*/ 1 w 10"/>
              <a:gd name="T15" fmla="*/ 0 h 6"/>
              <a:gd name="T16" fmla="*/ 0 w 10"/>
              <a:gd name="T17" fmla="*/ 0 h 6"/>
              <a:gd name="T18" fmla="*/ 1 w 10"/>
              <a:gd name="T19" fmla="*/ 1 h 6"/>
              <a:gd name="T20" fmla="*/ 6 w 10"/>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6" y="2"/>
                </a:moveTo>
                <a:cubicBezTo>
                  <a:pt x="4" y="3"/>
                  <a:pt x="3" y="4"/>
                  <a:pt x="2" y="4"/>
                </a:cubicBezTo>
                <a:cubicBezTo>
                  <a:pt x="1" y="4"/>
                  <a:pt x="1" y="5"/>
                  <a:pt x="1" y="5"/>
                </a:cubicBezTo>
                <a:cubicBezTo>
                  <a:pt x="1" y="6"/>
                  <a:pt x="2" y="5"/>
                  <a:pt x="2" y="5"/>
                </a:cubicBezTo>
                <a:cubicBezTo>
                  <a:pt x="4" y="4"/>
                  <a:pt x="7" y="3"/>
                  <a:pt x="9" y="2"/>
                </a:cubicBezTo>
                <a:cubicBezTo>
                  <a:pt x="9" y="2"/>
                  <a:pt x="10" y="2"/>
                  <a:pt x="10" y="2"/>
                </a:cubicBezTo>
                <a:cubicBezTo>
                  <a:pt x="10" y="1"/>
                  <a:pt x="9" y="1"/>
                  <a:pt x="9" y="1"/>
                </a:cubicBezTo>
                <a:cubicBezTo>
                  <a:pt x="6" y="1"/>
                  <a:pt x="4" y="0"/>
                  <a:pt x="1" y="0"/>
                </a:cubicBezTo>
                <a:cubicBezTo>
                  <a:pt x="1" y="0"/>
                  <a:pt x="1" y="0"/>
                  <a:pt x="0" y="0"/>
                </a:cubicBezTo>
                <a:cubicBezTo>
                  <a:pt x="0" y="1"/>
                  <a:pt x="1" y="1"/>
                  <a:pt x="1" y="1"/>
                </a:cubicBezTo>
                <a:cubicBezTo>
                  <a:pt x="3" y="2"/>
                  <a:pt x="4" y="2"/>
                  <a:pt x="6"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7" name="Freeform 4738"/>
          <p:cNvSpPr>
            <a:spLocks noEditPoints="1"/>
          </p:cNvSpPr>
          <p:nvPr/>
        </p:nvSpPr>
        <p:spPr bwMode="auto">
          <a:xfrm>
            <a:off x="6298695" y="2764994"/>
            <a:ext cx="41285" cy="33912"/>
          </a:xfrm>
          <a:custGeom>
            <a:avLst/>
            <a:gdLst>
              <a:gd name="T0" fmla="*/ 4 w 15"/>
              <a:gd name="T1" fmla="*/ 4 h 12"/>
              <a:gd name="T2" fmla="*/ 0 w 15"/>
              <a:gd name="T3" fmla="*/ 10 h 12"/>
              <a:gd name="T4" fmla="*/ 2 w 15"/>
              <a:gd name="T5" fmla="*/ 12 h 12"/>
              <a:gd name="T6" fmla="*/ 9 w 15"/>
              <a:gd name="T7" fmla="*/ 10 h 12"/>
              <a:gd name="T8" fmla="*/ 12 w 15"/>
              <a:gd name="T9" fmla="*/ 7 h 12"/>
              <a:gd name="T10" fmla="*/ 15 w 15"/>
              <a:gd name="T11" fmla="*/ 1 h 12"/>
              <a:gd name="T12" fmla="*/ 15 w 15"/>
              <a:gd name="T13" fmla="*/ 0 h 12"/>
              <a:gd name="T14" fmla="*/ 14 w 15"/>
              <a:gd name="T15" fmla="*/ 0 h 12"/>
              <a:gd name="T16" fmla="*/ 4 w 15"/>
              <a:gd name="T17" fmla="*/ 4 h 12"/>
              <a:gd name="T18" fmla="*/ 2 w 15"/>
              <a:gd name="T19" fmla="*/ 7 h 12"/>
              <a:gd name="T20" fmla="*/ 13 w 15"/>
              <a:gd name="T21" fmla="*/ 2 h 12"/>
              <a:gd name="T22" fmla="*/ 11 w 15"/>
              <a:gd name="T23" fmla="*/ 5 h 12"/>
              <a:gd name="T24" fmla="*/ 6 w 15"/>
              <a:gd name="T25" fmla="*/ 10 h 12"/>
              <a:gd name="T26" fmla="*/ 3 w 15"/>
              <a:gd name="T27" fmla="*/ 10 h 12"/>
              <a:gd name="T28" fmla="*/ 1 w 15"/>
              <a:gd name="T29" fmla="*/ 10 h 12"/>
              <a:gd name="T30" fmla="*/ 2 w 15"/>
              <a:gd name="T31" fmla="*/ 8 h 12"/>
              <a:gd name="T32" fmla="*/ 2 w 15"/>
              <a:gd name="T33"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2">
                <a:moveTo>
                  <a:pt x="4" y="4"/>
                </a:moveTo>
                <a:cubicBezTo>
                  <a:pt x="1" y="5"/>
                  <a:pt x="0" y="7"/>
                  <a:pt x="0" y="10"/>
                </a:cubicBezTo>
                <a:cubicBezTo>
                  <a:pt x="0" y="12"/>
                  <a:pt x="0" y="12"/>
                  <a:pt x="2" y="12"/>
                </a:cubicBezTo>
                <a:cubicBezTo>
                  <a:pt x="4" y="11"/>
                  <a:pt x="6" y="11"/>
                  <a:pt x="9" y="10"/>
                </a:cubicBezTo>
                <a:cubicBezTo>
                  <a:pt x="10" y="9"/>
                  <a:pt x="11" y="9"/>
                  <a:pt x="12" y="7"/>
                </a:cubicBezTo>
                <a:cubicBezTo>
                  <a:pt x="13" y="5"/>
                  <a:pt x="13" y="3"/>
                  <a:pt x="15" y="1"/>
                </a:cubicBezTo>
                <a:cubicBezTo>
                  <a:pt x="15" y="1"/>
                  <a:pt x="15" y="1"/>
                  <a:pt x="15" y="0"/>
                </a:cubicBezTo>
                <a:cubicBezTo>
                  <a:pt x="15" y="0"/>
                  <a:pt x="14" y="0"/>
                  <a:pt x="14" y="0"/>
                </a:cubicBezTo>
                <a:cubicBezTo>
                  <a:pt x="10" y="1"/>
                  <a:pt x="7" y="2"/>
                  <a:pt x="4" y="4"/>
                </a:cubicBezTo>
                <a:moveTo>
                  <a:pt x="2" y="7"/>
                </a:moveTo>
                <a:cubicBezTo>
                  <a:pt x="5" y="4"/>
                  <a:pt x="9" y="3"/>
                  <a:pt x="13" y="2"/>
                </a:cubicBezTo>
                <a:cubicBezTo>
                  <a:pt x="12" y="3"/>
                  <a:pt x="12" y="4"/>
                  <a:pt x="11" y="5"/>
                </a:cubicBezTo>
                <a:cubicBezTo>
                  <a:pt x="11" y="8"/>
                  <a:pt x="9" y="9"/>
                  <a:pt x="6" y="10"/>
                </a:cubicBezTo>
                <a:cubicBezTo>
                  <a:pt x="5" y="10"/>
                  <a:pt x="4" y="10"/>
                  <a:pt x="3" y="10"/>
                </a:cubicBezTo>
                <a:cubicBezTo>
                  <a:pt x="3" y="10"/>
                  <a:pt x="2" y="11"/>
                  <a:pt x="1" y="10"/>
                </a:cubicBezTo>
                <a:cubicBezTo>
                  <a:pt x="1" y="9"/>
                  <a:pt x="1" y="9"/>
                  <a:pt x="2" y="8"/>
                </a:cubicBezTo>
                <a:cubicBezTo>
                  <a:pt x="2" y="7"/>
                  <a:pt x="2" y="7"/>
                  <a:pt x="2"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8" name="Freeform 4739"/>
          <p:cNvSpPr>
            <a:spLocks noEditPoints="1"/>
          </p:cNvSpPr>
          <p:nvPr/>
        </p:nvSpPr>
        <p:spPr bwMode="auto">
          <a:xfrm>
            <a:off x="6298695" y="2800382"/>
            <a:ext cx="50131" cy="25065"/>
          </a:xfrm>
          <a:custGeom>
            <a:avLst/>
            <a:gdLst>
              <a:gd name="T0" fmla="*/ 0 w 18"/>
              <a:gd name="T1" fmla="*/ 2 h 9"/>
              <a:gd name="T2" fmla="*/ 1 w 18"/>
              <a:gd name="T3" fmla="*/ 4 h 9"/>
              <a:gd name="T4" fmla="*/ 7 w 18"/>
              <a:gd name="T5" fmla="*/ 8 h 9"/>
              <a:gd name="T6" fmla="*/ 17 w 18"/>
              <a:gd name="T7" fmla="*/ 9 h 9"/>
              <a:gd name="T8" fmla="*/ 18 w 18"/>
              <a:gd name="T9" fmla="*/ 8 h 9"/>
              <a:gd name="T10" fmla="*/ 17 w 18"/>
              <a:gd name="T11" fmla="*/ 8 h 9"/>
              <a:gd name="T12" fmla="*/ 14 w 18"/>
              <a:gd name="T13" fmla="*/ 3 h 9"/>
              <a:gd name="T14" fmla="*/ 7 w 18"/>
              <a:gd name="T15" fmla="*/ 0 h 9"/>
              <a:gd name="T16" fmla="*/ 2 w 18"/>
              <a:gd name="T17" fmla="*/ 0 h 9"/>
              <a:gd name="T18" fmla="*/ 0 w 18"/>
              <a:gd name="T19" fmla="*/ 2 h 9"/>
              <a:gd name="T20" fmla="*/ 2 w 18"/>
              <a:gd name="T21" fmla="*/ 2 h 9"/>
              <a:gd name="T22" fmla="*/ 8 w 18"/>
              <a:gd name="T23" fmla="*/ 1 h 9"/>
              <a:gd name="T24" fmla="*/ 12 w 18"/>
              <a:gd name="T25" fmla="*/ 3 h 9"/>
              <a:gd name="T26" fmla="*/ 15 w 18"/>
              <a:gd name="T27" fmla="*/ 8 h 9"/>
              <a:gd name="T28" fmla="*/ 4 w 18"/>
              <a:gd name="T29" fmla="*/ 5 h 9"/>
              <a:gd name="T30" fmla="*/ 2 w 18"/>
              <a:gd name="T31" fmla="*/ 3 h 9"/>
              <a:gd name="T32" fmla="*/ 2 w 18"/>
              <a:gd name="T3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9">
                <a:moveTo>
                  <a:pt x="0" y="2"/>
                </a:moveTo>
                <a:cubicBezTo>
                  <a:pt x="1" y="3"/>
                  <a:pt x="1" y="4"/>
                  <a:pt x="1" y="4"/>
                </a:cubicBezTo>
                <a:cubicBezTo>
                  <a:pt x="3" y="6"/>
                  <a:pt x="5" y="7"/>
                  <a:pt x="7" y="8"/>
                </a:cubicBezTo>
                <a:cubicBezTo>
                  <a:pt x="10" y="9"/>
                  <a:pt x="14" y="9"/>
                  <a:pt x="17" y="9"/>
                </a:cubicBezTo>
                <a:cubicBezTo>
                  <a:pt x="17" y="9"/>
                  <a:pt x="18" y="9"/>
                  <a:pt x="18" y="8"/>
                </a:cubicBezTo>
                <a:cubicBezTo>
                  <a:pt x="18" y="8"/>
                  <a:pt x="18" y="8"/>
                  <a:pt x="17" y="8"/>
                </a:cubicBezTo>
                <a:cubicBezTo>
                  <a:pt x="16" y="7"/>
                  <a:pt x="15" y="5"/>
                  <a:pt x="14" y="3"/>
                </a:cubicBezTo>
                <a:cubicBezTo>
                  <a:pt x="12" y="1"/>
                  <a:pt x="10" y="0"/>
                  <a:pt x="7" y="0"/>
                </a:cubicBezTo>
                <a:cubicBezTo>
                  <a:pt x="5" y="0"/>
                  <a:pt x="4" y="0"/>
                  <a:pt x="2" y="0"/>
                </a:cubicBezTo>
                <a:cubicBezTo>
                  <a:pt x="0" y="1"/>
                  <a:pt x="0" y="1"/>
                  <a:pt x="0" y="2"/>
                </a:cubicBezTo>
                <a:moveTo>
                  <a:pt x="2" y="2"/>
                </a:moveTo>
                <a:cubicBezTo>
                  <a:pt x="4" y="2"/>
                  <a:pt x="6" y="1"/>
                  <a:pt x="8" y="1"/>
                </a:cubicBezTo>
                <a:cubicBezTo>
                  <a:pt x="10" y="1"/>
                  <a:pt x="11" y="2"/>
                  <a:pt x="12" y="3"/>
                </a:cubicBezTo>
                <a:cubicBezTo>
                  <a:pt x="13" y="5"/>
                  <a:pt x="14" y="6"/>
                  <a:pt x="15" y="8"/>
                </a:cubicBezTo>
                <a:cubicBezTo>
                  <a:pt x="11" y="8"/>
                  <a:pt x="8" y="7"/>
                  <a:pt x="4" y="5"/>
                </a:cubicBezTo>
                <a:cubicBezTo>
                  <a:pt x="3" y="5"/>
                  <a:pt x="2" y="4"/>
                  <a:pt x="2" y="3"/>
                </a:cubicBezTo>
                <a:cubicBezTo>
                  <a:pt x="2" y="2"/>
                  <a:pt x="2"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19" name="Freeform 4740"/>
          <p:cNvSpPr>
            <a:spLocks noEditPoints="1"/>
          </p:cNvSpPr>
          <p:nvPr/>
        </p:nvSpPr>
        <p:spPr bwMode="auto">
          <a:xfrm>
            <a:off x="6372416" y="2793010"/>
            <a:ext cx="44233" cy="22116"/>
          </a:xfrm>
          <a:custGeom>
            <a:avLst/>
            <a:gdLst>
              <a:gd name="T0" fmla="*/ 1 w 16"/>
              <a:gd name="T1" fmla="*/ 2 h 8"/>
              <a:gd name="T2" fmla="*/ 1 w 16"/>
              <a:gd name="T3" fmla="*/ 4 h 8"/>
              <a:gd name="T4" fmla="*/ 8 w 16"/>
              <a:gd name="T5" fmla="*/ 7 h 8"/>
              <a:gd name="T6" fmla="*/ 15 w 16"/>
              <a:gd name="T7" fmla="*/ 8 h 8"/>
              <a:gd name="T8" fmla="*/ 16 w 16"/>
              <a:gd name="T9" fmla="*/ 7 h 8"/>
              <a:gd name="T10" fmla="*/ 15 w 16"/>
              <a:gd name="T11" fmla="*/ 6 h 8"/>
              <a:gd name="T12" fmla="*/ 13 w 16"/>
              <a:gd name="T13" fmla="*/ 3 h 8"/>
              <a:gd name="T14" fmla="*/ 6 w 16"/>
              <a:gd name="T15" fmla="*/ 0 h 8"/>
              <a:gd name="T16" fmla="*/ 2 w 16"/>
              <a:gd name="T17" fmla="*/ 0 h 8"/>
              <a:gd name="T18" fmla="*/ 1 w 16"/>
              <a:gd name="T19" fmla="*/ 2 h 8"/>
              <a:gd name="T20" fmla="*/ 3 w 16"/>
              <a:gd name="T21" fmla="*/ 1 h 8"/>
              <a:gd name="T22" fmla="*/ 7 w 16"/>
              <a:gd name="T23" fmla="*/ 1 h 8"/>
              <a:gd name="T24" fmla="*/ 11 w 16"/>
              <a:gd name="T25" fmla="*/ 3 h 8"/>
              <a:gd name="T26" fmla="*/ 14 w 16"/>
              <a:gd name="T27" fmla="*/ 6 h 8"/>
              <a:gd name="T28" fmla="*/ 7 w 16"/>
              <a:gd name="T29" fmla="*/ 6 h 8"/>
              <a:gd name="T30" fmla="*/ 2 w 16"/>
              <a:gd name="T31" fmla="*/ 3 h 8"/>
              <a:gd name="T32" fmla="*/ 3 w 16"/>
              <a:gd name="T33"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1" y="2"/>
                </a:moveTo>
                <a:cubicBezTo>
                  <a:pt x="1" y="3"/>
                  <a:pt x="1" y="3"/>
                  <a:pt x="1" y="4"/>
                </a:cubicBezTo>
                <a:cubicBezTo>
                  <a:pt x="3" y="6"/>
                  <a:pt x="5" y="7"/>
                  <a:pt x="8" y="7"/>
                </a:cubicBezTo>
                <a:cubicBezTo>
                  <a:pt x="10" y="8"/>
                  <a:pt x="13" y="8"/>
                  <a:pt x="15" y="8"/>
                </a:cubicBezTo>
                <a:cubicBezTo>
                  <a:pt x="15" y="8"/>
                  <a:pt x="16" y="8"/>
                  <a:pt x="16" y="7"/>
                </a:cubicBezTo>
                <a:cubicBezTo>
                  <a:pt x="16" y="7"/>
                  <a:pt x="16" y="6"/>
                  <a:pt x="15" y="6"/>
                </a:cubicBezTo>
                <a:cubicBezTo>
                  <a:pt x="14" y="5"/>
                  <a:pt x="13" y="4"/>
                  <a:pt x="13" y="3"/>
                </a:cubicBezTo>
                <a:cubicBezTo>
                  <a:pt x="11" y="1"/>
                  <a:pt x="9" y="0"/>
                  <a:pt x="6" y="0"/>
                </a:cubicBezTo>
                <a:cubicBezTo>
                  <a:pt x="5" y="0"/>
                  <a:pt x="4" y="0"/>
                  <a:pt x="2" y="0"/>
                </a:cubicBezTo>
                <a:cubicBezTo>
                  <a:pt x="0" y="0"/>
                  <a:pt x="0" y="1"/>
                  <a:pt x="1" y="2"/>
                </a:cubicBezTo>
                <a:moveTo>
                  <a:pt x="3" y="1"/>
                </a:moveTo>
                <a:cubicBezTo>
                  <a:pt x="4" y="1"/>
                  <a:pt x="5" y="1"/>
                  <a:pt x="7" y="1"/>
                </a:cubicBezTo>
                <a:cubicBezTo>
                  <a:pt x="8" y="1"/>
                  <a:pt x="10" y="1"/>
                  <a:pt x="11" y="3"/>
                </a:cubicBezTo>
                <a:cubicBezTo>
                  <a:pt x="12" y="4"/>
                  <a:pt x="13" y="5"/>
                  <a:pt x="14" y="6"/>
                </a:cubicBezTo>
                <a:cubicBezTo>
                  <a:pt x="11" y="7"/>
                  <a:pt x="9" y="6"/>
                  <a:pt x="7" y="6"/>
                </a:cubicBezTo>
                <a:cubicBezTo>
                  <a:pt x="5" y="5"/>
                  <a:pt x="3" y="4"/>
                  <a:pt x="2" y="3"/>
                </a:cubicBezTo>
                <a:cubicBezTo>
                  <a:pt x="2" y="2"/>
                  <a:pt x="2" y="1"/>
                  <a:pt x="3"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0" name="Freeform 4741"/>
          <p:cNvSpPr>
            <a:spLocks noEditPoints="1"/>
          </p:cNvSpPr>
          <p:nvPr/>
        </p:nvSpPr>
        <p:spPr bwMode="auto">
          <a:xfrm>
            <a:off x="6372415" y="2760573"/>
            <a:ext cx="38336" cy="29489"/>
          </a:xfrm>
          <a:custGeom>
            <a:avLst/>
            <a:gdLst>
              <a:gd name="T0" fmla="*/ 3 w 14"/>
              <a:gd name="T1" fmla="*/ 4 h 11"/>
              <a:gd name="T2" fmla="*/ 0 w 14"/>
              <a:gd name="T3" fmla="*/ 9 h 11"/>
              <a:gd name="T4" fmla="*/ 2 w 14"/>
              <a:gd name="T5" fmla="*/ 11 h 11"/>
              <a:gd name="T6" fmla="*/ 8 w 14"/>
              <a:gd name="T7" fmla="*/ 9 h 11"/>
              <a:gd name="T8" fmla="*/ 11 w 14"/>
              <a:gd name="T9" fmla="*/ 6 h 11"/>
              <a:gd name="T10" fmla="*/ 13 w 14"/>
              <a:gd name="T11" fmla="*/ 2 h 11"/>
              <a:gd name="T12" fmla="*/ 14 w 14"/>
              <a:gd name="T13" fmla="*/ 1 h 11"/>
              <a:gd name="T14" fmla="*/ 13 w 14"/>
              <a:gd name="T15" fmla="*/ 0 h 11"/>
              <a:gd name="T16" fmla="*/ 3 w 14"/>
              <a:gd name="T17" fmla="*/ 4 h 11"/>
              <a:gd name="T18" fmla="*/ 3 w 14"/>
              <a:gd name="T19" fmla="*/ 6 h 11"/>
              <a:gd name="T20" fmla="*/ 11 w 14"/>
              <a:gd name="T21" fmla="*/ 2 h 11"/>
              <a:gd name="T22" fmla="*/ 3 w 14"/>
              <a:gd name="T23" fmla="*/ 9 h 11"/>
              <a:gd name="T24" fmla="*/ 1 w 14"/>
              <a:gd name="T25" fmla="*/ 9 h 11"/>
              <a:gd name="T26" fmla="*/ 2 w 14"/>
              <a:gd name="T27" fmla="*/ 7 h 11"/>
              <a:gd name="T28" fmla="*/ 3 w 14"/>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1">
                <a:moveTo>
                  <a:pt x="3" y="4"/>
                </a:moveTo>
                <a:cubicBezTo>
                  <a:pt x="2" y="5"/>
                  <a:pt x="0" y="7"/>
                  <a:pt x="0" y="9"/>
                </a:cubicBezTo>
                <a:cubicBezTo>
                  <a:pt x="0" y="10"/>
                  <a:pt x="0" y="11"/>
                  <a:pt x="2" y="11"/>
                </a:cubicBezTo>
                <a:cubicBezTo>
                  <a:pt x="4" y="10"/>
                  <a:pt x="6" y="10"/>
                  <a:pt x="8" y="9"/>
                </a:cubicBezTo>
                <a:cubicBezTo>
                  <a:pt x="10" y="9"/>
                  <a:pt x="11" y="7"/>
                  <a:pt x="11" y="6"/>
                </a:cubicBezTo>
                <a:cubicBezTo>
                  <a:pt x="12" y="4"/>
                  <a:pt x="12" y="3"/>
                  <a:pt x="13" y="2"/>
                </a:cubicBezTo>
                <a:cubicBezTo>
                  <a:pt x="14" y="1"/>
                  <a:pt x="14" y="1"/>
                  <a:pt x="14" y="1"/>
                </a:cubicBezTo>
                <a:cubicBezTo>
                  <a:pt x="13" y="0"/>
                  <a:pt x="13" y="0"/>
                  <a:pt x="13" y="0"/>
                </a:cubicBezTo>
                <a:cubicBezTo>
                  <a:pt x="9" y="1"/>
                  <a:pt x="6" y="2"/>
                  <a:pt x="3" y="4"/>
                </a:cubicBezTo>
                <a:moveTo>
                  <a:pt x="3" y="6"/>
                </a:moveTo>
                <a:cubicBezTo>
                  <a:pt x="5" y="4"/>
                  <a:pt x="8" y="3"/>
                  <a:pt x="11" y="2"/>
                </a:cubicBezTo>
                <a:cubicBezTo>
                  <a:pt x="10" y="7"/>
                  <a:pt x="8" y="9"/>
                  <a:pt x="3" y="9"/>
                </a:cubicBezTo>
                <a:cubicBezTo>
                  <a:pt x="3" y="9"/>
                  <a:pt x="2" y="10"/>
                  <a:pt x="1" y="9"/>
                </a:cubicBezTo>
                <a:cubicBezTo>
                  <a:pt x="1" y="8"/>
                  <a:pt x="2" y="8"/>
                  <a:pt x="2" y="7"/>
                </a:cubicBezTo>
                <a:cubicBezTo>
                  <a:pt x="2" y="7"/>
                  <a:pt x="2" y="6"/>
                  <a:pt x="3"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1" name="Freeform 4742"/>
          <p:cNvSpPr>
            <a:spLocks noEditPoints="1"/>
          </p:cNvSpPr>
          <p:nvPr/>
        </p:nvSpPr>
        <p:spPr bwMode="auto">
          <a:xfrm>
            <a:off x="6337029" y="2764994"/>
            <a:ext cx="38336" cy="28014"/>
          </a:xfrm>
          <a:custGeom>
            <a:avLst/>
            <a:gdLst>
              <a:gd name="T0" fmla="*/ 3 w 14"/>
              <a:gd name="T1" fmla="*/ 3 h 10"/>
              <a:gd name="T2" fmla="*/ 0 w 14"/>
              <a:gd name="T3" fmla="*/ 9 h 10"/>
              <a:gd name="T4" fmla="*/ 1 w 14"/>
              <a:gd name="T5" fmla="*/ 10 h 10"/>
              <a:gd name="T6" fmla="*/ 8 w 14"/>
              <a:gd name="T7" fmla="*/ 9 h 10"/>
              <a:gd name="T8" fmla="*/ 11 w 14"/>
              <a:gd name="T9" fmla="*/ 6 h 10"/>
              <a:gd name="T10" fmla="*/ 13 w 14"/>
              <a:gd name="T11" fmla="*/ 1 h 10"/>
              <a:gd name="T12" fmla="*/ 13 w 14"/>
              <a:gd name="T13" fmla="*/ 0 h 10"/>
              <a:gd name="T14" fmla="*/ 12 w 14"/>
              <a:gd name="T15" fmla="*/ 0 h 10"/>
              <a:gd name="T16" fmla="*/ 3 w 14"/>
              <a:gd name="T17" fmla="*/ 3 h 10"/>
              <a:gd name="T18" fmla="*/ 2 w 14"/>
              <a:gd name="T19" fmla="*/ 6 h 10"/>
              <a:gd name="T20" fmla="*/ 11 w 14"/>
              <a:gd name="T21" fmla="*/ 1 h 10"/>
              <a:gd name="T22" fmla="*/ 3 w 14"/>
              <a:gd name="T23" fmla="*/ 9 h 10"/>
              <a:gd name="T24" fmla="*/ 1 w 14"/>
              <a:gd name="T25" fmla="*/ 9 h 10"/>
              <a:gd name="T26" fmla="*/ 2 w 14"/>
              <a:gd name="T27" fmla="*/ 7 h 10"/>
              <a:gd name="T28" fmla="*/ 2 w 14"/>
              <a:gd name="T2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0">
                <a:moveTo>
                  <a:pt x="3" y="3"/>
                </a:moveTo>
                <a:cubicBezTo>
                  <a:pt x="1" y="5"/>
                  <a:pt x="0" y="7"/>
                  <a:pt x="0" y="9"/>
                </a:cubicBezTo>
                <a:cubicBezTo>
                  <a:pt x="0" y="10"/>
                  <a:pt x="0" y="10"/>
                  <a:pt x="1" y="10"/>
                </a:cubicBezTo>
                <a:cubicBezTo>
                  <a:pt x="3" y="10"/>
                  <a:pt x="6" y="10"/>
                  <a:pt x="8" y="9"/>
                </a:cubicBezTo>
                <a:cubicBezTo>
                  <a:pt x="9" y="8"/>
                  <a:pt x="10" y="7"/>
                  <a:pt x="11" y="6"/>
                </a:cubicBezTo>
                <a:cubicBezTo>
                  <a:pt x="12" y="4"/>
                  <a:pt x="12" y="2"/>
                  <a:pt x="13" y="1"/>
                </a:cubicBezTo>
                <a:cubicBezTo>
                  <a:pt x="14" y="1"/>
                  <a:pt x="14" y="0"/>
                  <a:pt x="13" y="0"/>
                </a:cubicBezTo>
                <a:cubicBezTo>
                  <a:pt x="13" y="0"/>
                  <a:pt x="13" y="0"/>
                  <a:pt x="12" y="0"/>
                </a:cubicBezTo>
                <a:cubicBezTo>
                  <a:pt x="9" y="1"/>
                  <a:pt x="6" y="2"/>
                  <a:pt x="3" y="3"/>
                </a:cubicBezTo>
                <a:moveTo>
                  <a:pt x="2" y="6"/>
                </a:moveTo>
                <a:cubicBezTo>
                  <a:pt x="5" y="3"/>
                  <a:pt x="8" y="2"/>
                  <a:pt x="11" y="1"/>
                </a:cubicBezTo>
                <a:cubicBezTo>
                  <a:pt x="9" y="8"/>
                  <a:pt x="9" y="8"/>
                  <a:pt x="3" y="9"/>
                </a:cubicBezTo>
                <a:cubicBezTo>
                  <a:pt x="3" y="9"/>
                  <a:pt x="2" y="9"/>
                  <a:pt x="1" y="9"/>
                </a:cubicBezTo>
                <a:cubicBezTo>
                  <a:pt x="1" y="8"/>
                  <a:pt x="1" y="7"/>
                  <a:pt x="2" y="7"/>
                </a:cubicBez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2" name="Freeform 4743"/>
          <p:cNvSpPr>
            <a:spLocks noEditPoints="1"/>
          </p:cNvSpPr>
          <p:nvPr/>
        </p:nvSpPr>
        <p:spPr bwMode="auto">
          <a:xfrm>
            <a:off x="6337030" y="2795958"/>
            <a:ext cx="44233" cy="22116"/>
          </a:xfrm>
          <a:custGeom>
            <a:avLst/>
            <a:gdLst>
              <a:gd name="T0" fmla="*/ 1 w 16"/>
              <a:gd name="T1" fmla="*/ 3 h 8"/>
              <a:gd name="T2" fmla="*/ 1 w 16"/>
              <a:gd name="T3" fmla="*/ 4 h 8"/>
              <a:gd name="T4" fmla="*/ 9 w 16"/>
              <a:gd name="T5" fmla="*/ 8 h 8"/>
              <a:gd name="T6" fmla="*/ 15 w 16"/>
              <a:gd name="T7" fmla="*/ 8 h 8"/>
              <a:gd name="T8" fmla="*/ 16 w 16"/>
              <a:gd name="T9" fmla="*/ 8 h 8"/>
              <a:gd name="T10" fmla="*/ 15 w 16"/>
              <a:gd name="T11" fmla="*/ 7 h 8"/>
              <a:gd name="T12" fmla="*/ 12 w 16"/>
              <a:gd name="T13" fmla="*/ 3 h 8"/>
              <a:gd name="T14" fmla="*/ 6 w 16"/>
              <a:gd name="T15" fmla="*/ 0 h 8"/>
              <a:gd name="T16" fmla="*/ 2 w 16"/>
              <a:gd name="T17" fmla="*/ 1 h 8"/>
              <a:gd name="T18" fmla="*/ 1 w 16"/>
              <a:gd name="T19" fmla="*/ 3 h 8"/>
              <a:gd name="T20" fmla="*/ 2 w 16"/>
              <a:gd name="T21" fmla="*/ 2 h 8"/>
              <a:gd name="T22" fmla="*/ 10 w 16"/>
              <a:gd name="T23" fmla="*/ 3 h 8"/>
              <a:gd name="T24" fmla="*/ 13 w 16"/>
              <a:gd name="T25" fmla="*/ 6 h 8"/>
              <a:gd name="T26" fmla="*/ 13 w 16"/>
              <a:gd name="T27" fmla="*/ 7 h 8"/>
              <a:gd name="T28" fmla="*/ 4 w 16"/>
              <a:gd name="T29" fmla="*/ 5 h 8"/>
              <a:gd name="T30" fmla="*/ 2 w 16"/>
              <a:gd name="T31" fmla="*/ 3 h 8"/>
              <a:gd name="T32" fmla="*/ 2 w 16"/>
              <a:gd name="T3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8">
                <a:moveTo>
                  <a:pt x="1" y="3"/>
                </a:moveTo>
                <a:cubicBezTo>
                  <a:pt x="1" y="3"/>
                  <a:pt x="1" y="4"/>
                  <a:pt x="1" y="4"/>
                </a:cubicBezTo>
                <a:cubicBezTo>
                  <a:pt x="3" y="7"/>
                  <a:pt x="6" y="7"/>
                  <a:pt x="9" y="8"/>
                </a:cubicBezTo>
                <a:cubicBezTo>
                  <a:pt x="11" y="8"/>
                  <a:pt x="13" y="8"/>
                  <a:pt x="15" y="8"/>
                </a:cubicBezTo>
                <a:cubicBezTo>
                  <a:pt x="15" y="8"/>
                  <a:pt x="16" y="8"/>
                  <a:pt x="16" y="8"/>
                </a:cubicBezTo>
                <a:cubicBezTo>
                  <a:pt x="16" y="7"/>
                  <a:pt x="16" y="7"/>
                  <a:pt x="15" y="7"/>
                </a:cubicBezTo>
                <a:cubicBezTo>
                  <a:pt x="14" y="6"/>
                  <a:pt x="13" y="4"/>
                  <a:pt x="12" y="3"/>
                </a:cubicBezTo>
                <a:cubicBezTo>
                  <a:pt x="11" y="1"/>
                  <a:pt x="9" y="0"/>
                  <a:pt x="6" y="0"/>
                </a:cubicBezTo>
                <a:cubicBezTo>
                  <a:pt x="5" y="0"/>
                  <a:pt x="3" y="1"/>
                  <a:pt x="2" y="1"/>
                </a:cubicBezTo>
                <a:cubicBezTo>
                  <a:pt x="0" y="1"/>
                  <a:pt x="0" y="1"/>
                  <a:pt x="1" y="3"/>
                </a:cubicBezTo>
                <a:moveTo>
                  <a:pt x="2" y="2"/>
                </a:moveTo>
                <a:cubicBezTo>
                  <a:pt x="5" y="2"/>
                  <a:pt x="8" y="1"/>
                  <a:pt x="10" y="3"/>
                </a:cubicBezTo>
                <a:cubicBezTo>
                  <a:pt x="11" y="4"/>
                  <a:pt x="12" y="5"/>
                  <a:pt x="13" y="6"/>
                </a:cubicBezTo>
                <a:cubicBezTo>
                  <a:pt x="13" y="7"/>
                  <a:pt x="13" y="7"/>
                  <a:pt x="13" y="7"/>
                </a:cubicBezTo>
                <a:cubicBezTo>
                  <a:pt x="10" y="7"/>
                  <a:pt x="7" y="7"/>
                  <a:pt x="4" y="5"/>
                </a:cubicBezTo>
                <a:cubicBezTo>
                  <a:pt x="3" y="5"/>
                  <a:pt x="2" y="4"/>
                  <a:pt x="2" y="3"/>
                </a:cubicBezTo>
                <a:cubicBezTo>
                  <a:pt x="2" y="3"/>
                  <a:pt x="2" y="2"/>
                  <a:pt x="2"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3" name="Freeform 4744"/>
          <p:cNvSpPr>
            <a:spLocks noEditPoints="1"/>
          </p:cNvSpPr>
          <p:nvPr/>
        </p:nvSpPr>
        <p:spPr bwMode="auto">
          <a:xfrm>
            <a:off x="6409278" y="2787113"/>
            <a:ext cx="36861" cy="19167"/>
          </a:xfrm>
          <a:custGeom>
            <a:avLst/>
            <a:gdLst>
              <a:gd name="T0" fmla="*/ 1 w 14"/>
              <a:gd name="T1" fmla="*/ 3 h 7"/>
              <a:gd name="T2" fmla="*/ 1 w 14"/>
              <a:gd name="T3" fmla="*/ 4 h 7"/>
              <a:gd name="T4" fmla="*/ 5 w 14"/>
              <a:gd name="T5" fmla="*/ 6 h 7"/>
              <a:gd name="T6" fmla="*/ 13 w 14"/>
              <a:gd name="T7" fmla="*/ 7 h 7"/>
              <a:gd name="T8" fmla="*/ 14 w 14"/>
              <a:gd name="T9" fmla="*/ 7 h 7"/>
              <a:gd name="T10" fmla="*/ 14 w 14"/>
              <a:gd name="T11" fmla="*/ 6 h 7"/>
              <a:gd name="T12" fmla="*/ 11 w 14"/>
              <a:gd name="T13" fmla="*/ 3 h 7"/>
              <a:gd name="T14" fmla="*/ 6 w 14"/>
              <a:gd name="T15" fmla="*/ 0 h 7"/>
              <a:gd name="T16" fmla="*/ 2 w 14"/>
              <a:gd name="T17" fmla="*/ 1 h 7"/>
              <a:gd name="T18" fmla="*/ 1 w 14"/>
              <a:gd name="T19" fmla="*/ 3 h 7"/>
              <a:gd name="T20" fmla="*/ 3 w 14"/>
              <a:gd name="T21" fmla="*/ 2 h 7"/>
              <a:gd name="T22" fmla="*/ 11 w 14"/>
              <a:gd name="T23" fmla="*/ 6 h 7"/>
              <a:gd name="T24" fmla="*/ 4 w 14"/>
              <a:gd name="T25" fmla="*/ 4 h 7"/>
              <a:gd name="T26" fmla="*/ 2 w 14"/>
              <a:gd name="T27" fmla="*/ 3 h 7"/>
              <a:gd name="T28" fmla="*/ 3 w 14"/>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7">
                <a:moveTo>
                  <a:pt x="1" y="3"/>
                </a:moveTo>
                <a:cubicBezTo>
                  <a:pt x="1" y="3"/>
                  <a:pt x="1" y="3"/>
                  <a:pt x="1" y="4"/>
                </a:cubicBezTo>
                <a:cubicBezTo>
                  <a:pt x="2" y="5"/>
                  <a:pt x="4" y="6"/>
                  <a:pt x="5" y="6"/>
                </a:cubicBezTo>
                <a:cubicBezTo>
                  <a:pt x="8" y="7"/>
                  <a:pt x="10" y="7"/>
                  <a:pt x="13" y="7"/>
                </a:cubicBezTo>
                <a:cubicBezTo>
                  <a:pt x="13" y="7"/>
                  <a:pt x="14" y="7"/>
                  <a:pt x="14" y="7"/>
                </a:cubicBezTo>
                <a:cubicBezTo>
                  <a:pt x="14" y="6"/>
                  <a:pt x="14" y="6"/>
                  <a:pt x="14" y="6"/>
                </a:cubicBezTo>
                <a:cubicBezTo>
                  <a:pt x="12" y="5"/>
                  <a:pt x="12" y="4"/>
                  <a:pt x="11" y="3"/>
                </a:cubicBezTo>
                <a:cubicBezTo>
                  <a:pt x="10" y="1"/>
                  <a:pt x="8" y="0"/>
                  <a:pt x="6" y="0"/>
                </a:cubicBezTo>
                <a:cubicBezTo>
                  <a:pt x="5" y="0"/>
                  <a:pt x="3" y="0"/>
                  <a:pt x="2" y="1"/>
                </a:cubicBezTo>
                <a:cubicBezTo>
                  <a:pt x="0" y="1"/>
                  <a:pt x="0" y="1"/>
                  <a:pt x="1" y="3"/>
                </a:cubicBezTo>
                <a:moveTo>
                  <a:pt x="3" y="2"/>
                </a:moveTo>
                <a:cubicBezTo>
                  <a:pt x="8" y="1"/>
                  <a:pt x="9" y="1"/>
                  <a:pt x="11" y="6"/>
                </a:cubicBezTo>
                <a:cubicBezTo>
                  <a:pt x="9" y="6"/>
                  <a:pt x="6" y="6"/>
                  <a:pt x="4" y="4"/>
                </a:cubicBezTo>
                <a:cubicBezTo>
                  <a:pt x="3" y="4"/>
                  <a:pt x="3" y="3"/>
                  <a:pt x="2" y="3"/>
                </a:cubicBezTo>
                <a:cubicBezTo>
                  <a:pt x="2" y="2"/>
                  <a:pt x="2" y="2"/>
                  <a:pt x="3"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4" name="Freeform 4745"/>
          <p:cNvSpPr>
            <a:spLocks noEditPoints="1"/>
          </p:cNvSpPr>
          <p:nvPr/>
        </p:nvSpPr>
        <p:spPr bwMode="auto">
          <a:xfrm>
            <a:off x="6409277" y="2760573"/>
            <a:ext cx="32438" cy="23591"/>
          </a:xfrm>
          <a:custGeom>
            <a:avLst/>
            <a:gdLst>
              <a:gd name="T0" fmla="*/ 2 w 12"/>
              <a:gd name="T1" fmla="*/ 3 h 9"/>
              <a:gd name="T2" fmla="*/ 0 w 12"/>
              <a:gd name="T3" fmla="*/ 8 h 9"/>
              <a:gd name="T4" fmla="*/ 1 w 12"/>
              <a:gd name="T5" fmla="*/ 9 h 9"/>
              <a:gd name="T6" fmla="*/ 6 w 12"/>
              <a:gd name="T7" fmla="*/ 8 h 9"/>
              <a:gd name="T8" fmla="*/ 10 w 12"/>
              <a:gd name="T9" fmla="*/ 5 h 9"/>
              <a:gd name="T10" fmla="*/ 11 w 12"/>
              <a:gd name="T11" fmla="*/ 1 h 9"/>
              <a:gd name="T12" fmla="*/ 12 w 12"/>
              <a:gd name="T13" fmla="*/ 1 h 9"/>
              <a:gd name="T14" fmla="*/ 11 w 12"/>
              <a:gd name="T15" fmla="*/ 0 h 9"/>
              <a:gd name="T16" fmla="*/ 2 w 12"/>
              <a:gd name="T17" fmla="*/ 3 h 9"/>
              <a:gd name="T18" fmla="*/ 2 w 12"/>
              <a:gd name="T19" fmla="*/ 5 h 9"/>
              <a:gd name="T20" fmla="*/ 9 w 12"/>
              <a:gd name="T21" fmla="*/ 2 h 9"/>
              <a:gd name="T22" fmla="*/ 6 w 12"/>
              <a:gd name="T23" fmla="*/ 7 h 9"/>
              <a:gd name="T24" fmla="*/ 3 w 12"/>
              <a:gd name="T25" fmla="*/ 8 h 9"/>
              <a:gd name="T26" fmla="*/ 1 w 12"/>
              <a:gd name="T27" fmla="*/ 8 h 9"/>
              <a:gd name="T28" fmla="*/ 2 w 12"/>
              <a:gd name="T29" fmla="*/ 6 h 9"/>
              <a:gd name="T30" fmla="*/ 2 w 12"/>
              <a:gd name="T31"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9">
                <a:moveTo>
                  <a:pt x="2" y="3"/>
                </a:moveTo>
                <a:cubicBezTo>
                  <a:pt x="1" y="4"/>
                  <a:pt x="0" y="6"/>
                  <a:pt x="0" y="8"/>
                </a:cubicBezTo>
                <a:cubicBezTo>
                  <a:pt x="0" y="9"/>
                  <a:pt x="0" y="9"/>
                  <a:pt x="1" y="9"/>
                </a:cubicBezTo>
                <a:cubicBezTo>
                  <a:pt x="3" y="9"/>
                  <a:pt x="4" y="9"/>
                  <a:pt x="6" y="8"/>
                </a:cubicBezTo>
                <a:cubicBezTo>
                  <a:pt x="7" y="8"/>
                  <a:pt x="9" y="7"/>
                  <a:pt x="10" y="5"/>
                </a:cubicBezTo>
                <a:cubicBezTo>
                  <a:pt x="10" y="4"/>
                  <a:pt x="10" y="2"/>
                  <a:pt x="11" y="1"/>
                </a:cubicBezTo>
                <a:cubicBezTo>
                  <a:pt x="12" y="1"/>
                  <a:pt x="12" y="1"/>
                  <a:pt x="12" y="1"/>
                </a:cubicBezTo>
                <a:cubicBezTo>
                  <a:pt x="11" y="0"/>
                  <a:pt x="11" y="0"/>
                  <a:pt x="11" y="0"/>
                </a:cubicBezTo>
                <a:cubicBezTo>
                  <a:pt x="8" y="1"/>
                  <a:pt x="5" y="2"/>
                  <a:pt x="2" y="3"/>
                </a:cubicBezTo>
                <a:moveTo>
                  <a:pt x="2" y="5"/>
                </a:moveTo>
                <a:cubicBezTo>
                  <a:pt x="4" y="3"/>
                  <a:pt x="7" y="2"/>
                  <a:pt x="9" y="2"/>
                </a:cubicBezTo>
                <a:cubicBezTo>
                  <a:pt x="9" y="4"/>
                  <a:pt x="8" y="6"/>
                  <a:pt x="6" y="7"/>
                </a:cubicBezTo>
                <a:cubicBezTo>
                  <a:pt x="5" y="7"/>
                  <a:pt x="4" y="8"/>
                  <a:pt x="3" y="8"/>
                </a:cubicBezTo>
                <a:cubicBezTo>
                  <a:pt x="2" y="8"/>
                  <a:pt x="2" y="8"/>
                  <a:pt x="1" y="8"/>
                </a:cubicBezTo>
                <a:cubicBezTo>
                  <a:pt x="1" y="7"/>
                  <a:pt x="1" y="7"/>
                  <a:pt x="2" y="6"/>
                </a:cubicBezTo>
                <a:cubicBezTo>
                  <a:pt x="2" y="6"/>
                  <a:pt x="2" y="5"/>
                  <a:pt x="2"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5" name="Freeform 4746"/>
          <p:cNvSpPr>
            <a:spLocks/>
          </p:cNvSpPr>
          <p:nvPr/>
        </p:nvSpPr>
        <p:spPr bwMode="auto">
          <a:xfrm>
            <a:off x="5201708" y="4948645"/>
            <a:ext cx="54554" cy="64876"/>
          </a:xfrm>
          <a:custGeom>
            <a:avLst/>
            <a:gdLst>
              <a:gd name="T0" fmla="*/ 14 w 20"/>
              <a:gd name="T1" fmla="*/ 23 h 24"/>
              <a:gd name="T2" fmla="*/ 20 w 20"/>
              <a:gd name="T3" fmla="*/ 6 h 24"/>
              <a:gd name="T4" fmla="*/ 19 w 20"/>
              <a:gd name="T5" fmla="*/ 5 h 24"/>
              <a:gd name="T6" fmla="*/ 18 w 20"/>
              <a:gd name="T7" fmla="*/ 6 h 24"/>
              <a:gd name="T8" fmla="*/ 13 w 20"/>
              <a:gd name="T9" fmla="*/ 21 h 24"/>
              <a:gd name="T10" fmla="*/ 11 w 20"/>
              <a:gd name="T11" fmla="*/ 21 h 24"/>
              <a:gd name="T12" fmla="*/ 3 w 20"/>
              <a:gd name="T13" fmla="*/ 19 h 24"/>
              <a:gd name="T14" fmla="*/ 2 w 20"/>
              <a:gd name="T15" fmla="*/ 17 h 24"/>
              <a:gd name="T16" fmla="*/ 6 w 20"/>
              <a:gd name="T17" fmla="*/ 2 h 24"/>
              <a:gd name="T18" fmla="*/ 7 w 20"/>
              <a:gd name="T19" fmla="*/ 0 h 24"/>
              <a:gd name="T20" fmla="*/ 5 w 20"/>
              <a:gd name="T21" fmla="*/ 1 h 24"/>
              <a:gd name="T22" fmla="*/ 0 w 20"/>
              <a:gd name="T23" fmla="*/ 18 h 24"/>
              <a:gd name="T24" fmla="*/ 2 w 20"/>
              <a:gd name="T25" fmla="*/ 20 h 24"/>
              <a:gd name="T26" fmla="*/ 11 w 20"/>
              <a:gd name="T27" fmla="*/ 23 h 24"/>
              <a:gd name="T28" fmla="*/ 14 w 20"/>
              <a:gd name="T2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23"/>
                </a:moveTo>
                <a:cubicBezTo>
                  <a:pt x="18" y="18"/>
                  <a:pt x="20" y="13"/>
                  <a:pt x="20" y="6"/>
                </a:cubicBezTo>
                <a:cubicBezTo>
                  <a:pt x="20" y="6"/>
                  <a:pt x="20" y="4"/>
                  <a:pt x="19" y="5"/>
                </a:cubicBezTo>
                <a:cubicBezTo>
                  <a:pt x="18" y="5"/>
                  <a:pt x="18" y="5"/>
                  <a:pt x="18" y="6"/>
                </a:cubicBezTo>
                <a:cubicBezTo>
                  <a:pt x="18" y="12"/>
                  <a:pt x="16" y="16"/>
                  <a:pt x="13" y="21"/>
                </a:cubicBezTo>
                <a:cubicBezTo>
                  <a:pt x="13" y="21"/>
                  <a:pt x="12" y="22"/>
                  <a:pt x="11" y="21"/>
                </a:cubicBezTo>
                <a:cubicBezTo>
                  <a:pt x="8" y="20"/>
                  <a:pt x="6" y="20"/>
                  <a:pt x="3" y="19"/>
                </a:cubicBezTo>
                <a:cubicBezTo>
                  <a:pt x="2" y="19"/>
                  <a:pt x="2" y="18"/>
                  <a:pt x="2" y="17"/>
                </a:cubicBezTo>
                <a:cubicBezTo>
                  <a:pt x="2" y="12"/>
                  <a:pt x="4" y="7"/>
                  <a:pt x="6" y="2"/>
                </a:cubicBezTo>
                <a:cubicBezTo>
                  <a:pt x="7" y="2"/>
                  <a:pt x="8" y="1"/>
                  <a:pt x="7" y="0"/>
                </a:cubicBezTo>
                <a:cubicBezTo>
                  <a:pt x="6" y="0"/>
                  <a:pt x="5" y="1"/>
                  <a:pt x="5" y="1"/>
                </a:cubicBezTo>
                <a:cubicBezTo>
                  <a:pt x="2" y="6"/>
                  <a:pt x="0" y="12"/>
                  <a:pt x="0" y="18"/>
                </a:cubicBezTo>
                <a:cubicBezTo>
                  <a:pt x="0" y="19"/>
                  <a:pt x="1" y="20"/>
                  <a:pt x="2" y="20"/>
                </a:cubicBezTo>
                <a:cubicBezTo>
                  <a:pt x="5" y="21"/>
                  <a:pt x="8" y="22"/>
                  <a:pt x="11" y="23"/>
                </a:cubicBezTo>
                <a:cubicBezTo>
                  <a:pt x="12" y="24"/>
                  <a:pt x="13" y="24"/>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6" name="Freeform 4747"/>
          <p:cNvSpPr>
            <a:spLocks/>
          </p:cNvSpPr>
          <p:nvPr/>
        </p:nvSpPr>
        <p:spPr bwMode="auto">
          <a:xfrm>
            <a:off x="5185490" y="5003200"/>
            <a:ext cx="54554" cy="64876"/>
          </a:xfrm>
          <a:custGeom>
            <a:avLst/>
            <a:gdLst>
              <a:gd name="T0" fmla="*/ 13 w 20"/>
              <a:gd name="T1" fmla="*/ 24 h 24"/>
              <a:gd name="T2" fmla="*/ 20 w 20"/>
              <a:gd name="T3" fmla="*/ 7 h 24"/>
              <a:gd name="T4" fmla="*/ 19 w 20"/>
              <a:gd name="T5" fmla="*/ 5 h 24"/>
              <a:gd name="T6" fmla="*/ 18 w 20"/>
              <a:gd name="T7" fmla="*/ 7 h 24"/>
              <a:gd name="T8" fmla="*/ 13 w 20"/>
              <a:gd name="T9" fmla="*/ 21 h 24"/>
              <a:gd name="T10" fmla="*/ 11 w 20"/>
              <a:gd name="T11" fmla="*/ 22 h 24"/>
              <a:gd name="T12" fmla="*/ 3 w 20"/>
              <a:gd name="T13" fmla="*/ 19 h 24"/>
              <a:gd name="T14" fmla="*/ 2 w 20"/>
              <a:gd name="T15" fmla="*/ 17 h 24"/>
              <a:gd name="T16" fmla="*/ 6 w 20"/>
              <a:gd name="T17" fmla="*/ 3 h 24"/>
              <a:gd name="T18" fmla="*/ 7 w 20"/>
              <a:gd name="T19" fmla="*/ 1 h 24"/>
              <a:gd name="T20" fmla="*/ 5 w 20"/>
              <a:gd name="T21" fmla="*/ 2 h 24"/>
              <a:gd name="T22" fmla="*/ 0 w 20"/>
              <a:gd name="T23" fmla="*/ 18 h 24"/>
              <a:gd name="T24" fmla="*/ 2 w 20"/>
              <a:gd name="T25" fmla="*/ 21 h 24"/>
              <a:gd name="T26" fmla="*/ 11 w 20"/>
              <a:gd name="T27" fmla="*/ 24 h 24"/>
              <a:gd name="T28" fmla="*/ 13 w 20"/>
              <a:gd name="T2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3" y="24"/>
                </a:moveTo>
                <a:cubicBezTo>
                  <a:pt x="17" y="19"/>
                  <a:pt x="20" y="13"/>
                  <a:pt x="20" y="7"/>
                </a:cubicBezTo>
                <a:cubicBezTo>
                  <a:pt x="20" y="6"/>
                  <a:pt x="20" y="5"/>
                  <a:pt x="19" y="5"/>
                </a:cubicBezTo>
                <a:cubicBezTo>
                  <a:pt x="18" y="5"/>
                  <a:pt x="18" y="6"/>
                  <a:pt x="18" y="7"/>
                </a:cubicBezTo>
                <a:cubicBezTo>
                  <a:pt x="18" y="12"/>
                  <a:pt x="16" y="17"/>
                  <a:pt x="13" y="21"/>
                </a:cubicBezTo>
                <a:cubicBezTo>
                  <a:pt x="13" y="22"/>
                  <a:pt x="12" y="22"/>
                  <a:pt x="11" y="22"/>
                </a:cubicBezTo>
                <a:cubicBezTo>
                  <a:pt x="8" y="21"/>
                  <a:pt x="6" y="20"/>
                  <a:pt x="3" y="19"/>
                </a:cubicBezTo>
                <a:cubicBezTo>
                  <a:pt x="2" y="19"/>
                  <a:pt x="2" y="19"/>
                  <a:pt x="2" y="17"/>
                </a:cubicBezTo>
                <a:cubicBezTo>
                  <a:pt x="2" y="12"/>
                  <a:pt x="4" y="7"/>
                  <a:pt x="6" y="3"/>
                </a:cubicBezTo>
                <a:cubicBezTo>
                  <a:pt x="7" y="2"/>
                  <a:pt x="7" y="2"/>
                  <a:pt x="7" y="1"/>
                </a:cubicBezTo>
                <a:cubicBezTo>
                  <a:pt x="6" y="0"/>
                  <a:pt x="5" y="1"/>
                  <a:pt x="5" y="2"/>
                </a:cubicBezTo>
                <a:cubicBezTo>
                  <a:pt x="2" y="7"/>
                  <a:pt x="0" y="12"/>
                  <a:pt x="0" y="18"/>
                </a:cubicBezTo>
                <a:cubicBezTo>
                  <a:pt x="0" y="20"/>
                  <a:pt x="1" y="21"/>
                  <a:pt x="2" y="21"/>
                </a:cubicBezTo>
                <a:cubicBezTo>
                  <a:pt x="5" y="22"/>
                  <a:pt x="8" y="23"/>
                  <a:pt x="11" y="24"/>
                </a:cubicBezTo>
                <a:cubicBezTo>
                  <a:pt x="12" y="24"/>
                  <a:pt x="13" y="24"/>
                  <a:pt x="13"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7" name="Freeform 4748"/>
          <p:cNvSpPr>
            <a:spLocks/>
          </p:cNvSpPr>
          <p:nvPr/>
        </p:nvSpPr>
        <p:spPr bwMode="auto">
          <a:xfrm>
            <a:off x="5169271" y="5060703"/>
            <a:ext cx="54554" cy="64876"/>
          </a:xfrm>
          <a:custGeom>
            <a:avLst/>
            <a:gdLst>
              <a:gd name="T0" fmla="*/ 13 w 20"/>
              <a:gd name="T1" fmla="*/ 23 h 24"/>
              <a:gd name="T2" fmla="*/ 19 w 20"/>
              <a:gd name="T3" fmla="*/ 7 h 24"/>
              <a:gd name="T4" fmla="*/ 19 w 20"/>
              <a:gd name="T5" fmla="*/ 5 h 24"/>
              <a:gd name="T6" fmla="*/ 18 w 20"/>
              <a:gd name="T7" fmla="*/ 7 h 24"/>
              <a:gd name="T8" fmla="*/ 13 w 20"/>
              <a:gd name="T9" fmla="*/ 21 h 24"/>
              <a:gd name="T10" fmla="*/ 10 w 20"/>
              <a:gd name="T11" fmla="*/ 22 h 24"/>
              <a:gd name="T12" fmla="*/ 4 w 20"/>
              <a:gd name="T13" fmla="*/ 20 h 24"/>
              <a:gd name="T14" fmla="*/ 1 w 20"/>
              <a:gd name="T15" fmla="*/ 16 h 24"/>
              <a:gd name="T16" fmla="*/ 6 w 20"/>
              <a:gd name="T17" fmla="*/ 3 h 24"/>
              <a:gd name="T18" fmla="*/ 6 w 20"/>
              <a:gd name="T19" fmla="*/ 1 h 24"/>
              <a:gd name="T20" fmla="*/ 4 w 20"/>
              <a:gd name="T21" fmla="*/ 2 h 24"/>
              <a:gd name="T22" fmla="*/ 0 w 20"/>
              <a:gd name="T23" fmla="*/ 17 h 24"/>
              <a:gd name="T24" fmla="*/ 2 w 20"/>
              <a:gd name="T25" fmla="*/ 21 h 24"/>
              <a:gd name="T26" fmla="*/ 11 w 20"/>
              <a:gd name="T27" fmla="*/ 24 h 24"/>
              <a:gd name="T28" fmla="*/ 13 w 20"/>
              <a:gd name="T29"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3" y="23"/>
                </a:moveTo>
                <a:cubicBezTo>
                  <a:pt x="17" y="18"/>
                  <a:pt x="19" y="13"/>
                  <a:pt x="19" y="7"/>
                </a:cubicBezTo>
                <a:cubicBezTo>
                  <a:pt x="19" y="6"/>
                  <a:pt x="20" y="5"/>
                  <a:pt x="19" y="5"/>
                </a:cubicBezTo>
                <a:cubicBezTo>
                  <a:pt x="18" y="5"/>
                  <a:pt x="18" y="6"/>
                  <a:pt x="18" y="7"/>
                </a:cubicBezTo>
                <a:cubicBezTo>
                  <a:pt x="18" y="12"/>
                  <a:pt x="16" y="17"/>
                  <a:pt x="13" y="21"/>
                </a:cubicBezTo>
                <a:cubicBezTo>
                  <a:pt x="12" y="22"/>
                  <a:pt x="11" y="22"/>
                  <a:pt x="10" y="22"/>
                </a:cubicBezTo>
                <a:cubicBezTo>
                  <a:pt x="8" y="21"/>
                  <a:pt x="6" y="20"/>
                  <a:pt x="4" y="20"/>
                </a:cubicBezTo>
                <a:cubicBezTo>
                  <a:pt x="2" y="19"/>
                  <a:pt x="1" y="18"/>
                  <a:pt x="1" y="16"/>
                </a:cubicBezTo>
                <a:cubicBezTo>
                  <a:pt x="2" y="11"/>
                  <a:pt x="3" y="7"/>
                  <a:pt x="6" y="3"/>
                </a:cubicBezTo>
                <a:cubicBezTo>
                  <a:pt x="6" y="2"/>
                  <a:pt x="7" y="1"/>
                  <a:pt x="6" y="1"/>
                </a:cubicBezTo>
                <a:cubicBezTo>
                  <a:pt x="5" y="0"/>
                  <a:pt x="5" y="1"/>
                  <a:pt x="4" y="2"/>
                </a:cubicBezTo>
                <a:cubicBezTo>
                  <a:pt x="1" y="7"/>
                  <a:pt x="0" y="12"/>
                  <a:pt x="0" y="17"/>
                </a:cubicBezTo>
                <a:cubicBezTo>
                  <a:pt x="0" y="19"/>
                  <a:pt x="0" y="20"/>
                  <a:pt x="2" y="21"/>
                </a:cubicBezTo>
                <a:cubicBezTo>
                  <a:pt x="5" y="22"/>
                  <a:pt x="8" y="23"/>
                  <a:pt x="11" y="24"/>
                </a:cubicBezTo>
                <a:cubicBezTo>
                  <a:pt x="12" y="24"/>
                  <a:pt x="12" y="24"/>
                  <a:pt x="13"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8" name="Freeform 4749"/>
          <p:cNvSpPr>
            <a:spLocks/>
          </p:cNvSpPr>
          <p:nvPr/>
        </p:nvSpPr>
        <p:spPr bwMode="auto">
          <a:xfrm>
            <a:off x="5217928" y="4901464"/>
            <a:ext cx="54554" cy="54554"/>
          </a:xfrm>
          <a:custGeom>
            <a:avLst/>
            <a:gdLst>
              <a:gd name="T0" fmla="*/ 14 w 20"/>
              <a:gd name="T1" fmla="*/ 19 h 20"/>
              <a:gd name="T2" fmla="*/ 20 w 20"/>
              <a:gd name="T3" fmla="*/ 3 h 20"/>
              <a:gd name="T4" fmla="*/ 20 w 20"/>
              <a:gd name="T5" fmla="*/ 2 h 20"/>
              <a:gd name="T6" fmla="*/ 19 w 20"/>
              <a:gd name="T7" fmla="*/ 0 h 20"/>
              <a:gd name="T8" fmla="*/ 19 w 20"/>
              <a:gd name="T9" fmla="*/ 2 h 20"/>
              <a:gd name="T10" fmla="*/ 15 w 20"/>
              <a:gd name="T11" fmla="*/ 15 h 20"/>
              <a:gd name="T12" fmla="*/ 9 w 20"/>
              <a:gd name="T13" fmla="*/ 17 h 20"/>
              <a:gd name="T14" fmla="*/ 6 w 20"/>
              <a:gd name="T15" fmla="*/ 16 h 20"/>
              <a:gd name="T16" fmla="*/ 3 w 20"/>
              <a:gd name="T17" fmla="*/ 10 h 20"/>
              <a:gd name="T18" fmla="*/ 3 w 20"/>
              <a:gd name="T19" fmla="*/ 7 h 20"/>
              <a:gd name="T20" fmla="*/ 3 w 20"/>
              <a:gd name="T21" fmla="*/ 5 h 20"/>
              <a:gd name="T22" fmla="*/ 2 w 20"/>
              <a:gd name="T23" fmla="*/ 6 h 20"/>
              <a:gd name="T24" fmla="*/ 1 w 20"/>
              <a:gd name="T25" fmla="*/ 15 h 20"/>
              <a:gd name="T26" fmla="*/ 2 w 20"/>
              <a:gd name="T27" fmla="*/ 16 h 20"/>
              <a:gd name="T28" fmla="*/ 12 w 20"/>
              <a:gd name="T29" fmla="*/ 19 h 20"/>
              <a:gd name="T30" fmla="*/ 14 w 20"/>
              <a:gd name="T31"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0">
                <a:moveTo>
                  <a:pt x="14" y="19"/>
                </a:moveTo>
                <a:cubicBezTo>
                  <a:pt x="18" y="14"/>
                  <a:pt x="20" y="9"/>
                  <a:pt x="20" y="3"/>
                </a:cubicBezTo>
                <a:cubicBezTo>
                  <a:pt x="20" y="3"/>
                  <a:pt x="20" y="2"/>
                  <a:pt x="20" y="2"/>
                </a:cubicBezTo>
                <a:cubicBezTo>
                  <a:pt x="20" y="1"/>
                  <a:pt x="20" y="0"/>
                  <a:pt x="19" y="0"/>
                </a:cubicBezTo>
                <a:cubicBezTo>
                  <a:pt x="18" y="0"/>
                  <a:pt x="19" y="1"/>
                  <a:pt x="19" y="2"/>
                </a:cubicBezTo>
                <a:cubicBezTo>
                  <a:pt x="19" y="7"/>
                  <a:pt x="17" y="11"/>
                  <a:pt x="15" y="15"/>
                </a:cubicBezTo>
                <a:cubicBezTo>
                  <a:pt x="13" y="18"/>
                  <a:pt x="13" y="18"/>
                  <a:pt x="9" y="17"/>
                </a:cubicBezTo>
                <a:cubicBezTo>
                  <a:pt x="8" y="16"/>
                  <a:pt x="7" y="16"/>
                  <a:pt x="6" y="16"/>
                </a:cubicBezTo>
                <a:cubicBezTo>
                  <a:pt x="2" y="14"/>
                  <a:pt x="2" y="14"/>
                  <a:pt x="3" y="10"/>
                </a:cubicBezTo>
                <a:cubicBezTo>
                  <a:pt x="3" y="9"/>
                  <a:pt x="3" y="8"/>
                  <a:pt x="3" y="7"/>
                </a:cubicBezTo>
                <a:cubicBezTo>
                  <a:pt x="3" y="6"/>
                  <a:pt x="3" y="5"/>
                  <a:pt x="3" y="5"/>
                </a:cubicBezTo>
                <a:cubicBezTo>
                  <a:pt x="2" y="5"/>
                  <a:pt x="2" y="6"/>
                  <a:pt x="2" y="6"/>
                </a:cubicBezTo>
                <a:cubicBezTo>
                  <a:pt x="1" y="9"/>
                  <a:pt x="0" y="12"/>
                  <a:pt x="1" y="15"/>
                </a:cubicBezTo>
                <a:cubicBezTo>
                  <a:pt x="1" y="16"/>
                  <a:pt x="2" y="16"/>
                  <a:pt x="2" y="16"/>
                </a:cubicBezTo>
                <a:cubicBezTo>
                  <a:pt x="5" y="17"/>
                  <a:pt x="9" y="18"/>
                  <a:pt x="12" y="19"/>
                </a:cubicBezTo>
                <a:cubicBezTo>
                  <a:pt x="13" y="20"/>
                  <a:pt x="13" y="19"/>
                  <a:pt x="14"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29" name="Freeform 4750"/>
          <p:cNvSpPr>
            <a:spLocks noEditPoints="1"/>
          </p:cNvSpPr>
          <p:nvPr/>
        </p:nvSpPr>
        <p:spPr bwMode="auto">
          <a:xfrm>
            <a:off x="5144206" y="5131477"/>
            <a:ext cx="44233" cy="117955"/>
          </a:xfrm>
          <a:custGeom>
            <a:avLst/>
            <a:gdLst>
              <a:gd name="T0" fmla="*/ 3 w 16"/>
              <a:gd name="T1" fmla="*/ 42 h 43"/>
              <a:gd name="T2" fmla="*/ 4 w 16"/>
              <a:gd name="T3" fmla="*/ 41 h 43"/>
              <a:gd name="T4" fmla="*/ 15 w 16"/>
              <a:gd name="T5" fmla="*/ 15 h 43"/>
              <a:gd name="T6" fmla="*/ 15 w 16"/>
              <a:gd name="T7" fmla="*/ 1 h 43"/>
              <a:gd name="T8" fmla="*/ 14 w 16"/>
              <a:gd name="T9" fmla="*/ 0 h 43"/>
              <a:gd name="T10" fmla="*/ 13 w 16"/>
              <a:gd name="T11" fmla="*/ 0 h 43"/>
              <a:gd name="T12" fmla="*/ 0 w 16"/>
              <a:gd name="T13" fmla="*/ 36 h 43"/>
              <a:gd name="T14" fmla="*/ 0 w 16"/>
              <a:gd name="T15" fmla="*/ 41 h 43"/>
              <a:gd name="T16" fmla="*/ 1 w 16"/>
              <a:gd name="T17" fmla="*/ 43 h 43"/>
              <a:gd name="T18" fmla="*/ 3 w 16"/>
              <a:gd name="T19" fmla="*/ 42 h 43"/>
              <a:gd name="T20" fmla="*/ 2 w 16"/>
              <a:gd name="T21" fmla="*/ 40 h 43"/>
              <a:gd name="T22" fmla="*/ 13 w 16"/>
              <a:gd name="T23" fmla="*/ 4 h 43"/>
              <a:gd name="T24" fmla="*/ 2 w 16"/>
              <a:gd name="T25"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3" y="42"/>
                </a:moveTo>
                <a:cubicBezTo>
                  <a:pt x="3" y="42"/>
                  <a:pt x="3" y="42"/>
                  <a:pt x="4" y="41"/>
                </a:cubicBezTo>
                <a:cubicBezTo>
                  <a:pt x="10" y="34"/>
                  <a:pt x="14" y="25"/>
                  <a:pt x="15" y="15"/>
                </a:cubicBezTo>
                <a:cubicBezTo>
                  <a:pt x="15" y="10"/>
                  <a:pt x="16" y="6"/>
                  <a:pt x="15" y="1"/>
                </a:cubicBezTo>
                <a:cubicBezTo>
                  <a:pt x="15" y="1"/>
                  <a:pt x="15" y="0"/>
                  <a:pt x="14" y="0"/>
                </a:cubicBezTo>
                <a:cubicBezTo>
                  <a:pt x="14" y="0"/>
                  <a:pt x="13" y="0"/>
                  <a:pt x="13" y="0"/>
                </a:cubicBezTo>
                <a:cubicBezTo>
                  <a:pt x="6" y="11"/>
                  <a:pt x="0" y="22"/>
                  <a:pt x="0" y="36"/>
                </a:cubicBezTo>
                <a:cubicBezTo>
                  <a:pt x="0" y="37"/>
                  <a:pt x="0" y="39"/>
                  <a:pt x="0" y="41"/>
                </a:cubicBezTo>
                <a:cubicBezTo>
                  <a:pt x="0" y="42"/>
                  <a:pt x="0" y="43"/>
                  <a:pt x="1" y="43"/>
                </a:cubicBezTo>
                <a:cubicBezTo>
                  <a:pt x="2" y="43"/>
                  <a:pt x="2" y="42"/>
                  <a:pt x="3" y="42"/>
                </a:cubicBezTo>
                <a:moveTo>
                  <a:pt x="2" y="40"/>
                </a:moveTo>
                <a:cubicBezTo>
                  <a:pt x="1" y="26"/>
                  <a:pt x="7" y="15"/>
                  <a:pt x="13" y="4"/>
                </a:cubicBezTo>
                <a:cubicBezTo>
                  <a:pt x="16" y="11"/>
                  <a:pt x="10" y="33"/>
                  <a:pt x="2" y="4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0" name="Freeform 4751"/>
          <p:cNvSpPr>
            <a:spLocks noEditPoints="1"/>
          </p:cNvSpPr>
          <p:nvPr/>
        </p:nvSpPr>
        <p:spPr bwMode="auto">
          <a:xfrm>
            <a:off x="5073433" y="5122631"/>
            <a:ext cx="100262" cy="69299"/>
          </a:xfrm>
          <a:custGeom>
            <a:avLst/>
            <a:gdLst>
              <a:gd name="T0" fmla="*/ 35 w 37"/>
              <a:gd name="T1" fmla="*/ 3 h 25"/>
              <a:gd name="T2" fmla="*/ 36 w 37"/>
              <a:gd name="T3" fmla="*/ 1 h 25"/>
              <a:gd name="T4" fmla="*/ 34 w 37"/>
              <a:gd name="T5" fmla="*/ 1 h 25"/>
              <a:gd name="T6" fmla="*/ 6 w 37"/>
              <a:gd name="T7" fmla="*/ 17 h 25"/>
              <a:gd name="T8" fmla="*/ 1 w 37"/>
              <a:gd name="T9" fmla="*/ 23 h 25"/>
              <a:gd name="T10" fmla="*/ 0 w 37"/>
              <a:gd name="T11" fmla="*/ 25 h 25"/>
              <a:gd name="T12" fmla="*/ 2 w 37"/>
              <a:gd name="T13" fmla="*/ 25 h 25"/>
              <a:gd name="T14" fmla="*/ 18 w 37"/>
              <a:gd name="T15" fmla="*/ 19 h 25"/>
              <a:gd name="T16" fmla="*/ 35 w 37"/>
              <a:gd name="T17" fmla="*/ 3 h 25"/>
              <a:gd name="T18" fmla="*/ 3 w 37"/>
              <a:gd name="T19" fmla="*/ 23 h 25"/>
              <a:gd name="T20" fmla="*/ 33 w 37"/>
              <a:gd name="T21" fmla="*/ 3 h 25"/>
              <a:gd name="T22" fmla="*/ 3 w 37"/>
              <a:gd name="T2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5">
                <a:moveTo>
                  <a:pt x="35" y="3"/>
                </a:moveTo>
                <a:cubicBezTo>
                  <a:pt x="36" y="2"/>
                  <a:pt x="37" y="2"/>
                  <a:pt x="36" y="1"/>
                </a:cubicBezTo>
                <a:cubicBezTo>
                  <a:pt x="36" y="0"/>
                  <a:pt x="35" y="0"/>
                  <a:pt x="34" y="1"/>
                </a:cubicBezTo>
                <a:cubicBezTo>
                  <a:pt x="23" y="3"/>
                  <a:pt x="15" y="8"/>
                  <a:pt x="6" y="17"/>
                </a:cubicBezTo>
                <a:cubicBezTo>
                  <a:pt x="5" y="18"/>
                  <a:pt x="3" y="20"/>
                  <a:pt x="1" y="23"/>
                </a:cubicBezTo>
                <a:cubicBezTo>
                  <a:pt x="0" y="23"/>
                  <a:pt x="0" y="24"/>
                  <a:pt x="0" y="25"/>
                </a:cubicBezTo>
                <a:cubicBezTo>
                  <a:pt x="1" y="25"/>
                  <a:pt x="2" y="25"/>
                  <a:pt x="2" y="25"/>
                </a:cubicBezTo>
                <a:cubicBezTo>
                  <a:pt x="8" y="24"/>
                  <a:pt x="13" y="22"/>
                  <a:pt x="18" y="19"/>
                </a:cubicBezTo>
                <a:cubicBezTo>
                  <a:pt x="25" y="14"/>
                  <a:pt x="30" y="9"/>
                  <a:pt x="35" y="3"/>
                </a:cubicBezTo>
                <a:moveTo>
                  <a:pt x="3" y="23"/>
                </a:moveTo>
                <a:cubicBezTo>
                  <a:pt x="7" y="15"/>
                  <a:pt x="26" y="3"/>
                  <a:pt x="33" y="3"/>
                </a:cubicBezTo>
                <a:cubicBezTo>
                  <a:pt x="24" y="12"/>
                  <a:pt x="16" y="21"/>
                  <a:pt x="3"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1" name="Freeform 4752"/>
          <p:cNvSpPr>
            <a:spLocks noEditPoints="1"/>
          </p:cNvSpPr>
          <p:nvPr/>
        </p:nvSpPr>
        <p:spPr bwMode="auto">
          <a:xfrm>
            <a:off x="5192861" y="5131477"/>
            <a:ext cx="73722" cy="76671"/>
          </a:xfrm>
          <a:custGeom>
            <a:avLst/>
            <a:gdLst>
              <a:gd name="T0" fmla="*/ 27 w 27"/>
              <a:gd name="T1" fmla="*/ 16 h 28"/>
              <a:gd name="T2" fmla="*/ 25 w 27"/>
              <a:gd name="T3" fmla="*/ 15 h 28"/>
              <a:gd name="T4" fmla="*/ 14 w 27"/>
              <a:gd name="T5" fmla="*/ 19 h 28"/>
              <a:gd name="T6" fmla="*/ 5 w 27"/>
              <a:gd name="T7" fmla="*/ 3 h 28"/>
              <a:gd name="T8" fmla="*/ 2 w 27"/>
              <a:gd name="T9" fmla="*/ 1 h 28"/>
              <a:gd name="T10" fmla="*/ 1 w 27"/>
              <a:gd name="T11" fmla="*/ 5 h 28"/>
              <a:gd name="T12" fmla="*/ 7 w 27"/>
              <a:gd name="T13" fmla="*/ 25 h 28"/>
              <a:gd name="T14" fmla="*/ 16 w 27"/>
              <a:gd name="T15" fmla="*/ 27 h 28"/>
              <a:gd name="T16" fmla="*/ 26 w 27"/>
              <a:gd name="T17" fmla="*/ 18 h 28"/>
              <a:gd name="T18" fmla="*/ 27 w 27"/>
              <a:gd name="T19" fmla="*/ 16 h 28"/>
              <a:gd name="T20" fmla="*/ 24 w 27"/>
              <a:gd name="T21" fmla="*/ 17 h 28"/>
              <a:gd name="T22" fmla="*/ 15 w 27"/>
              <a:gd name="T23" fmla="*/ 25 h 28"/>
              <a:gd name="T24" fmla="*/ 9 w 27"/>
              <a:gd name="T25" fmla="*/ 24 h 28"/>
              <a:gd name="T26" fmla="*/ 4 w 27"/>
              <a:gd name="T27" fmla="*/ 9 h 28"/>
              <a:gd name="T28" fmla="*/ 4 w 27"/>
              <a:gd name="T29" fmla="*/ 5 h 28"/>
              <a:gd name="T30" fmla="*/ 12 w 27"/>
              <a:gd name="T31" fmla="*/ 19 h 28"/>
              <a:gd name="T32" fmla="*/ 16 w 27"/>
              <a:gd name="T33" fmla="*/ 20 h 28"/>
              <a:gd name="T34" fmla="*/ 24 w 27"/>
              <a:gd name="T35"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8">
                <a:moveTo>
                  <a:pt x="27" y="16"/>
                </a:moveTo>
                <a:cubicBezTo>
                  <a:pt x="27" y="15"/>
                  <a:pt x="26" y="15"/>
                  <a:pt x="25" y="15"/>
                </a:cubicBezTo>
                <a:cubicBezTo>
                  <a:pt x="21" y="15"/>
                  <a:pt x="17" y="17"/>
                  <a:pt x="14" y="19"/>
                </a:cubicBezTo>
                <a:cubicBezTo>
                  <a:pt x="11" y="14"/>
                  <a:pt x="8" y="8"/>
                  <a:pt x="5" y="3"/>
                </a:cubicBezTo>
                <a:cubicBezTo>
                  <a:pt x="4" y="2"/>
                  <a:pt x="3" y="0"/>
                  <a:pt x="2" y="1"/>
                </a:cubicBezTo>
                <a:cubicBezTo>
                  <a:pt x="0" y="2"/>
                  <a:pt x="1" y="3"/>
                  <a:pt x="1" y="5"/>
                </a:cubicBezTo>
                <a:cubicBezTo>
                  <a:pt x="2" y="12"/>
                  <a:pt x="4" y="19"/>
                  <a:pt x="7" y="25"/>
                </a:cubicBezTo>
                <a:cubicBezTo>
                  <a:pt x="9" y="27"/>
                  <a:pt x="14" y="28"/>
                  <a:pt x="16" y="27"/>
                </a:cubicBezTo>
                <a:cubicBezTo>
                  <a:pt x="20" y="24"/>
                  <a:pt x="23" y="21"/>
                  <a:pt x="26" y="18"/>
                </a:cubicBezTo>
                <a:cubicBezTo>
                  <a:pt x="26" y="17"/>
                  <a:pt x="27" y="17"/>
                  <a:pt x="27" y="16"/>
                </a:cubicBezTo>
                <a:moveTo>
                  <a:pt x="24" y="17"/>
                </a:moveTo>
                <a:cubicBezTo>
                  <a:pt x="21" y="20"/>
                  <a:pt x="18" y="23"/>
                  <a:pt x="15" y="25"/>
                </a:cubicBezTo>
                <a:cubicBezTo>
                  <a:pt x="14" y="27"/>
                  <a:pt x="10" y="25"/>
                  <a:pt x="9" y="24"/>
                </a:cubicBezTo>
                <a:cubicBezTo>
                  <a:pt x="6" y="19"/>
                  <a:pt x="5" y="14"/>
                  <a:pt x="4" y="9"/>
                </a:cubicBezTo>
                <a:cubicBezTo>
                  <a:pt x="4" y="7"/>
                  <a:pt x="3" y="6"/>
                  <a:pt x="4" y="5"/>
                </a:cubicBezTo>
                <a:cubicBezTo>
                  <a:pt x="7" y="9"/>
                  <a:pt x="9" y="14"/>
                  <a:pt x="12" y="19"/>
                </a:cubicBezTo>
                <a:cubicBezTo>
                  <a:pt x="13" y="22"/>
                  <a:pt x="13" y="22"/>
                  <a:pt x="16" y="20"/>
                </a:cubicBezTo>
                <a:cubicBezTo>
                  <a:pt x="18" y="18"/>
                  <a:pt x="21" y="17"/>
                  <a:pt x="24"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4" name="Freeform 4755"/>
          <p:cNvSpPr>
            <a:spLocks noEditPoints="1"/>
          </p:cNvSpPr>
          <p:nvPr/>
        </p:nvSpPr>
        <p:spPr bwMode="auto">
          <a:xfrm>
            <a:off x="6009703" y="4475350"/>
            <a:ext cx="213794" cy="95839"/>
          </a:xfrm>
          <a:custGeom>
            <a:avLst/>
            <a:gdLst>
              <a:gd name="T0" fmla="*/ 72 w 78"/>
              <a:gd name="T1" fmla="*/ 32 h 35"/>
              <a:gd name="T2" fmla="*/ 65 w 78"/>
              <a:gd name="T3" fmla="*/ 34 h 35"/>
              <a:gd name="T4" fmla="*/ 55 w 78"/>
              <a:gd name="T5" fmla="*/ 33 h 35"/>
              <a:gd name="T6" fmla="*/ 52 w 78"/>
              <a:gd name="T7" fmla="*/ 31 h 35"/>
              <a:gd name="T8" fmla="*/ 64 w 78"/>
              <a:gd name="T9" fmla="*/ 33 h 35"/>
              <a:gd name="T10" fmla="*/ 71 w 78"/>
              <a:gd name="T11" fmla="*/ 31 h 35"/>
              <a:gd name="T12" fmla="*/ 75 w 78"/>
              <a:gd name="T13" fmla="*/ 28 h 35"/>
              <a:gd name="T14" fmla="*/ 72 w 78"/>
              <a:gd name="T15" fmla="*/ 32 h 35"/>
              <a:gd name="T16" fmla="*/ 52 w 78"/>
              <a:gd name="T17" fmla="*/ 17 h 35"/>
              <a:gd name="T18" fmla="*/ 61 w 78"/>
              <a:gd name="T19" fmla="*/ 16 h 35"/>
              <a:gd name="T20" fmla="*/ 72 w 78"/>
              <a:gd name="T21" fmla="*/ 20 h 35"/>
              <a:gd name="T22" fmla="*/ 76 w 78"/>
              <a:gd name="T23" fmla="*/ 25 h 35"/>
              <a:gd name="T24" fmla="*/ 72 w 78"/>
              <a:gd name="T25" fmla="*/ 22 h 35"/>
              <a:gd name="T26" fmla="*/ 66 w 78"/>
              <a:gd name="T27" fmla="*/ 20 h 35"/>
              <a:gd name="T28" fmla="*/ 61 w 78"/>
              <a:gd name="T29" fmla="*/ 18 h 35"/>
              <a:gd name="T30" fmla="*/ 51 w 78"/>
              <a:gd name="T31" fmla="*/ 17 h 35"/>
              <a:gd name="T32" fmla="*/ 51 w 78"/>
              <a:gd name="T33" fmla="*/ 18 h 35"/>
              <a:gd name="T34" fmla="*/ 52 w 78"/>
              <a:gd name="T35" fmla="*/ 17 h 35"/>
              <a:gd name="T36" fmla="*/ 48 w 78"/>
              <a:gd name="T37" fmla="*/ 19 h 35"/>
              <a:gd name="T38" fmla="*/ 53 w 78"/>
              <a:gd name="T39" fmla="*/ 18 h 35"/>
              <a:gd name="T40" fmla="*/ 63 w 78"/>
              <a:gd name="T41" fmla="*/ 19 h 35"/>
              <a:gd name="T42" fmla="*/ 68 w 78"/>
              <a:gd name="T43" fmla="*/ 21 h 35"/>
              <a:gd name="T44" fmla="*/ 72 w 78"/>
              <a:gd name="T45" fmla="*/ 23 h 35"/>
              <a:gd name="T46" fmla="*/ 74 w 78"/>
              <a:gd name="T47" fmla="*/ 29 h 35"/>
              <a:gd name="T48" fmla="*/ 59 w 78"/>
              <a:gd name="T49" fmla="*/ 32 h 35"/>
              <a:gd name="T50" fmla="*/ 50 w 78"/>
              <a:gd name="T51" fmla="*/ 30 h 35"/>
              <a:gd name="T52" fmla="*/ 49 w 78"/>
              <a:gd name="T53" fmla="*/ 29 h 35"/>
              <a:gd name="T54" fmla="*/ 46 w 78"/>
              <a:gd name="T55" fmla="*/ 26 h 35"/>
              <a:gd name="T56" fmla="*/ 46 w 78"/>
              <a:gd name="T57" fmla="*/ 24 h 35"/>
              <a:gd name="T58" fmla="*/ 46 w 78"/>
              <a:gd name="T59" fmla="*/ 24 h 35"/>
              <a:gd name="T60" fmla="*/ 48 w 78"/>
              <a:gd name="T61" fmla="*/ 19 h 35"/>
              <a:gd name="T62" fmla="*/ 12 w 78"/>
              <a:gd name="T63" fmla="*/ 7 h 35"/>
              <a:gd name="T64" fmla="*/ 20 w 78"/>
              <a:gd name="T65" fmla="*/ 12 h 35"/>
              <a:gd name="T66" fmla="*/ 33 w 78"/>
              <a:gd name="T67" fmla="*/ 18 h 35"/>
              <a:gd name="T68" fmla="*/ 40 w 78"/>
              <a:gd name="T69" fmla="*/ 20 h 35"/>
              <a:gd name="T70" fmla="*/ 45 w 78"/>
              <a:gd name="T71" fmla="*/ 22 h 35"/>
              <a:gd name="T72" fmla="*/ 45 w 78"/>
              <a:gd name="T73" fmla="*/ 22 h 35"/>
              <a:gd name="T74" fmla="*/ 45 w 78"/>
              <a:gd name="T75" fmla="*/ 23 h 35"/>
              <a:gd name="T76" fmla="*/ 36 w 78"/>
              <a:gd name="T77" fmla="*/ 19 h 35"/>
              <a:gd name="T78" fmla="*/ 24 w 78"/>
              <a:gd name="T79" fmla="*/ 15 h 35"/>
              <a:gd name="T80" fmla="*/ 21 w 78"/>
              <a:gd name="T81" fmla="*/ 14 h 35"/>
              <a:gd name="T82" fmla="*/ 21 w 78"/>
              <a:gd name="T83" fmla="*/ 14 h 35"/>
              <a:gd name="T84" fmla="*/ 20 w 78"/>
              <a:gd name="T85" fmla="*/ 13 h 35"/>
              <a:gd name="T86" fmla="*/ 20 w 78"/>
              <a:gd name="T87" fmla="*/ 13 h 35"/>
              <a:gd name="T88" fmla="*/ 12 w 78"/>
              <a:gd name="T89" fmla="*/ 8 h 35"/>
              <a:gd name="T90" fmla="*/ 6 w 78"/>
              <a:gd name="T91" fmla="*/ 3 h 35"/>
              <a:gd name="T92" fmla="*/ 8 w 78"/>
              <a:gd name="T93" fmla="*/ 4 h 35"/>
              <a:gd name="T94" fmla="*/ 12 w 78"/>
              <a:gd name="T95" fmla="*/ 7 h 35"/>
              <a:gd name="T96" fmla="*/ 7 w 78"/>
              <a:gd name="T97" fmla="*/ 8 h 35"/>
              <a:gd name="T98" fmla="*/ 0 w 78"/>
              <a:gd name="T99" fmla="*/ 0 h 35"/>
              <a:gd name="T100" fmla="*/ 4 w 78"/>
              <a:gd name="T101" fmla="*/ 2 h 35"/>
              <a:gd name="T102" fmla="*/ 12 w 78"/>
              <a:gd name="T103" fmla="*/ 9 h 35"/>
              <a:gd name="T104" fmla="*/ 18 w 78"/>
              <a:gd name="T105" fmla="*/ 13 h 35"/>
              <a:gd name="T106" fmla="*/ 13 w 78"/>
              <a:gd name="T107" fmla="*/ 12 h 35"/>
              <a:gd name="T108" fmla="*/ 7 w 78"/>
              <a:gd name="T109"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35">
                <a:moveTo>
                  <a:pt x="72" y="32"/>
                </a:moveTo>
                <a:cubicBezTo>
                  <a:pt x="70" y="33"/>
                  <a:pt x="68" y="34"/>
                  <a:pt x="65" y="34"/>
                </a:cubicBezTo>
                <a:cubicBezTo>
                  <a:pt x="62" y="35"/>
                  <a:pt x="58" y="34"/>
                  <a:pt x="55" y="33"/>
                </a:cubicBezTo>
                <a:cubicBezTo>
                  <a:pt x="54" y="32"/>
                  <a:pt x="53" y="32"/>
                  <a:pt x="52" y="31"/>
                </a:cubicBezTo>
                <a:cubicBezTo>
                  <a:pt x="56" y="33"/>
                  <a:pt x="60" y="33"/>
                  <a:pt x="64" y="33"/>
                </a:cubicBezTo>
                <a:cubicBezTo>
                  <a:pt x="67" y="32"/>
                  <a:pt x="69" y="32"/>
                  <a:pt x="71" y="31"/>
                </a:cubicBezTo>
                <a:cubicBezTo>
                  <a:pt x="73" y="30"/>
                  <a:pt x="74" y="30"/>
                  <a:pt x="75" y="28"/>
                </a:cubicBezTo>
                <a:cubicBezTo>
                  <a:pt x="77" y="29"/>
                  <a:pt x="73" y="32"/>
                  <a:pt x="72" y="32"/>
                </a:cubicBezTo>
                <a:close/>
                <a:moveTo>
                  <a:pt x="52" y="17"/>
                </a:moveTo>
                <a:cubicBezTo>
                  <a:pt x="55" y="16"/>
                  <a:pt x="58" y="15"/>
                  <a:pt x="61" y="16"/>
                </a:cubicBezTo>
                <a:cubicBezTo>
                  <a:pt x="65" y="16"/>
                  <a:pt x="69" y="18"/>
                  <a:pt x="72" y="20"/>
                </a:cubicBezTo>
                <a:cubicBezTo>
                  <a:pt x="73" y="20"/>
                  <a:pt x="78" y="24"/>
                  <a:pt x="76" y="25"/>
                </a:cubicBezTo>
                <a:cubicBezTo>
                  <a:pt x="75" y="24"/>
                  <a:pt x="73" y="23"/>
                  <a:pt x="72" y="22"/>
                </a:cubicBezTo>
                <a:cubicBezTo>
                  <a:pt x="70" y="21"/>
                  <a:pt x="68" y="21"/>
                  <a:pt x="66" y="20"/>
                </a:cubicBezTo>
                <a:cubicBezTo>
                  <a:pt x="65" y="19"/>
                  <a:pt x="63" y="18"/>
                  <a:pt x="61" y="18"/>
                </a:cubicBezTo>
                <a:cubicBezTo>
                  <a:pt x="58" y="17"/>
                  <a:pt x="54" y="17"/>
                  <a:pt x="51" y="17"/>
                </a:cubicBezTo>
                <a:cubicBezTo>
                  <a:pt x="51" y="17"/>
                  <a:pt x="51" y="17"/>
                  <a:pt x="51" y="18"/>
                </a:cubicBezTo>
                <a:cubicBezTo>
                  <a:pt x="51" y="17"/>
                  <a:pt x="52" y="17"/>
                  <a:pt x="52" y="17"/>
                </a:cubicBezTo>
                <a:close/>
                <a:moveTo>
                  <a:pt x="48" y="19"/>
                </a:moveTo>
                <a:cubicBezTo>
                  <a:pt x="50" y="18"/>
                  <a:pt x="52" y="18"/>
                  <a:pt x="53" y="18"/>
                </a:cubicBezTo>
                <a:cubicBezTo>
                  <a:pt x="57" y="17"/>
                  <a:pt x="60" y="18"/>
                  <a:pt x="63" y="19"/>
                </a:cubicBezTo>
                <a:cubicBezTo>
                  <a:pt x="65" y="20"/>
                  <a:pt x="66" y="20"/>
                  <a:pt x="68" y="21"/>
                </a:cubicBezTo>
                <a:cubicBezTo>
                  <a:pt x="69" y="22"/>
                  <a:pt x="71" y="22"/>
                  <a:pt x="72" y="23"/>
                </a:cubicBezTo>
                <a:cubicBezTo>
                  <a:pt x="75" y="24"/>
                  <a:pt x="76" y="27"/>
                  <a:pt x="74" y="29"/>
                </a:cubicBezTo>
                <a:cubicBezTo>
                  <a:pt x="70" y="32"/>
                  <a:pt x="63" y="32"/>
                  <a:pt x="59" y="32"/>
                </a:cubicBezTo>
                <a:cubicBezTo>
                  <a:pt x="56" y="32"/>
                  <a:pt x="53" y="31"/>
                  <a:pt x="50" y="30"/>
                </a:cubicBezTo>
                <a:cubicBezTo>
                  <a:pt x="50" y="29"/>
                  <a:pt x="49" y="29"/>
                  <a:pt x="49" y="29"/>
                </a:cubicBezTo>
                <a:cubicBezTo>
                  <a:pt x="48" y="28"/>
                  <a:pt x="47" y="27"/>
                  <a:pt x="46" y="26"/>
                </a:cubicBezTo>
                <a:cubicBezTo>
                  <a:pt x="46" y="25"/>
                  <a:pt x="46" y="25"/>
                  <a:pt x="46" y="24"/>
                </a:cubicBezTo>
                <a:cubicBezTo>
                  <a:pt x="46" y="24"/>
                  <a:pt x="46" y="24"/>
                  <a:pt x="46" y="24"/>
                </a:cubicBezTo>
                <a:cubicBezTo>
                  <a:pt x="47" y="22"/>
                  <a:pt x="47" y="20"/>
                  <a:pt x="48" y="19"/>
                </a:cubicBezTo>
                <a:close/>
                <a:moveTo>
                  <a:pt x="12" y="7"/>
                </a:moveTo>
                <a:cubicBezTo>
                  <a:pt x="15" y="8"/>
                  <a:pt x="17" y="10"/>
                  <a:pt x="20" y="12"/>
                </a:cubicBezTo>
                <a:cubicBezTo>
                  <a:pt x="24" y="14"/>
                  <a:pt x="28" y="16"/>
                  <a:pt x="33" y="18"/>
                </a:cubicBezTo>
                <a:cubicBezTo>
                  <a:pt x="35" y="19"/>
                  <a:pt x="38" y="19"/>
                  <a:pt x="40" y="20"/>
                </a:cubicBezTo>
                <a:cubicBezTo>
                  <a:pt x="42" y="21"/>
                  <a:pt x="43" y="21"/>
                  <a:pt x="45" y="22"/>
                </a:cubicBezTo>
                <a:cubicBezTo>
                  <a:pt x="45" y="22"/>
                  <a:pt x="45" y="22"/>
                  <a:pt x="45" y="22"/>
                </a:cubicBezTo>
                <a:cubicBezTo>
                  <a:pt x="45" y="22"/>
                  <a:pt x="45" y="23"/>
                  <a:pt x="45" y="23"/>
                </a:cubicBezTo>
                <a:cubicBezTo>
                  <a:pt x="42" y="21"/>
                  <a:pt x="39" y="20"/>
                  <a:pt x="36" y="19"/>
                </a:cubicBezTo>
                <a:cubicBezTo>
                  <a:pt x="32" y="19"/>
                  <a:pt x="28" y="17"/>
                  <a:pt x="24" y="15"/>
                </a:cubicBezTo>
                <a:cubicBezTo>
                  <a:pt x="23" y="15"/>
                  <a:pt x="22" y="14"/>
                  <a:pt x="21" y="14"/>
                </a:cubicBezTo>
                <a:cubicBezTo>
                  <a:pt x="21" y="14"/>
                  <a:pt x="21" y="14"/>
                  <a:pt x="21" y="14"/>
                </a:cubicBezTo>
                <a:cubicBezTo>
                  <a:pt x="21" y="14"/>
                  <a:pt x="21" y="13"/>
                  <a:pt x="20" y="13"/>
                </a:cubicBezTo>
                <a:cubicBezTo>
                  <a:pt x="20" y="13"/>
                  <a:pt x="20" y="13"/>
                  <a:pt x="20" y="13"/>
                </a:cubicBezTo>
                <a:cubicBezTo>
                  <a:pt x="18" y="12"/>
                  <a:pt x="15" y="10"/>
                  <a:pt x="12" y="8"/>
                </a:cubicBezTo>
                <a:cubicBezTo>
                  <a:pt x="10" y="6"/>
                  <a:pt x="8" y="5"/>
                  <a:pt x="6" y="3"/>
                </a:cubicBezTo>
                <a:cubicBezTo>
                  <a:pt x="7" y="3"/>
                  <a:pt x="7" y="4"/>
                  <a:pt x="8" y="4"/>
                </a:cubicBezTo>
                <a:cubicBezTo>
                  <a:pt x="9" y="5"/>
                  <a:pt x="11" y="6"/>
                  <a:pt x="12" y="7"/>
                </a:cubicBezTo>
                <a:close/>
                <a:moveTo>
                  <a:pt x="7" y="8"/>
                </a:moveTo>
                <a:cubicBezTo>
                  <a:pt x="5" y="6"/>
                  <a:pt x="2" y="3"/>
                  <a:pt x="0" y="0"/>
                </a:cubicBezTo>
                <a:cubicBezTo>
                  <a:pt x="1" y="1"/>
                  <a:pt x="2" y="1"/>
                  <a:pt x="4" y="2"/>
                </a:cubicBezTo>
                <a:cubicBezTo>
                  <a:pt x="6" y="5"/>
                  <a:pt x="9" y="6"/>
                  <a:pt x="12" y="9"/>
                </a:cubicBezTo>
                <a:cubicBezTo>
                  <a:pt x="14" y="10"/>
                  <a:pt x="16" y="12"/>
                  <a:pt x="18" y="13"/>
                </a:cubicBezTo>
                <a:cubicBezTo>
                  <a:pt x="17" y="13"/>
                  <a:pt x="15" y="13"/>
                  <a:pt x="13" y="12"/>
                </a:cubicBezTo>
                <a:cubicBezTo>
                  <a:pt x="11" y="11"/>
                  <a:pt x="9" y="10"/>
                  <a:pt x="7" y="8"/>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5" name="Freeform 4756"/>
          <p:cNvSpPr>
            <a:spLocks/>
          </p:cNvSpPr>
          <p:nvPr/>
        </p:nvSpPr>
        <p:spPr bwMode="auto">
          <a:xfrm>
            <a:off x="6149775" y="4516633"/>
            <a:ext cx="73722" cy="28014"/>
          </a:xfrm>
          <a:custGeom>
            <a:avLst/>
            <a:gdLst>
              <a:gd name="T0" fmla="*/ 1 w 27"/>
              <a:gd name="T1" fmla="*/ 2 h 10"/>
              <a:gd name="T2" fmla="*/ 10 w 27"/>
              <a:gd name="T3" fmla="*/ 1 h 10"/>
              <a:gd name="T4" fmla="*/ 21 w 27"/>
              <a:gd name="T5" fmla="*/ 5 h 10"/>
              <a:gd name="T6" fmla="*/ 25 w 27"/>
              <a:gd name="T7" fmla="*/ 10 h 10"/>
              <a:gd name="T8" fmla="*/ 21 w 27"/>
              <a:gd name="T9" fmla="*/ 7 h 10"/>
              <a:gd name="T10" fmla="*/ 15 w 27"/>
              <a:gd name="T11" fmla="*/ 5 h 10"/>
              <a:gd name="T12" fmla="*/ 10 w 27"/>
              <a:gd name="T13" fmla="*/ 3 h 10"/>
              <a:gd name="T14" fmla="*/ 0 w 27"/>
              <a:gd name="T15" fmla="*/ 2 h 10"/>
              <a:gd name="T16" fmla="*/ 0 w 27"/>
              <a:gd name="T17" fmla="*/ 3 h 10"/>
              <a:gd name="T18" fmla="*/ 1 w 27"/>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0">
                <a:moveTo>
                  <a:pt x="1" y="2"/>
                </a:moveTo>
                <a:cubicBezTo>
                  <a:pt x="4" y="1"/>
                  <a:pt x="7" y="0"/>
                  <a:pt x="10" y="1"/>
                </a:cubicBezTo>
                <a:cubicBezTo>
                  <a:pt x="14" y="1"/>
                  <a:pt x="18" y="3"/>
                  <a:pt x="21" y="5"/>
                </a:cubicBezTo>
                <a:cubicBezTo>
                  <a:pt x="22" y="5"/>
                  <a:pt x="27" y="9"/>
                  <a:pt x="25" y="10"/>
                </a:cubicBezTo>
                <a:cubicBezTo>
                  <a:pt x="24" y="9"/>
                  <a:pt x="22" y="8"/>
                  <a:pt x="21" y="7"/>
                </a:cubicBezTo>
                <a:cubicBezTo>
                  <a:pt x="19" y="6"/>
                  <a:pt x="17" y="6"/>
                  <a:pt x="15" y="5"/>
                </a:cubicBezTo>
                <a:cubicBezTo>
                  <a:pt x="14" y="4"/>
                  <a:pt x="12" y="3"/>
                  <a:pt x="10" y="3"/>
                </a:cubicBezTo>
                <a:cubicBezTo>
                  <a:pt x="7" y="2"/>
                  <a:pt x="3" y="2"/>
                  <a:pt x="0" y="2"/>
                </a:cubicBezTo>
                <a:cubicBezTo>
                  <a:pt x="0" y="2"/>
                  <a:pt x="0" y="2"/>
                  <a:pt x="0" y="3"/>
                </a:cubicBezTo>
                <a:cubicBezTo>
                  <a:pt x="0" y="2"/>
                  <a:pt x="1" y="2"/>
                  <a:pt x="1" y="2"/>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6" name="Freeform 4757"/>
          <p:cNvSpPr>
            <a:spLocks/>
          </p:cNvSpPr>
          <p:nvPr/>
        </p:nvSpPr>
        <p:spPr bwMode="auto">
          <a:xfrm>
            <a:off x="6135031" y="4522532"/>
            <a:ext cx="82569" cy="41285"/>
          </a:xfrm>
          <a:custGeom>
            <a:avLst/>
            <a:gdLst>
              <a:gd name="T0" fmla="*/ 2 w 30"/>
              <a:gd name="T1" fmla="*/ 2 h 15"/>
              <a:gd name="T2" fmla="*/ 7 w 30"/>
              <a:gd name="T3" fmla="*/ 1 h 15"/>
              <a:gd name="T4" fmla="*/ 17 w 30"/>
              <a:gd name="T5" fmla="*/ 2 h 15"/>
              <a:gd name="T6" fmla="*/ 22 w 30"/>
              <a:gd name="T7" fmla="*/ 4 h 15"/>
              <a:gd name="T8" fmla="*/ 26 w 30"/>
              <a:gd name="T9" fmla="*/ 6 h 15"/>
              <a:gd name="T10" fmla="*/ 28 w 30"/>
              <a:gd name="T11" fmla="*/ 12 h 15"/>
              <a:gd name="T12" fmla="*/ 13 w 30"/>
              <a:gd name="T13" fmla="*/ 15 h 15"/>
              <a:gd name="T14" fmla="*/ 4 w 30"/>
              <a:gd name="T15" fmla="*/ 13 h 15"/>
              <a:gd name="T16" fmla="*/ 3 w 30"/>
              <a:gd name="T17" fmla="*/ 12 h 15"/>
              <a:gd name="T18" fmla="*/ 0 w 30"/>
              <a:gd name="T19" fmla="*/ 9 h 15"/>
              <a:gd name="T20" fmla="*/ 0 w 30"/>
              <a:gd name="T21" fmla="*/ 7 h 15"/>
              <a:gd name="T22" fmla="*/ 0 w 30"/>
              <a:gd name="T23" fmla="*/ 7 h 15"/>
              <a:gd name="T24" fmla="*/ 2 w 30"/>
              <a:gd name="T2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15">
                <a:moveTo>
                  <a:pt x="2" y="2"/>
                </a:moveTo>
                <a:cubicBezTo>
                  <a:pt x="4" y="1"/>
                  <a:pt x="6" y="1"/>
                  <a:pt x="7" y="1"/>
                </a:cubicBezTo>
                <a:cubicBezTo>
                  <a:pt x="11" y="0"/>
                  <a:pt x="14" y="1"/>
                  <a:pt x="17" y="2"/>
                </a:cubicBezTo>
                <a:cubicBezTo>
                  <a:pt x="19" y="3"/>
                  <a:pt x="20" y="3"/>
                  <a:pt x="22" y="4"/>
                </a:cubicBezTo>
                <a:cubicBezTo>
                  <a:pt x="23" y="5"/>
                  <a:pt x="25" y="5"/>
                  <a:pt x="26" y="6"/>
                </a:cubicBezTo>
                <a:cubicBezTo>
                  <a:pt x="29" y="7"/>
                  <a:pt x="30" y="10"/>
                  <a:pt x="28" y="12"/>
                </a:cubicBezTo>
                <a:cubicBezTo>
                  <a:pt x="24" y="15"/>
                  <a:pt x="17" y="15"/>
                  <a:pt x="13" y="15"/>
                </a:cubicBezTo>
                <a:cubicBezTo>
                  <a:pt x="10" y="15"/>
                  <a:pt x="7" y="14"/>
                  <a:pt x="4" y="13"/>
                </a:cubicBezTo>
                <a:cubicBezTo>
                  <a:pt x="4" y="12"/>
                  <a:pt x="3" y="12"/>
                  <a:pt x="3" y="12"/>
                </a:cubicBezTo>
                <a:cubicBezTo>
                  <a:pt x="2" y="11"/>
                  <a:pt x="1" y="10"/>
                  <a:pt x="0" y="9"/>
                </a:cubicBezTo>
                <a:cubicBezTo>
                  <a:pt x="0" y="8"/>
                  <a:pt x="0" y="8"/>
                  <a:pt x="0" y="7"/>
                </a:cubicBezTo>
                <a:cubicBezTo>
                  <a:pt x="0" y="7"/>
                  <a:pt x="0" y="7"/>
                  <a:pt x="0" y="7"/>
                </a:cubicBezTo>
                <a:cubicBezTo>
                  <a:pt x="1" y="5"/>
                  <a:pt x="1" y="3"/>
                  <a:pt x="2" y="2"/>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7" name="Freeform 4758"/>
          <p:cNvSpPr>
            <a:spLocks/>
          </p:cNvSpPr>
          <p:nvPr/>
        </p:nvSpPr>
        <p:spPr bwMode="auto">
          <a:xfrm>
            <a:off x="6151250" y="4552021"/>
            <a:ext cx="69299" cy="19167"/>
          </a:xfrm>
          <a:custGeom>
            <a:avLst/>
            <a:gdLst>
              <a:gd name="T0" fmla="*/ 20 w 25"/>
              <a:gd name="T1" fmla="*/ 4 h 7"/>
              <a:gd name="T2" fmla="*/ 13 w 25"/>
              <a:gd name="T3" fmla="*/ 6 h 7"/>
              <a:gd name="T4" fmla="*/ 3 w 25"/>
              <a:gd name="T5" fmla="*/ 5 h 7"/>
              <a:gd name="T6" fmla="*/ 0 w 25"/>
              <a:gd name="T7" fmla="*/ 3 h 7"/>
              <a:gd name="T8" fmla="*/ 12 w 25"/>
              <a:gd name="T9" fmla="*/ 5 h 7"/>
              <a:gd name="T10" fmla="*/ 19 w 25"/>
              <a:gd name="T11" fmla="*/ 3 h 7"/>
              <a:gd name="T12" fmla="*/ 23 w 25"/>
              <a:gd name="T13" fmla="*/ 0 h 7"/>
              <a:gd name="T14" fmla="*/ 20 w 25"/>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7">
                <a:moveTo>
                  <a:pt x="20" y="4"/>
                </a:moveTo>
                <a:cubicBezTo>
                  <a:pt x="18" y="5"/>
                  <a:pt x="16" y="6"/>
                  <a:pt x="13" y="6"/>
                </a:cubicBezTo>
                <a:cubicBezTo>
                  <a:pt x="10" y="7"/>
                  <a:pt x="6" y="6"/>
                  <a:pt x="3" y="5"/>
                </a:cubicBezTo>
                <a:cubicBezTo>
                  <a:pt x="2" y="4"/>
                  <a:pt x="1" y="4"/>
                  <a:pt x="0" y="3"/>
                </a:cubicBezTo>
                <a:cubicBezTo>
                  <a:pt x="4" y="5"/>
                  <a:pt x="8" y="5"/>
                  <a:pt x="12" y="5"/>
                </a:cubicBezTo>
                <a:cubicBezTo>
                  <a:pt x="14" y="4"/>
                  <a:pt x="17" y="4"/>
                  <a:pt x="19" y="3"/>
                </a:cubicBezTo>
                <a:cubicBezTo>
                  <a:pt x="21" y="2"/>
                  <a:pt x="22" y="2"/>
                  <a:pt x="23" y="0"/>
                </a:cubicBezTo>
                <a:cubicBezTo>
                  <a:pt x="25" y="1"/>
                  <a:pt x="21" y="4"/>
                  <a:pt x="20" y="4"/>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8" name="Freeform 4759"/>
          <p:cNvSpPr>
            <a:spLocks/>
          </p:cNvSpPr>
          <p:nvPr/>
        </p:nvSpPr>
        <p:spPr bwMode="auto">
          <a:xfrm>
            <a:off x="6025923" y="4484195"/>
            <a:ext cx="106159" cy="54554"/>
          </a:xfrm>
          <a:custGeom>
            <a:avLst/>
            <a:gdLst>
              <a:gd name="T0" fmla="*/ 15 w 39"/>
              <a:gd name="T1" fmla="*/ 11 h 20"/>
              <a:gd name="T2" fmla="*/ 14 w 39"/>
              <a:gd name="T3" fmla="*/ 10 h 20"/>
              <a:gd name="T4" fmla="*/ 14 w 39"/>
              <a:gd name="T5" fmla="*/ 10 h 20"/>
              <a:gd name="T6" fmla="*/ 6 w 39"/>
              <a:gd name="T7" fmla="*/ 5 h 20"/>
              <a:gd name="T8" fmla="*/ 0 w 39"/>
              <a:gd name="T9" fmla="*/ 0 h 20"/>
              <a:gd name="T10" fmla="*/ 2 w 39"/>
              <a:gd name="T11" fmla="*/ 1 h 20"/>
              <a:gd name="T12" fmla="*/ 6 w 39"/>
              <a:gd name="T13" fmla="*/ 4 h 20"/>
              <a:gd name="T14" fmla="*/ 14 w 39"/>
              <a:gd name="T15" fmla="*/ 9 h 20"/>
              <a:gd name="T16" fmla="*/ 27 w 39"/>
              <a:gd name="T17" fmla="*/ 15 h 20"/>
              <a:gd name="T18" fmla="*/ 34 w 39"/>
              <a:gd name="T19" fmla="*/ 17 h 20"/>
              <a:gd name="T20" fmla="*/ 39 w 39"/>
              <a:gd name="T21" fmla="*/ 19 h 20"/>
              <a:gd name="T22" fmla="*/ 39 w 39"/>
              <a:gd name="T23" fmla="*/ 19 h 20"/>
              <a:gd name="T24" fmla="*/ 39 w 39"/>
              <a:gd name="T25" fmla="*/ 20 h 20"/>
              <a:gd name="T26" fmla="*/ 30 w 39"/>
              <a:gd name="T27" fmla="*/ 16 h 20"/>
              <a:gd name="T28" fmla="*/ 18 w 39"/>
              <a:gd name="T29" fmla="*/ 12 h 20"/>
              <a:gd name="T30" fmla="*/ 15 w 39"/>
              <a:gd name="T31" fmla="*/ 11 h 20"/>
              <a:gd name="T32" fmla="*/ 15 w 39"/>
              <a:gd name="T33"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20">
                <a:moveTo>
                  <a:pt x="15" y="11"/>
                </a:moveTo>
                <a:cubicBezTo>
                  <a:pt x="15" y="11"/>
                  <a:pt x="15" y="10"/>
                  <a:pt x="14" y="10"/>
                </a:cubicBezTo>
                <a:cubicBezTo>
                  <a:pt x="14" y="10"/>
                  <a:pt x="14" y="10"/>
                  <a:pt x="14" y="10"/>
                </a:cubicBezTo>
                <a:cubicBezTo>
                  <a:pt x="12" y="9"/>
                  <a:pt x="9" y="7"/>
                  <a:pt x="6" y="5"/>
                </a:cubicBezTo>
                <a:cubicBezTo>
                  <a:pt x="4" y="3"/>
                  <a:pt x="2" y="2"/>
                  <a:pt x="0" y="0"/>
                </a:cubicBezTo>
                <a:cubicBezTo>
                  <a:pt x="1" y="0"/>
                  <a:pt x="1" y="1"/>
                  <a:pt x="2" y="1"/>
                </a:cubicBezTo>
                <a:cubicBezTo>
                  <a:pt x="3" y="2"/>
                  <a:pt x="5" y="3"/>
                  <a:pt x="6" y="4"/>
                </a:cubicBezTo>
                <a:cubicBezTo>
                  <a:pt x="9" y="5"/>
                  <a:pt x="11" y="7"/>
                  <a:pt x="14" y="9"/>
                </a:cubicBezTo>
                <a:cubicBezTo>
                  <a:pt x="18" y="11"/>
                  <a:pt x="22" y="13"/>
                  <a:pt x="27" y="15"/>
                </a:cubicBezTo>
                <a:cubicBezTo>
                  <a:pt x="29" y="16"/>
                  <a:pt x="32" y="16"/>
                  <a:pt x="34" y="17"/>
                </a:cubicBezTo>
                <a:cubicBezTo>
                  <a:pt x="36" y="18"/>
                  <a:pt x="37" y="18"/>
                  <a:pt x="39" y="19"/>
                </a:cubicBezTo>
                <a:cubicBezTo>
                  <a:pt x="39" y="19"/>
                  <a:pt x="39" y="19"/>
                  <a:pt x="39" y="19"/>
                </a:cubicBezTo>
                <a:cubicBezTo>
                  <a:pt x="39" y="19"/>
                  <a:pt x="39" y="20"/>
                  <a:pt x="39" y="20"/>
                </a:cubicBezTo>
                <a:cubicBezTo>
                  <a:pt x="36" y="18"/>
                  <a:pt x="33" y="17"/>
                  <a:pt x="30" y="16"/>
                </a:cubicBezTo>
                <a:cubicBezTo>
                  <a:pt x="26" y="16"/>
                  <a:pt x="22" y="14"/>
                  <a:pt x="18" y="12"/>
                </a:cubicBezTo>
                <a:cubicBezTo>
                  <a:pt x="17" y="12"/>
                  <a:pt x="16" y="11"/>
                  <a:pt x="15" y="11"/>
                </a:cubicBezTo>
                <a:cubicBezTo>
                  <a:pt x="15" y="11"/>
                  <a:pt x="15" y="11"/>
                  <a:pt x="15" y="11"/>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39" name="Freeform 4760"/>
          <p:cNvSpPr>
            <a:spLocks/>
          </p:cNvSpPr>
          <p:nvPr/>
        </p:nvSpPr>
        <p:spPr bwMode="auto">
          <a:xfrm>
            <a:off x="6022974" y="4497467"/>
            <a:ext cx="89941" cy="25065"/>
          </a:xfrm>
          <a:custGeom>
            <a:avLst/>
            <a:gdLst>
              <a:gd name="T0" fmla="*/ 12 w 33"/>
              <a:gd name="T1" fmla="*/ 9 h 9"/>
              <a:gd name="T2" fmla="*/ 11 w 33"/>
              <a:gd name="T3" fmla="*/ 8 h 9"/>
              <a:gd name="T4" fmla="*/ 10 w 33"/>
              <a:gd name="T5" fmla="*/ 8 h 9"/>
              <a:gd name="T6" fmla="*/ 3 w 33"/>
              <a:gd name="T7" fmla="*/ 4 h 9"/>
              <a:gd name="T8" fmla="*/ 0 w 33"/>
              <a:gd name="T9" fmla="*/ 2 h 9"/>
              <a:gd name="T10" fmla="*/ 0 w 33"/>
              <a:gd name="T11" fmla="*/ 1 h 9"/>
              <a:gd name="T12" fmla="*/ 4 w 33"/>
              <a:gd name="T13" fmla="*/ 2 h 9"/>
              <a:gd name="T14" fmla="*/ 20 w 33"/>
              <a:gd name="T15" fmla="*/ 1 h 9"/>
              <a:gd name="T16" fmla="*/ 29 w 33"/>
              <a:gd name="T17" fmla="*/ 3 h 9"/>
              <a:gd name="T18" fmla="*/ 33 w 33"/>
              <a:gd name="T19" fmla="*/ 5 h 9"/>
              <a:gd name="T20" fmla="*/ 26 w 33"/>
              <a:gd name="T21" fmla="*/ 6 h 9"/>
              <a:gd name="T22" fmla="*/ 19 w 33"/>
              <a:gd name="T23" fmla="*/ 8 h 9"/>
              <a:gd name="T24" fmla="*/ 15 w 33"/>
              <a:gd name="T25" fmla="*/ 8 h 9"/>
              <a:gd name="T26" fmla="*/ 13 w 33"/>
              <a:gd name="T27" fmla="*/ 9 h 9"/>
              <a:gd name="T28" fmla="*/ 12 w 33"/>
              <a:gd name="T29" fmla="*/ 9 h 9"/>
              <a:gd name="T30" fmla="*/ 12 w 33"/>
              <a:gd name="T3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9">
                <a:moveTo>
                  <a:pt x="12" y="9"/>
                </a:moveTo>
                <a:cubicBezTo>
                  <a:pt x="11" y="8"/>
                  <a:pt x="11" y="8"/>
                  <a:pt x="11" y="8"/>
                </a:cubicBezTo>
                <a:cubicBezTo>
                  <a:pt x="10" y="8"/>
                  <a:pt x="10" y="8"/>
                  <a:pt x="10" y="8"/>
                </a:cubicBezTo>
                <a:cubicBezTo>
                  <a:pt x="8" y="6"/>
                  <a:pt x="5" y="5"/>
                  <a:pt x="3" y="4"/>
                </a:cubicBezTo>
                <a:cubicBezTo>
                  <a:pt x="2" y="3"/>
                  <a:pt x="1" y="2"/>
                  <a:pt x="0" y="2"/>
                </a:cubicBezTo>
                <a:cubicBezTo>
                  <a:pt x="0" y="2"/>
                  <a:pt x="0" y="1"/>
                  <a:pt x="0" y="1"/>
                </a:cubicBezTo>
                <a:cubicBezTo>
                  <a:pt x="1" y="2"/>
                  <a:pt x="2" y="2"/>
                  <a:pt x="4" y="2"/>
                </a:cubicBezTo>
                <a:cubicBezTo>
                  <a:pt x="9" y="1"/>
                  <a:pt x="14" y="0"/>
                  <a:pt x="20" y="1"/>
                </a:cubicBezTo>
                <a:cubicBezTo>
                  <a:pt x="23" y="1"/>
                  <a:pt x="26" y="2"/>
                  <a:pt x="29" y="3"/>
                </a:cubicBezTo>
                <a:cubicBezTo>
                  <a:pt x="30" y="4"/>
                  <a:pt x="31" y="5"/>
                  <a:pt x="33" y="5"/>
                </a:cubicBezTo>
                <a:cubicBezTo>
                  <a:pt x="30" y="5"/>
                  <a:pt x="28" y="6"/>
                  <a:pt x="26" y="6"/>
                </a:cubicBezTo>
                <a:cubicBezTo>
                  <a:pt x="23" y="7"/>
                  <a:pt x="21" y="8"/>
                  <a:pt x="19" y="8"/>
                </a:cubicBezTo>
                <a:cubicBezTo>
                  <a:pt x="17" y="8"/>
                  <a:pt x="16" y="8"/>
                  <a:pt x="15" y="8"/>
                </a:cubicBezTo>
                <a:cubicBezTo>
                  <a:pt x="15" y="9"/>
                  <a:pt x="14" y="9"/>
                  <a:pt x="13" y="9"/>
                </a:cubicBezTo>
                <a:cubicBezTo>
                  <a:pt x="13" y="9"/>
                  <a:pt x="12" y="9"/>
                  <a:pt x="12" y="9"/>
                </a:cubicBezTo>
                <a:cubicBezTo>
                  <a:pt x="12" y="9"/>
                  <a:pt x="12" y="9"/>
                  <a:pt x="12" y="9"/>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0" name="Freeform 4761"/>
          <p:cNvSpPr>
            <a:spLocks/>
          </p:cNvSpPr>
          <p:nvPr/>
        </p:nvSpPr>
        <p:spPr bwMode="auto">
          <a:xfrm>
            <a:off x="6012653" y="4478298"/>
            <a:ext cx="45707" cy="32438"/>
          </a:xfrm>
          <a:custGeom>
            <a:avLst/>
            <a:gdLst>
              <a:gd name="T0" fmla="*/ 6 w 17"/>
              <a:gd name="T1" fmla="*/ 7 h 12"/>
              <a:gd name="T2" fmla="*/ 0 w 17"/>
              <a:gd name="T3" fmla="*/ 0 h 12"/>
              <a:gd name="T4" fmla="*/ 3 w 17"/>
              <a:gd name="T5" fmla="*/ 1 h 12"/>
              <a:gd name="T6" fmla="*/ 11 w 17"/>
              <a:gd name="T7" fmla="*/ 8 h 12"/>
              <a:gd name="T8" fmla="*/ 17 w 17"/>
              <a:gd name="T9" fmla="*/ 12 h 12"/>
              <a:gd name="T10" fmla="*/ 12 w 17"/>
              <a:gd name="T11" fmla="*/ 11 h 12"/>
              <a:gd name="T12" fmla="*/ 6 w 17"/>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7" h="12">
                <a:moveTo>
                  <a:pt x="6" y="7"/>
                </a:moveTo>
                <a:cubicBezTo>
                  <a:pt x="4" y="5"/>
                  <a:pt x="2" y="4"/>
                  <a:pt x="0" y="0"/>
                </a:cubicBezTo>
                <a:cubicBezTo>
                  <a:pt x="1" y="1"/>
                  <a:pt x="1" y="0"/>
                  <a:pt x="3" y="1"/>
                </a:cubicBezTo>
                <a:cubicBezTo>
                  <a:pt x="5" y="4"/>
                  <a:pt x="8" y="5"/>
                  <a:pt x="11" y="8"/>
                </a:cubicBezTo>
                <a:cubicBezTo>
                  <a:pt x="13" y="9"/>
                  <a:pt x="15" y="11"/>
                  <a:pt x="17" y="12"/>
                </a:cubicBezTo>
                <a:cubicBezTo>
                  <a:pt x="16" y="12"/>
                  <a:pt x="14" y="12"/>
                  <a:pt x="12" y="11"/>
                </a:cubicBezTo>
                <a:cubicBezTo>
                  <a:pt x="10" y="10"/>
                  <a:pt x="8" y="9"/>
                  <a:pt x="6" y="7"/>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1" name="Freeform 4762"/>
          <p:cNvSpPr>
            <a:spLocks/>
          </p:cNvSpPr>
          <p:nvPr/>
        </p:nvSpPr>
        <p:spPr bwMode="auto">
          <a:xfrm>
            <a:off x="6018550" y="4478299"/>
            <a:ext cx="2949" cy="2949"/>
          </a:xfrm>
          <a:custGeom>
            <a:avLst/>
            <a:gdLst>
              <a:gd name="T0" fmla="*/ 1 w 1"/>
              <a:gd name="T1" fmla="*/ 1 h 1"/>
              <a:gd name="T2" fmla="*/ 1 w 1"/>
              <a:gd name="T3" fmla="*/ 1 h 1"/>
              <a:gd name="T4" fmla="*/ 0 w 1"/>
              <a:gd name="T5" fmla="*/ 0 h 1"/>
              <a:gd name="T6" fmla="*/ 0 w 1"/>
              <a:gd name="T7" fmla="*/ 0 h 1"/>
              <a:gd name="T8" fmla="*/ 0 w 1"/>
              <a:gd name="T9" fmla="*/ 0 h 1"/>
              <a:gd name="T10" fmla="*/ 0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1" y="1"/>
                </a:moveTo>
                <a:cubicBezTo>
                  <a:pt x="1" y="1"/>
                  <a:pt x="1" y="1"/>
                  <a:pt x="1" y="1"/>
                </a:cubicBezTo>
                <a:cubicBezTo>
                  <a:pt x="1" y="1"/>
                  <a:pt x="1" y="0"/>
                  <a:pt x="0" y="0"/>
                </a:cubicBezTo>
                <a:cubicBezTo>
                  <a:pt x="0" y="0"/>
                  <a:pt x="0" y="0"/>
                  <a:pt x="0" y="0"/>
                </a:cubicBezTo>
                <a:cubicBezTo>
                  <a:pt x="0" y="0"/>
                  <a:pt x="0" y="0"/>
                  <a:pt x="0" y="0"/>
                </a:cubicBezTo>
                <a:cubicBezTo>
                  <a:pt x="0" y="0"/>
                  <a:pt x="0" y="0"/>
                  <a:pt x="0" y="0"/>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2" name="Freeform 4763"/>
          <p:cNvSpPr>
            <a:spLocks/>
          </p:cNvSpPr>
          <p:nvPr/>
        </p:nvSpPr>
        <p:spPr bwMode="auto">
          <a:xfrm>
            <a:off x="6018549" y="44782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3" name="Freeform 4764"/>
          <p:cNvSpPr>
            <a:spLocks noEditPoints="1"/>
          </p:cNvSpPr>
          <p:nvPr/>
        </p:nvSpPr>
        <p:spPr bwMode="auto">
          <a:xfrm>
            <a:off x="5952200" y="4467978"/>
            <a:ext cx="221166" cy="169561"/>
          </a:xfrm>
          <a:custGeom>
            <a:avLst/>
            <a:gdLst>
              <a:gd name="T0" fmla="*/ 16 w 81"/>
              <a:gd name="T1" fmla="*/ 3 h 62"/>
              <a:gd name="T2" fmla="*/ 7 w 81"/>
              <a:gd name="T3" fmla="*/ 1 h 62"/>
              <a:gd name="T4" fmla="*/ 0 w 81"/>
              <a:gd name="T5" fmla="*/ 2 h 62"/>
              <a:gd name="T6" fmla="*/ 32 w 81"/>
              <a:gd name="T7" fmla="*/ 25 h 62"/>
              <a:gd name="T8" fmla="*/ 44 w 81"/>
              <a:gd name="T9" fmla="*/ 40 h 62"/>
              <a:gd name="T10" fmla="*/ 53 w 81"/>
              <a:gd name="T11" fmla="*/ 46 h 62"/>
              <a:gd name="T12" fmla="*/ 43 w 81"/>
              <a:gd name="T13" fmla="*/ 24 h 62"/>
              <a:gd name="T14" fmla="*/ 54 w 81"/>
              <a:gd name="T15" fmla="*/ 30 h 62"/>
              <a:gd name="T16" fmla="*/ 58 w 81"/>
              <a:gd name="T17" fmla="*/ 34 h 62"/>
              <a:gd name="T18" fmla="*/ 57 w 81"/>
              <a:gd name="T19" fmla="*/ 36 h 62"/>
              <a:gd name="T20" fmla="*/ 57 w 81"/>
              <a:gd name="T21" fmla="*/ 42 h 62"/>
              <a:gd name="T22" fmla="*/ 76 w 81"/>
              <a:gd name="T23" fmla="*/ 59 h 62"/>
              <a:gd name="T24" fmla="*/ 78 w 81"/>
              <a:gd name="T25" fmla="*/ 58 h 62"/>
              <a:gd name="T26" fmla="*/ 74 w 81"/>
              <a:gd name="T27" fmla="*/ 38 h 62"/>
              <a:gd name="T28" fmla="*/ 61 w 81"/>
              <a:gd name="T29" fmla="*/ 32 h 62"/>
              <a:gd name="T30" fmla="*/ 61 w 81"/>
              <a:gd name="T31" fmla="*/ 32 h 62"/>
              <a:gd name="T32" fmla="*/ 60 w 81"/>
              <a:gd name="T33" fmla="*/ 33 h 62"/>
              <a:gd name="T34" fmla="*/ 52 w 81"/>
              <a:gd name="T35" fmla="*/ 25 h 62"/>
              <a:gd name="T36" fmla="*/ 35 w 81"/>
              <a:gd name="T37" fmla="*/ 9 h 62"/>
              <a:gd name="T38" fmla="*/ 79 w 81"/>
              <a:gd name="T39" fmla="*/ 53 h 62"/>
              <a:gd name="T40" fmla="*/ 73 w 81"/>
              <a:gd name="T41" fmla="*/ 37 h 62"/>
              <a:gd name="T42" fmla="*/ 78 w 81"/>
              <a:gd name="T43" fmla="*/ 57 h 62"/>
              <a:gd name="T44" fmla="*/ 62 w 81"/>
              <a:gd name="T45" fmla="*/ 50 h 62"/>
              <a:gd name="T46" fmla="*/ 75 w 81"/>
              <a:gd name="T47" fmla="*/ 59 h 62"/>
              <a:gd name="T48" fmla="*/ 57 w 81"/>
              <a:gd name="T49" fmla="*/ 42 h 62"/>
              <a:gd name="T50" fmla="*/ 61 w 81"/>
              <a:gd name="T51" fmla="*/ 33 h 62"/>
              <a:gd name="T52" fmla="*/ 67 w 81"/>
              <a:gd name="T53" fmla="*/ 34 h 62"/>
              <a:gd name="T54" fmla="*/ 72 w 81"/>
              <a:gd name="T55" fmla="*/ 57 h 62"/>
              <a:gd name="T56" fmla="*/ 58 w 81"/>
              <a:gd name="T57" fmla="*/ 43 h 62"/>
              <a:gd name="T58" fmla="*/ 21 w 81"/>
              <a:gd name="T59" fmla="*/ 7 h 62"/>
              <a:gd name="T60" fmla="*/ 21 w 81"/>
              <a:gd name="T61" fmla="*/ 7 h 62"/>
              <a:gd name="T62" fmla="*/ 25 w 81"/>
              <a:gd name="T63" fmla="*/ 10 h 62"/>
              <a:gd name="T64" fmla="*/ 31 w 81"/>
              <a:gd name="T65" fmla="*/ 23 h 62"/>
              <a:gd name="T66" fmla="*/ 10 w 81"/>
              <a:gd name="T67" fmla="*/ 6 h 62"/>
              <a:gd name="T68" fmla="*/ 1 w 81"/>
              <a:gd name="T69" fmla="*/ 2 h 62"/>
              <a:gd name="T70" fmla="*/ 2 w 81"/>
              <a:gd name="T71" fmla="*/ 1 h 62"/>
              <a:gd name="T72" fmla="*/ 15 w 81"/>
              <a:gd name="T73" fmla="*/ 4 h 62"/>
              <a:gd name="T74" fmla="*/ 20 w 81"/>
              <a:gd name="T75" fmla="*/ 6 h 62"/>
              <a:gd name="T76" fmla="*/ 20 w 81"/>
              <a:gd name="T77" fmla="*/ 6 h 62"/>
              <a:gd name="T78" fmla="*/ 21 w 81"/>
              <a:gd name="T79" fmla="*/ 6 h 62"/>
              <a:gd name="T80" fmla="*/ 38 w 81"/>
              <a:gd name="T81" fmla="*/ 17 h 62"/>
              <a:gd name="T82" fmla="*/ 40 w 81"/>
              <a:gd name="T83" fmla="*/ 19 h 62"/>
              <a:gd name="T84" fmla="*/ 43 w 81"/>
              <a:gd name="T85" fmla="*/ 26 h 62"/>
              <a:gd name="T86" fmla="*/ 44 w 81"/>
              <a:gd name="T87" fmla="*/ 40 h 62"/>
              <a:gd name="T88" fmla="*/ 26 w 81"/>
              <a:gd name="T89" fmla="*/ 10 h 62"/>
              <a:gd name="T90" fmla="*/ 25 w 81"/>
              <a:gd name="T91" fmla="*/ 9 h 62"/>
              <a:gd name="T92" fmla="*/ 39 w 81"/>
              <a:gd name="T93" fmla="*/ 16 h 62"/>
              <a:gd name="T94" fmla="*/ 40 w 81"/>
              <a:gd name="T95" fmla="*/ 16 h 62"/>
              <a:gd name="T96" fmla="*/ 59 w 81"/>
              <a:gd name="T97" fmla="*/ 33 h 62"/>
              <a:gd name="T98" fmla="*/ 54 w 81"/>
              <a:gd name="T99" fmla="*/ 30 h 62"/>
              <a:gd name="T100" fmla="*/ 29 w 81"/>
              <a:gd name="T101" fmla="*/ 11 h 62"/>
              <a:gd name="T102" fmla="*/ 38 w 81"/>
              <a:gd name="T103" fmla="*/ 14 h 62"/>
              <a:gd name="T104" fmla="*/ 18 w 81"/>
              <a:gd name="T105"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1" h="62">
                <a:moveTo>
                  <a:pt x="29" y="6"/>
                </a:moveTo>
                <a:cubicBezTo>
                  <a:pt x="27" y="5"/>
                  <a:pt x="25" y="4"/>
                  <a:pt x="23" y="4"/>
                </a:cubicBezTo>
                <a:cubicBezTo>
                  <a:pt x="21" y="4"/>
                  <a:pt x="19" y="3"/>
                  <a:pt x="16" y="3"/>
                </a:cubicBezTo>
                <a:cubicBezTo>
                  <a:pt x="16" y="3"/>
                  <a:pt x="16" y="3"/>
                  <a:pt x="16" y="4"/>
                </a:cubicBezTo>
                <a:cubicBezTo>
                  <a:pt x="15" y="3"/>
                  <a:pt x="15" y="3"/>
                  <a:pt x="14" y="3"/>
                </a:cubicBezTo>
                <a:cubicBezTo>
                  <a:pt x="11" y="2"/>
                  <a:pt x="9" y="1"/>
                  <a:pt x="7" y="1"/>
                </a:cubicBezTo>
                <a:cubicBezTo>
                  <a:pt x="5" y="0"/>
                  <a:pt x="3" y="0"/>
                  <a:pt x="1" y="1"/>
                </a:cubicBezTo>
                <a:cubicBezTo>
                  <a:pt x="1" y="1"/>
                  <a:pt x="0" y="1"/>
                  <a:pt x="0" y="2"/>
                </a:cubicBezTo>
                <a:cubicBezTo>
                  <a:pt x="0" y="2"/>
                  <a:pt x="0" y="2"/>
                  <a:pt x="0" y="2"/>
                </a:cubicBezTo>
                <a:cubicBezTo>
                  <a:pt x="7" y="4"/>
                  <a:pt x="14" y="8"/>
                  <a:pt x="20" y="12"/>
                </a:cubicBezTo>
                <a:cubicBezTo>
                  <a:pt x="22" y="14"/>
                  <a:pt x="25" y="17"/>
                  <a:pt x="27" y="19"/>
                </a:cubicBezTo>
                <a:cubicBezTo>
                  <a:pt x="29" y="21"/>
                  <a:pt x="30" y="23"/>
                  <a:pt x="32" y="25"/>
                </a:cubicBezTo>
                <a:cubicBezTo>
                  <a:pt x="32" y="25"/>
                  <a:pt x="32" y="25"/>
                  <a:pt x="32" y="26"/>
                </a:cubicBezTo>
                <a:cubicBezTo>
                  <a:pt x="33" y="29"/>
                  <a:pt x="35" y="31"/>
                  <a:pt x="37" y="34"/>
                </a:cubicBezTo>
                <a:cubicBezTo>
                  <a:pt x="39" y="36"/>
                  <a:pt x="41" y="38"/>
                  <a:pt x="44" y="40"/>
                </a:cubicBezTo>
                <a:cubicBezTo>
                  <a:pt x="45" y="42"/>
                  <a:pt x="48" y="43"/>
                  <a:pt x="49" y="44"/>
                </a:cubicBezTo>
                <a:cubicBezTo>
                  <a:pt x="50" y="45"/>
                  <a:pt x="51" y="46"/>
                  <a:pt x="52" y="46"/>
                </a:cubicBezTo>
                <a:cubicBezTo>
                  <a:pt x="53" y="46"/>
                  <a:pt x="53" y="46"/>
                  <a:pt x="53" y="46"/>
                </a:cubicBezTo>
                <a:cubicBezTo>
                  <a:pt x="52" y="45"/>
                  <a:pt x="51" y="44"/>
                  <a:pt x="50" y="44"/>
                </a:cubicBezTo>
                <a:cubicBezTo>
                  <a:pt x="47" y="41"/>
                  <a:pt x="47" y="36"/>
                  <a:pt x="46" y="33"/>
                </a:cubicBezTo>
                <a:cubicBezTo>
                  <a:pt x="45" y="30"/>
                  <a:pt x="44" y="27"/>
                  <a:pt x="43" y="24"/>
                </a:cubicBezTo>
                <a:cubicBezTo>
                  <a:pt x="42" y="23"/>
                  <a:pt x="42" y="20"/>
                  <a:pt x="41" y="19"/>
                </a:cubicBezTo>
                <a:cubicBezTo>
                  <a:pt x="44" y="21"/>
                  <a:pt x="47" y="23"/>
                  <a:pt x="49" y="25"/>
                </a:cubicBezTo>
                <a:cubicBezTo>
                  <a:pt x="51" y="27"/>
                  <a:pt x="52" y="29"/>
                  <a:pt x="54" y="30"/>
                </a:cubicBezTo>
                <a:cubicBezTo>
                  <a:pt x="55" y="32"/>
                  <a:pt x="57" y="33"/>
                  <a:pt x="58" y="34"/>
                </a:cubicBezTo>
                <a:cubicBezTo>
                  <a:pt x="58" y="34"/>
                  <a:pt x="58" y="34"/>
                  <a:pt x="58" y="34"/>
                </a:cubicBezTo>
                <a:cubicBezTo>
                  <a:pt x="58" y="34"/>
                  <a:pt x="58" y="34"/>
                  <a:pt x="58" y="34"/>
                </a:cubicBezTo>
                <a:cubicBezTo>
                  <a:pt x="58" y="35"/>
                  <a:pt x="58" y="35"/>
                  <a:pt x="58" y="35"/>
                </a:cubicBezTo>
                <a:cubicBezTo>
                  <a:pt x="58" y="35"/>
                  <a:pt x="58" y="35"/>
                  <a:pt x="58" y="35"/>
                </a:cubicBezTo>
                <a:cubicBezTo>
                  <a:pt x="57" y="36"/>
                  <a:pt x="57" y="36"/>
                  <a:pt x="57" y="36"/>
                </a:cubicBezTo>
                <a:cubicBezTo>
                  <a:pt x="57" y="36"/>
                  <a:pt x="57" y="36"/>
                  <a:pt x="57" y="37"/>
                </a:cubicBezTo>
                <a:cubicBezTo>
                  <a:pt x="57" y="37"/>
                  <a:pt x="57" y="38"/>
                  <a:pt x="57" y="38"/>
                </a:cubicBezTo>
                <a:cubicBezTo>
                  <a:pt x="57" y="39"/>
                  <a:pt x="56" y="40"/>
                  <a:pt x="57" y="42"/>
                </a:cubicBezTo>
                <a:cubicBezTo>
                  <a:pt x="57" y="46"/>
                  <a:pt x="59" y="49"/>
                  <a:pt x="61" y="52"/>
                </a:cubicBezTo>
                <a:cubicBezTo>
                  <a:pt x="63" y="55"/>
                  <a:pt x="67" y="58"/>
                  <a:pt x="71" y="60"/>
                </a:cubicBezTo>
                <a:cubicBezTo>
                  <a:pt x="72" y="60"/>
                  <a:pt x="76" y="62"/>
                  <a:pt x="76" y="59"/>
                </a:cubicBezTo>
                <a:cubicBezTo>
                  <a:pt x="76" y="59"/>
                  <a:pt x="76" y="59"/>
                  <a:pt x="76" y="59"/>
                </a:cubicBezTo>
                <a:cubicBezTo>
                  <a:pt x="76" y="59"/>
                  <a:pt x="77" y="59"/>
                  <a:pt x="77" y="58"/>
                </a:cubicBezTo>
                <a:cubicBezTo>
                  <a:pt x="77" y="58"/>
                  <a:pt x="78" y="58"/>
                  <a:pt x="78" y="58"/>
                </a:cubicBezTo>
                <a:cubicBezTo>
                  <a:pt x="79" y="59"/>
                  <a:pt x="80" y="56"/>
                  <a:pt x="80" y="55"/>
                </a:cubicBezTo>
                <a:cubicBezTo>
                  <a:pt x="81" y="52"/>
                  <a:pt x="81" y="50"/>
                  <a:pt x="80" y="48"/>
                </a:cubicBezTo>
                <a:cubicBezTo>
                  <a:pt x="79" y="44"/>
                  <a:pt x="77" y="40"/>
                  <a:pt x="74" y="38"/>
                </a:cubicBezTo>
                <a:cubicBezTo>
                  <a:pt x="72" y="36"/>
                  <a:pt x="70" y="35"/>
                  <a:pt x="68" y="34"/>
                </a:cubicBezTo>
                <a:cubicBezTo>
                  <a:pt x="67" y="33"/>
                  <a:pt x="65" y="33"/>
                  <a:pt x="64" y="32"/>
                </a:cubicBezTo>
                <a:cubicBezTo>
                  <a:pt x="63" y="32"/>
                  <a:pt x="62" y="32"/>
                  <a:pt x="61" y="32"/>
                </a:cubicBezTo>
                <a:cubicBezTo>
                  <a:pt x="61" y="32"/>
                  <a:pt x="61" y="32"/>
                  <a:pt x="61" y="32"/>
                </a:cubicBezTo>
                <a:cubicBezTo>
                  <a:pt x="61" y="32"/>
                  <a:pt x="61" y="32"/>
                  <a:pt x="61" y="32"/>
                </a:cubicBezTo>
                <a:cubicBezTo>
                  <a:pt x="61" y="32"/>
                  <a:pt x="61" y="32"/>
                  <a:pt x="61" y="32"/>
                </a:cubicBezTo>
                <a:cubicBezTo>
                  <a:pt x="61" y="32"/>
                  <a:pt x="61" y="32"/>
                  <a:pt x="60" y="33"/>
                </a:cubicBezTo>
                <a:cubicBezTo>
                  <a:pt x="60" y="33"/>
                  <a:pt x="60" y="33"/>
                  <a:pt x="60" y="33"/>
                </a:cubicBezTo>
                <a:cubicBezTo>
                  <a:pt x="60" y="33"/>
                  <a:pt x="60" y="33"/>
                  <a:pt x="60" y="33"/>
                </a:cubicBezTo>
                <a:cubicBezTo>
                  <a:pt x="60" y="33"/>
                  <a:pt x="60" y="33"/>
                  <a:pt x="60" y="33"/>
                </a:cubicBezTo>
                <a:cubicBezTo>
                  <a:pt x="60" y="33"/>
                  <a:pt x="60" y="33"/>
                  <a:pt x="60" y="33"/>
                </a:cubicBezTo>
                <a:cubicBezTo>
                  <a:pt x="57" y="31"/>
                  <a:pt x="54" y="28"/>
                  <a:pt x="52" y="25"/>
                </a:cubicBezTo>
                <a:cubicBezTo>
                  <a:pt x="49" y="22"/>
                  <a:pt x="46" y="19"/>
                  <a:pt x="42" y="17"/>
                </a:cubicBezTo>
                <a:cubicBezTo>
                  <a:pt x="41" y="16"/>
                  <a:pt x="41" y="16"/>
                  <a:pt x="40" y="15"/>
                </a:cubicBezTo>
                <a:cubicBezTo>
                  <a:pt x="38" y="13"/>
                  <a:pt x="37" y="11"/>
                  <a:pt x="35" y="9"/>
                </a:cubicBezTo>
                <a:cubicBezTo>
                  <a:pt x="34" y="8"/>
                  <a:pt x="31" y="7"/>
                  <a:pt x="29" y="6"/>
                </a:cubicBezTo>
                <a:close/>
                <a:moveTo>
                  <a:pt x="78" y="57"/>
                </a:moveTo>
                <a:cubicBezTo>
                  <a:pt x="79" y="56"/>
                  <a:pt x="79" y="54"/>
                  <a:pt x="79" y="53"/>
                </a:cubicBezTo>
                <a:cubicBezTo>
                  <a:pt x="78" y="50"/>
                  <a:pt x="78" y="48"/>
                  <a:pt x="77" y="45"/>
                </a:cubicBezTo>
                <a:cubicBezTo>
                  <a:pt x="75" y="42"/>
                  <a:pt x="73" y="38"/>
                  <a:pt x="70" y="35"/>
                </a:cubicBezTo>
                <a:cubicBezTo>
                  <a:pt x="71" y="36"/>
                  <a:pt x="72" y="36"/>
                  <a:pt x="73" y="37"/>
                </a:cubicBezTo>
                <a:cubicBezTo>
                  <a:pt x="75" y="39"/>
                  <a:pt x="77" y="43"/>
                  <a:pt x="79" y="46"/>
                </a:cubicBezTo>
                <a:cubicBezTo>
                  <a:pt x="80" y="48"/>
                  <a:pt x="80" y="50"/>
                  <a:pt x="80" y="53"/>
                </a:cubicBezTo>
                <a:cubicBezTo>
                  <a:pt x="80" y="53"/>
                  <a:pt x="80" y="58"/>
                  <a:pt x="78" y="57"/>
                </a:cubicBezTo>
                <a:close/>
                <a:moveTo>
                  <a:pt x="57" y="40"/>
                </a:moveTo>
                <a:cubicBezTo>
                  <a:pt x="57" y="41"/>
                  <a:pt x="57" y="41"/>
                  <a:pt x="57" y="41"/>
                </a:cubicBezTo>
                <a:cubicBezTo>
                  <a:pt x="58" y="44"/>
                  <a:pt x="60" y="47"/>
                  <a:pt x="62" y="50"/>
                </a:cubicBezTo>
                <a:cubicBezTo>
                  <a:pt x="63" y="51"/>
                  <a:pt x="65" y="52"/>
                  <a:pt x="66" y="53"/>
                </a:cubicBezTo>
                <a:cubicBezTo>
                  <a:pt x="68" y="54"/>
                  <a:pt x="69" y="56"/>
                  <a:pt x="71" y="57"/>
                </a:cubicBezTo>
                <a:cubicBezTo>
                  <a:pt x="72" y="58"/>
                  <a:pt x="74" y="59"/>
                  <a:pt x="75" y="59"/>
                </a:cubicBezTo>
                <a:cubicBezTo>
                  <a:pt x="76" y="62"/>
                  <a:pt x="70" y="59"/>
                  <a:pt x="69" y="58"/>
                </a:cubicBezTo>
                <a:cubicBezTo>
                  <a:pt x="66" y="56"/>
                  <a:pt x="63" y="54"/>
                  <a:pt x="60" y="51"/>
                </a:cubicBezTo>
                <a:cubicBezTo>
                  <a:pt x="59" y="48"/>
                  <a:pt x="57" y="45"/>
                  <a:pt x="57" y="42"/>
                </a:cubicBezTo>
                <a:cubicBezTo>
                  <a:pt x="57" y="42"/>
                  <a:pt x="57" y="41"/>
                  <a:pt x="57" y="40"/>
                </a:cubicBezTo>
                <a:close/>
                <a:moveTo>
                  <a:pt x="61" y="33"/>
                </a:moveTo>
                <a:cubicBezTo>
                  <a:pt x="61" y="33"/>
                  <a:pt x="61" y="33"/>
                  <a:pt x="61" y="33"/>
                </a:cubicBezTo>
                <a:cubicBezTo>
                  <a:pt x="61" y="33"/>
                  <a:pt x="62" y="33"/>
                  <a:pt x="62" y="33"/>
                </a:cubicBezTo>
                <a:cubicBezTo>
                  <a:pt x="64" y="33"/>
                  <a:pt x="65" y="33"/>
                  <a:pt x="66" y="34"/>
                </a:cubicBezTo>
                <a:cubicBezTo>
                  <a:pt x="66" y="34"/>
                  <a:pt x="67" y="34"/>
                  <a:pt x="67" y="34"/>
                </a:cubicBezTo>
                <a:cubicBezTo>
                  <a:pt x="70" y="36"/>
                  <a:pt x="72" y="38"/>
                  <a:pt x="73" y="41"/>
                </a:cubicBezTo>
                <a:cubicBezTo>
                  <a:pt x="76" y="45"/>
                  <a:pt x="78" y="51"/>
                  <a:pt x="78" y="55"/>
                </a:cubicBezTo>
                <a:cubicBezTo>
                  <a:pt x="77" y="59"/>
                  <a:pt x="74" y="59"/>
                  <a:pt x="72" y="57"/>
                </a:cubicBezTo>
                <a:cubicBezTo>
                  <a:pt x="71" y="56"/>
                  <a:pt x="69" y="55"/>
                  <a:pt x="68" y="54"/>
                </a:cubicBezTo>
                <a:cubicBezTo>
                  <a:pt x="67" y="53"/>
                  <a:pt x="65" y="52"/>
                  <a:pt x="64" y="51"/>
                </a:cubicBezTo>
                <a:cubicBezTo>
                  <a:pt x="62" y="48"/>
                  <a:pt x="60" y="46"/>
                  <a:pt x="58" y="43"/>
                </a:cubicBezTo>
                <a:cubicBezTo>
                  <a:pt x="58" y="41"/>
                  <a:pt x="57" y="39"/>
                  <a:pt x="57" y="38"/>
                </a:cubicBezTo>
                <a:cubicBezTo>
                  <a:pt x="58" y="36"/>
                  <a:pt x="60" y="35"/>
                  <a:pt x="61" y="33"/>
                </a:cubicBezTo>
                <a:close/>
                <a:moveTo>
                  <a:pt x="21" y="7"/>
                </a:moveTo>
                <a:cubicBezTo>
                  <a:pt x="21" y="7"/>
                  <a:pt x="21" y="7"/>
                  <a:pt x="21" y="7"/>
                </a:cubicBezTo>
                <a:cubicBezTo>
                  <a:pt x="21" y="7"/>
                  <a:pt x="21" y="7"/>
                  <a:pt x="21" y="7"/>
                </a:cubicBezTo>
                <a:cubicBezTo>
                  <a:pt x="21" y="7"/>
                  <a:pt x="21" y="7"/>
                  <a:pt x="21" y="7"/>
                </a:cubicBezTo>
                <a:cubicBezTo>
                  <a:pt x="22" y="8"/>
                  <a:pt x="23" y="8"/>
                  <a:pt x="24" y="9"/>
                </a:cubicBezTo>
                <a:cubicBezTo>
                  <a:pt x="24" y="9"/>
                  <a:pt x="24" y="9"/>
                  <a:pt x="24" y="9"/>
                </a:cubicBezTo>
                <a:cubicBezTo>
                  <a:pt x="24" y="9"/>
                  <a:pt x="24" y="9"/>
                  <a:pt x="25" y="10"/>
                </a:cubicBezTo>
                <a:cubicBezTo>
                  <a:pt x="25" y="10"/>
                  <a:pt x="25" y="10"/>
                  <a:pt x="25" y="10"/>
                </a:cubicBezTo>
                <a:cubicBezTo>
                  <a:pt x="26" y="12"/>
                  <a:pt x="28" y="15"/>
                  <a:pt x="29" y="17"/>
                </a:cubicBezTo>
                <a:cubicBezTo>
                  <a:pt x="30" y="19"/>
                  <a:pt x="30" y="21"/>
                  <a:pt x="31" y="23"/>
                </a:cubicBezTo>
                <a:cubicBezTo>
                  <a:pt x="30" y="22"/>
                  <a:pt x="29" y="20"/>
                  <a:pt x="27" y="19"/>
                </a:cubicBezTo>
                <a:cubicBezTo>
                  <a:pt x="25" y="16"/>
                  <a:pt x="22" y="14"/>
                  <a:pt x="19" y="12"/>
                </a:cubicBezTo>
                <a:cubicBezTo>
                  <a:pt x="17" y="9"/>
                  <a:pt x="13" y="7"/>
                  <a:pt x="10" y="6"/>
                </a:cubicBezTo>
                <a:cubicBezTo>
                  <a:pt x="8" y="5"/>
                  <a:pt x="7" y="4"/>
                  <a:pt x="5" y="3"/>
                </a:cubicBezTo>
                <a:cubicBezTo>
                  <a:pt x="4" y="3"/>
                  <a:pt x="3" y="2"/>
                  <a:pt x="2" y="2"/>
                </a:cubicBezTo>
                <a:cubicBezTo>
                  <a:pt x="2" y="2"/>
                  <a:pt x="1" y="2"/>
                  <a:pt x="1" y="2"/>
                </a:cubicBezTo>
                <a:cubicBezTo>
                  <a:pt x="0" y="2"/>
                  <a:pt x="1" y="1"/>
                  <a:pt x="1" y="1"/>
                </a:cubicBezTo>
                <a:cubicBezTo>
                  <a:pt x="1" y="1"/>
                  <a:pt x="1" y="1"/>
                  <a:pt x="1" y="1"/>
                </a:cubicBezTo>
                <a:cubicBezTo>
                  <a:pt x="2" y="1"/>
                  <a:pt x="2" y="1"/>
                  <a:pt x="2" y="1"/>
                </a:cubicBezTo>
                <a:cubicBezTo>
                  <a:pt x="2" y="1"/>
                  <a:pt x="2" y="1"/>
                  <a:pt x="2" y="1"/>
                </a:cubicBezTo>
                <a:cubicBezTo>
                  <a:pt x="4" y="0"/>
                  <a:pt x="6" y="1"/>
                  <a:pt x="8" y="2"/>
                </a:cubicBezTo>
                <a:cubicBezTo>
                  <a:pt x="10" y="2"/>
                  <a:pt x="13" y="3"/>
                  <a:pt x="15" y="4"/>
                </a:cubicBezTo>
                <a:cubicBezTo>
                  <a:pt x="16" y="4"/>
                  <a:pt x="16" y="4"/>
                  <a:pt x="16" y="4"/>
                </a:cubicBezTo>
                <a:cubicBezTo>
                  <a:pt x="16" y="4"/>
                  <a:pt x="16" y="4"/>
                  <a:pt x="16" y="4"/>
                </a:cubicBezTo>
                <a:cubicBezTo>
                  <a:pt x="18" y="5"/>
                  <a:pt x="19" y="5"/>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1" y="6"/>
                  <a:pt x="21" y="6"/>
                  <a:pt x="21" y="6"/>
                </a:cubicBezTo>
                <a:cubicBezTo>
                  <a:pt x="21" y="7"/>
                  <a:pt x="21" y="7"/>
                  <a:pt x="21" y="7"/>
                </a:cubicBezTo>
                <a:close/>
                <a:moveTo>
                  <a:pt x="30" y="12"/>
                </a:moveTo>
                <a:cubicBezTo>
                  <a:pt x="33" y="14"/>
                  <a:pt x="35" y="16"/>
                  <a:pt x="38" y="17"/>
                </a:cubicBezTo>
                <a:cubicBezTo>
                  <a:pt x="38" y="17"/>
                  <a:pt x="39" y="17"/>
                  <a:pt x="39" y="18"/>
                </a:cubicBezTo>
                <a:cubicBezTo>
                  <a:pt x="39" y="18"/>
                  <a:pt x="40" y="18"/>
                  <a:pt x="40" y="19"/>
                </a:cubicBezTo>
                <a:cubicBezTo>
                  <a:pt x="40" y="19"/>
                  <a:pt x="40" y="19"/>
                  <a:pt x="40" y="19"/>
                </a:cubicBezTo>
                <a:cubicBezTo>
                  <a:pt x="40" y="19"/>
                  <a:pt x="41" y="19"/>
                  <a:pt x="41" y="20"/>
                </a:cubicBezTo>
                <a:cubicBezTo>
                  <a:pt x="41" y="21"/>
                  <a:pt x="42" y="22"/>
                  <a:pt x="42" y="22"/>
                </a:cubicBezTo>
                <a:cubicBezTo>
                  <a:pt x="42" y="24"/>
                  <a:pt x="43" y="25"/>
                  <a:pt x="43" y="26"/>
                </a:cubicBezTo>
                <a:cubicBezTo>
                  <a:pt x="44" y="29"/>
                  <a:pt x="45" y="32"/>
                  <a:pt x="46" y="35"/>
                </a:cubicBezTo>
                <a:cubicBezTo>
                  <a:pt x="46" y="37"/>
                  <a:pt x="47" y="40"/>
                  <a:pt x="48" y="43"/>
                </a:cubicBezTo>
                <a:cubicBezTo>
                  <a:pt x="47" y="42"/>
                  <a:pt x="45" y="41"/>
                  <a:pt x="44" y="40"/>
                </a:cubicBezTo>
                <a:cubicBezTo>
                  <a:pt x="41" y="38"/>
                  <a:pt x="38" y="35"/>
                  <a:pt x="36" y="32"/>
                </a:cubicBezTo>
                <a:cubicBezTo>
                  <a:pt x="32" y="26"/>
                  <a:pt x="31" y="20"/>
                  <a:pt x="28" y="14"/>
                </a:cubicBezTo>
                <a:cubicBezTo>
                  <a:pt x="27" y="13"/>
                  <a:pt x="27" y="11"/>
                  <a:pt x="26" y="10"/>
                </a:cubicBezTo>
                <a:cubicBezTo>
                  <a:pt x="26" y="10"/>
                  <a:pt x="26" y="10"/>
                  <a:pt x="26" y="10"/>
                </a:cubicBezTo>
                <a:cubicBezTo>
                  <a:pt x="27" y="11"/>
                  <a:pt x="29" y="12"/>
                  <a:pt x="30" y="12"/>
                </a:cubicBezTo>
                <a:close/>
                <a:moveTo>
                  <a:pt x="25" y="9"/>
                </a:moveTo>
                <a:cubicBezTo>
                  <a:pt x="24" y="9"/>
                  <a:pt x="24" y="8"/>
                  <a:pt x="23" y="8"/>
                </a:cubicBezTo>
                <a:cubicBezTo>
                  <a:pt x="26" y="9"/>
                  <a:pt x="28" y="10"/>
                  <a:pt x="31" y="11"/>
                </a:cubicBezTo>
                <a:cubicBezTo>
                  <a:pt x="33" y="12"/>
                  <a:pt x="36" y="14"/>
                  <a:pt x="39" y="16"/>
                </a:cubicBezTo>
                <a:cubicBezTo>
                  <a:pt x="39" y="16"/>
                  <a:pt x="39" y="16"/>
                  <a:pt x="39" y="16"/>
                </a:cubicBezTo>
                <a:cubicBezTo>
                  <a:pt x="39" y="16"/>
                  <a:pt x="39" y="16"/>
                  <a:pt x="40" y="16"/>
                </a:cubicBezTo>
                <a:cubicBezTo>
                  <a:pt x="40" y="16"/>
                  <a:pt x="40" y="16"/>
                  <a:pt x="40" y="16"/>
                </a:cubicBezTo>
                <a:cubicBezTo>
                  <a:pt x="41" y="17"/>
                  <a:pt x="42" y="17"/>
                  <a:pt x="42" y="18"/>
                </a:cubicBezTo>
                <a:cubicBezTo>
                  <a:pt x="46" y="20"/>
                  <a:pt x="49" y="23"/>
                  <a:pt x="52" y="26"/>
                </a:cubicBezTo>
                <a:cubicBezTo>
                  <a:pt x="54" y="29"/>
                  <a:pt x="56" y="32"/>
                  <a:pt x="59" y="33"/>
                </a:cubicBezTo>
                <a:cubicBezTo>
                  <a:pt x="59" y="33"/>
                  <a:pt x="59" y="34"/>
                  <a:pt x="59" y="34"/>
                </a:cubicBezTo>
                <a:cubicBezTo>
                  <a:pt x="59" y="34"/>
                  <a:pt x="59" y="34"/>
                  <a:pt x="58" y="34"/>
                </a:cubicBezTo>
                <a:cubicBezTo>
                  <a:pt x="57" y="32"/>
                  <a:pt x="55" y="31"/>
                  <a:pt x="54" y="30"/>
                </a:cubicBezTo>
                <a:cubicBezTo>
                  <a:pt x="52" y="28"/>
                  <a:pt x="51" y="26"/>
                  <a:pt x="49" y="25"/>
                </a:cubicBezTo>
                <a:cubicBezTo>
                  <a:pt x="46" y="21"/>
                  <a:pt x="42" y="19"/>
                  <a:pt x="38" y="16"/>
                </a:cubicBezTo>
                <a:cubicBezTo>
                  <a:pt x="35" y="15"/>
                  <a:pt x="32" y="13"/>
                  <a:pt x="29" y="11"/>
                </a:cubicBezTo>
                <a:cubicBezTo>
                  <a:pt x="28" y="11"/>
                  <a:pt x="27" y="10"/>
                  <a:pt x="25" y="9"/>
                </a:cubicBezTo>
                <a:close/>
                <a:moveTo>
                  <a:pt x="35" y="10"/>
                </a:moveTo>
                <a:cubicBezTo>
                  <a:pt x="36" y="11"/>
                  <a:pt x="37" y="13"/>
                  <a:pt x="38" y="14"/>
                </a:cubicBezTo>
                <a:cubicBezTo>
                  <a:pt x="36" y="13"/>
                  <a:pt x="33" y="11"/>
                  <a:pt x="31" y="10"/>
                </a:cubicBezTo>
                <a:cubicBezTo>
                  <a:pt x="28" y="9"/>
                  <a:pt x="25" y="7"/>
                  <a:pt x="21" y="6"/>
                </a:cubicBezTo>
                <a:cubicBezTo>
                  <a:pt x="20" y="5"/>
                  <a:pt x="19" y="5"/>
                  <a:pt x="18" y="4"/>
                </a:cubicBezTo>
                <a:cubicBezTo>
                  <a:pt x="21" y="4"/>
                  <a:pt x="25" y="5"/>
                  <a:pt x="29" y="7"/>
                </a:cubicBezTo>
                <a:cubicBezTo>
                  <a:pt x="31" y="7"/>
                  <a:pt x="33" y="8"/>
                  <a:pt x="35" y="10"/>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4" name="Freeform 4765"/>
          <p:cNvSpPr>
            <a:spLocks/>
          </p:cNvSpPr>
          <p:nvPr/>
        </p:nvSpPr>
        <p:spPr bwMode="auto">
          <a:xfrm>
            <a:off x="6108491" y="4577085"/>
            <a:ext cx="51605" cy="60452"/>
          </a:xfrm>
          <a:custGeom>
            <a:avLst/>
            <a:gdLst>
              <a:gd name="T0" fmla="*/ 0 w 19"/>
              <a:gd name="T1" fmla="*/ 0 h 22"/>
              <a:gd name="T2" fmla="*/ 0 w 19"/>
              <a:gd name="T3" fmla="*/ 1 h 22"/>
              <a:gd name="T4" fmla="*/ 5 w 19"/>
              <a:gd name="T5" fmla="*/ 10 h 22"/>
              <a:gd name="T6" fmla="*/ 9 w 19"/>
              <a:gd name="T7" fmla="*/ 13 h 22"/>
              <a:gd name="T8" fmla="*/ 14 w 19"/>
              <a:gd name="T9" fmla="*/ 17 h 22"/>
              <a:gd name="T10" fmla="*/ 18 w 19"/>
              <a:gd name="T11" fmla="*/ 19 h 22"/>
              <a:gd name="T12" fmla="*/ 12 w 19"/>
              <a:gd name="T13" fmla="*/ 18 h 22"/>
              <a:gd name="T14" fmla="*/ 3 w 19"/>
              <a:gd name="T15" fmla="*/ 11 h 22"/>
              <a:gd name="T16" fmla="*/ 0 w 19"/>
              <a:gd name="T17" fmla="*/ 2 h 22"/>
              <a:gd name="T18" fmla="*/ 0 w 19"/>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2">
                <a:moveTo>
                  <a:pt x="0" y="0"/>
                </a:moveTo>
                <a:cubicBezTo>
                  <a:pt x="0" y="1"/>
                  <a:pt x="0" y="1"/>
                  <a:pt x="0" y="1"/>
                </a:cubicBezTo>
                <a:cubicBezTo>
                  <a:pt x="1" y="4"/>
                  <a:pt x="3" y="7"/>
                  <a:pt x="5" y="10"/>
                </a:cubicBezTo>
                <a:cubicBezTo>
                  <a:pt x="6" y="11"/>
                  <a:pt x="8" y="12"/>
                  <a:pt x="9" y="13"/>
                </a:cubicBezTo>
                <a:cubicBezTo>
                  <a:pt x="11" y="14"/>
                  <a:pt x="12" y="16"/>
                  <a:pt x="14" y="17"/>
                </a:cubicBezTo>
                <a:cubicBezTo>
                  <a:pt x="15" y="18"/>
                  <a:pt x="17" y="19"/>
                  <a:pt x="18" y="19"/>
                </a:cubicBezTo>
                <a:cubicBezTo>
                  <a:pt x="19" y="22"/>
                  <a:pt x="13" y="19"/>
                  <a:pt x="12" y="18"/>
                </a:cubicBezTo>
                <a:cubicBezTo>
                  <a:pt x="9" y="16"/>
                  <a:pt x="6" y="14"/>
                  <a:pt x="3" y="11"/>
                </a:cubicBezTo>
                <a:cubicBezTo>
                  <a:pt x="2" y="8"/>
                  <a:pt x="0" y="5"/>
                  <a:pt x="0" y="2"/>
                </a:cubicBezTo>
                <a:cubicBezTo>
                  <a:pt x="0" y="2"/>
                  <a:pt x="0" y="1"/>
                  <a:pt x="0" y="0"/>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5" name="Freeform 4766"/>
          <p:cNvSpPr>
            <a:spLocks/>
          </p:cNvSpPr>
          <p:nvPr/>
        </p:nvSpPr>
        <p:spPr bwMode="auto">
          <a:xfrm>
            <a:off x="6108491" y="4557918"/>
            <a:ext cx="57503" cy="70774"/>
          </a:xfrm>
          <a:custGeom>
            <a:avLst/>
            <a:gdLst>
              <a:gd name="T0" fmla="*/ 4 w 21"/>
              <a:gd name="T1" fmla="*/ 0 h 26"/>
              <a:gd name="T2" fmla="*/ 4 w 21"/>
              <a:gd name="T3" fmla="*/ 0 h 26"/>
              <a:gd name="T4" fmla="*/ 5 w 21"/>
              <a:gd name="T5" fmla="*/ 0 h 26"/>
              <a:gd name="T6" fmla="*/ 9 w 21"/>
              <a:gd name="T7" fmla="*/ 1 h 26"/>
              <a:gd name="T8" fmla="*/ 10 w 21"/>
              <a:gd name="T9" fmla="*/ 1 h 26"/>
              <a:gd name="T10" fmla="*/ 16 w 21"/>
              <a:gd name="T11" fmla="*/ 8 h 26"/>
              <a:gd name="T12" fmla="*/ 21 w 21"/>
              <a:gd name="T13" fmla="*/ 22 h 26"/>
              <a:gd name="T14" fmla="*/ 15 w 21"/>
              <a:gd name="T15" fmla="*/ 24 h 26"/>
              <a:gd name="T16" fmla="*/ 11 w 21"/>
              <a:gd name="T17" fmla="*/ 21 h 26"/>
              <a:gd name="T18" fmla="*/ 7 w 21"/>
              <a:gd name="T19" fmla="*/ 18 h 26"/>
              <a:gd name="T20" fmla="*/ 1 w 21"/>
              <a:gd name="T21" fmla="*/ 10 h 26"/>
              <a:gd name="T22" fmla="*/ 0 w 21"/>
              <a:gd name="T23" fmla="*/ 5 h 26"/>
              <a:gd name="T24" fmla="*/ 4 w 21"/>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6">
                <a:moveTo>
                  <a:pt x="4" y="0"/>
                </a:moveTo>
                <a:cubicBezTo>
                  <a:pt x="4" y="0"/>
                  <a:pt x="4" y="0"/>
                  <a:pt x="4" y="0"/>
                </a:cubicBezTo>
                <a:cubicBezTo>
                  <a:pt x="4" y="0"/>
                  <a:pt x="5" y="0"/>
                  <a:pt x="5" y="0"/>
                </a:cubicBezTo>
                <a:cubicBezTo>
                  <a:pt x="7" y="0"/>
                  <a:pt x="8" y="0"/>
                  <a:pt x="9" y="1"/>
                </a:cubicBezTo>
                <a:cubicBezTo>
                  <a:pt x="9" y="1"/>
                  <a:pt x="10" y="1"/>
                  <a:pt x="10" y="1"/>
                </a:cubicBezTo>
                <a:cubicBezTo>
                  <a:pt x="13" y="3"/>
                  <a:pt x="15" y="5"/>
                  <a:pt x="16" y="8"/>
                </a:cubicBezTo>
                <a:cubicBezTo>
                  <a:pt x="19" y="12"/>
                  <a:pt x="21" y="18"/>
                  <a:pt x="21" y="22"/>
                </a:cubicBezTo>
                <a:cubicBezTo>
                  <a:pt x="20" y="26"/>
                  <a:pt x="17" y="26"/>
                  <a:pt x="15" y="24"/>
                </a:cubicBezTo>
                <a:cubicBezTo>
                  <a:pt x="14" y="23"/>
                  <a:pt x="13" y="22"/>
                  <a:pt x="11" y="21"/>
                </a:cubicBezTo>
                <a:cubicBezTo>
                  <a:pt x="10" y="20"/>
                  <a:pt x="8" y="19"/>
                  <a:pt x="7" y="18"/>
                </a:cubicBezTo>
                <a:cubicBezTo>
                  <a:pt x="5" y="15"/>
                  <a:pt x="3" y="13"/>
                  <a:pt x="1" y="10"/>
                </a:cubicBezTo>
                <a:cubicBezTo>
                  <a:pt x="1" y="8"/>
                  <a:pt x="0" y="6"/>
                  <a:pt x="0" y="5"/>
                </a:cubicBezTo>
                <a:cubicBezTo>
                  <a:pt x="1" y="3"/>
                  <a:pt x="3" y="2"/>
                  <a:pt x="4" y="0"/>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6" name="Freeform 4767"/>
          <p:cNvSpPr>
            <a:spLocks/>
          </p:cNvSpPr>
          <p:nvPr/>
        </p:nvSpPr>
        <p:spPr bwMode="auto">
          <a:xfrm>
            <a:off x="6143877" y="4563817"/>
            <a:ext cx="26540" cy="61927"/>
          </a:xfrm>
          <a:custGeom>
            <a:avLst/>
            <a:gdLst>
              <a:gd name="T0" fmla="*/ 8 w 10"/>
              <a:gd name="T1" fmla="*/ 22 h 23"/>
              <a:gd name="T2" fmla="*/ 9 w 10"/>
              <a:gd name="T3" fmla="*/ 18 h 23"/>
              <a:gd name="T4" fmla="*/ 7 w 10"/>
              <a:gd name="T5" fmla="*/ 10 h 23"/>
              <a:gd name="T6" fmla="*/ 0 w 10"/>
              <a:gd name="T7" fmla="*/ 0 h 23"/>
              <a:gd name="T8" fmla="*/ 3 w 10"/>
              <a:gd name="T9" fmla="*/ 2 h 23"/>
              <a:gd name="T10" fmla="*/ 9 w 10"/>
              <a:gd name="T11" fmla="*/ 11 h 23"/>
              <a:gd name="T12" fmla="*/ 10 w 10"/>
              <a:gd name="T13" fmla="*/ 18 h 23"/>
              <a:gd name="T14" fmla="*/ 8 w 10"/>
              <a:gd name="T15" fmla="*/ 2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3">
                <a:moveTo>
                  <a:pt x="8" y="22"/>
                </a:moveTo>
                <a:cubicBezTo>
                  <a:pt x="9" y="21"/>
                  <a:pt x="9" y="19"/>
                  <a:pt x="9" y="18"/>
                </a:cubicBezTo>
                <a:cubicBezTo>
                  <a:pt x="8" y="15"/>
                  <a:pt x="8" y="13"/>
                  <a:pt x="7" y="10"/>
                </a:cubicBezTo>
                <a:cubicBezTo>
                  <a:pt x="5" y="7"/>
                  <a:pt x="3" y="3"/>
                  <a:pt x="0" y="0"/>
                </a:cubicBezTo>
                <a:cubicBezTo>
                  <a:pt x="1" y="1"/>
                  <a:pt x="2" y="1"/>
                  <a:pt x="3" y="2"/>
                </a:cubicBezTo>
                <a:cubicBezTo>
                  <a:pt x="5" y="4"/>
                  <a:pt x="7" y="8"/>
                  <a:pt x="9" y="11"/>
                </a:cubicBezTo>
                <a:cubicBezTo>
                  <a:pt x="10" y="13"/>
                  <a:pt x="10" y="15"/>
                  <a:pt x="10" y="18"/>
                </a:cubicBezTo>
                <a:cubicBezTo>
                  <a:pt x="10" y="18"/>
                  <a:pt x="10" y="23"/>
                  <a:pt x="8" y="22"/>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7" name="Freeform 4768"/>
          <p:cNvSpPr>
            <a:spLocks/>
          </p:cNvSpPr>
          <p:nvPr/>
        </p:nvSpPr>
        <p:spPr bwMode="auto">
          <a:xfrm>
            <a:off x="6015601" y="4490093"/>
            <a:ext cx="97313" cy="70774"/>
          </a:xfrm>
          <a:custGeom>
            <a:avLst/>
            <a:gdLst>
              <a:gd name="T0" fmla="*/ 17 w 36"/>
              <a:gd name="T1" fmla="*/ 8 h 26"/>
              <a:gd name="T2" fmla="*/ 17 w 36"/>
              <a:gd name="T3" fmla="*/ 8 h 26"/>
              <a:gd name="T4" fmla="*/ 19 w 36"/>
              <a:gd name="T5" fmla="*/ 10 h 26"/>
              <a:gd name="T6" fmla="*/ 29 w 36"/>
              <a:gd name="T7" fmla="*/ 18 h 26"/>
              <a:gd name="T8" fmla="*/ 36 w 36"/>
              <a:gd name="T9" fmla="*/ 25 h 26"/>
              <a:gd name="T10" fmla="*/ 36 w 36"/>
              <a:gd name="T11" fmla="*/ 26 h 26"/>
              <a:gd name="T12" fmla="*/ 35 w 36"/>
              <a:gd name="T13" fmla="*/ 26 h 26"/>
              <a:gd name="T14" fmla="*/ 31 w 36"/>
              <a:gd name="T15" fmla="*/ 22 h 26"/>
              <a:gd name="T16" fmla="*/ 26 w 36"/>
              <a:gd name="T17" fmla="*/ 17 h 26"/>
              <a:gd name="T18" fmla="*/ 15 w 36"/>
              <a:gd name="T19" fmla="*/ 8 h 26"/>
              <a:gd name="T20" fmla="*/ 6 w 36"/>
              <a:gd name="T21" fmla="*/ 3 h 26"/>
              <a:gd name="T22" fmla="*/ 2 w 36"/>
              <a:gd name="T23" fmla="*/ 1 h 26"/>
              <a:gd name="T24" fmla="*/ 0 w 36"/>
              <a:gd name="T25" fmla="*/ 0 h 26"/>
              <a:gd name="T26" fmla="*/ 8 w 36"/>
              <a:gd name="T27" fmla="*/ 3 h 26"/>
              <a:gd name="T28" fmla="*/ 16 w 36"/>
              <a:gd name="T29" fmla="*/ 8 h 26"/>
              <a:gd name="T30" fmla="*/ 16 w 36"/>
              <a:gd name="T31" fmla="*/ 8 h 26"/>
              <a:gd name="T32" fmla="*/ 17 w 36"/>
              <a:gd name="T33"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
                <a:moveTo>
                  <a:pt x="17" y="8"/>
                </a:moveTo>
                <a:cubicBezTo>
                  <a:pt x="17" y="8"/>
                  <a:pt x="17" y="8"/>
                  <a:pt x="17" y="8"/>
                </a:cubicBezTo>
                <a:cubicBezTo>
                  <a:pt x="18" y="9"/>
                  <a:pt x="19" y="9"/>
                  <a:pt x="19" y="10"/>
                </a:cubicBezTo>
                <a:cubicBezTo>
                  <a:pt x="23" y="12"/>
                  <a:pt x="26" y="15"/>
                  <a:pt x="29" y="18"/>
                </a:cubicBezTo>
                <a:cubicBezTo>
                  <a:pt x="31" y="21"/>
                  <a:pt x="33" y="24"/>
                  <a:pt x="36" y="25"/>
                </a:cubicBezTo>
                <a:cubicBezTo>
                  <a:pt x="36" y="25"/>
                  <a:pt x="36" y="26"/>
                  <a:pt x="36" y="26"/>
                </a:cubicBezTo>
                <a:cubicBezTo>
                  <a:pt x="36" y="26"/>
                  <a:pt x="36" y="26"/>
                  <a:pt x="35" y="26"/>
                </a:cubicBezTo>
                <a:cubicBezTo>
                  <a:pt x="34" y="24"/>
                  <a:pt x="32" y="23"/>
                  <a:pt x="31" y="22"/>
                </a:cubicBezTo>
                <a:cubicBezTo>
                  <a:pt x="29" y="20"/>
                  <a:pt x="28" y="18"/>
                  <a:pt x="26" y="17"/>
                </a:cubicBezTo>
                <a:cubicBezTo>
                  <a:pt x="23" y="13"/>
                  <a:pt x="19" y="11"/>
                  <a:pt x="15" y="8"/>
                </a:cubicBezTo>
                <a:cubicBezTo>
                  <a:pt x="12" y="7"/>
                  <a:pt x="9" y="5"/>
                  <a:pt x="6" y="3"/>
                </a:cubicBezTo>
                <a:cubicBezTo>
                  <a:pt x="5" y="3"/>
                  <a:pt x="4" y="2"/>
                  <a:pt x="2" y="1"/>
                </a:cubicBezTo>
                <a:cubicBezTo>
                  <a:pt x="1" y="1"/>
                  <a:pt x="1" y="0"/>
                  <a:pt x="0" y="0"/>
                </a:cubicBezTo>
                <a:cubicBezTo>
                  <a:pt x="3" y="1"/>
                  <a:pt x="5" y="2"/>
                  <a:pt x="8" y="3"/>
                </a:cubicBezTo>
                <a:cubicBezTo>
                  <a:pt x="10" y="4"/>
                  <a:pt x="13" y="6"/>
                  <a:pt x="16" y="8"/>
                </a:cubicBezTo>
                <a:cubicBezTo>
                  <a:pt x="16" y="8"/>
                  <a:pt x="16" y="8"/>
                  <a:pt x="16" y="8"/>
                </a:cubicBezTo>
                <a:cubicBezTo>
                  <a:pt x="16" y="8"/>
                  <a:pt x="16" y="8"/>
                  <a:pt x="17" y="8"/>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8" name="Freeform 4769"/>
          <p:cNvSpPr>
            <a:spLocks/>
          </p:cNvSpPr>
          <p:nvPr/>
        </p:nvSpPr>
        <p:spPr bwMode="auto">
          <a:xfrm>
            <a:off x="6022973" y="4494518"/>
            <a:ext cx="60452" cy="89941"/>
          </a:xfrm>
          <a:custGeom>
            <a:avLst/>
            <a:gdLst>
              <a:gd name="T0" fmla="*/ 14 w 22"/>
              <a:gd name="T1" fmla="*/ 9 h 33"/>
              <a:gd name="T2" fmla="*/ 14 w 22"/>
              <a:gd name="T3" fmla="*/ 9 h 33"/>
              <a:gd name="T4" fmla="*/ 15 w 22"/>
              <a:gd name="T5" fmla="*/ 10 h 33"/>
              <a:gd name="T6" fmla="*/ 16 w 22"/>
              <a:gd name="T7" fmla="*/ 12 h 33"/>
              <a:gd name="T8" fmla="*/ 17 w 22"/>
              <a:gd name="T9" fmla="*/ 16 h 33"/>
              <a:gd name="T10" fmla="*/ 20 w 22"/>
              <a:gd name="T11" fmla="*/ 25 h 33"/>
              <a:gd name="T12" fmla="*/ 22 w 22"/>
              <a:gd name="T13" fmla="*/ 33 h 33"/>
              <a:gd name="T14" fmla="*/ 18 w 22"/>
              <a:gd name="T15" fmla="*/ 30 h 33"/>
              <a:gd name="T16" fmla="*/ 10 w 22"/>
              <a:gd name="T17" fmla="*/ 22 h 33"/>
              <a:gd name="T18" fmla="*/ 2 w 22"/>
              <a:gd name="T19" fmla="*/ 4 h 33"/>
              <a:gd name="T20" fmla="*/ 0 w 22"/>
              <a:gd name="T21" fmla="*/ 0 h 33"/>
              <a:gd name="T22" fmla="*/ 0 w 22"/>
              <a:gd name="T23" fmla="*/ 0 h 33"/>
              <a:gd name="T24" fmla="*/ 4 w 22"/>
              <a:gd name="T25" fmla="*/ 2 h 33"/>
              <a:gd name="T26" fmla="*/ 12 w 22"/>
              <a:gd name="T27" fmla="*/ 7 h 33"/>
              <a:gd name="T28" fmla="*/ 13 w 22"/>
              <a:gd name="T29" fmla="*/ 8 h 33"/>
              <a:gd name="T30" fmla="*/ 14 w 22"/>
              <a:gd name="T31"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3">
                <a:moveTo>
                  <a:pt x="14" y="9"/>
                </a:moveTo>
                <a:cubicBezTo>
                  <a:pt x="14" y="9"/>
                  <a:pt x="14" y="9"/>
                  <a:pt x="14" y="9"/>
                </a:cubicBezTo>
                <a:cubicBezTo>
                  <a:pt x="14" y="9"/>
                  <a:pt x="15" y="9"/>
                  <a:pt x="15" y="10"/>
                </a:cubicBezTo>
                <a:cubicBezTo>
                  <a:pt x="15" y="11"/>
                  <a:pt x="16" y="12"/>
                  <a:pt x="16" y="12"/>
                </a:cubicBezTo>
                <a:cubicBezTo>
                  <a:pt x="16" y="14"/>
                  <a:pt x="17" y="15"/>
                  <a:pt x="17" y="16"/>
                </a:cubicBezTo>
                <a:cubicBezTo>
                  <a:pt x="18" y="19"/>
                  <a:pt x="19" y="22"/>
                  <a:pt x="20" y="25"/>
                </a:cubicBezTo>
                <a:cubicBezTo>
                  <a:pt x="20" y="27"/>
                  <a:pt x="21" y="30"/>
                  <a:pt x="22" y="33"/>
                </a:cubicBezTo>
                <a:cubicBezTo>
                  <a:pt x="21" y="32"/>
                  <a:pt x="19" y="31"/>
                  <a:pt x="18" y="30"/>
                </a:cubicBezTo>
                <a:cubicBezTo>
                  <a:pt x="15" y="28"/>
                  <a:pt x="12" y="25"/>
                  <a:pt x="10" y="22"/>
                </a:cubicBezTo>
                <a:cubicBezTo>
                  <a:pt x="6" y="16"/>
                  <a:pt x="5" y="10"/>
                  <a:pt x="2" y="4"/>
                </a:cubicBezTo>
                <a:cubicBezTo>
                  <a:pt x="1" y="3"/>
                  <a:pt x="1" y="1"/>
                  <a:pt x="0" y="0"/>
                </a:cubicBezTo>
                <a:cubicBezTo>
                  <a:pt x="0" y="0"/>
                  <a:pt x="0" y="0"/>
                  <a:pt x="0" y="0"/>
                </a:cubicBezTo>
                <a:cubicBezTo>
                  <a:pt x="1" y="1"/>
                  <a:pt x="3" y="2"/>
                  <a:pt x="4" y="2"/>
                </a:cubicBezTo>
                <a:cubicBezTo>
                  <a:pt x="7" y="4"/>
                  <a:pt x="9" y="6"/>
                  <a:pt x="12" y="7"/>
                </a:cubicBezTo>
                <a:cubicBezTo>
                  <a:pt x="12" y="7"/>
                  <a:pt x="13" y="7"/>
                  <a:pt x="13" y="8"/>
                </a:cubicBezTo>
                <a:cubicBezTo>
                  <a:pt x="13" y="8"/>
                  <a:pt x="14" y="8"/>
                  <a:pt x="14" y="9"/>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9" name="Freeform 4770"/>
          <p:cNvSpPr>
            <a:spLocks/>
          </p:cNvSpPr>
          <p:nvPr/>
        </p:nvSpPr>
        <p:spPr bwMode="auto">
          <a:xfrm>
            <a:off x="6002331" y="4478298"/>
            <a:ext cx="54554" cy="28014"/>
          </a:xfrm>
          <a:custGeom>
            <a:avLst/>
            <a:gdLst>
              <a:gd name="T0" fmla="*/ 17 w 20"/>
              <a:gd name="T1" fmla="*/ 6 h 10"/>
              <a:gd name="T2" fmla="*/ 20 w 20"/>
              <a:gd name="T3" fmla="*/ 10 h 10"/>
              <a:gd name="T4" fmla="*/ 13 w 20"/>
              <a:gd name="T5" fmla="*/ 6 h 10"/>
              <a:gd name="T6" fmla="*/ 3 w 20"/>
              <a:gd name="T7" fmla="*/ 2 h 10"/>
              <a:gd name="T8" fmla="*/ 0 w 20"/>
              <a:gd name="T9" fmla="*/ 0 h 10"/>
              <a:gd name="T10" fmla="*/ 11 w 20"/>
              <a:gd name="T11" fmla="*/ 3 h 10"/>
              <a:gd name="T12" fmla="*/ 17 w 2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20" h="10">
                <a:moveTo>
                  <a:pt x="17" y="6"/>
                </a:moveTo>
                <a:cubicBezTo>
                  <a:pt x="18" y="7"/>
                  <a:pt x="19" y="9"/>
                  <a:pt x="20" y="10"/>
                </a:cubicBezTo>
                <a:cubicBezTo>
                  <a:pt x="18" y="9"/>
                  <a:pt x="15" y="7"/>
                  <a:pt x="13" y="6"/>
                </a:cubicBezTo>
                <a:cubicBezTo>
                  <a:pt x="10" y="5"/>
                  <a:pt x="7" y="3"/>
                  <a:pt x="3" y="2"/>
                </a:cubicBezTo>
                <a:cubicBezTo>
                  <a:pt x="2" y="1"/>
                  <a:pt x="1" y="1"/>
                  <a:pt x="0" y="0"/>
                </a:cubicBezTo>
                <a:cubicBezTo>
                  <a:pt x="3" y="0"/>
                  <a:pt x="7" y="1"/>
                  <a:pt x="11" y="3"/>
                </a:cubicBezTo>
                <a:cubicBezTo>
                  <a:pt x="13" y="3"/>
                  <a:pt x="15" y="4"/>
                  <a:pt x="17" y="6"/>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0" name="Freeform 4771"/>
          <p:cNvSpPr>
            <a:spLocks/>
          </p:cNvSpPr>
          <p:nvPr/>
        </p:nvSpPr>
        <p:spPr bwMode="auto">
          <a:xfrm>
            <a:off x="6006755" y="4484196"/>
            <a:ext cx="2949" cy="2949"/>
          </a:xfrm>
          <a:custGeom>
            <a:avLst/>
            <a:gdLst>
              <a:gd name="T0" fmla="*/ 0 w 1"/>
              <a:gd name="T1" fmla="*/ 0 h 1"/>
              <a:gd name="T2" fmla="*/ 0 w 1"/>
              <a:gd name="T3" fmla="*/ 0 h 1"/>
              <a:gd name="T4" fmla="*/ 0 w 1"/>
              <a:gd name="T5" fmla="*/ 0 h 1"/>
              <a:gd name="T6" fmla="*/ 1 w 1"/>
              <a:gd name="T7" fmla="*/ 0 h 1"/>
              <a:gd name="T8" fmla="*/ 1 w 1"/>
              <a:gd name="T9" fmla="*/ 1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0"/>
                </a:moveTo>
                <a:cubicBezTo>
                  <a:pt x="0" y="0"/>
                  <a:pt x="0" y="0"/>
                  <a:pt x="0" y="0"/>
                </a:cubicBezTo>
                <a:cubicBezTo>
                  <a:pt x="0" y="0"/>
                  <a:pt x="0" y="0"/>
                  <a:pt x="0" y="0"/>
                </a:cubicBezTo>
                <a:cubicBezTo>
                  <a:pt x="1" y="0"/>
                  <a:pt x="1" y="0"/>
                  <a:pt x="1" y="0"/>
                </a:cubicBezTo>
                <a:cubicBezTo>
                  <a:pt x="1" y="1"/>
                  <a:pt x="1" y="1"/>
                  <a:pt x="1" y="1"/>
                </a:cubicBezTo>
                <a:cubicBezTo>
                  <a:pt x="1" y="1"/>
                  <a:pt x="1" y="1"/>
                  <a:pt x="1" y="1"/>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1" name="Freeform 4772"/>
          <p:cNvSpPr>
            <a:spLocks/>
          </p:cNvSpPr>
          <p:nvPr/>
        </p:nvSpPr>
        <p:spPr bwMode="auto">
          <a:xfrm>
            <a:off x="5952200" y="4467978"/>
            <a:ext cx="85518" cy="61927"/>
          </a:xfrm>
          <a:custGeom>
            <a:avLst/>
            <a:gdLst>
              <a:gd name="T0" fmla="*/ 21 w 31"/>
              <a:gd name="T1" fmla="*/ 7 h 23"/>
              <a:gd name="T2" fmla="*/ 21 w 31"/>
              <a:gd name="T3" fmla="*/ 7 h 23"/>
              <a:gd name="T4" fmla="*/ 21 w 31"/>
              <a:gd name="T5" fmla="*/ 7 h 23"/>
              <a:gd name="T6" fmla="*/ 24 w 31"/>
              <a:gd name="T7" fmla="*/ 9 h 23"/>
              <a:gd name="T8" fmla="*/ 24 w 31"/>
              <a:gd name="T9" fmla="*/ 9 h 23"/>
              <a:gd name="T10" fmla="*/ 25 w 31"/>
              <a:gd name="T11" fmla="*/ 10 h 23"/>
              <a:gd name="T12" fmla="*/ 25 w 31"/>
              <a:gd name="T13" fmla="*/ 10 h 23"/>
              <a:gd name="T14" fmla="*/ 29 w 31"/>
              <a:gd name="T15" fmla="*/ 17 h 23"/>
              <a:gd name="T16" fmla="*/ 31 w 31"/>
              <a:gd name="T17" fmla="*/ 23 h 23"/>
              <a:gd name="T18" fmla="*/ 27 w 31"/>
              <a:gd name="T19" fmla="*/ 19 h 23"/>
              <a:gd name="T20" fmla="*/ 19 w 31"/>
              <a:gd name="T21" fmla="*/ 12 h 23"/>
              <a:gd name="T22" fmla="*/ 10 w 31"/>
              <a:gd name="T23" fmla="*/ 6 h 23"/>
              <a:gd name="T24" fmla="*/ 5 w 31"/>
              <a:gd name="T25" fmla="*/ 3 h 23"/>
              <a:gd name="T26" fmla="*/ 2 w 31"/>
              <a:gd name="T27" fmla="*/ 2 h 23"/>
              <a:gd name="T28" fmla="*/ 1 w 31"/>
              <a:gd name="T29" fmla="*/ 2 h 23"/>
              <a:gd name="T30" fmla="*/ 1 w 31"/>
              <a:gd name="T31" fmla="*/ 1 h 23"/>
              <a:gd name="T32" fmla="*/ 1 w 31"/>
              <a:gd name="T33" fmla="*/ 1 h 23"/>
              <a:gd name="T34" fmla="*/ 2 w 31"/>
              <a:gd name="T35" fmla="*/ 1 h 23"/>
              <a:gd name="T36" fmla="*/ 2 w 31"/>
              <a:gd name="T37" fmla="*/ 1 h 23"/>
              <a:gd name="T38" fmla="*/ 8 w 31"/>
              <a:gd name="T39" fmla="*/ 2 h 23"/>
              <a:gd name="T40" fmla="*/ 15 w 31"/>
              <a:gd name="T41" fmla="*/ 4 h 23"/>
              <a:gd name="T42" fmla="*/ 16 w 31"/>
              <a:gd name="T43" fmla="*/ 4 h 23"/>
              <a:gd name="T44" fmla="*/ 16 w 31"/>
              <a:gd name="T45" fmla="*/ 4 h 23"/>
              <a:gd name="T46" fmla="*/ 20 w 31"/>
              <a:gd name="T4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3">
                <a:moveTo>
                  <a:pt x="21" y="7"/>
                </a:moveTo>
                <a:cubicBezTo>
                  <a:pt x="21" y="7"/>
                  <a:pt x="21" y="7"/>
                  <a:pt x="21" y="7"/>
                </a:cubicBezTo>
                <a:cubicBezTo>
                  <a:pt x="21" y="7"/>
                  <a:pt x="21" y="7"/>
                  <a:pt x="21" y="7"/>
                </a:cubicBezTo>
                <a:cubicBezTo>
                  <a:pt x="22" y="8"/>
                  <a:pt x="23" y="8"/>
                  <a:pt x="24" y="9"/>
                </a:cubicBezTo>
                <a:cubicBezTo>
                  <a:pt x="24" y="9"/>
                  <a:pt x="24" y="9"/>
                  <a:pt x="24" y="9"/>
                </a:cubicBezTo>
                <a:cubicBezTo>
                  <a:pt x="24" y="9"/>
                  <a:pt x="24" y="9"/>
                  <a:pt x="25" y="10"/>
                </a:cubicBezTo>
                <a:cubicBezTo>
                  <a:pt x="25" y="10"/>
                  <a:pt x="25" y="10"/>
                  <a:pt x="25" y="10"/>
                </a:cubicBezTo>
                <a:cubicBezTo>
                  <a:pt x="26" y="12"/>
                  <a:pt x="28" y="15"/>
                  <a:pt x="29" y="17"/>
                </a:cubicBezTo>
                <a:cubicBezTo>
                  <a:pt x="30" y="19"/>
                  <a:pt x="30" y="21"/>
                  <a:pt x="31" y="23"/>
                </a:cubicBezTo>
                <a:cubicBezTo>
                  <a:pt x="30" y="22"/>
                  <a:pt x="29" y="20"/>
                  <a:pt x="27" y="19"/>
                </a:cubicBezTo>
                <a:cubicBezTo>
                  <a:pt x="25" y="16"/>
                  <a:pt x="22" y="14"/>
                  <a:pt x="19" y="12"/>
                </a:cubicBezTo>
                <a:cubicBezTo>
                  <a:pt x="17" y="9"/>
                  <a:pt x="13" y="7"/>
                  <a:pt x="10" y="6"/>
                </a:cubicBezTo>
                <a:cubicBezTo>
                  <a:pt x="8" y="5"/>
                  <a:pt x="7" y="4"/>
                  <a:pt x="5" y="3"/>
                </a:cubicBezTo>
                <a:cubicBezTo>
                  <a:pt x="4" y="3"/>
                  <a:pt x="3" y="2"/>
                  <a:pt x="2" y="2"/>
                </a:cubicBezTo>
                <a:cubicBezTo>
                  <a:pt x="2" y="2"/>
                  <a:pt x="1" y="2"/>
                  <a:pt x="1" y="2"/>
                </a:cubicBezTo>
                <a:cubicBezTo>
                  <a:pt x="0" y="2"/>
                  <a:pt x="1" y="1"/>
                  <a:pt x="1" y="1"/>
                </a:cubicBezTo>
                <a:cubicBezTo>
                  <a:pt x="1" y="1"/>
                  <a:pt x="1" y="1"/>
                  <a:pt x="1" y="1"/>
                </a:cubicBezTo>
                <a:cubicBezTo>
                  <a:pt x="2" y="1"/>
                  <a:pt x="2" y="1"/>
                  <a:pt x="2" y="1"/>
                </a:cubicBezTo>
                <a:cubicBezTo>
                  <a:pt x="2" y="1"/>
                  <a:pt x="2" y="1"/>
                  <a:pt x="2" y="1"/>
                </a:cubicBezTo>
                <a:cubicBezTo>
                  <a:pt x="4" y="0"/>
                  <a:pt x="6" y="1"/>
                  <a:pt x="8" y="2"/>
                </a:cubicBezTo>
                <a:cubicBezTo>
                  <a:pt x="10" y="2"/>
                  <a:pt x="13" y="3"/>
                  <a:pt x="15" y="4"/>
                </a:cubicBezTo>
                <a:cubicBezTo>
                  <a:pt x="16" y="4"/>
                  <a:pt x="16" y="4"/>
                  <a:pt x="16" y="4"/>
                </a:cubicBezTo>
                <a:cubicBezTo>
                  <a:pt x="16" y="4"/>
                  <a:pt x="16" y="4"/>
                  <a:pt x="16" y="4"/>
                </a:cubicBezTo>
                <a:cubicBezTo>
                  <a:pt x="18" y="5"/>
                  <a:pt x="19" y="5"/>
                  <a:pt x="20" y="6"/>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2" name="Freeform 4773"/>
          <p:cNvSpPr>
            <a:spLocks/>
          </p:cNvSpPr>
          <p:nvPr/>
        </p:nvSpPr>
        <p:spPr bwMode="auto">
          <a:xfrm>
            <a:off x="6006754" y="448419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6" name="Freeform 4777"/>
          <p:cNvSpPr>
            <a:spLocks/>
          </p:cNvSpPr>
          <p:nvPr/>
        </p:nvSpPr>
        <p:spPr bwMode="auto">
          <a:xfrm>
            <a:off x="6348824" y="3079052"/>
            <a:ext cx="281618" cy="210845"/>
          </a:xfrm>
          <a:custGeom>
            <a:avLst/>
            <a:gdLst>
              <a:gd name="T0" fmla="*/ 91 w 103"/>
              <a:gd name="T1" fmla="*/ 51 h 77"/>
              <a:gd name="T2" fmla="*/ 91 w 103"/>
              <a:gd name="T3" fmla="*/ 50 h 77"/>
              <a:gd name="T4" fmla="*/ 103 w 103"/>
              <a:gd name="T5" fmla="*/ 33 h 77"/>
              <a:gd name="T6" fmla="*/ 90 w 103"/>
              <a:gd name="T7" fmla="*/ 16 h 77"/>
              <a:gd name="T8" fmla="*/ 63 w 103"/>
              <a:gd name="T9" fmla="*/ 0 h 77"/>
              <a:gd name="T10" fmla="*/ 35 w 103"/>
              <a:gd name="T11" fmla="*/ 30 h 77"/>
              <a:gd name="T12" fmla="*/ 35 w 103"/>
              <a:gd name="T13" fmla="*/ 31 h 77"/>
              <a:gd name="T14" fmla="*/ 35 w 103"/>
              <a:gd name="T15" fmla="*/ 32 h 77"/>
              <a:gd name="T16" fmla="*/ 11 w 103"/>
              <a:gd name="T17" fmla="*/ 41 h 77"/>
              <a:gd name="T18" fmla="*/ 0 w 103"/>
              <a:gd name="T19" fmla="*/ 42 h 77"/>
              <a:gd name="T20" fmla="*/ 1 w 103"/>
              <a:gd name="T21" fmla="*/ 56 h 77"/>
              <a:gd name="T22" fmla="*/ 13 w 103"/>
              <a:gd name="T23" fmla="*/ 54 h 77"/>
              <a:gd name="T24" fmla="*/ 41 w 103"/>
              <a:gd name="T25" fmla="*/ 51 h 77"/>
              <a:gd name="T26" fmla="*/ 41 w 103"/>
              <a:gd name="T27" fmla="*/ 52 h 77"/>
              <a:gd name="T28" fmla="*/ 67 w 103"/>
              <a:gd name="T29" fmla="*/ 76 h 77"/>
              <a:gd name="T30" fmla="*/ 91 w 103"/>
              <a:gd name="T31" fmla="*/ 5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77">
                <a:moveTo>
                  <a:pt x="91" y="51"/>
                </a:moveTo>
                <a:cubicBezTo>
                  <a:pt x="91" y="50"/>
                  <a:pt x="91" y="50"/>
                  <a:pt x="91" y="50"/>
                </a:cubicBezTo>
                <a:cubicBezTo>
                  <a:pt x="98" y="48"/>
                  <a:pt x="103" y="41"/>
                  <a:pt x="103" y="33"/>
                </a:cubicBezTo>
                <a:cubicBezTo>
                  <a:pt x="103" y="25"/>
                  <a:pt x="97" y="19"/>
                  <a:pt x="90" y="16"/>
                </a:cubicBezTo>
                <a:cubicBezTo>
                  <a:pt x="85" y="6"/>
                  <a:pt x="75" y="0"/>
                  <a:pt x="63" y="0"/>
                </a:cubicBezTo>
                <a:cubicBezTo>
                  <a:pt x="47" y="1"/>
                  <a:pt x="35" y="14"/>
                  <a:pt x="35" y="30"/>
                </a:cubicBezTo>
                <a:cubicBezTo>
                  <a:pt x="35" y="30"/>
                  <a:pt x="35" y="31"/>
                  <a:pt x="35" y="31"/>
                </a:cubicBezTo>
                <a:cubicBezTo>
                  <a:pt x="35" y="31"/>
                  <a:pt x="35" y="31"/>
                  <a:pt x="35" y="32"/>
                </a:cubicBezTo>
                <a:cubicBezTo>
                  <a:pt x="27" y="37"/>
                  <a:pt x="20" y="40"/>
                  <a:pt x="11" y="41"/>
                </a:cubicBezTo>
                <a:cubicBezTo>
                  <a:pt x="6" y="42"/>
                  <a:pt x="3" y="42"/>
                  <a:pt x="0" y="42"/>
                </a:cubicBezTo>
                <a:cubicBezTo>
                  <a:pt x="1" y="56"/>
                  <a:pt x="1" y="56"/>
                  <a:pt x="1" y="56"/>
                </a:cubicBezTo>
                <a:cubicBezTo>
                  <a:pt x="5" y="55"/>
                  <a:pt x="8" y="54"/>
                  <a:pt x="13" y="54"/>
                </a:cubicBezTo>
                <a:cubicBezTo>
                  <a:pt x="23" y="52"/>
                  <a:pt x="32" y="52"/>
                  <a:pt x="41" y="51"/>
                </a:cubicBezTo>
                <a:cubicBezTo>
                  <a:pt x="41" y="52"/>
                  <a:pt x="41" y="52"/>
                  <a:pt x="41" y="52"/>
                </a:cubicBezTo>
                <a:cubicBezTo>
                  <a:pt x="42" y="66"/>
                  <a:pt x="53" y="77"/>
                  <a:pt x="67" y="76"/>
                </a:cubicBezTo>
                <a:cubicBezTo>
                  <a:pt x="81" y="76"/>
                  <a:pt x="92" y="64"/>
                  <a:pt x="91" y="51"/>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7" name="Freeform 4778"/>
          <p:cNvSpPr>
            <a:spLocks/>
          </p:cNvSpPr>
          <p:nvPr/>
        </p:nvSpPr>
        <p:spPr bwMode="auto">
          <a:xfrm>
            <a:off x="6482998" y="3205854"/>
            <a:ext cx="39810" cy="45707"/>
          </a:xfrm>
          <a:custGeom>
            <a:avLst/>
            <a:gdLst>
              <a:gd name="T0" fmla="*/ 15 w 15"/>
              <a:gd name="T1" fmla="*/ 10 h 17"/>
              <a:gd name="T2" fmla="*/ 9 w 15"/>
              <a:gd name="T3" fmla="*/ 17 h 17"/>
              <a:gd name="T4" fmla="*/ 0 w 15"/>
              <a:gd name="T5" fmla="*/ 11 h 17"/>
              <a:gd name="T6" fmla="*/ 1 w 15"/>
              <a:gd name="T7" fmla="*/ 10 h 17"/>
              <a:gd name="T8" fmla="*/ 0 w 15"/>
              <a:gd name="T9" fmla="*/ 8 h 17"/>
              <a:gd name="T10" fmla="*/ 6 w 15"/>
              <a:gd name="T11" fmla="*/ 1 h 17"/>
              <a:gd name="T12" fmla="*/ 14 w 15"/>
              <a:gd name="T13" fmla="*/ 5 h 17"/>
              <a:gd name="T14" fmla="*/ 14 w 15"/>
              <a:gd name="T15" fmla="*/ 8 h 17"/>
              <a:gd name="T16" fmla="*/ 15 w 15"/>
              <a:gd name="T1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7">
                <a:moveTo>
                  <a:pt x="15" y="10"/>
                </a:moveTo>
                <a:cubicBezTo>
                  <a:pt x="15" y="13"/>
                  <a:pt x="12" y="16"/>
                  <a:pt x="9" y="17"/>
                </a:cubicBezTo>
                <a:cubicBezTo>
                  <a:pt x="5" y="17"/>
                  <a:pt x="1" y="14"/>
                  <a:pt x="0" y="11"/>
                </a:cubicBezTo>
                <a:cubicBezTo>
                  <a:pt x="0" y="11"/>
                  <a:pt x="0" y="10"/>
                  <a:pt x="1" y="10"/>
                </a:cubicBezTo>
                <a:cubicBezTo>
                  <a:pt x="0" y="9"/>
                  <a:pt x="0" y="9"/>
                  <a:pt x="0" y="8"/>
                </a:cubicBezTo>
                <a:cubicBezTo>
                  <a:pt x="0" y="6"/>
                  <a:pt x="3" y="1"/>
                  <a:pt x="6" y="1"/>
                </a:cubicBezTo>
                <a:cubicBezTo>
                  <a:pt x="10" y="0"/>
                  <a:pt x="14" y="3"/>
                  <a:pt x="14" y="5"/>
                </a:cubicBezTo>
                <a:cubicBezTo>
                  <a:pt x="14" y="6"/>
                  <a:pt x="14" y="7"/>
                  <a:pt x="14" y="8"/>
                </a:cubicBezTo>
                <a:cubicBezTo>
                  <a:pt x="14" y="9"/>
                  <a:pt x="15" y="9"/>
                  <a:pt x="15" y="10"/>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8" name="Freeform 4779"/>
          <p:cNvSpPr>
            <a:spLocks/>
          </p:cNvSpPr>
          <p:nvPr/>
        </p:nvSpPr>
        <p:spPr bwMode="auto">
          <a:xfrm>
            <a:off x="6482999" y="3110014"/>
            <a:ext cx="42759" cy="48656"/>
          </a:xfrm>
          <a:custGeom>
            <a:avLst/>
            <a:gdLst>
              <a:gd name="T0" fmla="*/ 16 w 16"/>
              <a:gd name="T1" fmla="*/ 11 h 18"/>
              <a:gd name="T2" fmla="*/ 9 w 16"/>
              <a:gd name="T3" fmla="*/ 17 h 18"/>
              <a:gd name="T4" fmla="*/ 1 w 16"/>
              <a:gd name="T5" fmla="*/ 12 h 18"/>
              <a:gd name="T6" fmla="*/ 1 w 16"/>
              <a:gd name="T7" fmla="*/ 10 h 18"/>
              <a:gd name="T8" fmla="*/ 0 w 16"/>
              <a:gd name="T9" fmla="*/ 9 h 18"/>
              <a:gd name="T10" fmla="*/ 7 w 16"/>
              <a:gd name="T11" fmla="*/ 1 h 18"/>
              <a:gd name="T12" fmla="*/ 15 w 16"/>
              <a:gd name="T13" fmla="*/ 6 h 18"/>
              <a:gd name="T14" fmla="*/ 15 w 16"/>
              <a:gd name="T15" fmla="*/ 8 h 18"/>
              <a:gd name="T16" fmla="*/ 16 w 16"/>
              <a:gd name="T17"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16" y="11"/>
                </a:moveTo>
                <a:cubicBezTo>
                  <a:pt x="16" y="13"/>
                  <a:pt x="13" y="17"/>
                  <a:pt x="9" y="17"/>
                </a:cubicBezTo>
                <a:cubicBezTo>
                  <a:pt x="5" y="18"/>
                  <a:pt x="1" y="14"/>
                  <a:pt x="1" y="12"/>
                </a:cubicBezTo>
                <a:cubicBezTo>
                  <a:pt x="1" y="11"/>
                  <a:pt x="1" y="11"/>
                  <a:pt x="1" y="10"/>
                </a:cubicBezTo>
                <a:cubicBezTo>
                  <a:pt x="1" y="10"/>
                  <a:pt x="1" y="9"/>
                  <a:pt x="0" y="9"/>
                </a:cubicBezTo>
                <a:cubicBezTo>
                  <a:pt x="0" y="6"/>
                  <a:pt x="3" y="1"/>
                  <a:pt x="7" y="1"/>
                </a:cubicBezTo>
                <a:cubicBezTo>
                  <a:pt x="11" y="0"/>
                  <a:pt x="15" y="3"/>
                  <a:pt x="15" y="6"/>
                </a:cubicBezTo>
                <a:cubicBezTo>
                  <a:pt x="15" y="6"/>
                  <a:pt x="15" y="7"/>
                  <a:pt x="15" y="8"/>
                </a:cubicBezTo>
                <a:cubicBezTo>
                  <a:pt x="15" y="9"/>
                  <a:pt x="16" y="10"/>
                  <a:pt x="16" y="11"/>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9" name="Freeform 4780"/>
          <p:cNvSpPr>
            <a:spLocks/>
          </p:cNvSpPr>
          <p:nvPr/>
        </p:nvSpPr>
        <p:spPr bwMode="auto">
          <a:xfrm>
            <a:off x="6553773" y="3164570"/>
            <a:ext cx="35387" cy="41285"/>
          </a:xfrm>
          <a:custGeom>
            <a:avLst/>
            <a:gdLst>
              <a:gd name="T0" fmla="*/ 13 w 13"/>
              <a:gd name="T1" fmla="*/ 9 h 15"/>
              <a:gd name="T2" fmla="*/ 7 w 13"/>
              <a:gd name="T3" fmla="*/ 14 h 15"/>
              <a:gd name="T4" fmla="*/ 0 w 13"/>
              <a:gd name="T5" fmla="*/ 9 h 15"/>
              <a:gd name="T6" fmla="*/ 0 w 13"/>
              <a:gd name="T7" fmla="*/ 8 h 15"/>
              <a:gd name="T8" fmla="*/ 0 w 13"/>
              <a:gd name="T9" fmla="*/ 7 h 15"/>
              <a:gd name="T10" fmla="*/ 6 w 13"/>
              <a:gd name="T11" fmla="*/ 1 h 15"/>
              <a:gd name="T12" fmla="*/ 12 w 13"/>
              <a:gd name="T13" fmla="*/ 4 h 15"/>
              <a:gd name="T14" fmla="*/ 12 w 13"/>
              <a:gd name="T15" fmla="*/ 7 h 15"/>
              <a:gd name="T16" fmla="*/ 13 w 13"/>
              <a:gd name="T17"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5">
                <a:moveTo>
                  <a:pt x="13" y="9"/>
                </a:moveTo>
                <a:cubicBezTo>
                  <a:pt x="13" y="11"/>
                  <a:pt x="11" y="14"/>
                  <a:pt x="7" y="14"/>
                </a:cubicBezTo>
                <a:cubicBezTo>
                  <a:pt x="4" y="15"/>
                  <a:pt x="1" y="12"/>
                  <a:pt x="0" y="9"/>
                </a:cubicBezTo>
                <a:cubicBezTo>
                  <a:pt x="0" y="9"/>
                  <a:pt x="0" y="9"/>
                  <a:pt x="0" y="8"/>
                </a:cubicBezTo>
                <a:cubicBezTo>
                  <a:pt x="0" y="8"/>
                  <a:pt x="0" y="7"/>
                  <a:pt x="0" y="7"/>
                </a:cubicBezTo>
                <a:cubicBezTo>
                  <a:pt x="0" y="5"/>
                  <a:pt x="2" y="1"/>
                  <a:pt x="6" y="1"/>
                </a:cubicBezTo>
                <a:cubicBezTo>
                  <a:pt x="9" y="0"/>
                  <a:pt x="12" y="2"/>
                  <a:pt x="12" y="4"/>
                </a:cubicBezTo>
                <a:cubicBezTo>
                  <a:pt x="12" y="5"/>
                  <a:pt x="12" y="6"/>
                  <a:pt x="12" y="7"/>
                </a:cubicBezTo>
                <a:cubicBezTo>
                  <a:pt x="12" y="7"/>
                  <a:pt x="13" y="8"/>
                  <a:pt x="13" y="9"/>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0" name="Freeform 4781"/>
          <p:cNvSpPr>
            <a:spLocks/>
          </p:cNvSpPr>
          <p:nvPr/>
        </p:nvSpPr>
        <p:spPr bwMode="auto">
          <a:xfrm>
            <a:off x="6519861" y="3225021"/>
            <a:ext cx="17693" cy="16218"/>
          </a:xfrm>
          <a:custGeom>
            <a:avLst/>
            <a:gdLst>
              <a:gd name="T0" fmla="*/ 6 w 6"/>
              <a:gd name="T1" fmla="*/ 6 h 6"/>
              <a:gd name="T2" fmla="*/ 2 w 6"/>
              <a:gd name="T3" fmla="*/ 5 h 6"/>
              <a:gd name="T4" fmla="*/ 0 w 6"/>
              <a:gd name="T5" fmla="*/ 1 h 6"/>
              <a:gd name="T6" fmla="*/ 4 w 6"/>
              <a:gd name="T7" fmla="*/ 2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cubicBezTo>
                  <a:pt x="5" y="6"/>
                  <a:pt x="3" y="6"/>
                  <a:pt x="2" y="5"/>
                </a:cubicBezTo>
                <a:cubicBezTo>
                  <a:pt x="0" y="4"/>
                  <a:pt x="0" y="2"/>
                  <a:pt x="0" y="1"/>
                </a:cubicBezTo>
                <a:cubicBezTo>
                  <a:pt x="1" y="0"/>
                  <a:pt x="3" y="1"/>
                  <a:pt x="4" y="2"/>
                </a:cubicBezTo>
                <a:cubicBezTo>
                  <a:pt x="5" y="3"/>
                  <a:pt x="6" y="4"/>
                  <a:pt x="6" y="6"/>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1" name="Freeform 4782"/>
          <p:cNvSpPr>
            <a:spLocks/>
          </p:cNvSpPr>
          <p:nvPr/>
        </p:nvSpPr>
        <p:spPr bwMode="auto">
          <a:xfrm>
            <a:off x="6522810" y="3132131"/>
            <a:ext cx="19167" cy="16218"/>
          </a:xfrm>
          <a:custGeom>
            <a:avLst/>
            <a:gdLst>
              <a:gd name="T0" fmla="*/ 7 w 7"/>
              <a:gd name="T1" fmla="*/ 6 h 6"/>
              <a:gd name="T2" fmla="*/ 2 w 7"/>
              <a:gd name="T3" fmla="*/ 5 h 6"/>
              <a:gd name="T4" fmla="*/ 0 w 7"/>
              <a:gd name="T5" fmla="*/ 0 h 6"/>
              <a:gd name="T6" fmla="*/ 4 w 7"/>
              <a:gd name="T7" fmla="*/ 1 h 6"/>
              <a:gd name="T8" fmla="*/ 7 w 7"/>
              <a:gd name="T9" fmla="*/ 6 h 6"/>
            </a:gdLst>
            <a:ahLst/>
            <a:cxnLst>
              <a:cxn ang="0">
                <a:pos x="T0" y="T1"/>
              </a:cxn>
              <a:cxn ang="0">
                <a:pos x="T2" y="T3"/>
              </a:cxn>
              <a:cxn ang="0">
                <a:pos x="T4" y="T5"/>
              </a:cxn>
              <a:cxn ang="0">
                <a:pos x="T6" y="T7"/>
              </a:cxn>
              <a:cxn ang="0">
                <a:pos x="T8" y="T9"/>
              </a:cxn>
            </a:cxnLst>
            <a:rect l="0" t="0" r="r" b="b"/>
            <a:pathLst>
              <a:path w="7" h="6">
                <a:moveTo>
                  <a:pt x="7" y="6"/>
                </a:moveTo>
                <a:cubicBezTo>
                  <a:pt x="5" y="6"/>
                  <a:pt x="4" y="6"/>
                  <a:pt x="2" y="5"/>
                </a:cubicBezTo>
                <a:cubicBezTo>
                  <a:pt x="1" y="3"/>
                  <a:pt x="0" y="2"/>
                  <a:pt x="0" y="0"/>
                </a:cubicBezTo>
                <a:cubicBezTo>
                  <a:pt x="1" y="0"/>
                  <a:pt x="3" y="0"/>
                  <a:pt x="4" y="1"/>
                </a:cubicBezTo>
                <a:cubicBezTo>
                  <a:pt x="6" y="2"/>
                  <a:pt x="7" y="4"/>
                  <a:pt x="7" y="6"/>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2" name="Freeform 4783"/>
          <p:cNvSpPr>
            <a:spLocks/>
          </p:cNvSpPr>
          <p:nvPr/>
        </p:nvSpPr>
        <p:spPr bwMode="auto">
          <a:xfrm>
            <a:off x="6586210" y="3180788"/>
            <a:ext cx="13270" cy="13270"/>
          </a:xfrm>
          <a:custGeom>
            <a:avLst/>
            <a:gdLst>
              <a:gd name="T0" fmla="*/ 5 w 5"/>
              <a:gd name="T1" fmla="*/ 5 h 5"/>
              <a:gd name="T2" fmla="*/ 2 w 5"/>
              <a:gd name="T3" fmla="*/ 4 h 5"/>
              <a:gd name="T4" fmla="*/ 0 w 5"/>
              <a:gd name="T5" fmla="*/ 1 h 5"/>
              <a:gd name="T6" fmla="*/ 3 w 5"/>
              <a:gd name="T7" fmla="*/ 1 h 5"/>
              <a:gd name="T8" fmla="*/ 5 w 5"/>
              <a:gd name="T9" fmla="*/ 5 h 5"/>
            </a:gdLst>
            <a:ahLst/>
            <a:cxnLst>
              <a:cxn ang="0">
                <a:pos x="T0" y="T1"/>
              </a:cxn>
              <a:cxn ang="0">
                <a:pos x="T2" y="T3"/>
              </a:cxn>
              <a:cxn ang="0">
                <a:pos x="T4" y="T5"/>
              </a:cxn>
              <a:cxn ang="0">
                <a:pos x="T6" y="T7"/>
              </a:cxn>
              <a:cxn ang="0">
                <a:pos x="T8" y="T9"/>
              </a:cxn>
            </a:cxnLst>
            <a:rect l="0" t="0" r="r" b="b"/>
            <a:pathLst>
              <a:path w="5" h="5">
                <a:moveTo>
                  <a:pt x="5" y="5"/>
                </a:moveTo>
                <a:cubicBezTo>
                  <a:pt x="4" y="5"/>
                  <a:pt x="3" y="5"/>
                  <a:pt x="2" y="4"/>
                </a:cubicBezTo>
                <a:cubicBezTo>
                  <a:pt x="0" y="3"/>
                  <a:pt x="0" y="2"/>
                  <a:pt x="0" y="1"/>
                </a:cubicBezTo>
                <a:cubicBezTo>
                  <a:pt x="1" y="0"/>
                  <a:pt x="2" y="1"/>
                  <a:pt x="3" y="1"/>
                </a:cubicBezTo>
                <a:cubicBezTo>
                  <a:pt x="5" y="2"/>
                  <a:pt x="5" y="4"/>
                  <a:pt x="5" y="5"/>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4" name="Freeform 4785"/>
          <p:cNvSpPr>
            <a:spLocks/>
          </p:cNvSpPr>
          <p:nvPr/>
        </p:nvSpPr>
        <p:spPr bwMode="auto">
          <a:xfrm>
            <a:off x="6356198" y="3533181"/>
            <a:ext cx="322903" cy="101737"/>
          </a:xfrm>
          <a:custGeom>
            <a:avLst/>
            <a:gdLst>
              <a:gd name="T0" fmla="*/ 3 w 118"/>
              <a:gd name="T1" fmla="*/ 0 h 37"/>
              <a:gd name="T2" fmla="*/ 71 w 118"/>
              <a:gd name="T3" fmla="*/ 7 h 37"/>
              <a:gd name="T4" fmla="*/ 96 w 118"/>
              <a:gd name="T5" fmla="*/ 19 h 37"/>
              <a:gd name="T6" fmla="*/ 118 w 118"/>
              <a:gd name="T7" fmla="*/ 22 h 37"/>
              <a:gd name="T8" fmla="*/ 117 w 118"/>
              <a:gd name="T9" fmla="*/ 32 h 37"/>
              <a:gd name="T10" fmla="*/ 95 w 118"/>
              <a:gd name="T11" fmla="*/ 29 h 37"/>
              <a:gd name="T12" fmla="*/ 68 w 118"/>
              <a:gd name="T13" fmla="*/ 35 h 37"/>
              <a:gd name="T14" fmla="*/ 0 w 118"/>
              <a:gd name="T15" fmla="*/ 28 h 37"/>
              <a:gd name="T16" fmla="*/ 3 w 118"/>
              <a:gd name="T1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7">
                <a:moveTo>
                  <a:pt x="3" y="0"/>
                </a:moveTo>
                <a:cubicBezTo>
                  <a:pt x="71" y="7"/>
                  <a:pt x="71" y="7"/>
                  <a:pt x="71" y="7"/>
                </a:cubicBezTo>
                <a:cubicBezTo>
                  <a:pt x="89" y="9"/>
                  <a:pt x="81" y="17"/>
                  <a:pt x="96" y="19"/>
                </a:cubicBezTo>
                <a:cubicBezTo>
                  <a:pt x="118" y="22"/>
                  <a:pt x="118" y="22"/>
                  <a:pt x="118" y="22"/>
                </a:cubicBezTo>
                <a:cubicBezTo>
                  <a:pt x="117" y="32"/>
                  <a:pt x="117" y="32"/>
                  <a:pt x="117" y="32"/>
                </a:cubicBezTo>
                <a:cubicBezTo>
                  <a:pt x="95" y="29"/>
                  <a:pt x="95" y="29"/>
                  <a:pt x="95" y="29"/>
                </a:cubicBezTo>
                <a:cubicBezTo>
                  <a:pt x="79" y="28"/>
                  <a:pt x="86" y="37"/>
                  <a:pt x="68" y="35"/>
                </a:cubicBezTo>
                <a:cubicBezTo>
                  <a:pt x="0" y="28"/>
                  <a:pt x="0" y="28"/>
                  <a:pt x="0" y="28"/>
                </a:cubicBezTo>
                <a:lnTo>
                  <a:pt x="3" y="0"/>
                </a:lnTo>
                <a:close/>
              </a:path>
            </a:pathLst>
          </a:cu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5" name="Freeform 4786"/>
          <p:cNvSpPr>
            <a:spLocks/>
          </p:cNvSpPr>
          <p:nvPr/>
        </p:nvSpPr>
        <p:spPr bwMode="auto">
          <a:xfrm>
            <a:off x="6345875" y="3629020"/>
            <a:ext cx="185780" cy="106159"/>
          </a:xfrm>
          <a:custGeom>
            <a:avLst/>
            <a:gdLst>
              <a:gd name="T0" fmla="*/ 35 w 68"/>
              <a:gd name="T1" fmla="*/ 21 h 39"/>
              <a:gd name="T2" fmla="*/ 44 w 68"/>
              <a:gd name="T3" fmla="*/ 35 h 39"/>
              <a:gd name="T4" fmla="*/ 65 w 68"/>
              <a:gd name="T5" fmla="*/ 35 h 39"/>
              <a:gd name="T6" fmla="*/ 68 w 68"/>
              <a:gd name="T7" fmla="*/ 8 h 39"/>
              <a:gd name="T8" fmla="*/ 48 w 68"/>
              <a:gd name="T9" fmla="*/ 3 h 39"/>
              <a:gd name="T10" fmla="*/ 35 w 68"/>
              <a:gd name="T11" fmla="*/ 15 h 39"/>
              <a:gd name="T12" fmla="*/ 34 w 68"/>
              <a:gd name="T13" fmla="*/ 17 h 39"/>
              <a:gd name="T14" fmla="*/ 10 w 68"/>
              <a:gd name="T15" fmla="*/ 14 h 39"/>
              <a:gd name="T16" fmla="*/ 4 w 68"/>
              <a:gd name="T17" fmla="*/ 0 h 39"/>
              <a:gd name="T18" fmla="*/ 3 w 68"/>
              <a:gd name="T19" fmla="*/ 0 h 39"/>
              <a:gd name="T20" fmla="*/ 0 w 68"/>
              <a:gd name="T21" fmla="*/ 29 h 39"/>
              <a:gd name="T22" fmla="*/ 1 w 68"/>
              <a:gd name="T23" fmla="*/ 29 h 39"/>
              <a:gd name="T24" fmla="*/ 9 w 68"/>
              <a:gd name="T25" fmla="*/ 17 h 39"/>
              <a:gd name="T26" fmla="*/ 33 w 68"/>
              <a:gd name="T27" fmla="*/ 19 h 39"/>
              <a:gd name="T28" fmla="*/ 35 w 68"/>
              <a:gd name="T29"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9">
                <a:moveTo>
                  <a:pt x="35" y="21"/>
                </a:moveTo>
                <a:cubicBezTo>
                  <a:pt x="35" y="21"/>
                  <a:pt x="36" y="31"/>
                  <a:pt x="44" y="35"/>
                </a:cubicBezTo>
                <a:cubicBezTo>
                  <a:pt x="51" y="39"/>
                  <a:pt x="65" y="35"/>
                  <a:pt x="65" y="35"/>
                </a:cubicBezTo>
                <a:cubicBezTo>
                  <a:pt x="68" y="8"/>
                  <a:pt x="68" y="8"/>
                  <a:pt x="68" y="8"/>
                </a:cubicBezTo>
                <a:cubicBezTo>
                  <a:pt x="68" y="8"/>
                  <a:pt x="55" y="1"/>
                  <a:pt x="48" y="3"/>
                </a:cubicBezTo>
                <a:cubicBezTo>
                  <a:pt x="39" y="5"/>
                  <a:pt x="35" y="15"/>
                  <a:pt x="35" y="15"/>
                </a:cubicBezTo>
                <a:cubicBezTo>
                  <a:pt x="35" y="15"/>
                  <a:pt x="35" y="17"/>
                  <a:pt x="34" y="17"/>
                </a:cubicBezTo>
                <a:cubicBezTo>
                  <a:pt x="10" y="14"/>
                  <a:pt x="10" y="14"/>
                  <a:pt x="10" y="14"/>
                </a:cubicBezTo>
                <a:cubicBezTo>
                  <a:pt x="3" y="13"/>
                  <a:pt x="3" y="6"/>
                  <a:pt x="4" y="0"/>
                </a:cubicBezTo>
                <a:cubicBezTo>
                  <a:pt x="3" y="0"/>
                  <a:pt x="3" y="0"/>
                  <a:pt x="3" y="0"/>
                </a:cubicBezTo>
                <a:cubicBezTo>
                  <a:pt x="0" y="29"/>
                  <a:pt x="0" y="29"/>
                  <a:pt x="0" y="29"/>
                </a:cubicBezTo>
                <a:cubicBezTo>
                  <a:pt x="1" y="29"/>
                  <a:pt x="1" y="29"/>
                  <a:pt x="1" y="29"/>
                </a:cubicBezTo>
                <a:cubicBezTo>
                  <a:pt x="2" y="23"/>
                  <a:pt x="3" y="16"/>
                  <a:pt x="9" y="17"/>
                </a:cubicBezTo>
                <a:cubicBezTo>
                  <a:pt x="33" y="19"/>
                  <a:pt x="33" y="19"/>
                  <a:pt x="33" y="19"/>
                </a:cubicBezTo>
                <a:cubicBezTo>
                  <a:pt x="35" y="19"/>
                  <a:pt x="35" y="21"/>
                  <a:pt x="35" y="21"/>
                </a:cubicBezTo>
                <a:close/>
              </a:path>
            </a:pathLst>
          </a:cu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6" name="Freeform 4787"/>
          <p:cNvSpPr>
            <a:spLocks/>
          </p:cNvSpPr>
          <p:nvPr/>
        </p:nvSpPr>
        <p:spPr bwMode="auto">
          <a:xfrm>
            <a:off x="6438766" y="3631969"/>
            <a:ext cx="64876" cy="103211"/>
          </a:xfrm>
          <a:custGeom>
            <a:avLst/>
            <a:gdLst>
              <a:gd name="T0" fmla="*/ 10 w 24"/>
              <a:gd name="T1" fmla="*/ 4 h 38"/>
              <a:gd name="T2" fmla="*/ 1 w 24"/>
              <a:gd name="T3" fmla="*/ 17 h 38"/>
              <a:gd name="T4" fmla="*/ 5 w 24"/>
              <a:gd name="T5" fmla="*/ 31 h 38"/>
              <a:gd name="T6" fmla="*/ 21 w 24"/>
              <a:gd name="T7" fmla="*/ 35 h 38"/>
              <a:gd name="T8" fmla="*/ 24 w 24"/>
              <a:gd name="T9" fmla="*/ 4 h 38"/>
              <a:gd name="T10" fmla="*/ 10 w 24"/>
              <a:gd name="T11" fmla="*/ 4 h 38"/>
            </a:gdLst>
            <a:ahLst/>
            <a:cxnLst>
              <a:cxn ang="0">
                <a:pos x="T0" y="T1"/>
              </a:cxn>
              <a:cxn ang="0">
                <a:pos x="T2" y="T3"/>
              </a:cxn>
              <a:cxn ang="0">
                <a:pos x="T4" y="T5"/>
              </a:cxn>
              <a:cxn ang="0">
                <a:pos x="T6" y="T7"/>
              </a:cxn>
              <a:cxn ang="0">
                <a:pos x="T8" y="T9"/>
              </a:cxn>
              <a:cxn ang="0">
                <a:pos x="T10" y="T11"/>
              </a:cxn>
            </a:cxnLst>
            <a:rect l="0" t="0" r="r" b="b"/>
            <a:pathLst>
              <a:path w="24" h="38">
                <a:moveTo>
                  <a:pt x="10" y="4"/>
                </a:moveTo>
                <a:cubicBezTo>
                  <a:pt x="2" y="9"/>
                  <a:pt x="1" y="17"/>
                  <a:pt x="1" y="17"/>
                </a:cubicBezTo>
                <a:cubicBezTo>
                  <a:pt x="1" y="17"/>
                  <a:pt x="0" y="23"/>
                  <a:pt x="5" y="31"/>
                </a:cubicBezTo>
                <a:cubicBezTo>
                  <a:pt x="11" y="38"/>
                  <a:pt x="21" y="35"/>
                  <a:pt x="21" y="35"/>
                </a:cubicBezTo>
                <a:cubicBezTo>
                  <a:pt x="24" y="4"/>
                  <a:pt x="24" y="4"/>
                  <a:pt x="24" y="4"/>
                </a:cubicBezTo>
                <a:cubicBezTo>
                  <a:pt x="24" y="4"/>
                  <a:pt x="17" y="0"/>
                  <a:pt x="10" y="4"/>
                </a:cubicBezTo>
                <a:close/>
              </a:path>
            </a:pathLst>
          </a:cu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787" name="Group 786"/>
          <p:cNvGrpSpPr/>
          <p:nvPr/>
        </p:nvGrpSpPr>
        <p:grpSpPr>
          <a:xfrm>
            <a:off x="4179424" y="2761576"/>
            <a:ext cx="1337791" cy="1337791"/>
            <a:chOff x="4252997" y="2733210"/>
            <a:chExt cx="1393598" cy="1393598"/>
          </a:xfrm>
        </p:grpSpPr>
        <p:sp>
          <p:nvSpPr>
            <p:cNvPr id="788" name="Oval 787"/>
            <p:cNvSpPr/>
            <p:nvPr/>
          </p:nvSpPr>
          <p:spPr>
            <a:xfrm>
              <a:off x="4252997" y="2733210"/>
              <a:ext cx="1393598" cy="1393598"/>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900" dirty="0">
                <a:latin typeface="+mj-lt"/>
              </a:endParaRPr>
            </a:p>
          </p:txBody>
        </p:sp>
        <p:pic>
          <p:nvPicPr>
            <p:cNvPr id="789" name="Picture 788" descr="Front PPT logo.jpg"/>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609132" y="3045022"/>
              <a:ext cx="681328" cy="822367"/>
            </a:xfrm>
            <a:prstGeom prst="rect">
              <a:avLst/>
            </a:prstGeom>
          </p:spPr>
        </p:pic>
      </p:grpSp>
      <p:sp>
        <p:nvSpPr>
          <p:cNvPr id="12508" name="Freeform 12507"/>
          <p:cNvSpPr/>
          <p:nvPr/>
        </p:nvSpPr>
        <p:spPr>
          <a:xfrm>
            <a:off x="635001" y="3759979"/>
            <a:ext cx="3250919" cy="183396"/>
          </a:xfrm>
          <a:custGeom>
            <a:avLst/>
            <a:gdLst>
              <a:gd name="connsiteX0" fmla="*/ 0 w 3254375"/>
              <a:gd name="connsiteY0" fmla="*/ 139700 h 139700"/>
              <a:gd name="connsiteX1" fmla="*/ 2901950 w 3254375"/>
              <a:gd name="connsiteY1" fmla="*/ 139700 h 139700"/>
              <a:gd name="connsiteX2" fmla="*/ 3254375 w 3254375"/>
              <a:gd name="connsiteY2" fmla="*/ 0 h 139700"/>
              <a:gd name="connsiteX0" fmla="*/ 0 w 3254375"/>
              <a:gd name="connsiteY0" fmla="*/ 139700 h 139700"/>
              <a:gd name="connsiteX1" fmla="*/ 2901950 w 3254375"/>
              <a:gd name="connsiteY1" fmla="*/ 139700 h 139700"/>
              <a:gd name="connsiteX2" fmla="*/ 3254375 w 3254375"/>
              <a:gd name="connsiteY2" fmla="*/ 0 h 139700"/>
              <a:gd name="connsiteX0" fmla="*/ 0 w 3254375"/>
              <a:gd name="connsiteY0" fmla="*/ 139700 h 139700"/>
              <a:gd name="connsiteX1" fmla="*/ 2901950 w 3254375"/>
              <a:gd name="connsiteY1" fmla="*/ 139700 h 139700"/>
              <a:gd name="connsiteX2" fmla="*/ 3254375 w 3254375"/>
              <a:gd name="connsiteY2" fmla="*/ 0 h 139700"/>
              <a:gd name="connsiteX0" fmla="*/ 0 w 3396079"/>
              <a:gd name="connsiteY0" fmla="*/ 139700 h 149577"/>
              <a:gd name="connsiteX1" fmla="*/ 2901950 w 3396079"/>
              <a:gd name="connsiteY1" fmla="*/ 139700 h 149577"/>
              <a:gd name="connsiteX2" fmla="*/ 3254375 w 3396079"/>
              <a:gd name="connsiteY2" fmla="*/ 0 h 149577"/>
              <a:gd name="connsiteX0" fmla="*/ 0 w 3254375"/>
              <a:gd name="connsiteY0" fmla="*/ 139700 h 139700"/>
              <a:gd name="connsiteX1" fmla="*/ 2901950 w 3254375"/>
              <a:gd name="connsiteY1" fmla="*/ 139700 h 139700"/>
              <a:gd name="connsiteX2" fmla="*/ 3254375 w 3254375"/>
              <a:gd name="connsiteY2" fmla="*/ 0 h 139700"/>
              <a:gd name="connsiteX0" fmla="*/ 0 w 3260725"/>
              <a:gd name="connsiteY0" fmla="*/ 149225 h 149225"/>
              <a:gd name="connsiteX1" fmla="*/ 2908300 w 3260725"/>
              <a:gd name="connsiteY1" fmla="*/ 139700 h 149225"/>
              <a:gd name="connsiteX2" fmla="*/ 3260725 w 3260725"/>
              <a:gd name="connsiteY2" fmla="*/ 0 h 149225"/>
              <a:gd name="connsiteX0" fmla="*/ 0 w 3293278"/>
              <a:gd name="connsiteY0" fmla="*/ 149335 h 149335"/>
              <a:gd name="connsiteX1" fmla="*/ 2908300 w 3293278"/>
              <a:gd name="connsiteY1" fmla="*/ 139810 h 149335"/>
              <a:gd name="connsiteX2" fmla="*/ 3260725 w 3293278"/>
              <a:gd name="connsiteY2" fmla="*/ 110 h 149335"/>
              <a:gd name="connsiteX0" fmla="*/ 0 w 3260725"/>
              <a:gd name="connsiteY0" fmla="*/ 149321 h 149321"/>
              <a:gd name="connsiteX1" fmla="*/ 2908300 w 3260725"/>
              <a:gd name="connsiteY1" fmla="*/ 139796 h 149321"/>
              <a:gd name="connsiteX2" fmla="*/ 3260725 w 3260725"/>
              <a:gd name="connsiteY2" fmla="*/ 96 h 149321"/>
              <a:gd name="connsiteX0" fmla="*/ 0 w 3260725"/>
              <a:gd name="connsiteY0" fmla="*/ 149325 h 149325"/>
              <a:gd name="connsiteX1" fmla="*/ 2908300 w 3260725"/>
              <a:gd name="connsiteY1" fmla="*/ 139800 h 149325"/>
              <a:gd name="connsiteX2" fmla="*/ 3260725 w 3260725"/>
              <a:gd name="connsiteY2" fmla="*/ 100 h 149325"/>
              <a:gd name="connsiteX0" fmla="*/ 0 w 3260725"/>
              <a:gd name="connsiteY0" fmla="*/ 149328 h 149328"/>
              <a:gd name="connsiteX1" fmla="*/ 2908300 w 3260725"/>
              <a:gd name="connsiteY1" fmla="*/ 139803 h 149328"/>
              <a:gd name="connsiteX2" fmla="*/ 3260725 w 3260725"/>
              <a:gd name="connsiteY2" fmla="*/ 103 h 149328"/>
              <a:gd name="connsiteX0" fmla="*/ 0 w 3260725"/>
              <a:gd name="connsiteY0" fmla="*/ 149333 h 149333"/>
              <a:gd name="connsiteX1" fmla="*/ 2908300 w 3260725"/>
              <a:gd name="connsiteY1" fmla="*/ 139808 h 149333"/>
              <a:gd name="connsiteX2" fmla="*/ 3260725 w 3260725"/>
              <a:gd name="connsiteY2" fmla="*/ 108 h 149333"/>
              <a:gd name="connsiteX0" fmla="*/ 0 w 3260725"/>
              <a:gd name="connsiteY0" fmla="*/ 149335 h 149335"/>
              <a:gd name="connsiteX1" fmla="*/ 2908300 w 3260725"/>
              <a:gd name="connsiteY1" fmla="*/ 139810 h 149335"/>
              <a:gd name="connsiteX2" fmla="*/ 3260725 w 3260725"/>
              <a:gd name="connsiteY2" fmla="*/ 110 h 149335"/>
              <a:gd name="connsiteX0" fmla="*/ 0 w 3260725"/>
              <a:gd name="connsiteY0" fmla="*/ 149335 h 149335"/>
              <a:gd name="connsiteX1" fmla="*/ 2047683 w 3260725"/>
              <a:gd name="connsiteY1" fmla="*/ 141565 h 149335"/>
              <a:gd name="connsiteX2" fmla="*/ 2908300 w 3260725"/>
              <a:gd name="connsiteY2" fmla="*/ 139810 h 149335"/>
              <a:gd name="connsiteX3" fmla="*/ 3260725 w 3260725"/>
              <a:gd name="connsiteY3" fmla="*/ 110 h 149335"/>
              <a:gd name="connsiteX0" fmla="*/ 0 w 3260725"/>
              <a:gd name="connsiteY0" fmla="*/ 149225 h 149225"/>
              <a:gd name="connsiteX1" fmla="*/ 2047683 w 3260725"/>
              <a:gd name="connsiteY1" fmla="*/ 141455 h 149225"/>
              <a:gd name="connsiteX2" fmla="*/ 3260725 w 3260725"/>
              <a:gd name="connsiteY2" fmla="*/ 0 h 149225"/>
              <a:gd name="connsiteX0" fmla="*/ 0 w 3260725"/>
              <a:gd name="connsiteY0" fmla="*/ 149225 h 149225"/>
              <a:gd name="connsiteX1" fmla="*/ 2047683 w 3260725"/>
              <a:gd name="connsiteY1" fmla="*/ 141455 h 149225"/>
              <a:gd name="connsiteX2" fmla="*/ 3260725 w 3260725"/>
              <a:gd name="connsiteY2" fmla="*/ 0 h 149225"/>
              <a:gd name="connsiteX0" fmla="*/ 0 w 3260725"/>
              <a:gd name="connsiteY0" fmla="*/ 149225 h 149225"/>
              <a:gd name="connsiteX1" fmla="*/ 2047683 w 3260725"/>
              <a:gd name="connsiteY1" fmla="*/ 141455 h 149225"/>
              <a:gd name="connsiteX2" fmla="*/ 3260725 w 3260725"/>
              <a:gd name="connsiteY2" fmla="*/ 0 h 149225"/>
            </a:gdLst>
            <a:ahLst/>
            <a:cxnLst>
              <a:cxn ang="0">
                <a:pos x="connsiteX0" y="connsiteY0"/>
              </a:cxn>
              <a:cxn ang="0">
                <a:pos x="connsiteX1" y="connsiteY1"/>
              </a:cxn>
              <a:cxn ang="0">
                <a:pos x="connsiteX2" y="connsiteY2"/>
              </a:cxn>
            </a:cxnLst>
            <a:rect l="l" t="t" r="r" b="b"/>
            <a:pathLst>
              <a:path w="3260725" h="149225">
                <a:moveTo>
                  <a:pt x="0" y="149225"/>
                </a:moveTo>
                <a:lnTo>
                  <a:pt x="2047683" y="141455"/>
                </a:lnTo>
                <a:cubicBezTo>
                  <a:pt x="2530849" y="140804"/>
                  <a:pt x="2858766" y="132405"/>
                  <a:pt x="3260725" y="0"/>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j-lt"/>
              <a:cs typeface="Arial" charset="0"/>
            </a:endParaRPr>
          </a:p>
        </p:txBody>
      </p:sp>
      <p:sp>
        <p:nvSpPr>
          <p:cNvPr id="8" name="TextBox 7"/>
          <p:cNvSpPr txBox="1"/>
          <p:nvPr/>
        </p:nvSpPr>
        <p:spPr>
          <a:xfrm>
            <a:off x="1643457" y="0"/>
            <a:ext cx="2834640" cy="768096"/>
          </a:xfrm>
          <a:prstGeom prst="rect">
            <a:avLst/>
          </a:prstGeom>
          <a:noFill/>
        </p:spPr>
        <p:txBody>
          <a:bodyPr wrap="square" lIns="0" tIns="0" rIns="0" bIns="0" rtlCol="0" anchor="ctr" anchorCtr="0">
            <a:noAutofit/>
          </a:bodyPr>
          <a:lstStyle/>
          <a:p>
            <a:r>
              <a:rPr lang="en-US" sz="3600" spc="10" dirty="0">
                <a:solidFill>
                  <a:srgbClr val="1B4299"/>
                </a:solidFill>
                <a:latin typeface="Myriad-BoldItalic" panose="02000000000000000000" pitchFamily="2" charset="0"/>
                <a:ea typeface="+mj-ea"/>
                <a:cs typeface="+mj-cs"/>
              </a:rPr>
              <a:t>RaboResearch </a:t>
            </a:r>
          </a:p>
        </p:txBody>
      </p:sp>
      <p:sp>
        <p:nvSpPr>
          <p:cNvPr id="11" name="Slide Number Placeholder 10"/>
          <p:cNvSpPr>
            <a:spLocks noGrp="1"/>
          </p:cNvSpPr>
          <p:nvPr>
            <p:ph type="sldNum" sz="quarter" idx="4"/>
          </p:nvPr>
        </p:nvSpPr>
        <p:spPr/>
        <p:txBody>
          <a:bodyPr/>
          <a:lstStyle/>
          <a:p>
            <a:pPr defTabSz="456999" fontAlgn="auto">
              <a:spcBef>
                <a:spcPts val="0"/>
              </a:spcBef>
              <a:spcAft>
                <a:spcPts val="0"/>
              </a:spcAft>
            </a:pPr>
            <a:fld id="{4821C4A5-98F2-7545-875B-39B2F4500447}" type="slidenum">
              <a:rPr lang="en-GB" smtClean="0">
                <a:latin typeface="Corbel"/>
              </a:rPr>
              <a:pPr defTabSz="456999" fontAlgn="auto">
                <a:spcBef>
                  <a:spcPts val="0"/>
                </a:spcBef>
                <a:spcAft>
                  <a:spcPts val="0"/>
                </a:spcAft>
              </a:pPr>
              <a:t>2</a:t>
            </a:fld>
            <a:endParaRPr lang="en-GB" dirty="0">
              <a:latin typeface="Corbel"/>
            </a:endParaRPr>
          </a:p>
        </p:txBody>
      </p:sp>
      <p:sp>
        <p:nvSpPr>
          <p:cNvPr id="14" name="Footer Placeholder 13"/>
          <p:cNvSpPr>
            <a:spLocks noGrp="1"/>
          </p:cNvSpPr>
          <p:nvPr>
            <p:ph type="ftr" sz="quarter" idx="3"/>
          </p:nvPr>
        </p:nvSpPr>
        <p:spPr/>
        <p:txBody>
          <a:bodyPr/>
          <a:lstStyle/>
          <a:p>
            <a:endParaRPr lang="en-GB" dirty="0"/>
          </a:p>
        </p:txBody>
      </p:sp>
    </p:spTree>
    <p:extLst>
      <p:ext uri="{BB962C8B-B14F-4D97-AF65-F5344CB8AC3E}">
        <p14:creationId xmlns:p14="http://schemas.microsoft.com/office/powerpoint/2010/main" val="237204344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43000">
              <a:srgbClr val="000099"/>
            </a:gs>
            <a:gs pos="86000">
              <a:srgbClr val="000099"/>
            </a:gs>
            <a:gs pos="100000">
              <a:srgbClr val="000099"/>
            </a:gs>
          </a:gsLst>
          <a:lin ang="5400000" scaled="1"/>
        </a:gra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15937" y="203200"/>
            <a:ext cx="8329872" cy="812800"/>
          </a:xfrm>
        </p:spPr>
        <p:txBody>
          <a:bodyPr/>
          <a:lstStyle/>
          <a:p>
            <a:r>
              <a:rPr lang="en-US" dirty="0"/>
              <a:t>Smaller growers &amp; the “local” market opportunity</a:t>
            </a:r>
            <a:endParaRPr lang="en-US" sz="3000" dirty="0" smtClean="0"/>
          </a:p>
        </p:txBody>
      </p:sp>
      <p:sp>
        <p:nvSpPr>
          <p:cNvPr id="5" name="TextBox 4"/>
          <p:cNvSpPr txBox="1"/>
          <p:nvPr/>
        </p:nvSpPr>
        <p:spPr>
          <a:xfrm>
            <a:off x="337459" y="1931929"/>
            <a:ext cx="9207329" cy="1661993"/>
          </a:xfrm>
          <a:prstGeom prst="rect">
            <a:avLst/>
          </a:prstGeom>
          <a:noFill/>
        </p:spPr>
        <p:txBody>
          <a:bodyPr wrap="none" rtlCol="0">
            <a:spAutoFit/>
          </a:bodyPr>
          <a:lstStyle/>
          <a:p>
            <a:pPr algn="ctr"/>
            <a:r>
              <a:rPr lang="en-US" sz="3000" dirty="0" smtClean="0">
                <a:solidFill>
                  <a:srgbClr val="FF6600"/>
                </a:solidFill>
                <a:latin typeface="Corbel" pitchFamily="34" charset="0"/>
              </a:rPr>
              <a:t>Remember, the left side of the equation still rules the day</a:t>
            </a:r>
          </a:p>
          <a:p>
            <a:pPr algn="ctr"/>
            <a:r>
              <a:rPr lang="en-US" sz="2400" dirty="0">
                <a:solidFill>
                  <a:srgbClr val="FF6600"/>
                </a:solidFill>
                <a:latin typeface="Corbel" pitchFamily="34" charset="0"/>
              </a:rPr>
              <a:t>-</a:t>
            </a:r>
            <a:r>
              <a:rPr lang="en-US" sz="2400" dirty="0" smtClean="0">
                <a:solidFill>
                  <a:srgbClr val="FF6600"/>
                </a:solidFill>
                <a:latin typeface="Corbel" pitchFamily="34" charset="0"/>
              </a:rPr>
              <a:t>Product quality</a:t>
            </a:r>
          </a:p>
          <a:p>
            <a:pPr algn="ctr"/>
            <a:r>
              <a:rPr lang="en-US" sz="2400" dirty="0" smtClean="0">
                <a:solidFill>
                  <a:srgbClr val="FF6600"/>
                </a:solidFill>
                <a:latin typeface="Corbel" pitchFamily="34" charset="0"/>
              </a:rPr>
              <a:t>-Affordability (cost)</a:t>
            </a:r>
          </a:p>
          <a:p>
            <a:pPr algn="ctr"/>
            <a:r>
              <a:rPr lang="en-US" sz="2400" dirty="0" smtClean="0">
                <a:solidFill>
                  <a:srgbClr val="FF6600"/>
                </a:solidFill>
                <a:latin typeface="Corbel" pitchFamily="34" charset="0"/>
              </a:rPr>
              <a:t>-Convenience</a:t>
            </a:r>
            <a:endParaRPr lang="en-US" sz="2400" dirty="0">
              <a:solidFill>
                <a:srgbClr val="FF6600"/>
              </a:solidFill>
              <a:latin typeface="Corbel" pitchFamily="34" charset="0"/>
            </a:endParaRPr>
          </a:p>
        </p:txBody>
      </p:sp>
      <p:sp>
        <p:nvSpPr>
          <p:cNvPr id="7" name="TextBox 6"/>
          <p:cNvSpPr txBox="1"/>
          <p:nvPr/>
        </p:nvSpPr>
        <p:spPr>
          <a:xfrm>
            <a:off x="1051313" y="3789040"/>
            <a:ext cx="7752442" cy="1661993"/>
          </a:xfrm>
          <a:prstGeom prst="rect">
            <a:avLst/>
          </a:prstGeom>
          <a:noFill/>
        </p:spPr>
        <p:txBody>
          <a:bodyPr wrap="none" rtlCol="0">
            <a:spAutoFit/>
          </a:bodyPr>
          <a:lstStyle/>
          <a:p>
            <a:pPr algn="ctr"/>
            <a:r>
              <a:rPr lang="en-US" sz="3000" dirty="0" smtClean="0">
                <a:solidFill>
                  <a:srgbClr val="FF6600"/>
                </a:solidFill>
                <a:latin typeface="Corbel" pitchFamily="34" charset="0"/>
              </a:rPr>
              <a:t>But, the right side of the equation gains traction</a:t>
            </a:r>
          </a:p>
          <a:p>
            <a:pPr algn="ctr"/>
            <a:r>
              <a:rPr lang="en-US" sz="2400" dirty="0" smtClean="0">
                <a:solidFill>
                  <a:srgbClr val="FF6600"/>
                </a:solidFill>
                <a:latin typeface="Corbel" pitchFamily="34" charset="0"/>
              </a:rPr>
              <a:t>-Fewer miles</a:t>
            </a:r>
          </a:p>
          <a:p>
            <a:pPr algn="ctr"/>
            <a:r>
              <a:rPr lang="en-US" sz="2400" dirty="0" smtClean="0">
                <a:solidFill>
                  <a:srgbClr val="FF6600"/>
                </a:solidFill>
                <a:latin typeface="Corbel" pitchFamily="34" charset="0"/>
              </a:rPr>
              <a:t>-Social good (local economy &amp; a connection)</a:t>
            </a:r>
          </a:p>
          <a:p>
            <a:pPr algn="ctr"/>
            <a:r>
              <a:rPr lang="en-US" sz="2400" dirty="0" smtClean="0">
                <a:solidFill>
                  <a:srgbClr val="FF6600"/>
                </a:solidFill>
                <a:latin typeface="Corbel" pitchFamily="34" charset="0"/>
              </a:rPr>
              <a:t>-But, it’s economic too (revenue) </a:t>
            </a:r>
            <a:endParaRPr lang="en-US" sz="2400" dirty="0">
              <a:solidFill>
                <a:srgbClr val="FF6600"/>
              </a:solidFill>
              <a:latin typeface="Corbel" pitchFamily="34" charset="0"/>
            </a:endParaRPr>
          </a:p>
        </p:txBody>
      </p:sp>
      <p:sp>
        <p:nvSpPr>
          <p:cNvPr id="8" name="TextBox 7"/>
          <p:cNvSpPr txBox="1"/>
          <p:nvPr/>
        </p:nvSpPr>
        <p:spPr>
          <a:xfrm>
            <a:off x="1757400" y="5841268"/>
            <a:ext cx="6367449" cy="553998"/>
          </a:xfrm>
          <a:prstGeom prst="rect">
            <a:avLst/>
          </a:prstGeom>
          <a:noFill/>
        </p:spPr>
        <p:txBody>
          <a:bodyPr wrap="none" rtlCol="0">
            <a:spAutoFit/>
          </a:bodyPr>
          <a:lstStyle/>
          <a:p>
            <a:pPr algn="ctr"/>
            <a:r>
              <a:rPr lang="en-US" sz="3000" dirty="0" smtClean="0">
                <a:solidFill>
                  <a:srgbClr val="FF6600"/>
                </a:solidFill>
                <a:latin typeface="Corbel" pitchFamily="34" charset="0"/>
              </a:rPr>
              <a:t>Opportunity to blend big with local????</a:t>
            </a:r>
            <a:endParaRPr lang="en-US" sz="3000" dirty="0">
              <a:solidFill>
                <a:srgbClr val="FF6600"/>
              </a:solidFill>
              <a:latin typeface="Corbel" pitchFamily="34" charset="0"/>
            </a:endParaRPr>
          </a:p>
        </p:txBody>
      </p:sp>
    </p:spTree>
    <p:extLst>
      <p:ext uri="{BB962C8B-B14F-4D97-AF65-F5344CB8AC3E}">
        <p14:creationId xmlns:p14="http://schemas.microsoft.com/office/powerpoint/2010/main" val="563629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sz="3000" dirty="0" smtClean="0"/>
              <a:t>Changing attitudes – Does it </a:t>
            </a:r>
            <a:r>
              <a:rPr lang="en-US" dirty="0" smtClean="0"/>
              <a:t>m</a:t>
            </a:r>
            <a:r>
              <a:rPr lang="en-US" sz="3000" dirty="0" smtClean="0"/>
              <a:t>atter </a:t>
            </a:r>
            <a:r>
              <a:rPr lang="en-US" dirty="0" smtClean="0"/>
              <a:t>w</a:t>
            </a:r>
            <a:r>
              <a:rPr lang="en-US" sz="3000" dirty="0" smtClean="0"/>
              <a:t>hose?</a:t>
            </a:r>
          </a:p>
        </p:txBody>
      </p:sp>
      <p:sp>
        <p:nvSpPr>
          <p:cNvPr id="25605" name="TextBox 11"/>
          <p:cNvSpPr txBox="1">
            <a:spLocks noChangeArrowheads="1"/>
          </p:cNvSpPr>
          <p:nvPr/>
        </p:nvSpPr>
        <p:spPr bwMode="auto">
          <a:xfrm>
            <a:off x="5637076" y="6483376"/>
            <a:ext cx="3757031" cy="217435"/>
          </a:xfrm>
          <a:prstGeom prst="rect">
            <a:avLst/>
          </a:prstGeom>
          <a:noFill/>
          <a:ln w="9525">
            <a:noFill/>
            <a:miter lim="800000"/>
            <a:headEnd/>
            <a:tailEnd/>
          </a:ln>
        </p:spPr>
        <p:txBody>
          <a:bodyPr wrap="square" lIns="93413" tIns="46706" rIns="93413" bIns="46706" anchor="ctr">
            <a:spAutoFit/>
          </a:bodyPr>
          <a:lstStyle/>
          <a:p>
            <a:pPr algn="r"/>
            <a:r>
              <a:rPr lang="en-US" sz="800" dirty="0" smtClean="0">
                <a:latin typeface="Arial" panose="020B0604020202020204" pitchFamily="34" charset="0"/>
                <a:cs typeface="Arial" panose="020B0604020202020204" pitchFamily="34" charset="0"/>
              </a:rPr>
              <a:t>Source</a:t>
            </a:r>
            <a:r>
              <a:rPr lang="en-US" sz="800" dirty="0">
                <a:latin typeface="Arial" panose="020B0604020202020204" pitchFamily="34" charset="0"/>
                <a:cs typeface="Arial" panose="020B0604020202020204" pitchFamily="34" charset="0"/>
              </a:rPr>
              <a:t>: </a:t>
            </a:r>
            <a:r>
              <a:rPr lang="en-US" sz="800" dirty="0" smtClean="0">
                <a:latin typeface="Arial" panose="020B0604020202020204" pitchFamily="34" charset="0"/>
                <a:cs typeface="Arial" panose="020B0604020202020204" pitchFamily="34" charset="0"/>
              </a:rPr>
              <a:t>USDA/ERS, Organic Trade Association, Rabobank 2017</a:t>
            </a:r>
            <a:endParaRPr lang="en-GB" sz="800" dirty="0">
              <a:latin typeface="Arial" panose="020B0604020202020204" pitchFamily="34" charset="0"/>
              <a:cs typeface="Arial" panose="020B0604020202020204" pitchFamily="34" charset="0"/>
            </a:endParaRPr>
          </a:p>
        </p:txBody>
      </p:sp>
      <p:sp>
        <p:nvSpPr>
          <p:cNvPr id="6" name="TextBox 5"/>
          <p:cNvSpPr txBox="1"/>
          <p:nvPr/>
        </p:nvSpPr>
        <p:spPr>
          <a:xfrm>
            <a:off x="2110485" y="1224045"/>
            <a:ext cx="5775941" cy="492443"/>
          </a:xfrm>
          <a:prstGeom prst="rect">
            <a:avLst/>
          </a:prstGeom>
          <a:noFill/>
        </p:spPr>
        <p:txBody>
          <a:bodyPr wrap="none" rtlCol="0">
            <a:spAutoFit/>
          </a:bodyPr>
          <a:lstStyle/>
          <a:p>
            <a:pPr algn="ctr"/>
            <a:r>
              <a:rPr lang="en-US" sz="2600" dirty="0" smtClean="0">
                <a:solidFill>
                  <a:srgbClr val="FF6600"/>
                </a:solidFill>
                <a:latin typeface="Arial" panose="020B0604020202020204" pitchFamily="34" charset="0"/>
                <a:cs typeface="Arial" panose="020B0604020202020204" pitchFamily="34" charset="0"/>
              </a:rPr>
              <a:t>U.S. organic </a:t>
            </a:r>
            <a:r>
              <a:rPr lang="en-US" sz="2600" dirty="0">
                <a:solidFill>
                  <a:srgbClr val="FF6600"/>
                </a:solidFill>
                <a:latin typeface="Arial" panose="020B0604020202020204" pitchFamily="34" charset="0"/>
                <a:cs typeface="Arial" panose="020B0604020202020204" pitchFamily="34" charset="0"/>
              </a:rPr>
              <a:t>f</a:t>
            </a:r>
            <a:r>
              <a:rPr lang="en-US" sz="2600" dirty="0" smtClean="0">
                <a:solidFill>
                  <a:srgbClr val="FF6600"/>
                </a:solidFill>
                <a:latin typeface="Arial" panose="020B0604020202020204" pitchFamily="34" charset="0"/>
                <a:cs typeface="Arial" panose="020B0604020202020204" pitchFamily="34" charset="0"/>
              </a:rPr>
              <a:t>ood sales 2005 – 2020f </a:t>
            </a:r>
            <a:endParaRPr lang="en-US" sz="2600" dirty="0">
              <a:solidFill>
                <a:srgbClr val="FF6600"/>
              </a:solidFill>
              <a:latin typeface="Arial" panose="020B0604020202020204" pitchFamily="34" charset="0"/>
              <a:cs typeface="Arial" panose="020B0604020202020204" pitchFamily="34" charset="0"/>
            </a:endParaRPr>
          </a:p>
        </p:txBody>
      </p:sp>
      <p:graphicFrame>
        <p:nvGraphicFramePr>
          <p:cNvPr id="8" name="Chart 7"/>
          <p:cNvGraphicFramePr>
            <a:graphicFrameLocks/>
          </p:cNvGraphicFramePr>
          <p:nvPr>
            <p:extLst/>
          </p:nvPr>
        </p:nvGraphicFramePr>
        <p:xfrm>
          <a:off x="481320" y="1749924"/>
          <a:ext cx="9034272" cy="4700016"/>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p:cNvSpPr/>
          <p:nvPr/>
        </p:nvSpPr>
        <p:spPr>
          <a:xfrm>
            <a:off x="956556" y="2780928"/>
            <a:ext cx="5724657" cy="972104"/>
          </a:xfrm>
          <a:prstGeom prst="ellipse">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2400" b="1" dirty="0" smtClean="0"/>
              <a:t>11.2% CAGR</a:t>
            </a:r>
            <a:endParaRPr lang="en-US" sz="2400" b="1" dirty="0"/>
          </a:p>
        </p:txBody>
      </p:sp>
    </p:spTree>
    <p:extLst>
      <p:ext uri="{BB962C8B-B14F-4D97-AF65-F5344CB8AC3E}">
        <p14:creationId xmlns:p14="http://schemas.microsoft.com/office/powerpoint/2010/main" val="2224580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04" y="385425"/>
            <a:ext cx="8208000" cy="630000"/>
          </a:xfrm>
        </p:spPr>
        <p:txBody>
          <a:bodyPr/>
          <a:lstStyle/>
          <a:p>
            <a:r>
              <a:rPr lang="en-US" dirty="0" smtClean="0"/>
              <a:t>Labor constraint will continue to tighten</a:t>
            </a:r>
            <a:endParaRPr lang="en-US" dirty="0"/>
          </a:p>
        </p:txBody>
      </p:sp>
      <p:sp>
        <p:nvSpPr>
          <p:cNvPr id="5" name="TextBox 4"/>
          <p:cNvSpPr txBox="1"/>
          <p:nvPr/>
        </p:nvSpPr>
        <p:spPr>
          <a:xfrm>
            <a:off x="5762047" y="6418422"/>
            <a:ext cx="3520515" cy="215444"/>
          </a:xfrm>
          <a:prstGeom prst="rect">
            <a:avLst/>
          </a:prstGeom>
          <a:noFill/>
        </p:spPr>
        <p:txBody>
          <a:bodyPr wrap="none" rtlCol="0">
            <a:spAutoFit/>
          </a:bodyPr>
          <a:lstStyle/>
          <a:p>
            <a:pPr algn="r"/>
            <a:r>
              <a:rPr lang="en-US" sz="800" dirty="0" smtClean="0">
                <a:latin typeface="Arial" panose="020B0604020202020204" pitchFamily="34" charset="0"/>
                <a:cs typeface="Arial" panose="020B0604020202020204" pitchFamily="34" charset="0"/>
              </a:rPr>
              <a:t>Source: Washington State University, </a:t>
            </a:r>
            <a:r>
              <a:rPr lang="de-DE" sz="800" dirty="0" smtClean="0">
                <a:latin typeface="Arial" panose="020B0604020202020204" pitchFamily="34" charset="0"/>
                <a:cs typeface="Arial" panose="020B0604020202020204" pitchFamily="34" charset="0"/>
              </a:rPr>
              <a:t>World Bank, Pew Research Center</a:t>
            </a:r>
            <a:endParaRPr lang="en-US" sz="800" dirty="0">
              <a:latin typeface="Arial" panose="020B0604020202020204" pitchFamily="34" charset="0"/>
              <a:cs typeface="Arial" panose="020B0604020202020204" pitchFamily="34" charset="0"/>
            </a:endParaRPr>
          </a:p>
        </p:txBody>
      </p:sp>
      <p:sp>
        <p:nvSpPr>
          <p:cNvPr id="6" name="TextBox 5"/>
          <p:cNvSpPr txBox="1"/>
          <p:nvPr/>
        </p:nvSpPr>
        <p:spPr>
          <a:xfrm>
            <a:off x="2579204" y="1601942"/>
            <a:ext cx="2377575" cy="646331"/>
          </a:xfrm>
          <a:prstGeom prst="rect">
            <a:avLst/>
          </a:prstGeom>
          <a:noFill/>
        </p:spPr>
        <p:txBody>
          <a:bodyPr wrap="none" rtlCol="0">
            <a:spAutoFit/>
          </a:bodyPr>
          <a:lstStyle/>
          <a:p>
            <a:pPr algn="ctr"/>
            <a:r>
              <a:rPr lang="en-US" dirty="0" smtClean="0">
                <a:solidFill>
                  <a:srgbClr val="FF6600"/>
                </a:solidFill>
              </a:rPr>
              <a:t>Change in the 15-35</a:t>
            </a:r>
          </a:p>
          <a:p>
            <a:pPr algn="ctr"/>
            <a:r>
              <a:rPr lang="en-US" dirty="0">
                <a:solidFill>
                  <a:srgbClr val="FF6600"/>
                </a:solidFill>
              </a:rPr>
              <a:t>a</a:t>
            </a:r>
            <a:r>
              <a:rPr lang="en-US" dirty="0" smtClean="0">
                <a:solidFill>
                  <a:srgbClr val="FF6600"/>
                </a:solidFill>
              </a:rPr>
              <a:t>ge </a:t>
            </a:r>
            <a:r>
              <a:rPr lang="en-US" dirty="0">
                <a:solidFill>
                  <a:srgbClr val="FF6600"/>
                </a:solidFill>
              </a:rPr>
              <a:t>c</a:t>
            </a:r>
            <a:r>
              <a:rPr lang="en-US" dirty="0" smtClean="0">
                <a:solidFill>
                  <a:srgbClr val="FF6600"/>
                </a:solidFill>
              </a:rPr>
              <a:t>ohort in Mexico </a:t>
            </a:r>
            <a:endParaRPr lang="en-US" dirty="0">
              <a:solidFill>
                <a:srgbClr val="FF6600"/>
              </a:solidFill>
            </a:endParaRPr>
          </a:p>
        </p:txBody>
      </p:sp>
      <p:graphicFrame>
        <p:nvGraphicFramePr>
          <p:cNvPr id="7" name="Content Placeholder 6"/>
          <p:cNvGraphicFramePr>
            <a:graphicFrameLocks noGrp="1"/>
          </p:cNvGraphicFramePr>
          <p:nvPr>
            <p:ph idx="1"/>
            <p:extLst/>
          </p:nvPr>
        </p:nvGraphicFramePr>
        <p:xfrm>
          <a:off x="488950" y="1925108"/>
          <a:ext cx="5796198" cy="4312180"/>
        </p:xfrm>
        <a:graphic>
          <a:graphicData uri="http://schemas.openxmlformats.org/drawingml/2006/chart">
            <c:chart xmlns:c="http://schemas.openxmlformats.org/drawingml/2006/chart" xmlns:r="http://schemas.openxmlformats.org/officeDocument/2006/relationships" r:id="rId2"/>
          </a:graphicData>
        </a:graphic>
      </p:graphicFrame>
      <p:grpSp>
        <p:nvGrpSpPr>
          <p:cNvPr id="10" name="Group 9"/>
          <p:cNvGrpSpPr/>
          <p:nvPr/>
        </p:nvGrpSpPr>
        <p:grpSpPr>
          <a:xfrm>
            <a:off x="6334725" y="2312876"/>
            <a:ext cx="2952328" cy="3808148"/>
            <a:chOff x="6609184" y="1925108"/>
            <a:chExt cx="2952328" cy="3808148"/>
          </a:xfrm>
        </p:grpSpPr>
        <p:sp>
          <p:nvSpPr>
            <p:cNvPr id="3" name="Down Arrow 2"/>
            <p:cNvSpPr/>
            <p:nvPr/>
          </p:nvSpPr>
          <p:spPr>
            <a:xfrm>
              <a:off x="6609184" y="1925108"/>
              <a:ext cx="2952328" cy="3808148"/>
            </a:xfrm>
            <a:prstGeom prst="downArrow">
              <a:avLst/>
            </a:prstGeom>
            <a:solidFill>
              <a:srgbClr val="283A97"/>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smtClean="0">
                <a:latin typeface="Verdana" pitchFamily="34" charset="0"/>
              </a:endParaRPr>
            </a:p>
          </p:txBody>
        </p:sp>
        <p:sp>
          <p:nvSpPr>
            <p:cNvPr id="4" name="TextBox 3"/>
            <p:cNvSpPr txBox="1"/>
            <p:nvPr/>
          </p:nvSpPr>
          <p:spPr>
            <a:xfrm>
              <a:off x="7428787" y="2246164"/>
              <a:ext cx="1295232" cy="2658026"/>
            </a:xfrm>
            <a:prstGeom prst="rect">
              <a:avLst/>
            </a:prstGeom>
            <a:noFill/>
          </p:spPr>
          <p:txBody>
            <a:bodyPr wrap="square" lIns="72000" tIns="36000" rIns="72000" bIns="36000" rtlCol="0" anchor="ctr" anchorCtr="0">
              <a:spAutoFit/>
            </a:bodyPr>
            <a:lstStyle/>
            <a:p>
              <a:pPr algn="ctr"/>
              <a:r>
                <a:rPr lang="en-US" sz="2400" u="sng" dirty="0" smtClean="0">
                  <a:solidFill>
                    <a:schemeClr val="bg1"/>
                  </a:solidFill>
                  <a:latin typeface="Verdana" pitchFamily="34" charset="0"/>
                </a:rPr>
                <a:t>2007</a:t>
              </a:r>
            </a:p>
            <a:p>
              <a:pPr algn="ctr"/>
              <a:r>
                <a:rPr lang="en-US" sz="2400" dirty="0" smtClean="0">
                  <a:solidFill>
                    <a:schemeClr val="bg1"/>
                  </a:solidFill>
                  <a:latin typeface="Verdana" pitchFamily="34" charset="0"/>
                </a:rPr>
                <a:t>6.9 Mill</a:t>
              </a:r>
            </a:p>
            <a:p>
              <a:pPr algn="ctr"/>
              <a:endParaRPr lang="en-US" sz="2400" dirty="0">
                <a:solidFill>
                  <a:schemeClr val="bg1"/>
                </a:solidFill>
                <a:latin typeface="Verdana" pitchFamily="34" charset="0"/>
              </a:endParaRPr>
            </a:p>
            <a:p>
              <a:pPr algn="ctr"/>
              <a:endParaRPr lang="en-US" sz="2400" dirty="0" smtClean="0">
                <a:solidFill>
                  <a:schemeClr val="bg1"/>
                </a:solidFill>
                <a:latin typeface="Verdana" pitchFamily="34" charset="0"/>
              </a:endParaRPr>
            </a:p>
            <a:p>
              <a:pPr algn="ctr"/>
              <a:endParaRPr lang="en-US" sz="2400" dirty="0">
                <a:solidFill>
                  <a:schemeClr val="bg1"/>
                </a:solidFill>
                <a:latin typeface="Verdana" pitchFamily="34" charset="0"/>
              </a:endParaRPr>
            </a:p>
            <a:p>
              <a:pPr algn="ctr"/>
              <a:r>
                <a:rPr lang="en-US" sz="2400" u="sng" dirty="0" smtClean="0">
                  <a:solidFill>
                    <a:schemeClr val="bg1"/>
                  </a:solidFill>
                  <a:latin typeface="Verdana" pitchFamily="34" charset="0"/>
                </a:rPr>
                <a:t>2016</a:t>
              </a:r>
            </a:p>
            <a:p>
              <a:pPr algn="ctr"/>
              <a:r>
                <a:rPr lang="en-US" sz="2400" dirty="0" smtClean="0">
                  <a:solidFill>
                    <a:schemeClr val="bg1"/>
                  </a:solidFill>
                  <a:latin typeface="Verdana" pitchFamily="34" charset="0"/>
                </a:rPr>
                <a:t>5.6 Mill</a:t>
              </a:r>
              <a:endParaRPr lang="en-GB" sz="2400" dirty="0" smtClean="0">
                <a:solidFill>
                  <a:schemeClr val="bg1"/>
                </a:solidFill>
                <a:latin typeface="Verdana" pitchFamily="34" charset="0"/>
              </a:endParaRPr>
            </a:p>
          </p:txBody>
        </p:sp>
      </p:grpSp>
      <p:sp>
        <p:nvSpPr>
          <p:cNvPr id="9" name="TextBox 8"/>
          <p:cNvSpPr txBox="1"/>
          <p:nvPr/>
        </p:nvSpPr>
        <p:spPr>
          <a:xfrm>
            <a:off x="5965544" y="1601942"/>
            <a:ext cx="3672801" cy="646331"/>
          </a:xfrm>
          <a:prstGeom prst="rect">
            <a:avLst/>
          </a:prstGeom>
          <a:noFill/>
        </p:spPr>
        <p:txBody>
          <a:bodyPr wrap="none" rtlCol="0">
            <a:spAutoFit/>
          </a:bodyPr>
          <a:lstStyle/>
          <a:p>
            <a:pPr algn="ctr"/>
            <a:r>
              <a:rPr lang="en-US" dirty="0" smtClean="0">
                <a:solidFill>
                  <a:srgbClr val="FF6600"/>
                </a:solidFill>
              </a:rPr>
              <a:t>Undocumented Mexican residents</a:t>
            </a:r>
          </a:p>
          <a:p>
            <a:pPr algn="ctr"/>
            <a:r>
              <a:rPr lang="en-US" dirty="0" smtClean="0">
                <a:solidFill>
                  <a:srgbClr val="FF6600"/>
                </a:solidFill>
              </a:rPr>
              <a:t>in the U.S. in decline</a:t>
            </a:r>
            <a:endParaRPr lang="en-US" dirty="0">
              <a:solidFill>
                <a:srgbClr val="FF6600"/>
              </a:solidFill>
            </a:endParaRPr>
          </a:p>
        </p:txBody>
      </p:sp>
    </p:spTree>
    <p:extLst>
      <p:ext uri="{BB962C8B-B14F-4D97-AF65-F5344CB8AC3E}">
        <p14:creationId xmlns:p14="http://schemas.microsoft.com/office/powerpoint/2010/main" val="1302216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95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Freeform 6"/>
          <p:cNvSpPr>
            <a:spLocks/>
          </p:cNvSpPr>
          <p:nvPr/>
        </p:nvSpPr>
        <p:spPr bwMode="auto">
          <a:xfrm>
            <a:off x="5885910" y="4753511"/>
            <a:ext cx="3262" cy="12288"/>
          </a:xfrm>
          <a:custGeom>
            <a:avLst/>
            <a:gdLst/>
            <a:ahLst/>
            <a:cxnLst>
              <a:cxn ang="0">
                <a:pos x="0" y="5"/>
              </a:cxn>
              <a:cxn ang="0">
                <a:pos x="0" y="3"/>
              </a:cxn>
              <a:cxn ang="0">
                <a:pos x="0" y="0"/>
              </a:cxn>
              <a:cxn ang="0">
                <a:pos x="0" y="0"/>
              </a:cxn>
              <a:cxn ang="0">
                <a:pos x="2" y="3"/>
              </a:cxn>
              <a:cxn ang="0">
                <a:pos x="0" y="8"/>
              </a:cxn>
              <a:cxn ang="0">
                <a:pos x="0" y="5"/>
              </a:cxn>
              <a:cxn ang="0">
                <a:pos x="0" y="5"/>
              </a:cxn>
            </a:cxnLst>
            <a:rect l="0" t="0" r="r" b="b"/>
            <a:pathLst>
              <a:path w="2" h="8">
                <a:moveTo>
                  <a:pt x="0" y="5"/>
                </a:moveTo>
                <a:lnTo>
                  <a:pt x="0" y="3"/>
                </a:lnTo>
                <a:lnTo>
                  <a:pt x="0" y="0"/>
                </a:lnTo>
                <a:lnTo>
                  <a:pt x="0" y="0"/>
                </a:lnTo>
                <a:lnTo>
                  <a:pt x="2" y="3"/>
                </a:lnTo>
                <a:lnTo>
                  <a:pt x="0" y="8"/>
                </a:lnTo>
                <a:lnTo>
                  <a:pt x="0" y="5"/>
                </a:lnTo>
                <a:lnTo>
                  <a:pt x="0"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 name="Freeform 7"/>
          <p:cNvSpPr>
            <a:spLocks noEditPoints="1"/>
          </p:cNvSpPr>
          <p:nvPr/>
        </p:nvSpPr>
        <p:spPr bwMode="auto">
          <a:xfrm>
            <a:off x="5833719" y="4719718"/>
            <a:ext cx="40775" cy="26113"/>
          </a:xfrm>
          <a:custGeom>
            <a:avLst/>
            <a:gdLst/>
            <a:ahLst/>
            <a:cxnLst>
              <a:cxn ang="0">
                <a:pos x="5" y="10"/>
              </a:cxn>
              <a:cxn ang="0">
                <a:pos x="7" y="8"/>
              </a:cxn>
              <a:cxn ang="0">
                <a:pos x="5" y="5"/>
              </a:cxn>
              <a:cxn ang="0">
                <a:pos x="7" y="5"/>
              </a:cxn>
              <a:cxn ang="0">
                <a:pos x="5" y="0"/>
              </a:cxn>
              <a:cxn ang="0">
                <a:pos x="2" y="0"/>
              </a:cxn>
              <a:cxn ang="0">
                <a:pos x="0" y="5"/>
              </a:cxn>
              <a:cxn ang="0">
                <a:pos x="2" y="8"/>
              </a:cxn>
              <a:cxn ang="0">
                <a:pos x="2" y="10"/>
              </a:cxn>
              <a:cxn ang="0">
                <a:pos x="5" y="10"/>
              </a:cxn>
              <a:cxn ang="0">
                <a:pos x="5" y="10"/>
              </a:cxn>
              <a:cxn ang="0">
                <a:pos x="5" y="10"/>
              </a:cxn>
              <a:cxn ang="0">
                <a:pos x="5" y="10"/>
              </a:cxn>
              <a:cxn ang="0">
                <a:pos x="7" y="17"/>
              </a:cxn>
              <a:cxn ang="0">
                <a:pos x="7" y="17"/>
              </a:cxn>
              <a:cxn ang="0">
                <a:pos x="10" y="17"/>
              </a:cxn>
              <a:cxn ang="0">
                <a:pos x="7" y="17"/>
              </a:cxn>
              <a:cxn ang="0">
                <a:pos x="5" y="17"/>
              </a:cxn>
              <a:cxn ang="0">
                <a:pos x="7" y="17"/>
              </a:cxn>
              <a:cxn ang="0">
                <a:pos x="7" y="17"/>
              </a:cxn>
              <a:cxn ang="0">
                <a:pos x="7" y="17"/>
              </a:cxn>
              <a:cxn ang="0">
                <a:pos x="22" y="17"/>
              </a:cxn>
              <a:cxn ang="0">
                <a:pos x="25" y="17"/>
              </a:cxn>
              <a:cxn ang="0">
                <a:pos x="22" y="12"/>
              </a:cxn>
              <a:cxn ang="0">
                <a:pos x="22" y="15"/>
              </a:cxn>
              <a:cxn ang="0">
                <a:pos x="20" y="15"/>
              </a:cxn>
              <a:cxn ang="0">
                <a:pos x="22" y="17"/>
              </a:cxn>
              <a:cxn ang="0">
                <a:pos x="22" y="17"/>
              </a:cxn>
              <a:cxn ang="0">
                <a:pos x="22" y="17"/>
              </a:cxn>
            </a:cxnLst>
            <a:rect l="0" t="0" r="r" b="b"/>
            <a:pathLst>
              <a:path w="25" h="17">
                <a:moveTo>
                  <a:pt x="5" y="10"/>
                </a:moveTo>
                <a:lnTo>
                  <a:pt x="7" y="8"/>
                </a:lnTo>
                <a:lnTo>
                  <a:pt x="5" y="5"/>
                </a:lnTo>
                <a:lnTo>
                  <a:pt x="7" y="5"/>
                </a:lnTo>
                <a:lnTo>
                  <a:pt x="5" y="0"/>
                </a:lnTo>
                <a:lnTo>
                  <a:pt x="2" y="0"/>
                </a:lnTo>
                <a:lnTo>
                  <a:pt x="0" y="5"/>
                </a:lnTo>
                <a:lnTo>
                  <a:pt x="2" y="8"/>
                </a:lnTo>
                <a:lnTo>
                  <a:pt x="2" y="10"/>
                </a:lnTo>
                <a:lnTo>
                  <a:pt x="5" y="10"/>
                </a:lnTo>
                <a:lnTo>
                  <a:pt x="5" y="10"/>
                </a:lnTo>
                <a:lnTo>
                  <a:pt x="5" y="10"/>
                </a:lnTo>
                <a:lnTo>
                  <a:pt x="5" y="10"/>
                </a:lnTo>
                <a:close/>
                <a:moveTo>
                  <a:pt x="7" y="17"/>
                </a:moveTo>
                <a:lnTo>
                  <a:pt x="7" y="17"/>
                </a:lnTo>
                <a:lnTo>
                  <a:pt x="10" y="17"/>
                </a:lnTo>
                <a:lnTo>
                  <a:pt x="7" y="17"/>
                </a:lnTo>
                <a:lnTo>
                  <a:pt x="5" y="17"/>
                </a:lnTo>
                <a:lnTo>
                  <a:pt x="7" y="17"/>
                </a:lnTo>
                <a:lnTo>
                  <a:pt x="7" y="17"/>
                </a:lnTo>
                <a:lnTo>
                  <a:pt x="7" y="17"/>
                </a:lnTo>
                <a:close/>
                <a:moveTo>
                  <a:pt x="22" y="17"/>
                </a:moveTo>
                <a:lnTo>
                  <a:pt x="25" y="17"/>
                </a:lnTo>
                <a:lnTo>
                  <a:pt x="22" y="12"/>
                </a:lnTo>
                <a:lnTo>
                  <a:pt x="22" y="15"/>
                </a:lnTo>
                <a:lnTo>
                  <a:pt x="20" y="15"/>
                </a:lnTo>
                <a:lnTo>
                  <a:pt x="22" y="17"/>
                </a:lnTo>
                <a:lnTo>
                  <a:pt x="22" y="17"/>
                </a:lnTo>
                <a:lnTo>
                  <a:pt x="22" y="1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 name="Freeform 8"/>
          <p:cNvSpPr>
            <a:spLocks noEditPoints="1"/>
          </p:cNvSpPr>
          <p:nvPr/>
        </p:nvSpPr>
        <p:spPr bwMode="auto">
          <a:xfrm>
            <a:off x="5918530" y="4561506"/>
            <a:ext cx="239751" cy="124420"/>
          </a:xfrm>
          <a:custGeom>
            <a:avLst/>
            <a:gdLst/>
            <a:ahLst/>
            <a:cxnLst>
              <a:cxn ang="0">
                <a:pos x="142" y="5"/>
              </a:cxn>
              <a:cxn ang="0">
                <a:pos x="147" y="2"/>
              </a:cxn>
              <a:cxn ang="0">
                <a:pos x="145" y="2"/>
              </a:cxn>
              <a:cxn ang="0">
                <a:pos x="142" y="0"/>
              </a:cxn>
              <a:cxn ang="0">
                <a:pos x="142" y="2"/>
              </a:cxn>
              <a:cxn ang="0">
                <a:pos x="142" y="5"/>
              </a:cxn>
              <a:cxn ang="0">
                <a:pos x="142" y="5"/>
              </a:cxn>
              <a:cxn ang="0">
                <a:pos x="142" y="5"/>
              </a:cxn>
              <a:cxn ang="0">
                <a:pos x="2" y="79"/>
              </a:cxn>
              <a:cxn ang="0">
                <a:pos x="4" y="79"/>
              </a:cxn>
              <a:cxn ang="0">
                <a:pos x="4" y="81"/>
              </a:cxn>
              <a:cxn ang="0">
                <a:pos x="2" y="79"/>
              </a:cxn>
              <a:cxn ang="0">
                <a:pos x="2" y="79"/>
              </a:cxn>
              <a:cxn ang="0">
                <a:pos x="2" y="79"/>
              </a:cxn>
              <a:cxn ang="0">
                <a:pos x="0" y="74"/>
              </a:cxn>
              <a:cxn ang="0">
                <a:pos x="2" y="71"/>
              </a:cxn>
              <a:cxn ang="0">
                <a:pos x="4" y="74"/>
              </a:cxn>
              <a:cxn ang="0">
                <a:pos x="4" y="74"/>
              </a:cxn>
              <a:cxn ang="0">
                <a:pos x="4" y="74"/>
              </a:cxn>
              <a:cxn ang="0">
                <a:pos x="2" y="74"/>
              </a:cxn>
              <a:cxn ang="0">
                <a:pos x="0" y="74"/>
              </a:cxn>
              <a:cxn ang="0">
                <a:pos x="0" y="74"/>
              </a:cxn>
            </a:cxnLst>
            <a:rect l="0" t="0" r="r" b="b"/>
            <a:pathLst>
              <a:path w="147" h="81">
                <a:moveTo>
                  <a:pt x="142" y="5"/>
                </a:moveTo>
                <a:lnTo>
                  <a:pt x="147" y="2"/>
                </a:lnTo>
                <a:lnTo>
                  <a:pt x="145" y="2"/>
                </a:lnTo>
                <a:lnTo>
                  <a:pt x="142" y="0"/>
                </a:lnTo>
                <a:lnTo>
                  <a:pt x="142" y="2"/>
                </a:lnTo>
                <a:lnTo>
                  <a:pt x="142" y="5"/>
                </a:lnTo>
                <a:lnTo>
                  <a:pt x="142" y="5"/>
                </a:lnTo>
                <a:lnTo>
                  <a:pt x="142" y="5"/>
                </a:lnTo>
                <a:close/>
                <a:moveTo>
                  <a:pt x="2" y="79"/>
                </a:moveTo>
                <a:lnTo>
                  <a:pt x="4" y="79"/>
                </a:lnTo>
                <a:lnTo>
                  <a:pt x="4" y="81"/>
                </a:lnTo>
                <a:lnTo>
                  <a:pt x="2" y="79"/>
                </a:lnTo>
                <a:lnTo>
                  <a:pt x="2" y="79"/>
                </a:lnTo>
                <a:lnTo>
                  <a:pt x="2" y="79"/>
                </a:lnTo>
                <a:close/>
                <a:moveTo>
                  <a:pt x="0" y="74"/>
                </a:moveTo>
                <a:lnTo>
                  <a:pt x="2" y="71"/>
                </a:lnTo>
                <a:lnTo>
                  <a:pt x="4" y="74"/>
                </a:lnTo>
                <a:lnTo>
                  <a:pt x="4" y="74"/>
                </a:lnTo>
                <a:lnTo>
                  <a:pt x="4" y="74"/>
                </a:lnTo>
                <a:lnTo>
                  <a:pt x="2" y="74"/>
                </a:lnTo>
                <a:lnTo>
                  <a:pt x="0" y="74"/>
                </a:lnTo>
                <a:lnTo>
                  <a:pt x="0" y="7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 name="Freeform 9"/>
          <p:cNvSpPr>
            <a:spLocks noEditPoints="1"/>
          </p:cNvSpPr>
          <p:nvPr/>
        </p:nvSpPr>
        <p:spPr bwMode="auto">
          <a:xfrm>
            <a:off x="7078141" y="4116055"/>
            <a:ext cx="55452" cy="173573"/>
          </a:xfrm>
          <a:custGeom>
            <a:avLst/>
            <a:gdLst/>
            <a:ahLst/>
            <a:cxnLst>
              <a:cxn ang="0">
                <a:pos x="14" y="19"/>
              </a:cxn>
              <a:cxn ang="0">
                <a:pos x="14" y="14"/>
              </a:cxn>
              <a:cxn ang="0">
                <a:pos x="14" y="10"/>
              </a:cxn>
              <a:cxn ang="0">
                <a:pos x="14" y="7"/>
              </a:cxn>
              <a:cxn ang="0">
                <a:pos x="14" y="2"/>
              </a:cxn>
              <a:cxn ang="0">
                <a:pos x="12" y="0"/>
              </a:cxn>
              <a:cxn ang="0">
                <a:pos x="9" y="10"/>
              </a:cxn>
              <a:cxn ang="0">
                <a:pos x="9" y="12"/>
              </a:cxn>
              <a:cxn ang="0">
                <a:pos x="9" y="19"/>
              </a:cxn>
              <a:cxn ang="0">
                <a:pos x="9" y="39"/>
              </a:cxn>
              <a:cxn ang="0">
                <a:pos x="9" y="34"/>
              </a:cxn>
              <a:cxn ang="0">
                <a:pos x="9" y="29"/>
              </a:cxn>
              <a:cxn ang="0">
                <a:pos x="9" y="27"/>
              </a:cxn>
              <a:cxn ang="0">
                <a:pos x="12" y="22"/>
              </a:cxn>
              <a:cxn ang="0">
                <a:pos x="7" y="24"/>
              </a:cxn>
              <a:cxn ang="0">
                <a:pos x="7" y="32"/>
              </a:cxn>
              <a:cxn ang="0">
                <a:pos x="9" y="34"/>
              </a:cxn>
              <a:cxn ang="0">
                <a:pos x="9" y="39"/>
              </a:cxn>
              <a:cxn ang="0">
                <a:pos x="0" y="37"/>
              </a:cxn>
              <a:cxn ang="0">
                <a:pos x="2" y="34"/>
              </a:cxn>
              <a:cxn ang="0">
                <a:pos x="0" y="37"/>
              </a:cxn>
              <a:cxn ang="0">
                <a:pos x="9" y="54"/>
              </a:cxn>
              <a:cxn ang="0">
                <a:pos x="9" y="49"/>
              </a:cxn>
              <a:cxn ang="0">
                <a:pos x="7" y="46"/>
              </a:cxn>
              <a:cxn ang="0">
                <a:pos x="4" y="54"/>
              </a:cxn>
              <a:cxn ang="0">
                <a:pos x="14" y="71"/>
              </a:cxn>
              <a:cxn ang="0">
                <a:pos x="14" y="73"/>
              </a:cxn>
              <a:cxn ang="0">
                <a:pos x="14" y="71"/>
              </a:cxn>
              <a:cxn ang="0">
                <a:pos x="19" y="86"/>
              </a:cxn>
              <a:cxn ang="0">
                <a:pos x="22" y="88"/>
              </a:cxn>
              <a:cxn ang="0">
                <a:pos x="19" y="83"/>
              </a:cxn>
              <a:cxn ang="0">
                <a:pos x="24" y="88"/>
              </a:cxn>
              <a:cxn ang="0">
                <a:pos x="27" y="91"/>
              </a:cxn>
              <a:cxn ang="0">
                <a:pos x="27" y="88"/>
              </a:cxn>
              <a:cxn ang="0">
                <a:pos x="22" y="96"/>
              </a:cxn>
              <a:cxn ang="0">
                <a:pos x="24" y="96"/>
              </a:cxn>
              <a:cxn ang="0">
                <a:pos x="24" y="91"/>
              </a:cxn>
              <a:cxn ang="0">
                <a:pos x="22" y="93"/>
              </a:cxn>
              <a:cxn ang="0">
                <a:pos x="29" y="103"/>
              </a:cxn>
              <a:cxn ang="0">
                <a:pos x="31" y="101"/>
              </a:cxn>
              <a:cxn ang="0">
                <a:pos x="27" y="101"/>
              </a:cxn>
              <a:cxn ang="0">
                <a:pos x="29" y="103"/>
              </a:cxn>
              <a:cxn ang="0">
                <a:pos x="29" y="105"/>
              </a:cxn>
              <a:cxn ang="0">
                <a:pos x="29" y="108"/>
              </a:cxn>
              <a:cxn ang="0">
                <a:pos x="31" y="113"/>
              </a:cxn>
              <a:cxn ang="0">
                <a:pos x="31" y="108"/>
              </a:cxn>
              <a:cxn ang="0">
                <a:pos x="31" y="103"/>
              </a:cxn>
            </a:cxnLst>
            <a:rect l="0" t="0" r="r" b="b"/>
            <a:pathLst>
              <a:path w="34" h="113">
                <a:moveTo>
                  <a:pt x="9" y="22"/>
                </a:moveTo>
                <a:lnTo>
                  <a:pt x="9" y="22"/>
                </a:lnTo>
                <a:lnTo>
                  <a:pt x="14" y="19"/>
                </a:lnTo>
                <a:lnTo>
                  <a:pt x="14" y="19"/>
                </a:lnTo>
                <a:lnTo>
                  <a:pt x="14" y="14"/>
                </a:lnTo>
                <a:lnTo>
                  <a:pt x="14" y="14"/>
                </a:lnTo>
                <a:lnTo>
                  <a:pt x="12" y="12"/>
                </a:lnTo>
                <a:lnTo>
                  <a:pt x="12" y="12"/>
                </a:lnTo>
                <a:lnTo>
                  <a:pt x="14" y="10"/>
                </a:lnTo>
                <a:lnTo>
                  <a:pt x="14" y="10"/>
                </a:lnTo>
                <a:lnTo>
                  <a:pt x="14" y="7"/>
                </a:lnTo>
                <a:lnTo>
                  <a:pt x="14" y="7"/>
                </a:lnTo>
                <a:lnTo>
                  <a:pt x="12" y="5"/>
                </a:lnTo>
                <a:lnTo>
                  <a:pt x="12" y="5"/>
                </a:lnTo>
                <a:lnTo>
                  <a:pt x="14" y="2"/>
                </a:lnTo>
                <a:lnTo>
                  <a:pt x="14" y="2"/>
                </a:lnTo>
                <a:lnTo>
                  <a:pt x="12" y="0"/>
                </a:lnTo>
                <a:lnTo>
                  <a:pt x="12" y="0"/>
                </a:lnTo>
                <a:lnTo>
                  <a:pt x="9" y="5"/>
                </a:lnTo>
                <a:lnTo>
                  <a:pt x="9" y="5"/>
                </a:lnTo>
                <a:lnTo>
                  <a:pt x="9" y="10"/>
                </a:lnTo>
                <a:lnTo>
                  <a:pt x="9" y="10"/>
                </a:lnTo>
                <a:lnTo>
                  <a:pt x="9" y="12"/>
                </a:lnTo>
                <a:lnTo>
                  <a:pt x="9" y="12"/>
                </a:lnTo>
                <a:lnTo>
                  <a:pt x="9" y="12"/>
                </a:lnTo>
                <a:lnTo>
                  <a:pt x="9" y="19"/>
                </a:lnTo>
                <a:lnTo>
                  <a:pt x="9" y="19"/>
                </a:lnTo>
                <a:lnTo>
                  <a:pt x="9" y="22"/>
                </a:lnTo>
                <a:lnTo>
                  <a:pt x="9" y="22"/>
                </a:lnTo>
                <a:close/>
                <a:moveTo>
                  <a:pt x="9" y="39"/>
                </a:moveTo>
                <a:lnTo>
                  <a:pt x="9" y="39"/>
                </a:lnTo>
                <a:lnTo>
                  <a:pt x="9" y="34"/>
                </a:lnTo>
                <a:lnTo>
                  <a:pt x="9" y="34"/>
                </a:lnTo>
                <a:lnTo>
                  <a:pt x="9" y="32"/>
                </a:lnTo>
                <a:lnTo>
                  <a:pt x="9" y="32"/>
                </a:lnTo>
                <a:lnTo>
                  <a:pt x="9" y="29"/>
                </a:lnTo>
                <a:lnTo>
                  <a:pt x="9" y="29"/>
                </a:lnTo>
                <a:lnTo>
                  <a:pt x="9" y="27"/>
                </a:lnTo>
                <a:lnTo>
                  <a:pt x="9" y="27"/>
                </a:lnTo>
                <a:lnTo>
                  <a:pt x="12" y="24"/>
                </a:lnTo>
                <a:lnTo>
                  <a:pt x="12" y="24"/>
                </a:lnTo>
                <a:lnTo>
                  <a:pt x="12" y="22"/>
                </a:lnTo>
                <a:lnTo>
                  <a:pt x="12" y="22"/>
                </a:lnTo>
                <a:lnTo>
                  <a:pt x="7" y="24"/>
                </a:lnTo>
                <a:lnTo>
                  <a:pt x="7" y="24"/>
                </a:lnTo>
                <a:lnTo>
                  <a:pt x="7" y="29"/>
                </a:lnTo>
                <a:lnTo>
                  <a:pt x="7" y="29"/>
                </a:lnTo>
                <a:lnTo>
                  <a:pt x="7" y="32"/>
                </a:lnTo>
                <a:lnTo>
                  <a:pt x="7" y="32"/>
                </a:lnTo>
                <a:lnTo>
                  <a:pt x="9" y="34"/>
                </a:lnTo>
                <a:lnTo>
                  <a:pt x="9" y="34"/>
                </a:lnTo>
                <a:lnTo>
                  <a:pt x="7" y="37"/>
                </a:lnTo>
                <a:lnTo>
                  <a:pt x="7" y="37"/>
                </a:lnTo>
                <a:lnTo>
                  <a:pt x="9" y="39"/>
                </a:lnTo>
                <a:lnTo>
                  <a:pt x="9" y="39"/>
                </a:lnTo>
                <a:close/>
                <a:moveTo>
                  <a:pt x="0" y="37"/>
                </a:moveTo>
                <a:lnTo>
                  <a:pt x="0" y="37"/>
                </a:lnTo>
                <a:lnTo>
                  <a:pt x="4" y="37"/>
                </a:lnTo>
                <a:lnTo>
                  <a:pt x="4" y="37"/>
                </a:lnTo>
                <a:lnTo>
                  <a:pt x="2" y="34"/>
                </a:lnTo>
                <a:lnTo>
                  <a:pt x="2" y="34"/>
                </a:lnTo>
                <a:lnTo>
                  <a:pt x="0" y="37"/>
                </a:lnTo>
                <a:lnTo>
                  <a:pt x="0" y="37"/>
                </a:lnTo>
                <a:close/>
                <a:moveTo>
                  <a:pt x="4" y="54"/>
                </a:moveTo>
                <a:lnTo>
                  <a:pt x="4" y="54"/>
                </a:lnTo>
                <a:lnTo>
                  <a:pt x="9" y="54"/>
                </a:lnTo>
                <a:lnTo>
                  <a:pt x="9" y="54"/>
                </a:lnTo>
                <a:lnTo>
                  <a:pt x="9" y="49"/>
                </a:lnTo>
                <a:lnTo>
                  <a:pt x="9" y="49"/>
                </a:lnTo>
                <a:lnTo>
                  <a:pt x="9" y="46"/>
                </a:lnTo>
                <a:lnTo>
                  <a:pt x="9" y="46"/>
                </a:lnTo>
                <a:lnTo>
                  <a:pt x="7" y="46"/>
                </a:lnTo>
                <a:lnTo>
                  <a:pt x="7" y="46"/>
                </a:lnTo>
                <a:lnTo>
                  <a:pt x="4" y="51"/>
                </a:lnTo>
                <a:lnTo>
                  <a:pt x="4" y="54"/>
                </a:lnTo>
                <a:lnTo>
                  <a:pt x="4" y="54"/>
                </a:lnTo>
                <a:close/>
                <a:moveTo>
                  <a:pt x="14" y="71"/>
                </a:moveTo>
                <a:lnTo>
                  <a:pt x="14" y="71"/>
                </a:lnTo>
                <a:lnTo>
                  <a:pt x="12" y="73"/>
                </a:lnTo>
                <a:lnTo>
                  <a:pt x="12" y="73"/>
                </a:lnTo>
                <a:lnTo>
                  <a:pt x="14" y="73"/>
                </a:lnTo>
                <a:lnTo>
                  <a:pt x="14" y="73"/>
                </a:lnTo>
                <a:lnTo>
                  <a:pt x="14" y="71"/>
                </a:lnTo>
                <a:lnTo>
                  <a:pt x="14" y="71"/>
                </a:lnTo>
                <a:close/>
                <a:moveTo>
                  <a:pt x="19" y="83"/>
                </a:moveTo>
                <a:lnTo>
                  <a:pt x="19" y="83"/>
                </a:lnTo>
                <a:lnTo>
                  <a:pt x="19" y="86"/>
                </a:lnTo>
                <a:lnTo>
                  <a:pt x="19" y="86"/>
                </a:lnTo>
                <a:lnTo>
                  <a:pt x="22" y="88"/>
                </a:lnTo>
                <a:lnTo>
                  <a:pt x="22" y="88"/>
                </a:lnTo>
                <a:lnTo>
                  <a:pt x="19" y="86"/>
                </a:lnTo>
                <a:lnTo>
                  <a:pt x="19" y="83"/>
                </a:lnTo>
                <a:lnTo>
                  <a:pt x="19" y="83"/>
                </a:lnTo>
                <a:close/>
                <a:moveTo>
                  <a:pt x="27" y="86"/>
                </a:moveTo>
                <a:lnTo>
                  <a:pt x="27" y="86"/>
                </a:lnTo>
                <a:lnTo>
                  <a:pt x="24" y="88"/>
                </a:lnTo>
                <a:lnTo>
                  <a:pt x="24" y="88"/>
                </a:lnTo>
                <a:lnTo>
                  <a:pt x="27" y="91"/>
                </a:lnTo>
                <a:lnTo>
                  <a:pt x="27" y="91"/>
                </a:lnTo>
                <a:lnTo>
                  <a:pt x="27" y="91"/>
                </a:lnTo>
                <a:lnTo>
                  <a:pt x="27" y="88"/>
                </a:lnTo>
                <a:lnTo>
                  <a:pt x="27" y="88"/>
                </a:lnTo>
                <a:lnTo>
                  <a:pt x="27" y="86"/>
                </a:lnTo>
                <a:lnTo>
                  <a:pt x="27" y="86"/>
                </a:lnTo>
                <a:close/>
                <a:moveTo>
                  <a:pt x="22" y="96"/>
                </a:moveTo>
                <a:lnTo>
                  <a:pt x="22" y="96"/>
                </a:lnTo>
                <a:lnTo>
                  <a:pt x="24" y="96"/>
                </a:lnTo>
                <a:lnTo>
                  <a:pt x="24" y="96"/>
                </a:lnTo>
                <a:lnTo>
                  <a:pt x="27" y="96"/>
                </a:lnTo>
                <a:lnTo>
                  <a:pt x="27" y="96"/>
                </a:lnTo>
                <a:lnTo>
                  <a:pt x="24" y="91"/>
                </a:lnTo>
                <a:lnTo>
                  <a:pt x="24" y="91"/>
                </a:lnTo>
                <a:lnTo>
                  <a:pt x="22" y="93"/>
                </a:lnTo>
                <a:lnTo>
                  <a:pt x="22" y="93"/>
                </a:lnTo>
                <a:lnTo>
                  <a:pt x="22" y="96"/>
                </a:lnTo>
                <a:lnTo>
                  <a:pt x="22" y="96"/>
                </a:lnTo>
                <a:close/>
                <a:moveTo>
                  <a:pt x="29" y="103"/>
                </a:moveTo>
                <a:lnTo>
                  <a:pt x="29" y="103"/>
                </a:lnTo>
                <a:lnTo>
                  <a:pt x="31" y="101"/>
                </a:lnTo>
                <a:lnTo>
                  <a:pt x="31" y="101"/>
                </a:lnTo>
                <a:lnTo>
                  <a:pt x="29" y="101"/>
                </a:lnTo>
                <a:lnTo>
                  <a:pt x="29" y="101"/>
                </a:lnTo>
                <a:lnTo>
                  <a:pt x="27" y="101"/>
                </a:lnTo>
                <a:lnTo>
                  <a:pt x="27" y="101"/>
                </a:lnTo>
                <a:lnTo>
                  <a:pt x="29" y="103"/>
                </a:lnTo>
                <a:lnTo>
                  <a:pt x="29" y="103"/>
                </a:lnTo>
                <a:close/>
                <a:moveTo>
                  <a:pt x="31" y="103"/>
                </a:moveTo>
                <a:lnTo>
                  <a:pt x="31" y="103"/>
                </a:lnTo>
                <a:lnTo>
                  <a:pt x="29" y="105"/>
                </a:lnTo>
                <a:lnTo>
                  <a:pt x="29" y="105"/>
                </a:lnTo>
                <a:lnTo>
                  <a:pt x="29" y="108"/>
                </a:lnTo>
                <a:lnTo>
                  <a:pt x="29" y="108"/>
                </a:lnTo>
                <a:lnTo>
                  <a:pt x="29" y="110"/>
                </a:lnTo>
                <a:lnTo>
                  <a:pt x="31" y="113"/>
                </a:lnTo>
                <a:lnTo>
                  <a:pt x="31" y="113"/>
                </a:lnTo>
                <a:lnTo>
                  <a:pt x="34" y="110"/>
                </a:lnTo>
                <a:lnTo>
                  <a:pt x="34" y="110"/>
                </a:lnTo>
                <a:lnTo>
                  <a:pt x="31" y="108"/>
                </a:lnTo>
                <a:lnTo>
                  <a:pt x="31" y="108"/>
                </a:lnTo>
                <a:lnTo>
                  <a:pt x="31" y="105"/>
                </a:lnTo>
                <a:lnTo>
                  <a:pt x="31" y="10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 name="Freeform 10"/>
          <p:cNvSpPr>
            <a:spLocks noEditPoints="1"/>
          </p:cNvSpPr>
          <p:nvPr/>
        </p:nvSpPr>
        <p:spPr bwMode="auto">
          <a:xfrm>
            <a:off x="8397586" y="4066902"/>
            <a:ext cx="32620" cy="56834"/>
          </a:xfrm>
          <a:custGeom>
            <a:avLst/>
            <a:gdLst/>
            <a:ahLst/>
            <a:cxnLst>
              <a:cxn ang="0">
                <a:pos x="20" y="0"/>
              </a:cxn>
              <a:cxn ang="0">
                <a:pos x="15" y="2"/>
              </a:cxn>
              <a:cxn ang="0">
                <a:pos x="17" y="7"/>
              </a:cxn>
              <a:cxn ang="0">
                <a:pos x="17" y="2"/>
              </a:cxn>
              <a:cxn ang="0">
                <a:pos x="20" y="0"/>
              </a:cxn>
              <a:cxn ang="0">
                <a:pos x="20" y="0"/>
              </a:cxn>
              <a:cxn ang="0">
                <a:pos x="20" y="0"/>
              </a:cxn>
              <a:cxn ang="0">
                <a:pos x="20" y="0"/>
              </a:cxn>
              <a:cxn ang="0">
                <a:pos x="10" y="22"/>
              </a:cxn>
              <a:cxn ang="0">
                <a:pos x="12" y="19"/>
              </a:cxn>
              <a:cxn ang="0">
                <a:pos x="15" y="22"/>
              </a:cxn>
              <a:cxn ang="0">
                <a:pos x="12" y="22"/>
              </a:cxn>
              <a:cxn ang="0">
                <a:pos x="10" y="22"/>
              </a:cxn>
              <a:cxn ang="0">
                <a:pos x="10" y="22"/>
              </a:cxn>
              <a:cxn ang="0">
                <a:pos x="10" y="22"/>
              </a:cxn>
              <a:cxn ang="0">
                <a:pos x="2" y="34"/>
              </a:cxn>
              <a:cxn ang="0">
                <a:pos x="2" y="32"/>
              </a:cxn>
              <a:cxn ang="0">
                <a:pos x="5" y="29"/>
              </a:cxn>
              <a:cxn ang="0">
                <a:pos x="7" y="32"/>
              </a:cxn>
              <a:cxn ang="0">
                <a:pos x="5" y="37"/>
              </a:cxn>
              <a:cxn ang="0">
                <a:pos x="2" y="37"/>
              </a:cxn>
              <a:cxn ang="0">
                <a:pos x="0" y="34"/>
              </a:cxn>
              <a:cxn ang="0">
                <a:pos x="2" y="34"/>
              </a:cxn>
              <a:cxn ang="0">
                <a:pos x="2" y="34"/>
              </a:cxn>
            </a:cxnLst>
            <a:rect l="0" t="0" r="r" b="b"/>
            <a:pathLst>
              <a:path w="20" h="37">
                <a:moveTo>
                  <a:pt x="20" y="0"/>
                </a:moveTo>
                <a:lnTo>
                  <a:pt x="15" y="2"/>
                </a:lnTo>
                <a:lnTo>
                  <a:pt x="17" y="7"/>
                </a:lnTo>
                <a:lnTo>
                  <a:pt x="17" y="2"/>
                </a:lnTo>
                <a:lnTo>
                  <a:pt x="20" y="0"/>
                </a:lnTo>
                <a:lnTo>
                  <a:pt x="20" y="0"/>
                </a:lnTo>
                <a:lnTo>
                  <a:pt x="20" y="0"/>
                </a:lnTo>
                <a:lnTo>
                  <a:pt x="20" y="0"/>
                </a:lnTo>
                <a:close/>
                <a:moveTo>
                  <a:pt x="10" y="22"/>
                </a:moveTo>
                <a:lnTo>
                  <a:pt x="12" y="19"/>
                </a:lnTo>
                <a:lnTo>
                  <a:pt x="15" y="22"/>
                </a:lnTo>
                <a:lnTo>
                  <a:pt x="12" y="22"/>
                </a:lnTo>
                <a:lnTo>
                  <a:pt x="10" y="22"/>
                </a:lnTo>
                <a:lnTo>
                  <a:pt x="10" y="22"/>
                </a:lnTo>
                <a:lnTo>
                  <a:pt x="10" y="22"/>
                </a:lnTo>
                <a:close/>
                <a:moveTo>
                  <a:pt x="2" y="34"/>
                </a:moveTo>
                <a:lnTo>
                  <a:pt x="2" y="32"/>
                </a:lnTo>
                <a:lnTo>
                  <a:pt x="5" y="29"/>
                </a:lnTo>
                <a:lnTo>
                  <a:pt x="7" y="32"/>
                </a:lnTo>
                <a:lnTo>
                  <a:pt x="5" y="37"/>
                </a:lnTo>
                <a:lnTo>
                  <a:pt x="2" y="37"/>
                </a:lnTo>
                <a:lnTo>
                  <a:pt x="0" y="34"/>
                </a:lnTo>
                <a:lnTo>
                  <a:pt x="2" y="34"/>
                </a:lnTo>
                <a:lnTo>
                  <a:pt x="2" y="3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 name="Freeform 11"/>
          <p:cNvSpPr>
            <a:spLocks noEditPoints="1"/>
          </p:cNvSpPr>
          <p:nvPr/>
        </p:nvSpPr>
        <p:spPr bwMode="auto">
          <a:xfrm>
            <a:off x="5308551" y="1517079"/>
            <a:ext cx="3317368" cy="1880111"/>
          </a:xfrm>
          <a:custGeom>
            <a:avLst/>
            <a:gdLst/>
            <a:ahLst/>
            <a:cxnLst>
              <a:cxn ang="0">
                <a:pos x="1552" y="1001"/>
              </a:cxn>
              <a:cxn ang="0">
                <a:pos x="1404" y="875"/>
              </a:cxn>
              <a:cxn ang="0">
                <a:pos x="1232" y="998"/>
              </a:cxn>
              <a:cxn ang="0">
                <a:pos x="969" y="988"/>
              </a:cxn>
              <a:cxn ang="0">
                <a:pos x="679" y="939"/>
              </a:cxn>
              <a:cxn ang="0">
                <a:pos x="501" y="981"/>
              </a:cxn>
              <a:cxn ang="0">
                <a:pos x="319" y="1050"/>
              </a:cxn>
              <a:cxn ang="0">
                <a:pos x="263" y="1217"/>
              </a:cxn>
              <a:cxn ang="0">
                <a:pos x="128" y="1005"/>
              </a:cxn>
              <a:cxn ang="0">
                <a:pos x="41" y="737"/>
              </a:cxn>
              <a:cxn ang="0">
                <a:pos x="69" y="580"/>
              </a:cxn>
              <a:cxn ang="0">
                <a:pos x="91" y="683"/>
              </a:cxn>
              <a:cxn ang="0">
                <a:pos x="199" y="614"/>
              </a:cxn>
              <a:cxn ang="0">
                <a:pos x="332" y="595"/>
              </a:cxn>
              <a:cxn ang="0">
                <a:pos x="467" y="536"/>
              </a:cxn>
              <a:cxn ang="0">
                <a:pos x="556" y="592"/>
              </a:cxn>
              <a:cxn ang="0">
                <a:pos x="580" y="526"/>
              </a:cxn>
              <a:cxn ang="0">
                <a:pos x="607" y="435"/>
              </a:cxn>
              <a:cxn ang="0">
                <a:pos x="610" y="354"/>
              </a:cxn>
              <a:cxn ang="0">
                <a:pos x="669" y="233"/>
              </a:cxn>
              <a:cxn ang="0">
                <a:pos x="765" y="155"/>
              </a:cxn>
              <a:cxn ang="0">
                <a:pos x="898" y="221"/>
              </a:cxn>
              <a:cxn ang="0">
                <a:pos x="954" y="282"/>
              </a:cxn>
              <a:cxn ang="0">
                <a:pos x="1141" y="258"/>
              </a:cxn>
              <a:cxn ang="0">
                <a:pos x="1291" y="263"/>
              </a:cxn>
              <a:cxn ang="0">
                <a:pos x="1417" y="218"/>
              </a:cxn>
              <a:cxn ang="0">
                <a:pos x="1690" y="214"/>
              </a:cxn>
              <a:cxn ang="0">
                <a:pos x="1899" y="179"/>
              </a:cxn>
              <a:cxn ang="0">
                <a:pos x="2014" y="216"/>
              </a:cxn>
              <a:cxn ang="0">
                <a:pos x="1926" y="277"/>
              </a:cxn>
              <a:cxn ang="0">
                <a:pos x="2012" y="435"/>
              </a:cxn>
              <a:cxn ang="0">
                <a:pos x="1862" y="575"/>
              </a:cxn>
              <a:cxn ang="0">
                <a:pos x="1901" y="787"/>
              </a:cxn>
              <a:cxn ang="0">
                <a:pos x="1825" y="563"/>
              </a:cxn>
              <a:cxn ang="0">
                <a:pos x="1773" y="533"/>
              </a:cxn>
              <a:cxn ang="0">
                <a:pos x="1677" y="627"/>
              </a:cxn>
              <a:cxn ang="0">
                <a:pos x="1577" y="828"/>
              </a:cxn>
              <a:cxn ang="0">
                <a:pos x="1663" y="1028"/>
              </a:cxn>
              <a:cxn ang="0">
                <a:pos x="123" y="164"/>
              </a:cxn>
              <a:cxn ang="0">
                <a:pos x="142" y="172"/>
              </a:cxn>
              <a:cxn ang="0">
                <a:pos x="196" y="113"/>
              </a:cxn>
              <a:cxn ang="0">
                <a:pos x="189" y="150"/>
              </a:cxn>
              <a:cxn ang="0">
                <a:pos x="231" y="64"/>
              </a:cxn>
              <a:cxn ang="0">
                <a:pos x="1823" y="516"/>
              </a:cxn>
              <a:cxn ang="0">
                <a:pos x="391" y="280"/>
              </a:cxn>
              <a:cxn ang="0">
                <a:pos x="275" y="373"/>
              </a:cxn>
              <a:cxn ang="0">
                <a:pos x="295" y="432"/>
              </a:cxn>
              <a:cxn ang="0">
                <a:pos x="322" y="519"/>
              </a:cxn>
              <a:cxn ang="0">
                <a:pos x="654" y="477"/>
              </a:cxn>
              <a:cxn ang="0">
                <a:pos x="531" y="614"/>
              </a:cxn>
              <a:cxn ang="0">
                <a:pos x="546" y="273"/>
              </a:cxn>
              <a:cxn ang="0">
                <a:pos x="588" y="196"/>
              </a:cxn>
              <a:cxn ang="0">
                <a:pos x="501" y="14"/>
              </a:cxn>
              <a:cxn ang="0">
                <a:pos x="590" y="103"/>
              </a:cxn>
              <a:cxn ang="0">
                <a:pos x="1271" y="64"/>
              </a:cxn>
              <a:cxn ang="0">
                <a:pos x="1136" y="71"/>
              </a:cxn>
              <a:cxn ang="0">
                <a:pos x="703" y="83"/>
              </a:cxn>
              <a:cxn ang="0">
                <a:pos x="1030" y="273"/>
              </a:cxn>
              <a:cxn ang="0">
                <a:pos x="1264" y="265"/>
              </a:cxn>
              <a:cxn ang="0">
                <a:pos x="1727" y="946"/>
              </a:cxn>
              <a:cxn ang="0">
                <a:pos x="1692" y="937"/>
              </a:cxn>
              <a:cxn ang="0">
                <a:pos x="1879" y="600"/>
              </a:cxn>
              <a:cxn ang="0">
                <a:pos x="1869" y="927"/>
              </a:cxn>
            </a:cxnLst>
            <a:rect l="0" t="0" r="r" b="b"/>
            <a:pathLst>
              <a:path w="2034" h="1224">
                <a:moveTo>
                  <a:pt x="1579" y="1126"/>
                </a:moveTo>
                <a:lnTo>
                  <a:pt x="1579" y="1126"/>
                </a:lnTo>
                <a:lnTo>
                  <a:pt x="1577" y="1126"/>
                </a:lnTo>
                <a:lnTo>
                  <a:pt x="1577" y="1126"/>
                </a:lnTo>
                <a:lnTo>
                  <a:pt x="1574" y="1124"/>
                </a:lnTo>
                <a:lnTo>
                  <a:pt x="1574" y="1124"/>
                </a:lnTo>
                <a:lnTo>
                  <a:pt x="1574" y="1124"/>
                </a:lnTo>
                <a:lnTo>
                  <a:pt x="1577" y="1121"/>
                </a:lnTo>
                <a:lnTo>
                  <a:pt x="1577" y="1121"/>
                </a:lnTo>
                <a:lnTo>
                  <a:pt x="1577" y="1119"/>
                </a:lnTo>
                <a:lnTo>
                  <a:pt x="1577" y="1119"/>
                </a:lnTo>
                <a:lnTo>
                  <a:pt x="1574" y="1119"/>
                </a:lnTo>
                <a:lnTo>
                  <a:pt x="1574" y="1119"/>
                </a:lnTo>
                <a:lnTo>
                  <a:pt x="1574" y="1116"/>
                </a:lnTo>
                <a:lnTo>
                  <a:pt x="1574" y="1116"/>
                </a:lnTo>
                <a:lnTo>
                  <a:pt x="1574" y="1114"/>
                </a:lnTo>
                <a:lnTo>
                  <a:pt x="1574" y="1114"/>
                </a:lnTo>
                <a:lnTo>
                  <a:pt x="1577" y="1114"/>
                </a:lnTo>
                <a:lnTo>
                  <a:pt x="1577" y="1114"/>
                </a:lnTo>
                <a:lnTo>
                  <a:pt x="1579" y="1114"/>
                </a:lnTo>
                <a:lnTo>
                  <a:pt x="1579" y="1114"/>
                </a:lnTo>
                <a:lnTo>
                  <a:pt x="1581" y="1114"/>
                </a:lnTo>
                <a:lnTo>
                  <a:pt x="1581" y="1114"/>
                </a:lnTo>
                <a:lnTo>
                  <a:pt x="1581" y="1111"/>
                </a:lnTo>
                <a:lnTo>
                  <a:pt x="1581" y="1111"/>
                </a:lnTo>
                <a:lnTo>
                  <a:pt x="1579" y="1109"/>
                </a:lnTo>
                <a:lnTo>
                  <a:pt x="1579" y="1109"/>
                </a:lnTo>
                <a:lnTo>
                  <a:pt x="1581" y="1106"/>
                </a:lnTo>
                <a:lnTo>
                  <a:pt x="1581" y="1106"/>
                </a:lnTo>
                <a:lnTo>
                  <a:pt x="1581" y="1106"/>
                </a:lnTo>
                <a:lnTo>
                  <a:pt x="1581" y="1104"/>
                </a:lnTo>
                <a:lnTo>
                  <a:pt x="1581" y="1104"/>
                </a:lnTo>
                <a:lnTo>
                  <a:pt x="1581" y="1099"/>
                </a:lnTo>
                <a:lnTo>
                  <a:pt x="1581" y="1099"/>
                </a:lnTo>
                <a:lnTo>
                  <a:pt x="1579" y="1099"/>
                </a:lnTo>
                <a:lnTo>
                  <a:pt x="1579" y="1099"/>
                </a:lnTo>
                <a:lnTo>
                  <a:pt x="1579" y="1094"/>
                </a:lnTo>
                <a:lnTo>
                  <a:pt x="1579" y="1094"/>
                </a:lnTo>
                <a:lnTo>
                  <a:pt x="1579" y="1092"/>
                </a:lnTo>
                <a:lnTo>
                  <a:pt x="1579" y="1092"/>
                </a:lnTo>
                <a:lnTo>
                  <a:pt x="1579" y="1087"/>
                </a:lnTo>
                <a:lnTo>
                  <a:pt x="1579" y="1087"/>
                </a:lnTo>
                <a:lnTo>
                  <a:pt x="1579" y="1084"/>
                </a:lnTo>
                <a:lnTo>
                  <a:pt x="1579" y="1084"/>
                </a:lnTo>
                <a:lnTo>
                  <a:pt x="1577" y="1082"/>
                </a:lnTo>
                <a:lnTo>
                  <a:pt x="1577" y="1082"/>
                </a:lnTo>
                <a:lnTo>
                  <a:pt x="1577" y="1079"/>
                </a:lnTo>
                <a:lnTo>
                  <a:pt x="1577" y="1079"/>
                </a:lnTo>
                <a:lnTo>
                  <a:pt x="1574" y="1077"/>
                </a:lnTo>
                <a:lnTo>
                  <a:pt x="1574" y="1077"/>
                </a:lnTo>
                <a:lnTo>
                  <a:pt x="1572" y="1072"/>
                </a:lnTo>
                <a:lnTo>
                  <a:pt x="1572" y="1072"/>
                </a:lnTo>
                <a:lnTo>
                  <a:pt x="1569" y="1069"/>
                </a:lnTo>
                <a:lnTo>
                  <a:pt x="1569" y="1069"/>
                </a:lnTo>
                <a:lnTo>
                  <a:pt x="1572" y="1067"/>
                </a:lnTo>
                <a:lnTo>
                  <a:pt x="1572" y="1067"/>
                </a:lnTo>
                <a:lnTo>
                  <a:pt x="1572" y="1067"/>
                </a:lnTo>
                <a:lnTo>
                  <a:pt x="1574" y="1067"/>
                </a:lnTo>
                <a:lnTo>
                  <a:pt x="1574" y="1067"/>
                </a:lnTo>
                <a:lnTo>
                  <a:pt x="1577" y="1065"/>
                </a:lnTo>
                <a:lnTo>
                  <a:pt x="1577" y="1065"/>
                </a:lnTo>
                <a:lnTo>
                  <a:pt x="1577" y="1062"/>
                </a:lnTo>
                <a:lnTo>
                  <a:pt x="1577" y="1062"/>
                </a:lnTo>
                <a:lnTo>
                  <a:pt x="1579" y="1057"/>
                </a:lnTo>
                <a:lnTo>
                  <a:pt x="1579" y="1057"/>
                </a:lnTo>
                <a:lnTo>
                  <a:pt x="1581" y="1057"/>
                </a:lnTo>
                <a:lnTo>
                  <a:pt x="1581" y="1057"/>
                </a:lnTo>
                <a:lnTo>
                  <a:pt x="1584" y="1060"/>
                </a:lnTo>
                <a:lnTo>
                  <a:pt x="1584" y="1060"/>
                </a:lnTo>
                <a:lnTo>
                  <a:pt x="1584" y="1060"/>
                </a:lnTo>
                <a:lnTo>
                  <a:pt x="1594" y="1062"/>
                </a:lnTo>
                <a:lnTo>
                  <a:pt x="1594" y="1062"/>
                </a:lnTo>
                <a:lnTo>
                  <a:pt x="1596" y="1062"/>
                </a:lnTo>
                <a:lnTo>
                  <a:pt x="1596" y="1062"/>
                </a:lnTo>
                <a:lnTo>
                  <a:pt x="1599" y="1062"/>
                </a:lnTo>
                <a:lnTo>
                  <a:pt x="1599" y="1062"/>
                </a:lnTo>
                <a:lnTo>
                  <a:pt x="1599" y="1060"/>
                </a:lnTo>
                <a:lnTo>
                  <a:pt x="1599" y="1060"/>
                </a:lnTo>
                <a:lnTo>
                  <a:pt x="1599" y="1057"/>
                </a:lnTo>
                <a:lnTo>
                  <a:pt x="1599" y="1057"/>
                </a:lnTo>
                <a:lnTo>
                  <a:pt x="1599" y="1057"/>
                </a:lnTo>
                <a:lnTo>
                  <a:pt x="1599" y="1055"/>
                </a:lnTo>
                <a:lnTo>
                  <a:pt x="1599" y="1055"/>
                </a:lnTo>
                <a:lnTo>
                  <a:pt x="1599" y="1052"/>
                </a:lnTo>
                <a:lnTo>
                  <a:pt x="1599" y="1052"/>
                </a:lnTo>
                <a:lnTo>
                  <a:pt x="1599" y="1052"/>
                </a:lnTo>
                <a:lnTo>
                  <a:pt x="1596" y="1050"/>
                </a:lnTo>
                <a:lnTo>
                  <a:pt x="1596" y="1050"/>
                </a:lnTo>
                <a:lnTo>
                  <a:pt x="1599" y="1047"/>
                </a:lnTo>
                <a:lnTo>
                  <a:pt x="1599" y="1047"/>
                </a:lnTo>
                <a:lnTo>
                  <a:pt x="1599" y="1045"/>
                </a:lnTo>
                <a:lnTo>
                  <a:pt x="1599" y="1045"/>
                </a:lnTo>
                <a:lnTo>
                  <a:pt x="1599" y="1042"/>
                </a:lnTo>
                <a:lnTo>
                  <a:pt x="1599" y="1042"/>
                </a:lnTo>
                <a:lnTo>
                  <a:pt x="1599" y="1042"/>
                </a:lnTo>
                <a:lnTo>
                  <a:pt x="1599" y="1040"/>
                </a:lnTo>
                <a:lnTo>
                  <a:pt x="1599" y="1040"/>
                </a:lnTo>
                <a:lnTo>
                  <a:pt x="1601" y="1040"/>
                </a:lnTo>
                <a:lnTo>
                  <a:pt x="1601" y="1040"/>
                </a:lnTo>
                <a:lnTo>
                  <a:pt x="1599" y="1037"/>
                </a:lnTo>
                <a:lnTo>
                  <a:pt x="1599" y="1037"/>
                </a:lnTo>
                <a:lnTo>
                  <a:pt x="1599" y="1037"/>
                </a:lnTo>
                <a:lnTo>
                  <a:pt x="1599" y="1035"/>
                </a:lnTo>
                <a:lnTo>
                  <a:pt x="1599" y="1035"/>
                </a:lnTo>
                <a:lnTo>
                  <a:pt x="1599" y="1033"/>
                </a:lnTo>
                <a:lnTo>
                  <a:pt x="1599" y="1033"/>
                </a:lnTo>
                <a:lnTo>
                  <a:pt x="1601" y="1033"/>
                </a:lnTo>
                <a:lnTo>
                  <a:pt x="1601" y="1033"/>
                </a:lnTo>
                <a:lnTo>
                  <a:pt x="1601" y="1030"/>
                </a:lnTo>
                <a:lnTo>
                  <a:pt x="1601" y="1030"/>
                </a:lnTo>
                <a:lnTo>
                  <a:pt x="1601" y="1030"/>
                </a:lnTo>
                <a:lnTo>
                  <a:pt x="1599" y="1025"/>
                </a:lnTo>
                <a:lnTo>
                  <a:pt x="1599" y="1025"/>
                </a:lnTo>
                <a:lnTo>
                  <a:pt x="1599" y="1023"/>
                </a:lnTo>
                <a:lnTo>
                  <a:pt x="1599" y="1023"/>
                </a:lnTo>
                <a:lnTo>
                  <a:pt x="1599" y="1023"/>
                </a:lnTo>
                <a:lnTo>
                  <a:pt x="1601" y="1020"/>
                </a:lnTo>
                <a:lnTo>
                  <a:pt x="1601" y="1020"/>
                </a:lnTo>
                <a:lnTo>
                  <a:pt x="1601" y="1020"/>
                </a:lnTo>
                <a:lnTo>
                  <a:pt x="1599" y="1018"/>
                </a:lnTo>
                <a:lnTo>
                  <a:pt x="1599" y="1018"/>
                </a:lnTo>
                <a:lnTo>
                  <a:pt x="1599" y="1018"/>
                </a:lnTo>
                <a:lnTo>
                  <a:pt x="1599" y="1015"/>
                </a:lnTo>
                <a:lnTo>
                  <a:pt x="1599" y="1015"/>
                </a:lnTo>
                <a:lnTo>
                  <a:pt x="1599" y="1015"/>
                </a:lnTo>
                <a:lnTo>
                  <a:pt x="1599" y="1013"/>
                </a:lnTo>
                <a:lnTo>
                  <a:pt x="1599" y="1013"/>
                </a:lnTo>
                <a:lnTo>
                  <a:pt x="1599" y="1010"/>
                </a:lnTo>
                <a:lnTo>
                  <a:pt x="1599" y="1010"/>
                </a:lnTo>
                <a:lnTo>
                  <a:pt x="1599" y="1008"/>
                </a:lnTo>
                <a:lnTo>
                  <a:pt x="1599" y="1008"/>
                </a:lnTo>
                <a:lnTo>
                  <a:pt x="1596" y="1008"/>
                </a:lnTo>
                <a:lnTo>
                  <a:pt x="1596" y="1008"/>
                </a:lnTo>
                <a:lnTo>
                  <a:pt x="1596" y="1005"/>
                </a:lnTo>
                <a:lnTo>
                  <a:pt x="1596" y="1005"/>
                </a:lnTo>
                <a:lnTo>
                  <a:pt x="1599" y="1003"/>
                </a:lnTo>
                <a:lnTo>
                  <a:pt x="1599" y="1003"/>
                </a:lnTo>
                <a:lnTo>
                  <a:pt x="1601" y="1003"/>
                </a:lnTo>
                <a:lnTo>
                  <a:pt x="1601" y="1003"/>
                </a:lnTo>
                <a:lnTo>
                  <a:pt x="1601" y="1001"/>
                </a:lnTo>
                <a:lnTo>
                  <a:pt x="1601" y="1001"/>
                </a:lnTo>
                <a:lnTo>
                  <a:pt x="1601" y="998"/>
                </a:lnTo>
                <a:lnTo>
                  <a:pt x="1601" y="998"/>
                </a:lnTo>
                <a:lnTo>
                  <a:pt x="1604" y="996"/>
                </a:lnTo>
                <a:lnTo>
                  <a:pt x="1604" y="996"/>
                </a:lnTo>
                <a:lnTo>
                  <a:pt x="1601" y="996"/>
                </a:lnTo>
                <a:lnTo>
                  <a:pt x="1601" y="996"/>
                </a:lnTo>
                <a:lnTo>
                  <a:pt x="1599" y="993"/>
                </a:lnTo>
                <a:lnTo>
                  <a:pt x="1599" y="993"/>
                </a:lnTo>
                <a:lnTo>
                  <a:pt x="1599" y="991"/>
                </a:lnTo>
                <a:lnTo>
                  <a:pt x="1599" y="991"/>
                </a:lnTo>
                <a:lnTo>
                  <a:pt x="1596" y="988"/>
                </a:lnTo>
                <a:lnTo>
                  <a:pt x="1596" y="988"/>
                </a:lnTo>
                <a:lnTo>
                  <a:pt x="1596" y="986"/>
                </a:lnTo>
                <a:lnTo>
                  <a:pt x="1596" y="986"/>
                </a:lnTo>
                <a:lnTo>
                  <a:pt x="1596" y="986"/>
                </a:lnTo>
                <a:lnTo>
                  <a:pt x="1596" y="983"/>
                </a:lnTo>
                <a:lnTo>
                  <a:pt x="1596" y="983"/>
                </a:lnTo>
                <a:lnTo>
                  <a:pt x="1594" y="981"/>
                </a:lnTo>
                <a:lnTo>
                  <a:pt x="1594" y="981"/>
                </a:lnTo>
                <a:lnTo>
                  <a:pt x="1591" y="981"/>
                </a:lnTo>
                <a:lnTo>
                  <a:pt x="1591" y="981"/>
                </a:lnTo>
                <a:lnTo>
                  <a:pt x="1591" y="978"/>
                </a:lnTo>
                <a:lnTo>
                  <a:pt x="1591" y="978"/>
                </a:lnTo>
                <a:lnTo>
                  <a:pt x="1586" y="978"/>
                </a:lnTo>
                <a:lnTo>
                  <a:pt x="1586" y="978"/>
                </a:lnTo>
                <a:lnTo>
                  <a:pt x="1586" y="978"/>
                </a:lnTo>
                <a:lnTo>
                  <a:pt x="1584" y="981"/>
                </a:lnTo>
                <a:lnTo>
                  <a:pt x="1584" y="981"/>
                </a:lnTo>
                <a:lnTo>
                  <a:pt x="1581" y="981"/>
                </a:lnTo>
                <a:lnTo>
                  <a:pt x="1581" y="981"/>
                </a:lnTo>
                <a:lnTo>
                  <a:pt x="1581" y="983"/>
                </a:lnTo>
                <a:lnTo>
                  <a:pt x="1581" y="983"/>
                </a:lnTo>
                <a:lnTo>
                  <a:pt x="1579" y="983"/>
                </a:lnTo>
                <a:lnTo>
                  <a:pt x="1579" y="983"/>
                </a:lnTo>
                <a:lnTo>
                  <a:pt x="1579" y="986"/>
                </a:lnTo>
                <a:lnTo>
                  <a:pt x="1579" y="986"/>
                </a:lnTo>
                <a:lnTo>
                  <a:pt x="1577" y="988"/>
                </a:lnTo>
                <a:lnTo>
                  <a:pt x="1577" y="988"/>
                </a:lnTo>
                <a:lnTo>
                  <a:pt x="1574" y="988"/>
                </a:lnTo>
                <a:lnTo>
                  <a:pt x="1574" y="988"/>
                </a:lnTo>
                <a:lnTo>
                  <a:pt x="1572" y="988"/>
                </a:lnTo>
                <a:lnTo>
                  <a:pt x="1572" y="988"/>
                </a:lnTo>
                <a:lnTo>
                  <a:pt x="1572" y="991"/>
                </a:lnTo>
                <a:lnTo>
                  <a:pt x="1572" y="991"/>
                </a:lnTo>
                <a:lnTo>
                  <a:pt x="1572" y="993"/>
                </a:lnTo>
                <a:lnTo>
                  <a:pt x="1572" y="993"/>
                </a:lnTo>
                <a:lnTo>
                  <a:pt x="1569" y="993"/>
                </a:lnTo>
                <a:lnTo>
                  <a:pt x="1569" y="993"/>
                </a:lnTo>
                <a:lnTo>
                  <a:pt x="1569" y="996"/>
                </a:lnTo>
                <a:lnTo>
                  <a:pt x="1569" y="996"/>
                </a:lnTo>
                <a:lnTo>
                  <a:pt x="1569" y="998"/>
                </a:lnTo>
                <a:lnTo>
                  <a:pt x="1569" y="998"/>
                </a:lnTo>
                <a:lnTo>
                  <a:pt x="1567" y="998"/>
                </a:lnTo>
                <a:lnTo>
                  <a:pt x="1567" y="998"/>
                </a:lnTo>
                <a:lnTo>
                  <a:pt x="1564" y="1001"/>
                </a:lnTo>
                <a:lnTo>
                  <a:pt x="1564" y="1001"/>
                </a:lnTo>
                <a:lnTo>
                  <a:pt x="1562" y="1001"/>
                </a:lnTo>
                <a:lnTo>
                  <a:pt x="1562" y="1001"/>
                </a:lnTo>
                <a:lnTo>
                  <a:pt x="1559" y="1003"/>
                </a:lnTo>
                <a:lnTo>
                  <a:pt x="1559" y="1003"/>
                </a:lnTo>
                <a:lnTo>
                  <a:pt x="1557" y="1001"/>
                </a:lnTo>
                <a:lnTo>
                  <a:pt x="1557" y="1001"/>
                </a:lnTo>
                <a:lnTo>
                  <a:pt x="1557" y="1003"/>
                </a:lnTo>
                <a:lnTo>
                  <a:pt x="1557" y="1003"/>
                </a:lnTo>
                <a:lnTo>
                  <a:pt x="1554" y="1003"/>
                </a:lnTo>
                <a:lnTo>
                  <a:pt x="1554" y="1003"/>
                </a:lnTo>
                <a:lnTo>
                  <a:pt x="1554" y="1001"/>
                </a:lnTo>
                <a:lnTo>
                  <a:pt x="1554" y="1001"/>
                </a:lnTo>
                <a:lnTo>
                  <a:pt x="1552" y="1001"/>
                </a:lnTo>
                <a:lnTo>
                  <a:pt x="1552" y="1001"/>
                </a:lnTo>
                <a:lnTo>
                  <a:pt x="1549" y="1001"/>
                </a:lnTo>
                <a:lnTo>
                  <a:pt x="1549" y="1001"/>
                </a:lnTo>
                <a:lnTo>
                  <a:pt x="1547" y="1001"/>
                </a:lnTo>
                <a:lnTo>
                  <a:pt x="1547" y="1001"/>
                </a:lnTo>
                <a:lnTo>
                  <a:pt x="1545" y="1001"/>
                </a:lnTo>
                <a:lnTo>
                  <a:pt x="1545" y="1001"/>
                </a:lnTo>
                <a:lnTo>
                  <a:pt x="1545" y="1001"/>
                </a:lnTo>
                <a:lnTo>
                  <a:pt x="1542" y="998"/>
                </a:lnTo>
                <a:lnTo>
                  <a:pt x="1542" y="998"/>
                </a:lnTo>
                <a:lnTo>
                  <a:pt x="1540" y="996"/>
                </a:lnTo>
                <a:lnTo>
                  <a:pt x="1540" y="996"/>
                </a:lnTo>
                <a:lnTo>
                  <a:pt x="1537" y="993"/>
                </a:lnTo>
                <a:lnTo>
                  <a:pt x="1537" y="993"/>
                </a:lnTo>
                <a:lnTo>
                  <a:pt x="1537" y="991"/>
                </a:lnTo>
                <a:lnTo>
                  <a:pt x="1537" y="991"/>
                </a:lnTo>
                <a:lnTo>
                  <a:pt x="1540" y="988"/>
                </a:lnTo>
                <a:lnTo>
                  <a:pt x="1540" y="988"/>
                </a:lnTo>
                <a:lnTo>
                  <a:pt x="1540" y="986"/>
                </a:lnTo>
                <a:lnTo>
                  <a:pt x="1540" y="986"/>
                </a:lnTo>
                <a:lnTo>
                  <a:pt x="1537" y="983"/>
                </a:lnTo>
                <a:lnTo>
                  <a:pt x="1537" y="983"/>
                </a:lnTo>
                <a:lnTo>
                  <a:pt x="1537" y="981"/>
                </a:lnTo>
                <a:lnTo>
                  <a:pt x="1537" y="981"/>
                </a:lnTo>
                <a:lnTo>
                  <a:pt x="1535" y="981"/>
                </a:lnTo>
                <a:lnTo>
                  <a:pt x="1535" y="981"/>
                </a:lnTo>
                <a:lnTo>
                  <a:pt x="1535" y="978"/>
                </a:lnTo>
                <a:lnTo>
                  <a:pt x="1535" y="978"/>
                </a:lnTo>
                <a:lnTo>
                  <a:pt x="1535" y="978"/>
                </a:lnTo>
                <a:lnTo>
                  <a:pt x="1535" y="976"/>
                </a:lnTo>
                <a:lnTo>
                  <a:pt x="1535" y="976"/>
                </a:lnTo>
                <a:lnTo>
                  <a:pt x="1537" y="974"/>
                </a:lnTo>
                <a:lnTo>
                  <a:pt x="1537" y="974"/>
                </a:lnTo>
                <a:lnTo>
                  <a:pt x="1535" y="974"/>
                </a:lnTo>
                <a:lnTo>
                  <a:pt x="1535" y="974"/>
                </a:lnTo>
                <a:lnTo>
                  <a:pt x="1535" y="974"/>
                </a:lnTo>
                <a:lnTo>
                  <a:pt x="1532" y="974"/>
                </a:lnTo>
                <a:lnTo>
                  <a:pt x="1532" y="974"/>
                </a:lnTo>
                <a:lnTo>
                  <a:pt x="1530" y="974"/>
                </a:lnTo>
                <a:lnTo>
                  <a:pt x="1530" y="974"/>
                </a:lnTo>
                <a:lnTo>
                  <a:pt x="1530" y="976"/>
                </a:lnTo>
                <a:lnTo>
                  <a:pt x="1530" y="976"/>
                </a:lnTo>
                <a:lnTo>
                  <a:pt x="1527" y="976"/>
                </a:lnTo>
                <a:lnTo>
                  <a:pt x="1527" y="976"/>
                </a:lnTo>
                <a:lnTo>
                  <a:pt x="1525" y="974"/>
                </a:lnTo>
                <a:lnTo>
                  <a:pt x="1525" y="974"/>
                </a:lnTo>
                <a:lnTo>
                  <a:pt x="1522" y="974"/>
                </a:lnTo>
                <a:lnTo>
                  <a:pt x="1522" y="974"/>
                </a:lnTo>
                <a:lnTo>
                  <a:pt x="1522" y="974"/>
                </a:lnTo>
                <a:lnTo>
                  <a:pt x="1520" y="971"/>
                </a:lnTo>
                <a:lnTo>
                  <a:pt x="1520" y="971"/>
                </a:lnTo>
                <a:lnTo>
                  <a:pt x="1520" y="969"/>
                </a:lnTo>
                <a:lnTo>
                  <a:pt x="1520" y="969"/>
                </a:lnTo>
                <a:lnTo>
                  <a:pt x="1517" y="969"/>
                </a:lnTo>
                <a:lnTo>
                  <a:pt x="1517" y="969"/>
                </a:lnTo>
                <a:lnTo>
                  <a:pt x="1517" y="969"/>
                </a:lnTo>
                <a:lnTo>
                  <a:pt x="1515" y="966"/>
                </a:lnTo>
                <a:lnTo>
                  <a:pt x="1515" y="966"/>
                </a:lnTo>
                <a:lnTo>
                  <a:pt x="1515" y="966"/>
                </a:lnTo>
                <a:lnTo>
                  <a:pt x="1513" y="966"/>
                </a:lnTo>
                <a:lnTo>
                  <a:pt x="1513" y="966"/>
                </a:lnTo>
                <a:lnTo>
                  <a:pt x="1513" y="964"/>
                </a:lnTo>
                <a:lnTo>
                  <a:pt x="1513" y="964"/>
                </a:lnTo>
                <a:lnTo>
                  <a:pt x="1510" y="961"/>
                </a:lnTo>
                <a:lnTo>
                  <a:pt x="1510" y="961"/>
                </a:lnTo>
                <a:lnTo>
                  <a:pt x="1510" y="961"/>
                </a:lnTo>
                <a:lnTo>
                  <a:pt x="1508" y="961"/>
                </a:lnTo>
                <a:lnTo>
                  <a:pt x="1508" y="961"/>
                </a:lnTo>
                <a:lnTo>
                  <a:pt x="1508" y="964"/>
                </a:lnTo>
                <a:lnTo>
                  <a:pt x="1508" y="964"/>
                </a:lnTo>
                <a:lnTo>
                  <a:pt x="1505" y="961"/>
                </a:lnTo>
                <a:lnTo>
                  <a:pt x="1505" y="961"/>
                </a:lnTo>
                <a:lnTo>
                  <a:pt x="1505" y="964"/>
                </a:lnTo>
                <a:lnTo>
                  <a:pt x="1505" y="964"/>
                </a:lnTo>
                <a:lnTo>
                  <a:pt x="1503" y="964"/>
                </a:lnTo>
                <a:lnTo>
                  <a:pt x="1503" y="964"/>
                </a:lnTo>
                <a:lnTo>
                  <a:pt x="1503" y="964"/>
                </a:lnTo>
                <a:lnTo>
                  <a:pt x="1500" y="961"/>
                </a:lnTo>
                <a:lnTo>
                  <a:pt x="1500" y="961"/>
                </a:lnTo>
                <a:lnTo>
                  <a:pt x="1500" y="961"/>
                </a:lnTo>
                <a:lnTo>
                  <a:pt x="1495" y="961"/>
                </a:lnTo>
                <a:lnTo>
                  <a:pt x="1495" y="961"/>
                </a:lnTo>
                <a:lnTo>
                  <a:pt x="1495" y="959"/>
                </a:lnTo>
                <a:lnTo>
                  <a:pt x="1495" y="959"/>
                </a:lnTo>
                <a:lnTo>
                  <a:pt x="1495" y="959"/>
                </a:lnTo>
                <a:lnTo>
                  <a:pt x="1495" y="956"/>
                </a:lnTo>
                <a:lnTo>
                  <a:pt x="1495" y="956"/>
                </a:lnTo>
                <a:lnTo>
                  <a:pt x="1493" y="956"/>
                </a:lnTo>
                <a:lnTo>
                  <a:pt x="1493" y="956"/>
                </a:lnTo>
                <a:lnTo>
                  <a:pt x="1493" y="959"/>
                </a:lnTo>
                <a:lnTo>
                  <a:pt x="1493" y="959"/>
                </a:lnTo>
                <a:lnTo>
                  <a:pt x="1488" y="959"/>
                </a:lnTo>
                <a:lnTo>
                  <a:pt x="1488" y="959"/>
                </a:lnTo>
                <a:lnTo>
                  <a:pt x="1488" y="959"/>
                </a:lnTo>
                <a:lnTo>
                  <a:pt x="1486" y="959"/>
                </a:lnTo>
                <a:lnTo>
                  <a:pt x="1486" y="959"/>
                </a:lnTo>
                <a:lnTo>
                  <a:pt x="1486" y="959"/>
                </a:lnTo>
                <a:lnTo>
                  <a:pt x="1483" y="959"/>
                </a:lnTo>
                <a:lnTo>
                  <a:pt x="1483" y="959"/>
                </a:lnTo>
                <a:lnTo>
                  <a:pt x="1481" y="956"/>
                </a:lnTo>
                <a:lnTo>
                  <a:pt x="1481" y="956"/>
                </a:lnTo>
                <a:lnTo>
                  <a:pt x="1478" y="956"/>
                </a:lnTo>
                <a:lnTo>
                  <a:pt x="1478" y="956"/>
                </a:lnTo>
                <a:lnTo>
                  <a:pt x="1476" y="951"/>
                </a:lnTo>
                <a:lnTo>
                  <a:pt x="1476" y="951"/>
                </a:lnTo>
                <a:lnTo>
                  <a:pt x="1473" y="949"/>
                </a:lnTo>
                <a:lnTo>
                  <a:pt x="1473" y="949"/>
                </a:lnTo>
                <a:lnTo>
                  <a:pt x="1473" y="946"/>
                </a:lnTo>
                <a:lnTo>
                  <a:pt x="1473" y="946"/>
                </a:lnTo>
                <a:lnTo>
                  <a:pt x="1473" y="944"/>
                </a:lnTo>
                <a:lnTo>
                  <a:pt x="1473" y="944"/>
                </a:lnTo>
                <a:lnTo>
                  <a:pt x="1471" y="944"/>
                </a:lnTo>
                <a:lnTo>
                  <a:pt x="1471" y="944"/>
                </a:lnTo>
                <a:lnTo>
                  <a:pt x="1471" y="942"/>
                </a:lnTo>
                <a:lnTo>
                  <a:pt x="1471" y="942"/>
                </a:lnTo>
                <a:lnTo>
                  <a:pt x="1471" y="939"/>
                </a:lnTo>
                <a:lnTo>
                  <a:pt x="1471" y="939"/>
                </a:lnTo>
                <a:lnTo>
                  <a:pt x="1468" y="939"/>
                </a:lnTo>
                <a:lnTo>
                  <a:pt x="1468" y="939"/>
                </a:lnTo>
                <a:lnTo>
                  <a:pt x="1468" y="937"/>
                </a:lnTo>
                <a:lnTo>
                  <a:pt x="1468" y="937"/>
                </a:lnTo>
                <a:lnTo>
                  <a:pt x="1468" y="932"/>
                </a:lnTo>
                <a:lnTo>
                  <a:pt x="1468" y="932"/>
                </a:lnTo>
                <a:lnTo>
                  <a:pt x="1461" y="929"/>
                </a:lnTo>
                <a:lnTo>
                  <a:pt x="1461" y="929"/>
                </a:lnTo>
                <a:lnTo>
                  <a:pt x="1458" y="924"/>
                </a:lnTo>
                <a:lnTo>
                  <a:pt x="1458" y="924"/>
                </a:lnTo>
                <a:lnTo>
                  <a:pt x="1458" y="924"/>
                </a:lnTo>
                <a:lnTo>
                  <a:pt x="1456" y="922"/>
                </a:lnTo>
                <a:lnTo>
                  <a:pt x="1456" y="922"/>
                </a:lnTo>
                <a:lnTo>
                  <a:pt x="1456" y="922"/>
                </a:lnTo>
                <a:lnTo>
                  <a:pt x="1454" y="922"/>
                </a:lnTo>
                <a:lnTo>
                  <a:pt x="1454" y="922"/>
                </a:lnTo>
                <a:lnTo>
                  <a:pt x="1456" y="919"/>
                </a:lnTo>
                <a:lnTo>
                  <a:pt x="1456" y="919"/>
                </a:lnTo>
                <a:lnTo>
                  <a:pt x="1456" y="917"/>
                </a:lnTo>
                <a:lnTo>
                  <a:pt x="1456" y="917"/>
                </a:lnTo>
                <a:lnTo>
                  <a:pt x="1454" y="917"/>
                </a:lnTo>
                <a:lnTo>
                  <a:pt x="1454" y="917"/>
                </a:lnTo>
                <a:lnTo>
                  <a:pt x="1451" y="914"/>
                </a:lnTo>
                <a:lnTo>
                  <a:pt x="1451" y="914"/>
                </a:lnTo>
                <a:lnTo>
                  <a:pt x="1451" y="912"/>
                </a:lnTo>
                <a:lnTo>
                  <a:pt x="1451" y="912"/>
                </a:lnTo>
                <a:lnTo>
                  <a:pt x="1451" y="912"/>
                </a:lnTo>
                <a:lnTo>
                  <a:pt x="1449" y="910"/>
                </a:lnTo>
                <a:lnTo>
                  <a:pt x="1449" y="910"/>
                </a:lnTo>
                <a:lnTo>
                  <a:pt x="1446" y="905"/>
                </a:lnTo>
                <a:lnTo>
                  <a:pt x="1446" y="905"/>
                </a:lnTo>
                <a:lnTo>
                  <a:pt x="1444" y="905"/>
                </a:lnTo>
                <a:lnTo>
                  <a:pt x="1444" y="905"/>
                </a:lnTo>
                <a:lnTo>
                  <a:pt x="1444" y="902"/>
                </a:lnTo>
                <a:lnTo>
                  <a:pt x="1444" y="902"/>
                </a:lnTo>
                <a:lnTo>
                  <a:pt x="1444" y="900"/>
                </a:lnTo>
                <a:lnTo>
                  <a:pt x="1444" y="900"/>
                </a:lnTo>
                <a:lnTo>
                  <a:pt x="1444" y="897"/>
                </a:lnTo>
                <a:lnTo>
                  <a:pt x="1444" y="897"/>
                </a:lnTo>
                <a:lnTo>
                  <a:pt x="1439" y="897"/>
                </a:lnTo>
                <a:lnTo>
                  <a:pt x="1439" y="897"/>
                </a:lnTo>
                <a:lnTo>
                  <a:pt x="1439" y="897"/>
                </a:lnTo>
                <a:lnTo>
                  <a:pt x="1439" y="895"/>
                </a:lnTo>
                <a:lnTo>
                  <a:pt x="1439" y="895"/>
                </a:lnTo>
                <a:lnTo>
                  <a:pt x="1439" y="895"/>
                </a:lnTo>
                <a:lnTo>
                  <a:pt x="1439" y="892"/>
                </a:lnTo>
                <a:lnTo>
                  <a:pt x="1439" y="892"/>
                </a:lnTo>
                <a:lnTo>
                  <a:pt x="1436" y="890"/>
                </a:lnTo>
                <a:lnTo>
                  <a:pt x="1436" y="890"/>
                </a:lnTo>
                <a:lnTo>
                  <a:pt x="1436" y="890"/>
                </a:lnTo>
                <a:lnTo>
                  <a:pt x="1436" y="887"/>
                </a:lnTo>
                <a:lnTo>
                  <a:pt x="1436" y="887"/>
                </a:lnTo>
                <a:lnTo>
                  <a:pt x="1434" y="887"/>
                </a:lnTo>
                <a:lnTo>
                  <a:pt x="1434" y="887"/>
                </a:lnTo>
                <a:lnTo>
                  <a:pt x="1434" y="887"/>
                </a:lnTo>
                <a:lnTo>
                  <a:pt x="1429" y="885"/>
                </a:lnTo>
                <a:lnTo>
                  <a:pt x="1429" y="885"/>
                </a:lnTo>
                <a:lnTo>
                  <a:pt x="1429" y="885"/>
                </a:lnTo>
                <a:lnTo>
                  <a:pt x="1431" y="883"/>
                </a:lnTo>
                <a:lnTo>
                  <a:pt x="1431" y="883"/>
                </a:lnTo>
                <a:lnTo>
                  <a:pt x="1429" y="883"/>
                </a:lnTo>
                <a:lnTo>
                  <a:pt x="1429" y="883"/>
                </a:lnTo>
                <a:lnTo>
                  <a:pt x="1426" y="883"/>
                </a:lnTo>
                <a:lnTo>
                  <a:pt x="1426" y="883"/>
                </a:lnTo>
                <a:lnTo>
                  <a:pt x="1426" y="883"/>
                </a:lnTo>
                <a:lnTo>
                  <a:pt x="1426" y="883"/>
                </a:lnTo>
                <a:lnTo>
                  <a:pt x="1424" y="883"/>
                </a:lnTo>
                <a:lnTo>
                  <a:pt x="1424" y="883"/>
                </a:lnTo>
                <a:lnTo>
                  <a:pt x="1424" y="880"/>
                </a:lnTo>
                <a:lnTo>
                  <a:pt x="1424" y="880"/>
                </a:lnTo>
                <a:lnTo>
                  <a:pt x="1424" y="878"/>
                </a:lnTo>
                <a:lnTo>
                  <a:pt x="1424" y="878"/>
                </a:lnTo>
                <a:lnTo>
                  <a:pt x="1422" y="878"/>
                </a:lnTo>
                <a:lnTo>
                  <a:pt x="1422" y="878"/>
                </a:lnTo>
                <a:lnTo>
                  <a:pt x="1422" y="875"/>
                </a:lnTo>
                <a:lnTo>
                  <a:pt x="1422" y="875"/>
                </a:lnTo>
                <a:lnTo>
                  <a:pt x="1419" y="875"/>
                </a:lnTo>
                <a:lnTo>
                  <a:pt x="1419" y="875"/>
                </a:lnTo>
                <a:lnTo>
                  <a:pt x="1417" y="875"/>
                </a:lnTo>
                <a:lnTo>
                  <a:pt x="1417" y="875"/>
                </a:lnTo>
                <a:lnTo>
                  <a:pt x="1417" y="875"/>
                </a:lnTo>
                <a:lnTo>
                  <a:pt x="1414" y="875"/>
                </a:lnTo>
                <a:lnTo>
                  <a:pt x="1414" y="875"/>
                </a:lnTo>
                <a:lnTo>
                  <a:pt x="1412" y="875"/>
                </a:lnTo>
                <a:lnTo>
                  <a:pt x="1412" y="875"/>
                </a:lnTo>
                <a:lnTo>
                  <a:pt x="1412" y="875"/>
                </a:lnTo>
                <a:lnTo>
                  <a:pt x="1412" y="878"/>
                </a:lnTo>
                <a:lnTo>
                  <a:pt x="1412" y="878"/>
                </a:lnTo>
                <a:lnTo>
                  <a:pt x="1409" y="878"/>
                </a:lnTo>
                <a:lnTo>
                  <a:pt x="1409" y="878"/>
                </a:lnTo>
                <a:lnTo>
                  <a:pt x="1407" y="875"/>
                </a:lnTo>
                <a:lnTo>
                  <a:pt x="1407" y="875"/>
                </a:lnTo>
                <a:lnTo>
                  <a:pt x="1407" y="875"/>
                </a:lnTo>
                <a:lnTo>
                  <a:pt x="1404" y="875"/>
                </a:lnTo>
                <a:lnTo>
                  <a:pt x="1404" y="875"/>
                </a:lnTo>
                <a:lnTo>
                  <a:pt x="1402" y="875"/>
                </a:lnTo>
                <a:lnTo>
                  <a:pt x="1402" y="875"/>
                </a:lnTo>
                <a:lnTo>
                  <a:pt x="1399" y="875"/>
                </a:lnTo>
                <a:lnTo>
                  <a:pt x="1399" y="875"/>
                </a:lnTo>
                <a:lnTo>
                  <a:pt x="1399" y="873"/>
                </a:lnTo>
                <a:lnTo>
                  <a:pt x="1399" y="873"/>
                </a:lnTo>
                <a:lnTo>
                  <a:pt x="1394" y="873"/>
                </a:lnTo>
                <a:lnTo>
                  <a:pt x="1394" y="873"/>
                </a:lnTo>
                <a:lnTo>
                  <a:pt x="1392" y="870"/>
                </a:lnTo>
                <a:lnTo>
                  <a:pt x="1392" y="870"/>
                </a:lnTo>
                <a:lnTo>
                  <a:pt x="1390" y="870"/>
                </a:lnTo>
                <a:lnTo>
                  <a:pt x="1390" y="870"/>
                </a:lnTo>
                <a:lnTo>
                  <a:pt x="1387" y="870"/>
                </a:lnTo>
                <a:lnTo>
                  <a:pt x="1387" y="870"/>
                </a:lnTo>
                <a:lnTo>
                  <a:pt x="1387" y="870"/>
                </a:lnTo>
                <a:lnTo>
                  <a:pt x="1382" y="870"/>
                </a:lnTo>
                <a:lnTo>
                  <a:pt x="1382" y="870"/>
                </a:lnTo>
                <a:lnTo>
                  <a:pt x="1382" y="873"/>
                </a:lnTo>
                <a:lnTo>
                  <a:pt x="1382" y="873"/>
                </a:lnTo>
                <a:lnTo>
                  <a:pt x="1380" y="873"/>
                </a:lnTo>
                <a:lnTo>
                  <a:pt x="1380" y="873"/>
                </a:lnTo>
                <a:lnTo>
                  <a:pt x="1377" y="875"/>
                </a:lnTo>
                <a:lnTo>
                  <a:pt x="1377" y="875"/>
                </a:lnTo>
                <a:lnTo>
                  <a:pt x="1375" y="875"/>
                </a:lnTo>
                <a:lnTo>
                  <a:pt x="1375" y="875"/>
                </a:lnTo>
                <a:lnTo>
                  <a:pt x="1372" y="875"/>
                </a:lnTo>
                <a:lnTo>
                  <a:pt x="1372" y="875"/>
                </a:lnTo>
                <a:lnTo>
                  <a:pt x="1370" y="875"/>
                </a:lnTo>
                <a:lnTo>
                  <a:pt x="1370" y="875"/>
                </a:lnTo>
                <a:lnTo>
                  <a:pt x="1367" y="878"/>
                </a:lnTo>
                <a:lnTo>
                  <a:pt x="1367" y="878"/>
                </a:lnTo>
                <a:lnTo>
                  <a:pt x="1365" y="878"/>
                </a:lnTo>
                <a:lnTo>
                  <a:pt x="1365" y="878"/>
                </a:lnTo>
                <a:lnTo>
                  <a:pt x="1365" y="880"/>
                </a:lnTo>
                <a:lnTo>
                  <a:pt x="1365" y="880"/>
                </a:lnTo>
                <a:lnTo>
                  <a:pt x="1362" y="880"/>
                </a:lnTo>
                <a:lnTo>
                  <a:pt x="1362" y="880"/>
                </a:lnTo>
                <a:lnTo>
                  <a:pt x="1360" y="880"/>
                </a:lnTo>
                <a:lnTo>
                  <a:pt x="1360" y="880"/>
                </a:lnTo>
                <a:lnTo>
                  <a:pt x="1360" y="880"/>
                </a:lnTo>
                <a:lnTo>
                  <a:pt x="1358" y="880"/>
                </a:lnTo>
                <a:lnTo>
                  <a:pt x="1358" y="880"/>
                </a:lnTo>
                <a:lnTo>
                  <a:pt x="1355" y="880"/>
                </a:lnTo>
                <a:lnTo>
                  <a:pt x="1355" y="880"/>
                </a:lnTo>
                <a:lnTo>
                  <a:pt x="1350" y="883"/>
                </a:lnTo>
                <a:lnTo>
                  <a:pt x="1350" y="883"/>
                </a:lnTo>
                <a:lnTo>
                  <a:pt x="1350" y="883"/>
                </a:lnTo>
                <a:lnTo>
                  <a:pt x="1350" y="885"/>
                </a:lnTo>
                <a:lnTo>
                  <a:pt x="1350" y="885"/>
                </a:lnTo>
                <a:lnTo>
                  <a:pt x="1348" y="887"/>
                </a:lnTo>
                <a:lnTo>
                  <a:pt x="1348" y="887"/>
                </a:lnTo>
                <a:lnTo>
                  <a:pt x="1348" y="890"/>
                </a:lnTo>
                <a:lnTo>
                  <a:pt x="1348" y="890"/>
                </a:lnTo>
                <a:lnTo>
                  <a:pt x="1345" y="892"/>
                </a:lnTo>
                <a:lnTo>
                  <a:pt x="1345" y="892"/>
                </a:lnTo>
                <a:lnTo>
                  <a:pt x="1345" y="892"/>
                </a:lnTo>
                <a:lnTo>
                  <a:pt x="1345" y="895"/>
                </a:lnTo>
                <a:lnTo>
                  <a:pt x="1345" y="895"/>
                </a:lnTo>
                <a:lnTo>
                  <a:pt x="1345" y="900"/>
                </a:lnTo>
                <a:lnTo>
                  <a:pt x="1345" y="900"/>
                </a:lnTo>
                <a:lnTo>
                  <a:pt x="1345" y="900"/>
                </a:lnTo>
                <a:lnTo>
                  <a:pt x="1348" y="900"/>
                </a:lnTo>
                <a:lnTo>
                  <a:pt x="1348" y="900"/>
                </a:lnTo>
                <a:lnTo>
                  <a:pt x="1350" y="897"/>
                </a:lnTo>
                <a:lnTo>
                  <a:pt x="1350" y="897"/>
                </a:lnTo>
                <a:lnTo>
                  <a:pt x="1353" y="897"/>
                </a:lnTo>
                <a:lnTo>
                  <a:pt x="1353" y="897"/>
                </a:lnTo>
                <a:lnTo>
                  <a:pt x="1355" y="897"/>
                </a:lnTo>
                <a:lnTo>
                  <a:pt x="1355" y="897"/>
                </a:lnTo>
                <a:lnTo>
                  <a:pt x="1358" y="902"/>
                </a:lnTo>
                <a:lnTo>
                  <a:pt x="1358" y="902"/>
                </a:lnTo>
                <a:lnTo>
                  <a:pt x="1358" y="905"/>
                </a:lnTo>
                <a:lnTo>
                  <a:pt x="1358" y="905"/>
                </a:lnTo>
                <a:lnTo>
                  <a:pt x="1360" y="905"/>
                </a:lnTo>
                <a:lnTo>
                  <a:pt x="1360" y="905"/>
                </a:lnTo>
                <a:lnTo>
                  <a:pt x="1360" y="907"/>
                </a:lnTo>
                <a:lnTo>
                  <a:pt x="1360" y="907"/>
                </a:lnTo>
                <a:lnTo>
                  <a:pt x="1360" y="910"/>
                </a:lnTo>
                <a:lnTo>
                  <a:pt x="1360" y="910"/>
                </a:lnTo>
                <a:lnTo>
                  <a:pt x="1360" y="914"/>
                </a:lnTo>
                <a:lnTo>
                  <a:pt x="1360" y="914"/>
                </a:lnTo>
                <a:lnTo>
                  <a:pt x="1358" y="914"/>
                </a:lnTo>
                <a:lnTo>
                  <a:pt x="1358" y="914"/>
                </a:lnTo>
                <a:lnTo>
                  <a:pt x="1358" y="917"/>
                </a:lnTo>
                <a:lnTo>
                  <a:pt x="1358" y="917"/>
                </a:lnTo>
                <a:lnTo>
                  <a:pt x="1355" y="922"/>
                </a:lnTo>
                <a:lnTo>
                  <a:pt x="1355" y="922"/>
                </a:lnTo>
                <a:lnTo>
                  <a:pt x="1355" y="924"/>
                </a:lnTo>
                <a:lnTo>
                  <a:pt x="1355" y="924"/>
                </a:lnTo>
                <a:lnTo>
                  <a:pt x="1353" y="927"/>
                </a:lnTo>
                <a:lnTo>
                  <a:pt x="1353" y="927"/>
                </a:lnTo>
                <a:lnTo>
                  <a:pt x="1353" y="929"/>
                </a:lnTo>
                <a:lnTo>
                  <a:pt x="1353" y="929"/>
                </a:lnTo>
                <a:lnTo>
                  <a:pt x="1353" y="932"/>
                </a:lnTo>
                <a:lnTo>
                  <a:pt x="1353" y="932"/>
                </a:lnTo>
                <a:lnTo>
                  <a:pt x="1353" y="934"/>
                </a:lnTo>
                <a:lnTo>
                  <a:pt x="1353" y="934"/>
                </a:lnTo>
                <a:lnTo>
                  <a:pt x="1353" y="937"/>
                </a:lnTo>
                <a:lnTo>
                  <a:pt x="1353" y="937"/>
                </a:lnTo>
                <a:lnTo>
                  <a:pt x="1355" y="939"/>
                </a:lnTo>
                <a:lnTo>
                  <a:pt x="1355" y="939"/>
                </a:lnTo>
                <a:lnTo>
                  <a:pt x="1355" y="942"/>
                </a:lnTo>
                <a:lnTo>
                  <a:pt x="1355" y="942"/>
                </a:lnTo>
                <a:lnTo>
                  <a:pt x="1353" y="942"/>
                </a:lnTo>
                <a:lnTo>
                  <a:pt x="1353" y="942"/>
                </a:lnTo>
                <a:lnTo>
                  <a:pt x="1353" y="944"/>
                </a:lnTo>
                <a:lnTo>
                  <a:pt x="1353" y="944"/>
                </a:lnTo>
                <a:lnTo>
                  <a:pt x="1353" y="946"/>
                </a:lnTo>
                <a:lnTo>
                  <a:pt x="1353" y="946"/>
                </a:lnTo>
                <a:lnTo>
                  <a:pt x="1353" y="951"/>
                </a:lnTo>
                <a:lnTo>
                  <a:pt x="1353" y="951"/>
                </a:lnTo>
                <a:lnTo>
                  <a:pt x="1353" y="951"/>
                </a:lnTo>
                <a:lnTo>
                  <a:pt x="1353" y="956"/>
                </a:lnTo>
                <a:lnTo>
                  <a:pt x="1353" y="956"/>
                </a:lnTo>
                <a:lnTo>
                  <a:pt x="1355" y="956"/>
                </a:lnTo>
                <a:lnTo>
                  <a:pt x="1355" y="956"/>
                </a:lnTo>
                <a:lnTo>
                  <a:pt x="1355" y="959"/>
                </a:lnTo>
                <a:lnTo>
                  <a:pt x="1355" y="959"/>
                </a:lnTo>
                <a:lnTo>
                  <a:pt x="1358" y="956"/>
                </a:lnTo>
                <a:lnTo>
                  <a:pt x="1358" y="956"/>
                </a:lnTo>
                <a:lnTo>
                  <a:pt x="1358" y="959"/>
                </a:lnTo>
                <a:lnTo>
                  <a:pt x="1358" y="959"/>
                </a:lnTo>
                <a:lnTo>
                  <a:pt x="1360" y="961"/>
                </a:lnTo>
                <a:lnTo>
                  <a:pt x="1360" y="961"/>
                </a:lnTo>
                <a:lnTo>
                  <a:pt x="1358" y="964"/>
                </a:lnTo>
                <a:lnTo>
                  <a:pt x="1358" y="964"/>
                </a:lnTo>
                <a:lnTo>
                  <a:pt x="1355" y="966"/>
                </a:lnTo>
                <a:lnTo>
                  <a:pt x="1355" y="966"/>
                </a:lnTo>
                <a:lnTo>
                  <a:pt x="1350" y="966"/>
                </a:lnTo>
                <a:lnTo>
                  <a:pt x="1350" y="966"/>
                </a:lnTo>
                <a:lnTo>
                  <a:pt x="1348" y="969"/>
                </a:lnTo>
                <a:lnTo>
                  <a:pt x="1348" y="969"/>
                </a:lnTo>
                <a:lnTo>
                  <a:pt x="1340" y="976"/>
                </a:lnTo>
                <a:lnTo>
                  <a:pt x="1340" y="976"/>
                </a:lnTo>
                <a:lnTo>
                  <a:pt x="1338" y="976"/>
                </a:lnTo>
                <a:lnTo>
                  <a:pt x="1338" y="976"/>
                </a:lnTo>
                <a:lnTo>
                  <a:pt x="1335" y="976"/>
                </a:lnTo>
                <a:lnTo>
                  <a:pt x="1335" y="976"/>
                </a:lnTo>
                <a:lnTo>
                  <a:pt x="1331" y="974"/>
                </a:lnTo>
                <a:lnTo>
                  <a:pt x="1331" y="974"/>
                </a:lnTo>
                <a:lnTo>
                  <a:pt x="1328" y="976"/>
                </a:lnTo>
                <a:lnTo>
                  <a:pt x="1328" y="976"/>
                </a:lnTo>
                <a:lnTo>
                  <a:pt x="1328" y="974"/>
                </a:lnTo>
                <a:lnTo>
                  <a:pt x="1328" y="974"/>
                </a:lnTo>
                <a:lnTo>
                  <a:pt x="1326" y="974"/>
                </a:lnTo>
                <a:lnTo>
                  <a:pt x="1326" y="974"/>
                </a:lnTo>
                <a:lnTo>
                  <a:pt x="1323" y="974"/>
                </a:lnTo>
                <a:lnTo>
                  <a:pt x="1323" y="974"/>
                </a:lnTo>
                <a:lnTo>
                  <a:pt x="1323" y="974"/>
                </a:lnTo>
                <a:lnTo>
                  <a:pt x="1316" y="971"/>
                </a:lnTo>
                <a:lnTo>
                  <a:pt x="1316" y="971"/>
                </a:lnTo>
                <a:lnTo>
                  <a:pt x="1311" y="971"/>
                </a:lnTo>
                <a:lnTo>
                  <a:pt x="1311" y="971"/>
                </a:lnTo>
                <a:lnTo>
                  <a:pt x="1311" y="974"/>
                </a:lnTo>
                <a:lnTo>
                  <a:pt x="1311" y="974"/>
                </a:lnTo>
                <a:lnTo>
                  <a:pt x="1308" y="976"/>
                </a:lnTo>
                <a:lnTo>
                  <a:pt x="1308" y="976"/>
                </a:lnTo>
                <a:lnTo>
                  <a:pt x="1306" y="976"/>
                </a:lnTo>
                <a:lnTo>
                  <a:pt x="1306" y="976"/>
                </a:lnTo>
                <a:lnTo>
                  <a:pt x="1303" y="974"/>
                </a:lnTo>
                <a:lnTo>
                  <a:pt x="1303" y="974"/>
                </a:lnTo>
                <a:lnTo>
                  <a:pt x="1301" y="976"/>
                </a:lnTo>
                <a:lnTo>
                  <a:pt x="1301" y="976"/>
                </a:lnTo>
                <a:lnTo>
                  <a:pt x="1299" y="976"/>
                </a:lnTo>
                <a:lnTo>
                  <a:pt x="1299" y="976"/>
                </a:lnTo>
                <a:lnTo>
                  <a:pt x="1296" y="971"/>
                </a:lnTo>
                <a:lnTo>
                  <a:pt x="1296" y="971"/>
                </a:lnTo>
                <a:lnTo>
                  <a:pt x="1294" y="969"/>
                </a:lnTo>
                <a:lnTo>
                  <a:pt x="1294" y="969"/>
                </a:lnTo>
                <a:lnTo>
                  <a:pt x="1289" y="969"/>
                </a:lnTo>
                <a:lnTo>
                  <a:pt x="1289" y="969"/>
                </a:lnTo>
                <a:lnTo>
                  <a:pt x="1286" y="971"/>
                </a:lnTo>
                <a:lnTo>
                  <a:pt x="1286" y="971"/>
                </a:lnTo>
                <a:lnTo>
                  <a:pt x="1284" y="969"/>
                </a:lnTo>
                <a:lnTo>
                  <a:pt x="1284" y="969"/>
                </a:lnTo>
                <a:lnTo>
                  <a:pt x="1281" y="969"/>
                </a:lnTo>
                <a:lnTo>
                  <a:pt x="1281" y="969"/>
                </a:lnTo>
                <a:lnTo>
                  <a:pt x="1279" y="971"/>
                </a:lnTo>
                <a:lnTo>
                  <a:pt x="1279" y="971"/>
                </a:lnTo>
                <a:lnTo>
                  <a:pt x="1279" y="976"/>
                </a:lnTo>
                <a:lnTo>
                  <a:pt x="1279" y="976"/>
                </a:lnTo>
                <a:lnTo>
                  <a:pt x="1276" y="978"/>
                </a:lnTo>
                <a:lnTo>
                  <a:pt x="1276" y="978"/>
                </a:lnTo>
                <a:lnTo>
                  <a:pt x="1271" y="978"/>
                </a:lnTo>
                <a:lnTo>
                  <a:pt x="1271" y="978"/>
                </a:lnTo>
                <a:lnTo>
                  <a:pt x="1271" y="983"/>
                </a:lnTo>
                <a:lnTo>
                  <a:pt x="1271" y="983"/>
                </a:lnTo>
                <a:lnTo>
                  <a:pt x="1271" y="983"/>
                </a:lnTo>
                <a:lnTo>
                  <a:pt x="1269" y="986"/>
                </a:lnTo>
                <a:lnTo>
                  <a:pt x="1269" y="986"/>
                </a:lnTo>
                <a:lnTo>
                  <a:pt x="1267" y="988"/>
                </a:lnTo>
                <a:lnTo>
                  <a:pt x="1267" y="988"/>
                </a:lnTo>
                <a:lnTo>
                  <a:pt x="1259" y="988"/>
                </a:lnTo>
                <a:lnTo>
                  <a:pt x="1259" y="988"/>
                </a:lnTo>
                <a:lnTo>
                  <a:pt x="1257" y="991"/>
                </a:lnTo>
                <a:lnTo>
                  <a:pt x="1257" y="991"/>
                </a:lnTo>
                <a:lnTo>
                  <a:pt x="1254" y="993"/>
                </a:lnTo>
                <a:lnTo>
                  <a:pt x="1254" y="993"/>
                </a:lnTo>
                <a:lnTo>
                  <a:pt x="1252" y="993"/>
                </a:lnTo>
                <a:lnTo>
                  <a:pt x="1252" y="993"/>
                </a:lnTo>
                <a:lnTo>
                  <a:pt x="1244" y="996"/>
                </a:lnTo>
                <a:lnTo>
                  <a:pt x="1244" y="996"/>
                </a:lnTo>
                <a:lnTo>
                  <a:pt x="1242" y="1001"/>
                </a:lnTo>
                <a:lnTo>
                  <a:pt x="1242" y="1001"/>
                </a:lnTo>
                <a:lnTo>
                  <a:pt x="1242" y="1001"/>
                </a:lnTo>
                <a:lnTo>
                  <a:pt x="1237" y="998"/>
                </a:lnTo>
                <a:lnTo>
                  <a:pt x="1237" y="998"/>
                </a:lnTo>
                <a:lnTo>
                  <a:pt x="1235" y="998"/>
                </a:lnTo>
                <a:lnTo>
                  <a:pt x="1235" y="998"/>
                </a:lnTo>
                <a:lnTo>
                  <a:pt x="1232" y="998"/>
                </a:lnTo>
                <a:lnTo>
                  <a:pt x="1232" y="998"/>
                </a:lnTo>
                <a:lnTo>
                  <a:pt x="1230" y="1001"/>
                </a:lnTo>
                <a:lnTo>
                  <a:pt x="1230" y="1001"/>
                </a:lnTo>
                <a:lnTo>
                  <a:pt x="1220" y="1001"/>
                </a:lnTo>
                <a:lnTo>
                  <a:pt x="1220" y="1001"/>
                </a:lnTo>
                <a:lnTo>
                  <a:pt x="1212" y="998"/>
                </a:lnTo>
                <a:lnTo>
                  <a:pt x="1212" y="998"/>
                </a:lnTo>
                <a:lnTo>
                  <a:pt x="1208" y="998"/>
                </a:lnTo>
                <a:lnTo>
                  <a:pt x="1208" y="998"/>
                </a:lnTo>
                <a:lnTo>
                  <a:pt x="1205" y="998"/>
                </a:lnTo>
                <a:lnTo>
                  <a:pt x="1205" y="998"/>
                </a:lnTo>
                <a:lnTo>
                  <a:pt x="1203" y="996"/>
                </a:lnTo>
                <a:lnTo>
                  <a:pt x="1203" y="996"/>
                </a:lnTo>
                <a:lnTo>
                  <a:pt x="1200" y="996"/>
                </a:lnTo>
                <a:lnTo>
                  <a:pt x="1200" y="996"/>
                </a:lnTo>
                <a:lnTo>
                  <a:pt x="1198" y="993"/>
                </a:lnTo>
                <a:lnTo>
                  <a:pt x="1198" y="993"/>
                </a:lnTo>
                <a:lnTo>
                  <a:pt x="1195" y="993"/>
                </a:lnTo>
                <a:lnTo>
                  <a:pt x="1195" y="993"/>
                </a:lnTo>
                <a:lnTo>
                  <a:pt x="1193" y="988"/>
                </a:lnTo>
                <a:lnTo>
                  <a:pt x="1193" y="988"/>
                </a:lnTo>
                <a:lnTo>
                  <a:pt x="1190" y="986"/>
                </a:lnTo>
                <a:lnTo>
                  <a:pt x="1190" y="986"/>
                </a:lnTo>
                <a:lnTo>
                  <a:pt x="1188" y="986"/>
                </a:lnTo>
                <a:lnTo>
                  <a:pt x="1188" y="986"/>
                </a:lnTo>
                <a:lnTo>
                  <a:pt x="1183" y="986"/>
                </a:lnTo>
                <a:lnTo>
                  <a:pt x="1183" y="986"/>
                </a:lnTo>
                <a:lnTo>
                  <a:pt x="1178" y="986"/>
                </a:lnTo>
                <a:lnTo>
                  <a:pt x="1178" y="986"/>
                </a:lnTo>
                <a:lnTo>
                  <a:pt x="1176" y="981"/>
                </a:lnTo>
                <a:lnTo>
                  <a:pt x="1176" y="981"/>
                </a:lnTo>
                <a:lnTo>
                  <a:pt x="1168" y="981"/>
                </a:lnTo>
                <a:lnTo>
                  <a:pt x="1168" y="981"/>
                </a:lnTo>
                <a:lnTo>
                  <a:pt x="1166" y="981"/>
                </a:lnTo>
                <a:lnTo>
                  <a:pt x="1166" y="981"/>
                </a:lnTo>
                <a:lnTo>
                  <a:pt x="1161" y="978"/>
                </a:lnTo>
                <a:lnTo>
                  <a:pt x="1161" y="978"/>
                </a:lnTo>
                <a:lnTo>
                  <a:pt x="1158" y="978"/>
                </a:lnTo>
                <a:lnTo>
                  <a:pt x="1158" y="978"/>
                </a:lnTo>
                <a:lnTo>
                  <a:pt x="1153" y="978"/>
                </a:lnTo>
                <a:lnTo>
                  <a:pt x="1153" y="978"/>
                </a:lnTo>
                <a:lnTo>
                  <a:pt x="1151" y="981"/>
                </a:lnTo>
                <a:lnTo>
                  <a:pt x="1151" y="981"/>
                </a:lnTo>
                <a:lnTo>
                  <a:pt x="1144" y="981"/>
                </a:lnTo>
                <a:lnTo>
                  <a:pt x="1144" y="981"/>
                </a:lnTo>
                <a:lnTo>
                  <a:pt x="1139" y="983"/>
                </a:lnTo>
                <a:lnTo>
                  <a:pt x="1139" y="983"/>
                </a:lnTo>
                <a:lnTo>
                  <a:pt x="1136" y="986"/>
                </a:lnTo>
                <a:lnTo>
                  <a:pt x="1136" y="986"/>
                </a:lnTo>
                <a:lnTo>
                  <a:pt x="1134" y="986"/>
                </a:lnTo>
                <a:lnTo>
                  <a:pt x="1134" y="986"/>
                </a:lnTo>
                <a:lnTo>
                  <a:pt x="1134" y="986"/>
                </a:lnTo>
                <a:lnTo>
                  <a:pt x="1131" y="986"/>
                </a:lnTo>
                <a:lnTo>
                  <a:pt x="1131" y="986"/>
                </a:lnTo>
                <a:lnTo>
                  <a:pt x="1129" y="988"/>
                </a:lnTo>
                <a:lnTo>
                  <a:pt x="1129" y="988"/>
                </a:lnTo>
                <a:lnTo>
                  <a:pt x="1124" y="986"/>
                </a:lnTo>
                <a:lnTo>
                  <a:pt x="1124" y="986"/>
                </a:lnTo>
                <a:lnTo>
                  <a:pt x="1124" y="988"/>
                </a:lnTo>
                <a:lnTo>
                  <a:pt x="1124" y="988"/>
                </a:lnTo>
                <a:lnTo>
                  <a:pt x="1121" y="988"/>
                </a:lnTo>
                <a:lnTo>
                  <a:pt x="1121" y="988"/>
                </a:lnTo>
                <a:lnTo>
                  <a:pt x="1116" y="986"/>
                </a:lnTo>
                <a:lnTo>
                  <a:pt x="1116" y="986"/>
                </a:lnTo>
                <a:lnTo>
                  <a:pt x="1112" y="983"/>
                </a:lnTo>
                <a:lnTo>
                  <a:pt x="1112" y="983"/>
                </a:lnTo>
                <a:lnTo>
                  <a:pt x="1109" y="983"/>
                </a:lnTo>
                <a:lnTo>
                  <a:pt x="1109" y="983"/>
                </a:lnTo>
                <a:lnTo>
                  <a:pt x="1107" y="978"/>
                </a:lnTo>
                <a:lnTo>
                  <a:pt x="1107" y="978"/>
                </a:lnTo>
                <a:lnTo>
                  <a:pt x="1104" y="978"/>
                </a:lnTo>
                <a:lnTo>
                  <a:pt x="1104" y="978"/>
                </a:lnTo>
                <a:lnTo>
                  <a:pt x="1104" y="978"/>
                </a:lnTo>
                <a:lnTo>
                  <a:pt x="1104" y="976"/>
                </a:lnTo>
                <a:lnTo>
                  <a:pt x="1104" y="976"/>
                </a:lnTo>
                <a:lnTo>
                  <a:pt x="1102" y="971"/>
                </a:lnTo>
                <a:lnTo>
                  <a:pt x="1102" y="971"/>
                </a:lnTo>
                <a:lnTo>
                  <a:pt x="1102" y="971"/>
                </a:lnTo>
                <a:lnTo>
                  <a:pt x="1102" y="969"/>
                </a:lnTo>
                <a:lnTo>
                  <a:pt x="1102" y="969"/>
                </a:lnTo>
                <a:lnTo>
                  <a:pt x="1099" y="966"/>
                </a:lnTo>
                <a:lnTo>
                  <a:pt x="1099" y="966"/>
                </a:lnTo>
                <a:lnTo>
                  <a:pt x="1099" y="964"/>
                </a:lnTo>
                <a:lnTo>
                  <a:pt x="1099" y="964"/>
                </a:lnTo>
                <a:lnTo>
                  <a:pt x="1097" y="961"/>
                </a:lnTo>
                <a:lnTo>
                  <a:pt x="1097" y="961"/>
                </a:lnTo>
                <a:lnTo>
                  <a:pt x="1094" y="961"/>
                </a:lnTo>
                <a:lnTo>
                  <a:pt x="1094" y="961"/>
                </a:lnTo>
                <a:lnTo>
                  <a:pt x="1089" y="961"/>
                </a:lnTo>
                <a:lnTo>
                  <a:pt x="1089" y="961"/>
                </a:lnTo>
                <a:lnTo>
                  <a:pt x="1087" y="961"/>
                </a:lnTo>
                <a:lnTo>
                  <a:pt x="1087" y="961"/>
                </a:lnTo>
                <a:lnTo>
                  <a:pt x="1085" y="959"/>
                </a:lnTo>
                <a:lnTo>
                  <a:pt x="1085" y="959"/>
                </a:lnTo>
                <a:lnTo>
                  <a:pt x="1080" y="959"/>
                </a:lnTo>
                <a:lnTo>
                  <a:pt x="1080" y="959"/>
                </a:lnTo>
                <a:lnTo>
                  <a:pt x="1080" y="956"/>
                </a:lnTo>
                <a:lnTo>
                  <a:pt x="1080" y="956"/>
                </a:lnTo>
                <a:lnTo>
                  <a:pt x="1077" y="956"/>
                </a:lnTo>
                <a:lnTo>
                  <a:pt x="1077" y="956"/>
                </a:lnTo>
                <a:lnTo>
                  <a:pt x="1070" y="956"/>
                </a:lnTo>
                <a:lnTo>
                  <a:pt x="1070" y="956"/>
                </a:lnTo>
                <a:lnTo>
                  <a:pt x="1067" y="956"/>
                </a:lnTo>
                <a:lnTo>
                  <a:pt x="1067" y="956"/>
                </a:lnTo>
                <a:lnTo>
                  <a:pt x="1062" y="954"/>
                </a:lnTo>
                <a:lnTo>
                  <a:pt x="1062" y="954"/>
                </a:lnTo>
                <a:lnTo>
                  <a:pt x="1062" y="954"/>
                </a:lnTo>
                <a:lnTo>
                  <a:pt x="1060" y="951"/>
                </a:lnTo>
                <a:lnTo>
                  <a:pt x="1060" y="951"/>
                </a:lnTo>
                <a:lnTo>
                  <a:pt x="1055" y="951"/>
                </a:lnTo>
                <a:lnTo>
                  <a:pt x="1055" y="951"/>
                </a:lnTo>
                <a:lnTo>
                  <a:pt x="1053" y="949"/>
                </a:lnTo>
                <a:lnTo>
                  <a:pt x="1053" y="949"/>
                </a:lnTo>
                <a:lnTo>
                  <a:pt x="1050" y="949"/>
                </a:lnTo>
                <a:lnTo>
                  <a:pt x="1050" y="949"/>
                </a:lnTo>
                <a:lnTo>
                  <a:pt x="1048" y="951"/>
                </a:lnTo>
                <a:lnTo>
                  <a:pt x="1048" y="951"/>
                </a:lnTo>
                <a:lnTo>
                  <a:pt x="1048" y="954"/>
                </a:lnTo>
                <a:lnTo>
                  <a:pt x="1048" y="954"/>
                </a:lnTo>
                <a:lnTo>
                  <a:pt x="1048" y="956"/>
                </a:lnTo>
                <a:lnTo>
                  <a:pt x="1048" y="956"/>
                </a:lnTo>
                <a:lnTo>
                  <a:pt x="1048" y="959"/>
                </a:lnTo>
                <a:lnTo>
                  <a:pt x="1048" y="959"/>
                </a:lnTo>
                <a:lnTo>
                  <a:pt x="1045" y="956"/>
                </a:lnTo>
                <a:lnTo>
                  <a:pt x="1045" y="956"/>
                </a:lnTo>
                <a:lnTo>
                  <a:pt x="1043" y="959"/>
                </a:lnTo>
                <a:lnTo>
                  <a:pt x="1043" y="959"/>
                </a:lnTo>
                <a:lnTo>
                  <a:pt x="1040" y="961"/>
                </a:lnTo>
                <a:lnTo>
                  <a:pt x="1040" y="961"/>
                </a:lnTo>
                <a:lnTo>
                  <a:pt x="1040" y="964"/>
                </a:lnTo>
                <a:lnTo>
                  <a:pt x="1040" y="964"/>
                </a:lnTo>
                <a:lnTo>
                  <a:pt x="1038" y="966"/>
                </a:lnTo>
                <a:lnTo>
                  <a:pt x="1038" y="966"/>
                </a:lnTo>
                <a:lnTo>
                  <a:pt x="1038" y="974"/>
                </a:lnTo>
                <a:lnTo>
                  <a:pt x="1038" y="974"/>
                </a:lnTo>
                <a:lnTo>
                  <a:pt x="1040" y="978"/>
                </a:lnTo>
                <a:lnTo>
                  <a:pt x="1040" y="978"/>
                </a:lnTo>
                <a:lnTo>
                  <a:pt x="1043" y="978"/>
                </a:lnTo>
                <a:lnTo>
                  <a:pt x="1043" y="978"/>
                </a:lnTo>
                <a:lnTo>
                  <a:pt x="1045" y="981"/>
                </a:lnTo>
                <a:lnTo>
                  <a:pt x="1045" y="981"/>
                </a:lnTo>
                <a:lnTo>
                  <a:pt x="1048" y="983"/>
                </a:lnTo>
                <a:lnTo>
                  <a:pt x="1048" y="983"/>
                </a:lnTo>
                <a:lnTo>
                  <a:pt x="1050" y="983"/>
                </a:lnTo>
                <a:lnTo>
                  <a:pt x="1050" y="983"/>
                </a:lnTo>
                <a:lnTo>
                  <a:pt x="1048" y="988"/>
                </a:lnTo>
                <a:lnTo>
                  <a:pt x="1048" y="988"/>
                </a:lnTo>
                <a:lnTo>
                  <a:pt x="1048" y="993"/>
                </a:lnTo>
                <a:lnTo>
                  <a:pt x="1048" y="993"/>
                </a:lnTo>
                <a:lnTo>
                  <a:pt x="1050" y="996"/>
                </a:lnTo>
                <a:lnTo>
                  <a:pt x="1050" y="996"/>
                </a:lnTo>
                <a:lnTo>
                  <a:pt x="1053" y="998"/>
                </a:lnTo>
                <a:lnTo>
                  <a:pt x="1053" y="998"/>
                </a:lnTo>
                <a:lnTo>
                  <a:pt x="1050" y="1003"/>
                </a:lnTo>
                <a:lnTo>
                  <a:pt x="1050" y="1003"/>
                </a:lnTo>
                <a:lnTo>
                  <a:pt x="1045" y="1003"/>
                </a:lnTo>
                <a:lnTo>
                  <a:pt x="1045" y="1003"/>
                </a:lnTo>
                <a:lnTo>
                  <a:pt x="1043" y="1003"/>
                </a:lnTo>
                <a:lnTo>
                  <a:pt x="1043" y="1003"/>
                </a:lnTo>
                <a:lnTo>
                  <a:pt x="1040" y="1003"/>
                </a:lnTo>
                <a:lnTo>
                  <a:pt x="1040" y="1003"/>
                </a:lnTo>
                <a:lnTo>
                  <a:pt x="1038" y="1003"/>
                </a:lnTo>
                <a:lnTo>
                  <a:pt x="1038" y="1003"/>
                </a:lnTo>
                <a:lnTo>
                  <a:pt x="1035" y="1003"/>
                </a:lnTo>
                <a:lnTo>
                  <a:pt x="1035" y="1003"/>
                </a:lnTo>
                <a:lnTo>
                  <a:pt x="1028" y="1003"/>
                </a:lnTo>
                <a:lnTo>
                  <a:pt x="1028" y="1003"/>
                </a:lnTo>
                <a:lnTo>
                  <a:pt x="1025" y="1003"/>
                </a:lnTo>
                <a:lnTo>
                  <a:pt x="1025" y="1003"/>
                </a:lnTo>
                <a:lnTo>
                  <a:pt x="1023" y="1001"/>
                </a:lnTo>
                <a:lnTo>
                  <a:pt x="1023" y="1001"/>
                </a:lnTo>
                <a:lnTo>
                  <a:pt x="1021" y="1001"/>
                </a:lnTo>
                <a:lnTo>
                  <a:pt x="1021" y="1001"/>
                </a:lnTo>
                <a:lnTo>
                  <a:pt x="1018" y="1001"/>
                </a:lnTo>
                <a:lnTo>
                  <a:pt x="1018" y="1001"/>
                </a:lnTo>
                <a:lnTo>
                  <a:pt x="1016" y="1003"/>
                </a:lnTo>
                <a:lnTo>
                  <a:pt x="1016" y="1003"/>
                </a:lnTo>
                <a:lnTo>
                  <a:pt x="1013" y="1005"/>
                </a:lnTo>
                <a:lnTo>
                  <a:pt x="1013" y="1005"/>
                </a:lnTo>
                <a:lnTo>
                  <a:pt x="1011" y="1005"/>
                </a:lnTo>
                <a:lnTo>
                  <a:pt x="1011" y="1005"/>
                </a:lnTo>
                <a:lnTo>
                  <a:pt x="1003" y="1003"/>
                </a:lnTo>
                <a:lnTo>
                  <a:pt x="1003" y="1003"/>
                </a:lnTo>
                <a:lnTo>
                  <a:pt x="1001" y="1001"/>
                </a:lnTo>
                <a:lnTo>
                  <a:pt x="1001" y="1001"/>
                </a:lnTo>
                <a:lnTo>
                  <a:pt x="993" y="996"/>
                </a:lnTo>
                <a:lnTo>
                  <a:pt x="993" y="996"/>
                </a:lnTo>
                <a:lnTo>
                  <a:pt x="993" y="996"/>
                </a:lnTo>
                <a:lnTo>
                  <a:pt x="993" y="993"/>
                </a:lnTo>
                <a:lnTo>
                  <a:pt x="993" y="993"/>
                </a:lnTo>
                <a:lnTo>
                  <a:pt x="991" y="991"/>
                </a:lnTo>
                <a:lnTo>
                  <a:pt x="991" y="991"/>
                </a:lnTo>
                <a:lnTo>
                  <a:pt x="986" y="991"/>
                </a:lnTo>
                <a:lnTo>
                  <a:pt x="986" y="991"/>
                </a:lnTo>
                <a:lnTo>
                  <a:pt x="984" y="991"/>
                </a:lnTo>
                <a:lnTo>
                  <a:pt x="984" y="991"/>
                </a:lnTo>
                <a:lnTo>
                  <a:pt x="981" y="991"/>
                </a:lnTo>
                <a:lnTo>
                  <a:pt x="981" y="991"/>
                </a:lnTo>
                <a:lnTo>
                  <a:pt x="979" y="993"/>
                </a:lnTo>
                <a:lnTo>
                  <a:pt x="979" y="993"/>
                </a:lnTo>
                <a:lnTo>
                  <a:pt x="976" y="993"/>
                </a:lnTo>
                <a:lnTo>
                  <a:pt x="976" y="993"/>
                </a:lnTo>
                <a:lnTo>
                  <a:pt x="974" y="991"/>
                </a:lnTo>
                <a:lnTo>
                  <a:pt x="974" y="991"/>
                </a:lnTo>
                <a:lnTo>
                  <a:pt x="974" y="988"/>
                </a:lnTo>
                <a:lnTo>
                  <a:pt x="974" y="988"/>
                </a:lnTo>
                <a:lnTo>
                  <a:pt x="974" y="986"/>
                </a:lnTo>
                <a:lnTo>
                  <a:pt x="974" y="986"/>
                </a:lnTo>
                <a:lnTo>
                  <a:pt x="971" y="986"/>
                </a:lnTo>
                <a:lnTo>
                  <a:pt x="971" y="986"/>
                </a:lnTo>
                <a:lnTo>
                  <a:pt x="969" y="988"/>
                </a:lnTo>
                <a:lnTo>
                  <a:pt x="969" y="988"/>
                </a:lnTo>
                <a:lnTo>
                  <a:pt x="966" y="988"/>
                </a:lnTo>
                <a:lnTo>
                  <a:pt x="966" y="988"/>
                </a:lnTo>
                <a:lnTo>
                  <a:pt x="964" y="988"/>
                </a:lnTo>
                <a:lnTo>
                  <a:pt x="964" y="988"/>
                </a:lnTo>
                <a:lnTo>
                  <a:pt x="962" y="988"/>
                </a:lnTo>
                <a:lnTo>
                  <a:pt x="962" y="988"/>
                </a:lnTo>
                <a:lnTo>
                  <a:pt x="954" y="988"/>
                </a:lnTo>
                <a:lnTo>
                  <a:pt x="954" y="988"/>
                </a:lnTo>
                <a:lnTo>
                  <a:pt x="952" y="991"/>
                </a:lnTo>
                <a:lnTo>
                  <a:pt x="952" y="991"/>
                </a:lnTo>
                <a:lnTo>
                  <a:pt x="952" y="993"/>
                </a:lnTo>
                <a:lnTo>
                  <a:pt x="952" y="993"/>
                </a:lnTo>
                <a:lnTo>
                  <a:pt x="949" y="996"/>
                </a:lnTo>
                <a:lnTo>
                  <a:pt x="949" y="996"/>
                </a:lnTo>
                <a:lnTo>
                  <a:pt x="944" y="993"/>
                </a:lnTo>
                <a:lnTo>
                  <a:pt x="944" y="993"/>
                </a:lnTo>
                <a:lnTo>
                  <a:pt x="942" y="996"/>
                </a:lnTo>
                <a:lnTo>
                  <a:pt x="942" y="996"/>
                </a:lnTo>
                <a:lnTo>
                  <a:pt x="942" y="996"/>
                </a:lnTo>
                <a:lnTo>
                  <a:pt x="944" y="998"/>
                </a:lnTo>
                <a:lnTo>
                  <a:pt x="944" y="998"/>
                </a:lnTo>
                <a:lnTo>
                  <a:pt x="944" y="998"/>
                </a:lnTo>
                <a:lnTo>
                  <a:pt x="942" y="1003"/>
                </a:lnTo>
                <a:lnTo>
                  <a:pt x="942" y="1003"/>
                </a:lnTo>
                <a:lnTo>
                  <a:pt x="939" y="1003"/>
                </a:lnTo>
                <a:lnTo>
                  <a:pt x="939" y="1003"/>
                </a:lnTo>
                <a:lnTo>
                  <a:pt x="937" y="1005"/>
                </a:lnTo>
                <a:lnTo>
                  <a:pt x="937" y="1005"/>
                </a:lnTo>
                <a:lnTo>
                  <a:pt x="937" y="1008"/>
                </a:lnTo>
                <a:lnTo>
                  <a:pt x="937" y="1008"/>
                </a:lnTo>
                <a:lnTo>
                  <a:pt x="932" y="1010"/>
                </a:lnTo>
                <a:lnTo>
                  <a:pt x="932" y="1010"/>
                </a:lnTo>
                <a:lnTo>
                  <a:pt x="930" y="1013"/>
                </a:lnTo>
                <a:lnTo>
                  <a:pt x="930" y="1013"/>
                </a:lnTo>
                <a:lnTo>
                  <a:pt x="930" y="1015"/>
                </a:lnTo>
                <a:lnTo>
                  <a:pt x="930" y="1015"/>
                </a:lnTo>
                <a:lnTo>
                  <a:pt x="925" y="1018"/>
                </a:lnTo>
                <a:lnTo>
                  <a:pt x="925" y="1018"/>
                </a:lnTo>
                <a:lnTo>
                  <a:pt x="922" y="1020"/>
                </a:lnTo>
                <a:lnTo>
                  <a:pt x="922" y="1020"/>
                </a:lnTo>
                <a:lnTo>
                  <a:pt x="922" y="1023"/>
                </a:lnTo>
                <a:lnTo>
                  <a:pt x="922" y="1023"/>
                </a:lnTo>
                <a:lnTo>
                  <a:pt x="915" y="1023"/>
                </a:lnTo>
                <a:lnTo>
                  <a:pt x="915" y="1023"/>
                </a:lnTo>
                <a:lnTo>
                  <a:pt x="912" y="1023"/>
                </a:lnTo>
                <a:lnTo>
                  <a:pt x="912" y="1023"/>
                </a:lnTo>
                <a:lnTo>
                  <a:pt x="910" y="1028"/>
                </a:lnTo>
                <a:lnTo>
                  <a:pt x="910" y="1028"/>
                </a:lnTo>
                <a:lnTo>
                  <a:pt x="910" y="1030"/>
                </a:lnTo>
                <a:lnTo>
                  <a:pt x="910" y="1030"/>
                </a:lnTo>
                <a:lnTo>
                  <a:pt x="907" y="1030"/>
                </a:lnTo>
                <a:lnTo>
                  <a:pt x="907" y="1030"/>
                </a:lnTo>
                <a:lnTo>
                  <a:pt x="905" y="1028"/>
                </a:lnTo>
                <a:lnTo>
                  <a:pt x="905" y="1028"/>
                </a:lnTo>
                <a:lnTo>
                  <a:pt x="902" y="1028"/>
                </a:lnTo>
                <a:lnTo>
                  <a:pt x="902" y="1028"/>
                </a:lnTo>
                <a:lnTo>
                  <a:pt x="902" y="1028"/>
                </a:lnTo>
                <a:lnTo>
                  <a:pt x="898" y="1025"/>
                </a:lnTo>
                <a:lnTo>
                  <a:pt x="898" y="1025"/>
                </a:lnTo>
                <a:lnTo>
                  <a:pt x="895" y="1023"/>
                </a:lnTo>
                <a:lnTo>
                  <a:pt x="895" y="1023"/>
                </a:lnTo>
                <a:lnTo>
                  <a:pt x="893" y="1023"/>
                </a:lnTo>
                <a:lnTo>
                  <a:pt x="893" y="1023"/>
                </a:lnTo>
                <a:lnTo>
                  <a:pt x="893" y="1020"/>
                </a:lnTo>
                <a:lnTo>
                  <a:pt x="893" y="1020"/>
                </a:lnTo>
                <a:lnTo>
                  <a:pt x="893" y="1015"/>
                </a:lnTo>
                <a:lnTo>
                  <a:pt x="893" y="1015"/>
                </a:lnTo>
                <a:lnTo>
                  <a:pt x="890" y="1015"/>
                </a:lnTo>
                <a:lnTo>
                  <a:pt x="890" y="1015"/>
                </a:lnTo>
                <a:lnTo>
                  <a:pt x="888" y="1015"/>
                </a:lnTo>
                <a:lnTo>
                  <a:pt x="888" y="1015"/>
                </a:lnTo>
                <a:lnTo>
                  <a:pt x="888" y="1020"/>
                </a:lnTo>
                <a:lnTo>
                  <a:pt x="888" y="1020"/>
                </a:lnTo>
                <a:lnTo>
                  <a:pt x="883" y="1020"/>
                </a:lnTo>
                <a:lnTo>
                  <a:pt x="883" y="1020"/>
                </a:lnTo>
                <a:lnTo>
                  <a:pt x="875" y="1020"/>
                </a:lnTo>
                <a:lnTo>
                  <a:pt x="875" y="1020"/>
                </a:lnTo>
                <a:lnTo>
                  <a:pt x="873" y="1023"/>
                </a:lnTo>
                <a:lnTo>
                  <a:pt x="873" y="1023"/>
                </a:lnTo>
                <a:lnTo>
                  <a:pt x="873" y="1023"/>
                </a:lnTo>
                <a:lnTo>
                  <a:pt x="870" y="1023"/>
                </a:lnTo>
                <a:lnTo>
                  <a:pt x="870" y="1023"/>
                </a:lnTo>
                <a:lnTo>
                  <a:pt x="868" y="1020"/>
                </a:lnTo>
                <a:lnTo>
                  <a:pt x="868" y="1020"/>
                </a:lnTo>
                <a:lnTo>
                  <a:pt x="866" y="1020"/>
                </a:lnTo>
                <a:lnTo>
                  <a:pt x="866" y="1020"/>
                </a:lnTo>
                <a:lnTo>
                  <a:pt x="866" y="1020"/>
                </a:lnTo>
                <a:lnTo>
                  <a:pt x="863" y="1018"/>
                </a:lnTo>
                <a:lnTo>
                  <a:pt x="863" y="1018"/>
                </a:lnTo>
                <a:lnTo>
                  <a:pt x="863" y="1018"/>
                </a:lnTo>
                <a:lnTo>
                  <a:pt x="863" y="1015"/>
                </a:lnTo>
                <a:lnTo>
                  <a:pt x="863" y="1015"/>
                </a:lnTo>
                <a:lnTo>
                  <a:pt x="863" y="1013"/>
                </a:lnTo>
                <a:lnTo>
                  <a:pt x="863" y="1013"/>
                </a:lnTo>
                <a:lnTo>
                  <a:pt x="863" y="1010"/>
                </a:lnTo>
                <a:lnTo>
                  <a:pt x="863" y="1010"/>
                </a:lnTo>
                <a:lnTo>
                  <a:pt x="861" y="1010"/>
                </a:lnTo>
                <a:lnTo>
                  <a:pt x="861" y="1010"/>
                </a:lnTo>
                <a:lnTo>
                  <a:pt x="861" y="1010"/>
                </a:lnTo>
                <a:lnTo>
                  <a:pt x="856" y="1008"/>
                </a:lnTo>
                <a:lnTo>
                  <a:pt x="856" y="1008"/>
                </a:lnTo>
                <a:lnTo>
                  <a:pt x="853" y="1005"/>
                </a:lnTo>
                <a:lnTo>
                  <a:pt x="853" y="1005"/>
                </a:lnTo>
                <a:lnTo>
                  <a:pt x="851" y="1005"/>
                </a:lnTo>
                <a:lnTo>
                  <a:pt x="851" y="1005"/>
                </a:lnTo>
                <a:lnTo>
                  <a:pt x="851" y="1003"/>
                </a:lnTo>
                <a:lnTo>
                  <a:pt x="851" y="1003"/>
                </a:lnTo>
                <a:lnTo>
                  <a:pt x="848" y="998"/>
                </a:lnTo>
                <a:lnTo>
                  <a:pt x="848" y="998"/>
                </a:lnTo>
                <a:lnTo>
                  <a:pt x="843" y="996"/>
                </a:lnTo>
                <a:lnTo>
                  <a:pt x="843" y="996"/>
                </a:lnTo>
                <a:lnTo>
                  <a:pt x="839" y="993"/>
                </a:lnTo>
                <a:lnTo>
                  <a:pt x="839" y="993"/>
                </a:lnTo>
                <a:lnTo>
                  <a:pt x="834" y="993"/>
                </a:lnTo>
                <a:lnTo>
                  <a:pt x="834" y="993"/>
                </a:lnTo>
                <a:lnTo>
                  <a:pt x="826" y="996"/>
                </a:lnTo>
                <a:lnTo>
                  <a:pt x="826" y="996"/>
                </a:lnTo>
                <a:lnTo>
                  <a:pt x="826" y="996"/>
                </a:lnTo>
                <a:lnTo>
                  <a:pt x="829" y="998"/>
                </a:lnTo>
                <a:lnTo>
                  <a:pt x="829" y="998"/>
                </a:lnTo>
                <a:lnTo>
                  <a:pt x="826" y="998"/>
                </a:lnTo>
                <a:lnTo>
                  <a:pt x="826" y="998"/>
                </a:lnTo>
                <a:lnTo>
                  <a:pt x="824" y="1001"/>
                </a:lnTo>
                <a:lnTo>
                  <a:pt x="824" y="1001"/>
                </a:lnTo>
                <a:lnTo>
                  <a:pt x="821" y="1001"/>
                </a:lnTo>
                <a:lnTo>
                  <a:pt x="821" y="1001"/>
                </a:lnTo>
                <a:lnTo>
                  <a:pt x="819" y="1001"/>
                </a:lnTo>
                <a:lnTo>
                  <a:pt x="819" y="1001"/>
                </a:lnTo>
                <a:lnTo>
                  <a:pt x="814" y="998"/>
                </a:lnTo>
                <a:lnTo>
                  <a:pt x="814" y="998"/>
                </a:lnTo>
                <a:lnTo>
                  <a:pt x="811" y="1001"/>
                </a:lnTo>
                <a:lnTo>
                  <a:pt x="811" y="1001"/>
                </a:lnTo>
                <a:lnTo>
                  <a:pt x="809" y="1001"/>
                </a:lnTo>
                <a:lnTo>
                  <a:pt x="809" y="1001"/>
                </a:lnTo>
                <a:lnTo>
                  <a:pt x="807" y="1001"/>
                </a:lnTo>
                <a:lnTo>
                  <a:pt x="807" y="1001"/>
                </a:lnTo>
                <a:lnTo>
                  <a:pt x="804" y="998"/>
                </a:lnTo>
                <a:lnTo>
                  <a:pt x="804" y="998"/>
                </a:lnTo>
                <a:lnTo>
                  <a:pt x="802" y="998"/>
                </a:lnTo>
                <a:lnTo>
                  <a:pt x="802" y="998"/>
                </a:lnTo>
                <a:lnTo>
                  <a:pt x="802" y="996"/>
                </a:lnTo>
                <a:lnTo>
                  <a:pt x="802" y="996"/>
                </a:lnTo>
                <a:lnTo>
                  <a:pt x="802" y="993"/>
                </a:lnTo>
                <a:lnTo>
                  <a:pt x="802" y="993"/>
                </a:lnTo>
                <a:lnTo>
                  <a:pt x="797" y="991"/>
                </a:lnTo>
                <a:lnTo>
                  <a:pt x="797" y="991"/>
                </a:lnTo>
                <a:lnTo>
                  <a:pt x="794" y="993"/>
                </a:lnTo>
                <a:lnTo>
                  <a:pt x="794" y="993"/>
                </a:lnTo>
                <a:lnTo>
                  <a:pt x="794" y="996"/>
                </a:lnTo>
                <a:lnTo>
                  <a:pt x="794" y="996"/>
                </a:lnTo>
                <a:lnTo>
                  <a:pt x="794" y="996"/>
                </a:lnTo>
                <a:lnTo>
                  <a:pt x="794" y="998"/>
                </a:lnTo>
                <a:lnTo>
                  <a:pt x="794" y="998"/>
                </a:lnTo>
                <a:lnTo>
                  <a:pt x="792" y="1001"/>
                </a:lnTo>
                <a:lnTo>
                  <a:pt x="792" y="1001"/>
                </a:lnTo>
                <a:lnTo>
                  <a:pt x="789" y="1001"/>
                </a:lnTo>
                <a:lnTo>
                  <a:pt x="789" y="1001"/>
                </a:lnTo>
                <a:lnTo>
                  <a:pt x="750" y="954"/>
                </a:lnTo>
                <a:lnTo>
                  <a:pt x="750" y="954"/>
                </a:lnTo>
                <a:lnTo>
                  <a:pt x="723" y="932"/>
                </a:lnTo>
                <a:lnTo>
                  <a:pt x="723" y="932"/>
                </a:lnTo>
                <a:lnTo>
                  <a:pt x="720" y="929"/>
                </a:lnTo>
                <a:lnTo>
                  <a:pt x="720" y="929"/>
                </a:lnTo>
                <a:lnTo>
                  <a:pt x="723" y="929"/>
                </a:lnTo>
                <a:lnTo>
                  <a:pt x="723" y="929"/>
                </a:lnTo>
                <a:lnTo>
                  <a:pt x="725" y="927"/>
                </a:lnTo>
                <a:lnTo>
                  <a:pt x="725" y="927"/>
                </a:lnTo>
                <a:lnTo>
                  <a:pt x="725" y="924"/>
                </a:lnTo>
                <a:lnTo>
                  <a:pt x="725" y="924"/>
                </a:lnTo>
                <a:lnTo>
                  <a:pt x="725" y="922"/>
                </a:lnTo>
                <a:lnTo>
                  <a:pt x="725" y="922"/>
                </a:lnTo>
                <a:lnTo>
                  <a:pt x="720" y="924"/>
                </a:lnTo>
                <a:lnTo>
                  <a:pt x="720" y="924"/>
                </a:lnTo>
                <a:lnTo>
                  <a:pt x="718" y="924"/>
                </a:lnTo>
                <a:lnTo>
                  <a:pt x="718" y="924"/>
                </a:lnTo>
                <a:lnTo>
                  <a:pt x="716" y="927"/>
                </a:lnTo>
                <a:lnTo>
                  <a:pt x="716" y="927"/>
                </a:lnTo>
                <a:lnTo>
                  <a:pt x="713" y="929"/>
                </a:lnTo>
                <a:lnTo>
                  <a:pt x="713" y="929"/>
                </a:lnTo>
                <a:lnTo>
                  <a:pt x="708" y="932"/>
                </a:lnTo>
                <a:lnTo>
                  <a:pt x="708" y="932"/>
                </a:lnTo>
                <a:lnTo>
                  <a:pt x="708" y="934"/>
                </a:lnTo>
                <a:lnTo>
                  <a:pt x="708" y="934"/>
                </a:lnTo>
                <a:lnTo>
                  <a:pt x="706" y="937"/>
                </a:lnTo>
                <a:lnTo>
                  <a:pt x="706" y="937"/>
                </a:lnTo>
                <a:lnTo>
                  <a:pt x="706" y="939"/>
                </a:lnTo>
                <a:lnTo>
                  <a:pt x="706" y="939"/>
                </a:lnTo>
                <a:lnTo>
                  <a:pt x="703" y="942"/>
                </a:lnTo>
                <a:lnTo>
                  <a:pt x="703" y="942"/>
                </a:lnTo>
                <a:lnTo>
                  <a:pt x="698" y="942"/>
                </a:lnTo>
                <a:lnTo>
                  <a:pt x="698" y="942"/>
                </a:lnTo>
                <a:lnTo>
                  <a:pt x="696" y="942"/>
                </a:lnTo>
                <a:lnTo>
                  <a:pt x="696" y="942"/>
                </a:lnTo>
                <a:lnTo>
                  <a:pt x="696" y="946"/>
                </a:lnTo>
                <a:lnTo>
                  <a:pt x="696" y="946"/>
                </a:lnTo>
                <a:lnTo>
                  <a:pt x="693" y="946"/>
                </a:lnTo>
                <a:lnTo>
                  <a:pt x="693" y="946"/>
                </a:lnTo>
                <a:lnTo>
                  <a:pt x="693" y="946"/>
                </a:lnTo>
                <a:lnTo>
                  <a:pt x="686" y="944"/>
                </a:lnTo>
                <a:lnTo>
                  <a:pt x="686" y="944"/>
                </a:lnTo>
                <a:lnTo>
                  <a:pt x="684" y="946"/>
                </a:lnTo>
                <a:lnTo>
                  <a:pt x="684" y="946"/>
                </a:lnTo>
                <a:lnTo>
                  <a:pt x="681" y="949"/>
                </a:lnTo>
                <a:lnTo>
                  <a:pt x="681" y="949"/>
                </a:lnTo>
                <a:lnTo>
                  <a:pt x="679" y="949"/>
                </a:lnTo>
                <a:lnTo>
                  <a:pt x="679" y="949"/>
                </a:lnTo>
                <a:lnTo>
                  <a:pt x="676" y="944"/>
                </a:lnTo>
                <a:lnTo>
                  <a:pt x="676" y="944"/>
                </a:lnTo>
                <a:lnTo>
                  <a:pt x="676" y="942"/>
                </a:lnTo>
                <a:lnTo>
                  <a:pt x="676" y="942"/>
                </a:lnTo>
                <a:lnTo>
                  <a:pt x="679" y="939"/>
                </a:lnTo>
                <a:lnTo>
                  <a:pt x="679" y="939"/>
                </a:lnTo>
                <a:lnTo>
                  <a:pt x="679" y="937"/>
                </a:lnTo>
                <a:lnTo>
                  <a:pt x="679" y="937"/>
                </a:lnTo>
                <a:lnTo>
                  <a:pt x="679" y="937"/>
                </a:lnTo>
                <a:lnTo>
                  <a:pt x="676" y="937"/>
                </a:lnTo>
                <a:lnTo>
                  <a:pt x="676" y="937"/>
                </a:lnTo>
                <a:lnTo>
                  <a:pt x="674" y="937"/>
                </a:lnTo>
                <a:lnTo>
                  <a:pt x="674" y="937"/>
                </a:lnTo>
                <a:lnTo>
                  <a:pt x="669" y="934"/>
                </a:lnTo>
                <a:lnTo>
                  <a:pt x="669" y="934"/>
                </a:lnTo>
                <a:lnTo>
                  <a:pt x="664" y="934"/>
                </a:lnTo>
                <a:lnTo>
                  <a:pt x="664" y="934"/>
                </a:lnTo>
                <a:lnTo>
                  <a:pt x="666" y="937"/>
                </a:lnTo>
                <a:lnTo>
                  <a:pt x="666" y="937"/>
                </a:lnTo>
                <a:lnTo>
                  <a:pt x="666" y="939"/>
                </a:lnTo>
                <a:lnTo>
                  <a:pt x="666" y="939"/>
                </a:lnTo>
                <a:lnTo>
                  <a:pt x="664" y="939"/>
                </a:lnTo>
                <a:lnTo>
                  <a:pt x="664" y="939"/>
                </a:lnTo>
                <a:lnTo>
                  <a:pt x="664" y="942"/>
                </a:lnTo>
                <a:lnTo>
                  <a:pt x="664" y="942"/>
                </a:lnTo>
                <a:lnTo>
                  <a:pt x="661" y="937"/>
                </a:lnTo>
                <a:lnTo>
                  <a:pt x="661" y="937"/>
                </a:lnTo>
                <a:lnTo>
                  <a:pt x="661" y="932"/>
                </a:lnTo>
                <a:lnTo>
                  <a:pt x="661" y="932"/>
                </a:lnTo>
                <a:lnTo>
                  <a:pt x="654" y="927"/>
                </a:lnTo>
                <a:lnTo>
                  <a:pt x="654" y="927"/>
                </a:lnTo>
                <a:lnTo>
                  <a:pt x="654" y="929"/>
                </a:lnTo>
                <a:lnTo>
                  <a:pt x="654" y="929"/>
                </a:lnTo>
                <a:lnTo>
                  <a:pt x="654" y="932"/>
                </a:lnTo>
                <a:lnTo>
                  <a:pt x="654" y="932"/>
                </a:lnTo>
                <a:lnTo>
                  <a:pt x="654" y="934"/>
                </a:lnTo>
                <a:lnTo>
                  <a:pt x="654" y="934"/>
                </a:lnTo>
                <a:lnTo>
                  <a:pt x="654" y="934"/>
                </a:lnTo>
                <a:lnTo>
                  <a:pt x="652" y="932"/>
                </a:lnTo>
                <a:lnTo>
                  <a:pt x="652" y="932"/>
                </a:lnTo>
                <a:lnTo>
                  <a:pt x="649" y="932"/>
                </a:lnTo>
                <a:lnTo>
                  <a:pt x="649" y="932"/>
                </a:lnTo>
                <a:lnTo>
                  <a:pt x="649" y="934"/>
                </a:lnTo>
                <a:lnTo>
                  <a:pt x="649" y="934"/>
                </a:lnTo>
                <a:lnTo>
                  <a:pt x="647" y="934"/>
                </a:lnTo>
                <a:lnTo>
                  <a:pt x="647" y="934"/>
                </a:lnTo>
                <a:lnTo>
                  <a:pt x="644" y="934"/>
                </a:lnTo>
                <a:lnTo>
                  <a:pt x="644" y="934"/>
                </a:lnTo>
                <a:lnTo>
                  <a:pt x="642" y="934"/>
                </a:lnTo>
                <a:lnTo>
                  <a:pt x="642" y="934"/>
                </a:lnTo>
                <a:lnTo>
                  <a:pt x="639" y="934"/>
                </a:lnTo>
                <a:lnTo>
                  <a:pt x="639" y="934"/>
                </a:lnTo>
                <a:lnTo>
                  <a:pt x="639" y="932"/>
                </a:lnTo>
                <a:lnTo>
                  <a:pt x="639" y="932"/>
                </a:lnTo>
                <a:lnTo>
                  <a:pt x="642" y="929"/>
                </a:lnTo>
                <a:lnTo>
                  <a:pt x="642" y="929"/>
                </a:lnTo>
                <a:lnTo>
                  <a:pt x="642" y="929"/>
                </a:lnTo>
                <a:lnTo>
                  <a:pt x="642" y="927"/>
                </a:lnTo>
                <a:lnTo>
                  <a:pt x="642" y="927"/>
                </a:lnTo>
                <a:lnTo>
                  <a:pt x="642" y="924"/>
                </a:lnTo>
                <a:lnTo>
                  <a:pt x="642" y="924"/>
                </a:lnTo>
                <a:lnTo>
                  <a:pt x="642" y="922"/>
                </a:lnTo>
                <a:lnTo>
                  <a:pt x="642" y="922"/>
                </a:lnTo>
                <a:lnTo>
                  <a:pt x="639" y="922"/>
                </a:lnTo>
                <a:lnTo>
                  <a:pt x="639" y="922"/>
                </a:lnTo>
                <a:lnTo>
                  <a:pt x="637" y="917"/>
                </a:lnTo>
                <a:lnTo>
                  <a:pt x="637" y="917"/>
                </a:lnTo>
                <a:lnTo>
                  <a:pt x="637" y="914"/>
                </a:lnTo>
                <a:lnTo>
                  <a:pt x="637" y="914"/>
                </a:lnTo>
                <a:lnTo>
                  <a:pt x="634" y="914"/>
                </a:lnTo>
                <a:lnTo>
                  <a:pt x="634" y="914"/>
                </a:lnTo>
                <a:lnTo>
                  <a:pt x="634" y="910"/>
                </a:lnTo>
                <a:lnTo>
                  <a:pt x="634" y="910"/>
                </a:lnTo>
                <a:lnTo>
                  <a:pt x="629" y="910"/>
                </a:lnTo>
                <a:lnTo>
                  <a:pt x="629" y="910"/>
                </a:lnTo>
                <a:lnTo>
                  <a:pt x="627" y="912"/>
                </a:lnTo>
                <a:lnTo>
                  <a:pt x="627" y="912"/>
                </a:lnTo>
                <a:lnTo>
                  <a:pt x="622" y="912"/>
                </a:lnTo>
                <a:lnTo>
                  <a:pt x="622" y="912"/>
                </a:lnTo>
                <a:lnTo>
                  <a:pt x="620" y="910"/>
                </a:lnTo>
                <a:lnTo>
                  <a:pt x="620" y="910"/>
                </a:lnTo>
                <a:lnTo>
                  <a:pt x="615" y="910"/>
                </a:lnTo>
                <a:lnTo>
                  <a:pt x="615" y="910"/>
                </a:lnTo>
                <a:lnTo>
                  <a:pt x="612" y="907"/>
                </a:lnTo>
                <a:lnTo>
                  <a:pt x="612" y="907"/>
                </a:lnTo>
                <a:lnTo>
                  <a:pt x="610" y="910"/>
                </a:lnTo>
                <a:lnTo>
                  <a:pt x="610" y="910"/>
                </a:lnTo>
                <a:lnTo>
                  <a:pt x="607" y="907"/>
                </a:lnTo>
                <a:lnTo>
                  <a:pt x="607" y="907"/>
                </a:lnTo>
                <a:lnTo>
                  <a:pt x="605" y="910"/>
                </a:lnTo>
                <a:lnTo>
                  <a:pt x="605" y="910"/>
                </a:lnTo>
                <a:lnTo>
                  <a:pt x="602" y="912"/>
                </a:lnTo>
                <a:lnTo>
                  <a:pt x="602" y="912"/>
                </a:lnTo>
                <a:lnTo>
                  <a:pt x="600" y="912"/>
                </a:lnTo>
                <a:lnTo>
                  <a:pt x="600" y="912"/>
                </a:lnTo>
                <a:lnTo>
                  <a:pt x="597" y="914"/>
                </a:lnTo>
                <a:lnTo>
                  <a:pt x="597" y="914"/>
                </a:lnTo>
                <a:lnTo>
                  <a:pt x="600" y="917"/>
                </a:lnTo>
                <a:lnTo>
                  <a:pt x="600" y="917"/>
                </a:lnTo>
                <a:lnTo>
                  <a:pt x="600" y="919"/>
                </a:lnTo>
                <a:lnTo>
                  <a:pt x="600" y="919"/>
                </a:lnTo>
                <a:lnTo>
                  <a:pt x="595" y="919"/>
                </a:lnTo>
                <a:lnTo>
                  <a:pt x="595" y="919"/>
                </a:lnTo>
                <a:lnTo>
                  <a:pt x="593" y="919"/>
                </a:lnTo>
                <a:lnTo>
                  <a:pt x="593" y="919"/>
                </a:lnTo>
                <a:lnTo>
                  <a:pt x="590" y="922"/>
                </a:lnTo>
                <a:lnTo>
                  <a:pt x="590" y="922"/>
                </a:lnTo>
                <a:lnTo>
                  <a:pt x="588" y="922"/>
                </a:lnTo>
                <a:lnTo>
                  <a:pt x="588" y="922"/>
                </a:lnTo>
                <a:lnTo>
                  <a:pt x="585" y="924"/>
                </a:lnTo>
                <a:lnTo>
                  <a:pt x="585" y="924"/>
                </a:lnTo>
                <a:lnTo>
                  <a:pt x="585" y="924"/>
                </a:lnTo>
                <a:lnTo>
                  <a:pt x="578" y="927"/>
                </a:lnTo>
                <a:lnTo>
                  <a:pt x="578" y="927"/>
                </a:lnTo>
                <a:lnTo>
                  <a:pt x="575" y="929"/>
                </a:lnTo>
                <a:lnTo>
                  <a:pt x="575" y="929"/>
                </a:lnTo>
                <a:lnTo>
                  <a:pt x="570" y="932"/>
                </a:lnTo>
                <a:lnTo>
                  <a:pt x="570" y="932"/>
                </a:lnTo>
                <a:lnTo>
                  <a:pt x="570" y="929"/>
                </a:lnTo>
                <a:lnTo>
                  <a:pt x="570" y="929"/>
                </a:lnTo>
                <a:lnTo>
                  <a:pt x="568" y="929"/>
                </a:lnTo>
                <a:lnTo>
                  <a:pt x="568" y="929"/>
                </a:lnTo>
                <a:lnTo>
                  <a:pt x="565" y="929"/>
                </a:lnTo>
                <a:lnTo>
                  <a:pt x="565" y="929"/>
                </a:lnTo>
                <a:lnTo>
                  <a:pt x="565" y="932"/>
                </a:lnTo>
                <a:lnTo>
                  <a:pt x="565" y="932"/>
                </a:lnTo>
                <a:lnTo>
                  <a:pt x="561" y="932"/>
                </a:lnTo>
                <a:lnTo>
                  <a:pt x="561" y="932"/>
                </a:lnTo>
                <a:lnTo>
                  <a:pt x="561" y="934"/>
                </a:lnTo>
                <a:lnTo>
                  <a:pt x="561" y="934"/>
                </a:lnTo>
                <a:lnTo>
                  <a:pt x="561" y="937"/>
                </a:lnTo>
                <a:lnTo>
                  <a:pt x="561" y="937"/>
                </a:lnTo>
                <a:lnTo>
                  <a:pt x="558" y="939"/>
                </a:lnTo>
                <a:lnTo>
                  <a:pt x="558" y="939"/>
                </a:lnTo>
                <a:lnTo>
                  <a:pt x="556" y="937"/>
                </a:lnTo>
                <a:lnTo>
                  <a:pt x="556" y="937"/>
                </a:lnTo>
                <a:lnTo>
                  <a:pt x="556" y="937"/>
                </a:lnTo>
                <a:lnTo>
                  <a:pt x="553" y="939"/>
                </a:lnTo>
                <a:lnTo>
                  <a:pt x="553" y="939"/>
                </a:lnTo>
                <a:lnTo>
                  <a:pt x="548" y="939"/>
                </a:lnTo>
                <a:lnTo>
                  <a:pt x="548" y="939"/>
                </a:lnTo>
                <a:lnTo>
                  <a:pt x="543" y="942"/>
                </a:lnTo>
                <a:lnTo>
                  <a:pt x="543" y="942"/>
                </a:lnTo>
                <a:lnTo>
                  <a:pt x="543" y="944"/>
                </a:lnTo>
                <a:lnTo>
                  <a:pt x="543" y="944"/>
                </a:lnTo>
                <a:lnTo>
                  <a:pt x="538" y="944"/>
                </a:lnTo>
                <a:lnTo>
                  <a:pt x="538" y="944"/>
                </a:lnTo>
                <a:lnTo>
                  <a:pt x="536" y="946"/>
                </a:lnTo>
                <a:lnTo>
                  <a:pt x="536" y="946"/>
                </a:lnTo>
                <a:lnTo>
                  <a:pt x="531" y="946"/>
                </a:lnTo>
                <a:lnTo>
                  <a:pt x="531" y="946"/>
                </a:lnTo>
                <a:lnTo>
                  <a:pt x="526" y="946"/>
                </a:lnTo>
                <a:lnTo>
                  <a:pt x="526" y="946"/>
                </a:lnTo>
                <a:lnTo>
                  <a:pt x="526" y="949"/>
                </a:lnTo>
                <a:lnTo>
                  <a:pt x="526" y="949"/>
                </a:lnTo>
                <a:lnTo>
                  <a:pt x="524" y="951"/>
                </a:lnTo>
                <a:lnTo>
                  <a:pt x="524" y="951"/>
                </a:lnTo>
                <a:lnTo>
                  <a:pt x="524" y="949"/>
                </a:lnTo>
                <a:lnTo>
                  <a:pt x="524" y="949"/>
                </a:lnTo>
                <a:lnTo>
                  <a:pt x="521" y="949"/>
                </a:lnTo>
                <a:lnTo>
                  <a:pt x="521" y="949"/>
                </a:lnTo>
                <a:lnTo>
                  <a:pt x="516" y="951"/>
                </a:lnTo>
                <a:lnTo>
                  <a:pt x="516" y="951"/>
                </a:lnTo>
                <a:lnTo>
                  <a:pt x="516" y="951"/>
                </a:lnTo>
                <a:lnTo>
                  <a:pt x="516" y="954"/>
                </a:lnTo>
                <a:lnTo>
                  <a:pt x="516" y="954"/>
                </a:lnTo>
                <a:lnTo>
                  <a:pt x="514" y="951"/>
                </a:lnTo>
                <a:lnTo>
                  <a:pt x="514" y="951"/>
                </a:lnTo>
                <a:lnTo>
                  <a:pt x="509" y="951"/>
                </a:lnTo>
                <a:lnTo>
                  <a:pt x="509" y="951"/>
                </a:lnTo>
                <a:lnTo>
                  <a:pt x="509" y="951"/>
                </a:lnTo>
                <a:lnTo>
                  <a:pt x="506" y="951"/>
                </a:lnTo>
                <a:lnTo>
                  <a:pt x="506" y="951"/>
                </a:lnTo>
                <a:lnTo>
                  <a:pt x="504" y="951"/>
                </a:lnTo>
                <a:lnTo>
                  <a:pt x="504" y="951"/>
                </a:lnTo>
                <a:lnTo>
                  <a:pt x="501" y="951"/>
                </a:lnTo>
                <a:lnTo>
                  <a:pt x="501" y="951"/>
                </a:lnTo>
                <a:lnTo>
                  <a:pt x="501" y="954"/>
                </a:lnTo>
                <a:lnTo>
                  <a:pt x="501" y="954"/>
                </a:lnTo>
                <a:lnTo>
                  <a:pt x="501" y="956"/>
                </a:lnTo>
                <a:lnTo>
                  <a:pt x="501" y="956"/>
                </a:lnTo>
                <a:lnTo>
                  <a:pt x="501" y="959"/>
                </a:lnTo>
                <a:lnTo>
                  <a:pt x="501" y="959"/>
                </a:lnTo>
                <a:lnTo>
                  <a:pt x="504" y="959"/>
                </a:lnTo>
                <a:lnTo>
                  <a:pt x="504" y="959"/>
                </a:lnTo>
                <a:lnTo>
                  <a:pt x="506" y="959"/>
                </a:lnTo>
                <a:lnTo>
                  <a:pt x="506" y="959"/>
                </a:lnTo>
                <a:lnTo>
                  <a:pt x="509" y="961"/>
                </a:lnTo>
                <a:lnTo>
                  <a:pt x="509" y="961"/>
                </a:lnTo>
                <a:lnTo>
                  <a:pt x="504" y="964"/>
                </a:lnTo>
                <a:lnTo>
                  <a:pt x="504" y="964"/>
                </a:lnTo>
                <a:lnTo>
                  <a:pt x="504" y="964"/>
                </a:lnTo>
                <a:lnTo>
                  <a:pt x="504" y="966"/>
                </a:lnTo>
                <a:lnTo>
                  <a:pt x="504" y="966"/>
                </a:lnTo>
                <a:lnTo>
                  <a:pt x="506" y="966"/>
                </a:lnTo>
                <a:lnTo>
                  <a:pt x="506" y="966"/>
                </a:lnTo>
                <a:lnTo>
                  <a:pt x="511" y="966"/>
                </a:lnTo>
                <a:lnTo>
                  <a:pt x="511" y="966"/>
                </a:lnTo>
                <a:lnTo>
                  <a:pt x="514" y="966"/>
                </a:lnTo>
                <a:lnTo>
                  <a:pt x="514" y="966"/>
                </a:lnTo>
                <a:lnTo>
                  <a:pt x="514" y="966"/>
                </a:lnTo>
                <a:lnTo>
                  <a:pt x="516" y="969"/>
                </a:lnTo>
                <a:lnTo>
                  <a:pt x="516" y="969"/>
                </a:lnTo>
                <a:lnTo>
                  <a:pt x="521" y="969"/>
                </a:lnTo>
                <a:lnTo>
                  <a:pt x="521" y="969"/>
                </a:lnTo>
                <a:lnTo>
                  <a:pt x="521" y="971"/>
                </a:lnTo>
                <a:lnTo>
                  <a:pt x="521" y="971"/>
                </a:lnTo>
                <a:lnTo>
                  <a:pt x="519" y="974"/>
                </a:lnTo>
                <a:lnTo>
                  <a:pt x="519" y="974"/>
                </a:lnTo>
                <a:lnTo>
                  <a:pt x="516" y="974"/>
                </a:lnTo>
                <a:lnTo>
                  <a:pt x="516" y="974"/>
                </a:lnTo>
                <a:lnTo>
                  <a:pt x="509" y="974"/>
                </a:lnTo>
                <a:lnTo>
                  <a:pt x="509" y="974"/>
                </a:lnTo>
                <a:lnTo>
                  <a:pt x="506" y="976"/>
                </a:lnTo>
                <a:lnTo>
                  <a:pt x="506" y="976"/>
                </a:lnTo>
                <a:lnTo>
                  <a:pt x="501" y="981"/>
                </a:lnTo>
                <a:lnTo>
                  <a:pt x="501" y="981"/>
                </a:lnTo>
                <a:lnTo>
                  <a:pt x="504" y="986"/>
                </a:lnTo>
                <a:lnTo>
                  <a:pt x="504" y="986"/>
                </a:lnTo>
                <a:lnTo>
                  <a:pt x="504" y="986"/>
                </a:lnTo>
                <a:lnTo>
                  <a:pt x="506" y="988"/>
                </a:lnTo>
                <a:lnTo>
                  <a:pt x="506" y="988"/>
                </a:lnTo>
                <a:lnTo>
                  <a:pt x="504" y="991"/>
                </a:lnTo>
                <a:lnTo>
                  <a:pt x="504" y="991"/>
                </a:lnTo>
                <a:lnTo>
                  <a:pt x="504" y="996"/>
                </a:lnTo>
                <a:lnTo>
                  <a:pt x="504" y="996"/>
                </a:lnTo>
                <a:lnTo>
                  <a:pt x="499" y="996"/>
                </a:lnTo>
                <a:lnTo>
                  <a:pt x="499" y="996"/>
                </a:lnTo>
                <a:lnTo>
                  <a:pt x="499" y="996"/>
                </a:lnTo>
                <a:lnTo>
                  <a:pt x="501" y="998"/>
                </a:lnTo>
                <a:lnTo>
                  <a:pt x="501" y="998"/>
                </a:lnTo>
                <a:lnTo>
                  <a:pt x="501" y="1001"/>
                </a:lnTo>
                <a:lnTo>
                  <a:pt x="501" y="1001"/>
                </a:lnTo>
                <a:lnTo>
                  <a:pt x="504" y="1001"/>
                </a:lnTo>
                <a:lnTo>
                  <a:pt x="504" y="1001"/>
                </a:lnTo>
                <a:lnTo>
                  <a:pt x="506" y="1003"/>
                </a:lnTo>
                <a:lnTo>
                  <a:pt x="506" y="1003"/>
                </a:lnTo>
                <a:lnTo>
                  <a:pt x="511" y="1003"/>
                </a:lnTo>
                <a:lnTo>
                  <a:pt x="511" y="1003"/>
                </a:lnTo>
                <a:lnTo>
                  <a:pt x="511" y="1005"/>
                </a:lnTo>
                <a:lnTo>
                  <a:pt x="511" y="1005"/>
                </a:lnTo>
                <a:lnTo>
                  <a:pt x="514" y="1008"/>
                </a:lnTo>
                <a:lnTo>
                  <a:pt x="514" y="1008"/>
                </a:lnTo>
                <a:lnTo>
                  <a:pt x="519" y="1008"/>
                </a:lnTo>
                <a:lnTo>
                  <a:pt x="519" y="1008"/>
                </a:lnTo>
                <a:lnTo>
                  <a:pt x="519" y="1008"/>
                </a:lnTo>
                <a:lnTo>
                  <a:pt x="521" y="1020"/>
                </a:lnTo>
                <a:lnTo>
                  <a:pt x="521" y="1020"/>
                </a:lnTo>
                <a:lnTo>
                  <a:pt x="519" y="1023"/>
                </a:lnTo>
                <a:lnTo>
                  <a:pt x="519" y="1023"/>
                </a:lnTo>
                <a:lnTo>
                  <a:pt x="514" y="1025"/>
                </a:lnTo>
                <a:lnTo>
                  <a:pt x="514" y="1025"/>
                </a:lnTo>
                <a:lnTo>
                  <a:pt x="509" y="1025"/>
                </a:lnTo>
                <a:lnTo>
                  <a:pt x="509" y="1025"/>
                </a:lnTo>
                <a:lnTo>
                  <a:pt x="504" y="1020"/>
                </a:lnTo>
                <a:lnTo>
                  <a:pt x="504" y="1020"/>
                </a:lnTo>
                <a:lnTo>
                  <a:pt x="504" y="1023"/>
                </a:lnTo>
                <a:lnTo>
                  <a:pt x="504" y="1023"/>
                </a:lnTo>
                <a:lnTo>
                  <a:pt x="504" y="1025"/>
                </a:lnTo>
                <a:lnTo>
                  <a:pt x="504" y="1025"/>
                </a:lnTo>
                <a:lnTo>
                  <a:pt x="501" y="1030"/>
                </a:lnTo>
                <a:lnTo>
                  <a:pt x="501" y="1030"/>
                </a:lnTo>
                <a:lnTo>
                  <a:pt x="499" y="1030"/>
                </a:lnTo>
                <a:lnTo>
                  <a:pt x="499" y="1030"/>
                </a:lnTo>
                <a:lnTo>
                  <a:pt x="492" y="1028"/>
                </a:lnTo>
                <a:lnTo>
                  <a:pt x="492" y="1028"/>
                </a:lnTo>
                <a:lnTo>
                  <a:pt x="487" y="1028"/>
                </a:lnTo>
                <a:lnTo>
                  <a:pt x="487" y="1028"/>
                </a:lnTo>
                <a:lnTo>
                  <a:pt x="487" y="1025"/>
                </a:lnTo>
                <a:lnTo>
                  <a:pt x="487" y="1025"/>
                </a:lnTo>
                <a:lnTo>
                  <a:pt x="484" y="1028"/>
                </a:lnTo>
                <a:lnTo>
                  <a:pt x="484" y="1028"/>
                </a:lnTo>
                <a:lnTo>
                  <a:pt x="482" y="1025"/>
                </a:lnTo>
                <a:lnTo>
                  <a:pt x="482" y="1025"/>
                </a:lnTo>
                <a:lnTo>
                  <a:pt x="479" y="1023"/>
                </a:lnTo>
                <a:lnTo>
                  <a:pt x="479" y="1023"/>
                </a:lnTo>
                <a:lnTo>
                  <a:pt x="482" y="1020"/>
                </a:lnTo>
                <a:lnTo>
                  <a:pt x="482" y="1020"/>
                </a:lnTo>
                <a:lnTo>
                  <a:pt x="482" y="1018"/>
                </a:lnTo>
                <a:lnTo>
                  <a:pt x="482" y="1018"/>
                </a:lnTo>
                <a:lnTo>
                  <a:pt x="479" y="1018"/>
                </a:lnTo>
                <a:lnTo>
                  <a:pt x="479" y="1018"/>
                </a:lnTo>
                <a:lnTo>
                  <a:pt x="477" y="1015"/>
                </a:lnTo>
                <a:lnTo>
                  <a:pt x="477" y="1015"/>
                </a:lnTo>
                <a:lnTo>
                  <a:pt x="474" y="1018"/>
                </a:lnTo>
                <a:lnTo>
                  <a:pt x="474" y="1018"/>
                </a:lnTo>
                <a:lnTo>
                  <a:pt x="472" y="1018"/>
                </a:lnTo>
                <a:lnTo>
                  <a:pt x="472" y="1018"/>
                </a:lnTo>
                <a:lnTo>
                  <a:pt x="470" y="1018"/>
                </a:lnTo>
                <a:lnTo>
                  <a:pt x="470" y="1018"/>
                </a:lnTo>
                <a:lnTo>
                  <a:pt x="470" y="1023"/>
                </a:lnTo>
                <a:lnTo>
                  <a:pt x="470" y="1023"/>
                </a:lnTo>
                <a:lnTo>
                  <a:pt x="465" y="1023"/>
                </a:lnTo>
                <a:lnTo>
                  <a:pt x="465" y="1023"/>
                </a:lnTo>
                <a:lnTo>
                  <a:pt x="465" y="1020"/>
                </a:lnTo>
                <a:lnTo>
                  <a:pt x="465" y="1020"/>
                </a:lnTo>
                <a:lnTo>
                  <a:pt x="460" y="1018"/>
                </a:lnTo>
                <a:lnTo>
                  <a:pt x="460" y="1018"/>
                </a:lnTo>
                <a:lnTo>
                  <a:pt x="455" y="1018"/>
                </a:lnTo>
                <a:lnTo>
                  <a:pt x="455" y="1018"/>
                </a:lnTo>
                <a:lnTo>
                  <a:pt x="455" y="1020"/>
                </a:lnTo>
                <a:lnTo>
                  <a:pt x="455" y="1020"/>
                </a:lnTo>
                <a:lnTo>
                  <a:pt x="452" y="1018"/>
                </a:lnTo>
                <a:lnTo>
                  <a:pt x="452" y="1018"/>
                </a:lnTo>
                <a:lnTo>
                  <a:pt x="450" y="1018"/>
                </a:lnTo>
                <a:lnTo>
                  <a:pt x="450" y="1018"/>
                </a:lnTo>
                <a:lnTo>
                  <a:pt x="450" y="1020"/>
                </a:lnTo>
                <a:lnTo>
                  <a:pt x="450" y="1020"/>
                </a:lnTo>
                <a:lnTo>
                  <a:pt x="447" y="1023"/>
                </a:lnTo>
                <a:lnTo>
                  <a:pt x="447" y="1023"/>
                </a:lnTo>
                <a:lnTo>
                  <a:pt x="447" y="1028"/>
                </a:lnTo>
                <a:lnTo>
                  <a:pt x="447" y="1028"/>
                </a:lnTo>
                <a:lnTo>
                  <a:pt x="442" y="1030"/>
                </a:lnTo>
                <a:lnTo>
                  <a:pt x="442" y="1030"/>
                </a:lnTo>
                <a:lnTo>
                  <a:pt x="440" y="1030"/>
                </a:lnTo>
                <a:lnTo>
                  <a:pt x="440" y="1030"/>
                </a:lnTo>
                <a:lnTo>
                  <a:pt x="438" y="1025"/>
                </a:lnTo>
                <a:lnTo>
                  <a:pt x="438" y="1025"/>
                </a:lnTo>
                <a:lnTo>
                  <a:pt x="433" y="1025"/>
                </a:lnTo>
                <a:lnTo>
                  <a:pt x="433" y="1025"/>
                </a:lnTo>
                <a:lnTo>
                  <a:pt x="430" y="1023"/>
                </a:lnTo>
                <a:lnTo>
                  <a:pt x="430" y="1023"/>
                </a:lnTo>
                <a:lnTo>
                  <a:pt x="428" y="1025"/>
                </a:lnTo>
                <a:lnTo>
                  <a:pt x="428" y="1025"/>
                </a:lnTo>
                <a:lnTo>
                  <a:pt x="428" y="1028"/>
                </a:lnTo>
                <a:lnTo>
                  <a:pt x="428" y="1028"/>
                </a:lnTo>
                <a:lnTo>
                  <a:pt x="425" y="1030"/>
                </a:lnTo>
                <a:lnTo>
                  <a:pt x="425" y="1030"/>
                </a:lnTo>
                <a:lnTo>
                  <a:pt x="423" y="1030"/>
                </a:lnTo>
                <a:lnTo>
                  <a:pt x="423" y="1030"/>
                </a:lnTo>
                <a:lnTo>
                  <a:pt x="423" y="1028"/>
                </a:lnTo>
                <a:lnTo>
                  <a:pt x="423" y="1028"/>
                </a:lnTo>
                <a:lnTo>
                  <a:pt x="423" y="1025"/>
                </a:lnTo>
                <a:lnTo>
                  <a:pt x="423" y="1025"/>
                </a:lnTo>
                <a:lnTo>
                  <a:pt x="420" y="1025"/>
                </a:lnTo>
                <a:lnTo>
                  <a:pt x="420" y="1025"/>
                </a:lnTo>
                <a:lnTo>
                  <a:pt x="415" y="1020"/>
                </a:lnTo>
                <a:lnTo>
                  <a:pt x="415" y="1020"/>
                </a:lnTo>
                <a:lnTo>
                  <a:pt x="413" y="1018"/>
                </a:lnTo>
                <a:lnTo>
                  <a:pt x="413" y="1018"/>
                </a:lnTo>
                <a:lnTo>
                  <a:pt x="410" y="1018"/>
                </a:lnTo>
                <a:lnTo>
                  <a:pt x="410" y="1018"/>
                </a:lnTo>
                <a:lnTo>
                  <a:pt x="406" y="1015"/>
                </a:lnTo>
                <a:lnTo>
                  <a:pt x="406" y="1015"/>
                </a:lnTo>
                <a:lnTo>
                  <a:pt x="406" y="1015"/>
                </a:lnTo>
                <a:lnTo>
                  <a:pt x="403" y="1013"/>
                </a:lnTo>
                <a:lnTo>
                  <a:pt x="403" y="1013"/>
                </a:lnTo>
                <a:lnTo>
                  <a:pt x="401" y="1013"/>
                </a:lnTo>
                <a:lnTo>
                  <a:pt x="401" y="1013"/>
                </a:lnTo>
                <a:lnTo>
                  <a:pt x="396" y="1013"/>
                </a:lnTo>
                <a:lnTo>
                  <a:pt x="396" y="1013"/>
                </a:lnTo>
                <a:lnTo>
                  <a:pt x="391" y="1010"/>
                </a:lnTo>
                <a:lnTo>
                  <a:pt x="391" y="1010"/>
                </a:lnTo>
                <a:lnTo>
                  <a:pt x="391" y="1008"/>
                </a:lnTo>
                <a:lnTo>
                  <a:pt x="391" y="1008"/>
                </a:lnTo>
                <a:lnTo>
                  <a:pt x="388" y="1008"/>
                </a:lnTo>
                <a:lnTo>
                  <a:pt x="388" y="1008"/>
                </a:lnTo>
                <a:lnTo>
                  <a:pt x="383" y="1010"/>
                </a:lnTo>
                <a:lnTo>
                  <a:pt x="383" y="1010"/>
                </a:lnTo>
                <a:lnTo>
                  <a:pt x="381" y="1010"/>
                </a:lnTo>
                <a:lnTo>
                  <a:pt x="381" y="1010"/>
                </a:lnTo>
                <a:lnTo>
                  <a:pt x="381" y="1010"/>
                </a:lnTo>
                <a:lnTo>
                  <a:pt x="378" y="1013"/>
                </a:lnTo>
                <a:lnTo>
                  <a:pt x="378" y="1013"/>
                </a:lnTo>
                <a:lnTo>
                  <a:pt x="378" y="1010"/>
                </a:lnTo>
                <a:lnTo>
                  <a:pt x="378" y="1010"/>
                </a:lnTo>
                <a:lnTo>
                  <a:pt x="376" y="1013"/>
                </a:lnTo>
                <a:lnTo>
                  <a:pt x="376" y="1013"/>
                </a:lnTo>
                <a:lnTo>
                  <a:pt x="376" y="1015"/>
                </a:lnTo>
                <a:lnTo>
                  <a:pt x="376" y="1015"/>
                </a:lnTo>
                <a:lnTo>
                  <a:pt x="374" y="1015"/>
                </a:lnTo>
                <a:lnTo>
                  <a:pt x="374" y="1015"/>
                </a:lnTo>
                <a:lnTo>
                  <a:pt x="371" y="1015"/>
                </a:lnTo>
                <a:lnTo>
                  <a:pt x="371" y="1015"/>
                </a:lnTo>
                <a:lnTo>
                  <a:pt x="374" y="1013"/>
                </a:lnTo>
                <a:lnTo>
                  <a:pt x="374" y="1013"/>
                </a:lnTo>
                <a:lnTo>
                  <a:pt x="374" y="1010"/>
                </a:lnTo>
                <a:lnTo>
                  <a:pt x="374" y="1010"/>
                </a:lnTo>
                <a:lnTo>
                  <a:pt x="371" y="1008"/>
                </a:lnTo>
                <a:lnTo>
                  <a:pt x="371" y="1008"/>
                </a:lnTo>
                <a:lnTo>
                  <a:pt x="366" y="1005"/>
                </a:lnTo>
                <a:lnTo>
                  <a:pt x="366" y="1005"/>
                </a:lnTo>
                <a:lnTo>
                  <a:pt x="364" y="1008"/>
                </a:lnTo>
                <a:lnTo>
                  <a:pt x="364" y="1008"/>
                </a:lnTo>
                <a:lnTo>
                  <a:pt x="366" y="1010"/>
                </a:lnTo>
                <a:lnTo>
                  <a:pt x="366" y="1010"/>
                </a:lnTo>
                <a:lnTo>
                  <a:pt x="366" y="1013"/>
                </a:lnTo>
                <a:lnTo>
                  <a:pt x="366" y="1013"/>
                </a:lnTo>
                <a:lnTo>
                  <a:pt x="361" y="1013"/>
                </a:lnTo>
                <a:lnTo>
                  <a:pt x="361" y="1013"/>
                </a:lnTo>
                <a:lnTo>
                  <a:pt x="359" y="1015"/>
                </a:lnTo>
                <a:lnTo>
                  <a:pt x="359" y="1015"/>
                </a:lnTo>
                <a:lnTo>
                  <a:pt x="359" y="1018"/>
                </a:lnTo>
                <a:lnTo>
                  <a:pt x="359" y="1018"/>
                </a:lnTo>
                <a:lnTo>
                  <a:pt x="356" y="1018"/>
                </a:lnTo>
                <a:lnTo>
                  <a:pt x="356" y="1018"/>
                </a:lnTo>
                <a:lnTo>
                  <a:pt x="351" y="1023"/>
                </a:lnTo>
                <a:lnTo>
                  <a:pt x="351" y="1023"/>
                </a:lnTo>
                <a:lnTo>
                  <a:pt x="351" y="1025"/>
                </a:lnTo>
                <a:lnTo>
                  <a:pt x="351" y="1025"/>
                </a:lnTo>
                <a:lnTo>
                  <a:pt x="351" y="1028"/>
                </a:lnTo>
                <a:lnTo>
                  <a:pt x="351" y="1028"/>
                </a:lnTo>
                <a:lnTo>
                  <a:pt x="351" y="1033"/>
                </a:lnTo>
                <a:lnTo>
                  <a:pt x="351" y="1033"/>
                </a:lnTo>
                <a:lnTo>
                  <a:pt x="347" y="1033"/>
                </a:lnTo>
                <a:lnTo>
                  <a:pt x="347" y="1033"/>
                </a:lnTo>
                <a:lnTo>
                  <a:pt x="344" y="1033"/>
                </a:lnTo>
                <a:lnTo>
                  <a:pt x="344" y="1033"/>
                </a:lnTo>
                <a:lnTo>
                  <a:pt x="347" y="1045"/>
                </a:lnTo>
                <a:lnTo>
                  <a:pt x="347" y="1045"/>
                </a:lnTo>
                <a:lnTo>
                  <a:pt x="344" y="1045"/>
                </a:lnTo>
                <a:lnTo>
                  <a:pt x="344" y="1045"/>
                </a:lnTo>
                <a:lnTo>
                  <a:pt x="344" y="1050"/>
                </a:lnTo>
                <a:lnTo>
                  <a:pt x="344" y="1050"/>
                </a:lnTo>
                <a:lnTo>
                  <a:pt x="339" y="1052"/>
                </a:lnTo>
                <a:lnTo>
                  <a:pt x="339" y="1052"/>
                </a:lnTo>
                <a:lnTo>
                  <a:pt x="337" y="1047"/>
                </a:lnTo>
                <a:lnTo>
                  <a:pt x="337" y="1047"/>
                </a:lnTo>
                <a:lnTo>
                  <a:pt x="334" y="1045"/>
                </a:lnTo>
                <a:lnTo>
                  <a:pt x="334" y="1045"/>
                </a:lnTo>
                <a:lnTo>
                  <a:pt x="327" y="1037"/>
                </a:lnTo>
                <a:lnTo>
                  <a:pt x="327" y="1037"/>
                </a:lnTo>
                <a:lnTo>
                  <a:pt x="324" y="1040"/>
                </a:lnTo>
                <a:lnTo>
                  <a:pt x="324" y="1040"/>
                </a:lnTo>
                <a:lnTo>
                  <a:pt x="324" y="1045"/>
                </a:lnTo>
                <a:lnTo>
                  <a:pt x="324" y="1045"/>
                </a:lnTo>
                <a:lnTo>
                  <a:pt x="319" y="1050"/>
                </a:lnTo>
                <a:lnTo>
                  <a:pt x="319" y="1050"/>
                </a:lnTo>
                <a:lnTo>
                  <a:pt x="317" y="1052"/>
                </a:lnTo>
                <a:lnTo>
                  <a:pt x="317" y="1052"/>
                </a:lnTo>
                <a:lnTo>
                  <a:pt x="317" y="1060"/>
                </a:lnTo>
                <a:lnTo>
                  <a:pt x="317" y="1060"/>
                </a:lnTo>
                <a:lnTo>
                  <a:pt x="319" y="1062"/>
                </a:lnTo>
                <a:lnTo>
                  <a:pt x="319" y="1062"/>
                </a:lnTo>
                <a:lnTo>
                  <a:pt x="319" y="1072"/>
                </a:lnTo>
                <a:lnTo>
                  <a:pt x="319" y="1072"/>
                </a:lnTo>
                <a:lnTo>
                  <a:pt x="317" y="1077"/>
                </a:lnTo>
                <a:lnTo>
                  <a:pt x="317" y="1077"/>
                </a:lnTo>
                <a:lnTo>
                  <a:pt x="322" y="1079"/>
                </a:lnTo>
                <a:lnTo>
                  <a:pt x="322" y="1079"/>
                </a:lnTo>
                <a:lnTo>
                  <a:pt x="324" y="1084"/>
                </a:lnTo>
                <a:lnTo>
                  <a:pt x="324" y="1084"/>
                </a:lnTo>
                <a:lnTo>
                  <a:pt x="324" y="1084"/>
                </a:lnTo>
                <a:lnTo>
                  <a:pt x="329" y="1089"/>
                </a:lnTo>
                <a:lnTo>
                  <a:pt x="329" y="1089"/>
                </a:lnTo>
                <a:lnTo>
                  <a:pt x="332" y="1087"/>
                </a:lnTo>
                <a:lnTo>
                  <a:pt x="332" y="1087"/>
                </a:lnTo>
                <a:lnTo>
                  <a:pt x="342" y="1089"/>
                </a:lnTo>
                <a:lnTo>
                  <a:pt x="342" y="1089"/>
                </a:lnTo>
                <a:lnTo>
                  <a:pt x="349" y="1096"/>
                </a:lnTo>
                <a:lnTo>
                  <a:pt x="349" y="1096"/>
                </a:lnTo>
                <a:lnTo>
                  <a:pt x="354" y="1106"/>
                </a:lnTo>
                <a:lnTo>
                  <a:pt x="354" y="1106"/>
                </a:lnTo>
                <a:lnTo>
                  <a:pt x="349" y="1106"/>
                </a:lnTo>
                <a:lnTo>
                  <a:pt x="349" y="1106"/>
                </a:lnTo>
                <a:lnTo>
                  <a:pt x="349" y="1109"/>
                </a:lnTo>
                <a:lnTo>
                  <a:pt x="349" y="1109"/>
                </a:lnTo>
                <a:lnTo>
                  <a:pt x="354" y="1114"/>
                </a:lnTo>
                <a:lnTo>
                  <a:pt x="354" y="1114"/>
                </a:lnTo>
                <a:lnTo>
                  <a:pt x="356" y="1111"/>
                </a:lnTo>
                <a:lnTo>
                  <a:pt x="356" y="1111"/>
                </a:lnTo>
                <a:lnTo>
                  <a:pt x="361" y="1114"/>
                </a:lnTo>
                <a:lnTo>
                  <a:pt x="361" y="1114"/>
                </a:lnTo>
                <a:lnTo>
                  <a:pt x="361" y="1114"/>
                </a:lnTo>
                <a:lnTo>
                  <a:pt x="361" y="1114"/>
                </a:lnTo>
                <a:lnTo>
                  <a:pt x="361" y="1116"/>
                </a:lnTo>
                <a:lnTo>
                  <a:pt x="361" y="1116"/>
                </a:lnTo>
                <a:lnTo>
                  <a:pt x="361" y="1119"/>
                </a:lnTo>
                <a:lnTo>
                  <a:pt x="361" y="1119"/>
                </a:lnTo>
                <a:lnTo>
                  <a:pt x="359" y="1119"/>
                </a:lnTo>
                <a:lnTo>
                  <a:pt x="359" y="1119"/>
                </a:lnTo>
                <a:lnTo>
                  <a:pt x="359" y="1119"/>
                </a:lnTo>
                <a:lnTo>
                  <a:pt x="359" y="1121"/>
                </a:lnTo>
                <a:lnTo>
                  <a:pt x="359" y="1121"/>
                </a:lnTo>
                <a:lnTo>
                  <a:pt x="359" y="1121"/>
                </a:lnTo>
                <a:lnTo>
                  <a:pt x="359" y="1121"/>
                </a:lnTo>
                <a:lnTo>
                  <a:pt x="359" y="1124"/>
                </a:lnTo>
                <a:lnTo>
                  <a:pt x="359" y="1124"/>
                </a:lnTo>
                <a:lnTo>
                  <a:pt x="356" y="1124"/>
                </a:lnTo>
                <a:lnTo>
                  <a:pt x="356" y="1124"/>
                </a:lnTo>
                <a:lnTo>
                  <a:pt x="356" y="1124"/>
                </a:lnTo>
                <a:lnTo>
                  <a:pt x="354" y="1124"/>
                </a:lnTo>
                <a:lnTo>
                  <a:pt x="354" y="1124"/>
                </a:lnTo>
                <a:lnTo>
                  <a:pt x="351" y="1124"/>
                </a:lnTo>
                <a:lnTo>
                  <a:pt x="351" y="1124"/>
                </a:lnTo>
                <a:lnTo>
                  <a:pt x="356" y="1126"/>
                </a:lnTo>
                <a:lnTo>
                  <a:pt x="356" y="1126"/>
                </a:lnTo>
                <a:lnTo>
                  <a:pt x="356" y="1128"/>
                </a:lnTo>
                <a:lnTo>
                  <a:pt x="356" y="1128"/>
                </a:lnTo>
                <a:lnTo>
                  <a:pt x="356" y="1128"/>
                </a:lnTo>
                <a:lnTo>
                  <a:pt x="354" y="1126"/>
                </a:lnTo>
                <a:lnTo>
                  <a:pt x="351" y="1128"/>
                </a:lnTo>
                <a:lnTo>
                  <a:pt x="349" y="1126"/>
                </a:lnTo>
                <a:lnTo>
                  <a:pt x="349" y="1126"/>
                </a:lnTo>
                <a:lnTo>
                  <a:pt x="349" y="1126"/>
                </a:lnTo>
                <a:lnTo>
                  <a:pt x="351" y="1128"/>
                </a:lnTo>
                <a:lnTo>
                  <a:pt x="351" y="1128"/>
                </a:lnTo>
                <a:lnTo>
                  <a:pt x="351" y="1128"/>
                </a:lnTo>
                <a:lnTo>
                  <a:pt x="349" y="1131"/>
                </a:lnTo>
                <a:lnTo>
                  <a:pt x="349" y="1131"/>
                </a:lnTo>
                <a:lnTo>
                  <a:pt x="347" y="1131"/>
                </a:lnTo>
                <a:lnTo>
                  <a:pt x="347" y="1131"/>
                </a:lnTo>
                <a:lnTo>
                  <a:pt x="347" y="1131"/>
                </a:lnTo>
                <a:lnTo>
                  <a:pt x="344" y="1131"/>
                </a:lnTo>
                <a:lnTo>
                  <a:pt x="344" y="1131"/>
                </a:lnTo>
                <a:lnTo>
                  <a:pt x="344" y="1133"/>
                </a:lnTo>
                <a:lnTo>
                  <a:pt x="344" y="1133"/>
                </a:lnTo>
                <a:lnTo>
                  <a:pt x="342" y="1133"/>
                </a:lnTo>
                <a:lnTo>
                  <a:pt x="342" y="1133"/>
                </a:lnTo>
                <a:lnTo>
                  <a:pt x="342" y="1131"/>
                </a:lnTo>
                <a:lnTo>
                  <a:pt x="342" y="1131"/>
                </a:lnTo>
                <a:lnTo>
                  <a:pt x="339" y="1131"/>
                </a:lnTo>
                <a:lnTo>
                  <a:pt x="339" y="1131"/>
                </a:lnTo>
                <a:lnTo>
                  <a:pt x="339" y="1133"/>
                </a:lnTo>
                <a:lnTo>
                  <a:pt x="339" y="1133"/>
                </a:lnTo>
                <a:lnTo>
                  <a:pt x="337" y="1136"/>
                </a:lnTo>
                <a:lnTo>
                  <a:pt x="337" y="1136"/>
                </a:lnTo>
                <a:lnTo>
                  <a:pt x="337" y="1138"/>
                </a:lnTo>
                <a:lnTo>
                  <a:pt x="337" y="1138"/>
                </a:lnTo>
                <a:lnTo>
                  <a:pt x="337" y="1141"/>
                </a:lnTo>
                <a:lnTo>
                  <a:pt x="337" y="1141"/>
                </a:lnTo>
                <a:lnTo>
                  <a:pt x="334" y="1143"/>
                </a:lnTo>
                <a:lnTo>
                  <a:pt x="334" y="1143"/>
                </a:lnTo>
                <a:lnTo>
                  <a:pt x="334" y="1146"/>
                </a:lnTo>
                <a:lnTo>
                  <a:pt x="334" y="1146"/>
                </a:lnTo>
                <a:lnTo>
                  <a:pt x="334" y="1151"/>
                </a:lnTo>
                <a:lnTo>
                  <a:pt x="334" y="1151"/>
                </a:lnTo>
                <a:lnTo>
                  <a:pt x="332" y="1153"/>
                </a:lnTo>
                <a:lnTo>
                  <a:pt x="332" y="1153"/>
                </a:lnTo>
                <a:lnTo>
                  <a:pt x="332" y="1156"/>
                </a:lnTo>
                <a:lnTo>
                  <a:pt x="332" y="1156"/>
                </a:lnTo>
                <a:lnTo>
                  <a:pt x="332" y="1160"/>
                </a:lnTo>
                <a:lnTo>
                  <a:pt x="332" y="1160"/>
                </a:lnTo>
                <a:lnTo>
                  <a:pt x="334" y="1160"/>
                </a:lnTo>
                <a:lnTo>
                  <a:pt x="334" y="1160"/>
                </a:lnTo>
                <a:lnTo>
                  <a:pt x="337" y="1160"/>
                </a:lnTo>
                <a:lnTo>
                  <a:pt x="337" y="1160"/>
                </a:lnTo>
                <a:lnTo>
                  <a:pt x="339" y="1163"/>
                </a:lnTo>
                <a:lnTo>
                  <a:pt x="339" y="1163"/>
                </a:lnTo>
                <a:lnTo>
                  <a:pt x="342" y="1165"/>
                </a:lnTo>
                <a:lnTo>
                  <a:pt x="342" y="1165"/>
                </a:lnTo>
                <a:lnTo>
                  <a:pt x="342" y="1170"/>
                </a:lnTo>
                <a:lnTo>
                  <a:pt x="342" y="1170"/>
                </a:lnTo>
                <a:lnTo>
                  <a:pt x="344" y="1170"/>
                </a:lnTo>
                <a:lnTo>
                  <a:pt x="344" y="1170"/>
                </a:lnTo>
                <a:lnTo>
                  <a:pt x="347" y="1170"/>
                </a:lnTo>
                <a:lnTo>
                  <a:pt x="347" y="1170"/>
                </a:lnTo>
                <a:lnTo>
                  <a:pt x="349" y="1170"/>
                </a:lnTo>
                <a:lnTo>
                  <a:pt x="349" y="1170"/>
                </a:lnTo>
                <a:lnTo>
                  <a:pt x="347" y="1173"/>
                </a:lnTo>
                <a:lnTo>
                  <a:pt x="347" y="1173"/>
                </a:lnTo>
                <a:lnTo>
                  <a:pt x="347" y="1175"/>
                </a:lnTo>
                <a:lnTo>
                  <a:pt x="347" y="1175"/>
                </a:lnTo>
                <a:lnTo>
                  <a:pt x="344" y="1175"/>
                </a:lnTo>
                <a:lnTo>
                  <a:pt x="344" y="1175"/>
                </a:lnTo>
                <a:lnTo>
                  <a:pt x="344" y="1178"/>
                </a:lnTo>
                <a:lnTo>
                  <a:pt x="344" y="1178"/>
                </a:lnTo>
                <a:lnTo>
                  <a:pt x="347" y="1178"/>
                </a:lnTo>
                <a:lnTo>
                  <a:pt x="347" y="1178"/>
                </a:lnTo>
                <a:lnTo>
                  <a:pt x="347" y="1180"/>
                </a:lnTo>
                <a:lnTo>
                  <a:pt x="347" y="1180"/>
                </a:lnTo>
                <a:lnTo>
                  <a:pt x="349" y="1180"/>
                </a:lnTo>
                <a:lnTo>
                  <a:pt x="349" y="1180"/>
                </a:lnTo>
                <a:lnTo>
                  <a:pt x="349" y="1185"/>
                </a:lnTo>
                <a:lnTo>
                  <a:pt x="349" y="1185"/>
                </a:lnTo>
                <a:lnTo>
                  <a:pt x="351" y="1187"/>
                </a:lnTo>
                <a:lnTo>
                  <a:pt x="351" y="1187"/>
                </a:lnTo>
                <a:lnTo>
                  <a:pt x="351" y="1192"/>
                </a:lnTo>
                <a:lnTo>
                  <a:pt x="351" y="1192"/>
                </a:lnTo>
                <a:lnTo>
                  <a:pt x="356" y="1200"/>
                </a:lnTo>
                <a:lnTo>
                  <a:pt x="356" y="1200"/>
                </a:lnTo>
                <a:lnTo>
                  <a:pt x="366" y="1207"/>
                </a:lnTo>
                <a:lnTo>
                  <a:pt x="366" y="1207"/>
                </a:lnTo>
                <a:lnTo>
                  <a:pt x="366" y="1207"/>
                </a:lnTo>
                <a:lnTo>
                  <a:pt x="366" y="1207"/>
                </a:lnTo>
                <a:lnTo>
                  <a:pt x="361" y="1215"/>
                </a:lnTo>
                <a:lnTo>
                  <a:pt x="361" y="1215"/>
                </a:lnTo>
                <a:lnTo>
                  <a:pt x="356" y="1217"/>
                </a:lnTo>
                <a:lnTo>
                  <a:pt x="356" y="1217"/>
                </a:lnTo>
                <a:lnTo>
                  <a:pt x="356" y="1219"/>
                </a:lnTo>
                <a:lnTo>
                  <a:pt x="356" y="1219"/>
                </a:lnTo>
                <a:lnTo>
                  <a:pt x="349" y="1219"/>
                </a:lnTo>
                <a:lnTo>
                  <a:pt x="349" y="1219"/>
                </a:lnTo>
                <a:lnTo>
                  <a:pt x="347" y="1215"/>
                </a:lnTo>
                <a:lnTo>
                  <a:pt x="347" y="1215"/>
                </a:lnTo>
                <a:lnTo>
                  <a:pt x="339" y="1210"/>
                </a:lnTo>
                <a:lnTo>
                  <a:pt x="339" y="1210"/>
                </a:lnTo>
                <a:lnTo>
                  <a:pt x="334" y="1210"/>
                </a:lnTo>
                <a:lnTo>
                  <a:pt x="334" y="1210"/>
                </a:lnTo>
                <a:lnTo>
                  <a:pt x="334" y="1215"/>
                </a:lnTo>
                <a:lnTo>
                  <a:pt x="334" y="1215"/>
                </a:lnTo>
                <a:lnTo>
                  <a:pt x="337" y="1217"/>
                </a:lnTo>
                <a:lnTo>
                  <a:pt x="337" y="1217"/>
                </a:lnTo>
                <a:lnTo>
                  <a:pt x="339" y="1219"/>
                </a:lnTo>
                <a:lnTo>
                  <a:pt x="339" y="1219"/>
                </a:lnTo>
                <a:lnTo>
                  <a:pt x="339" y="1224"/>
                </a:lnTo>
                <a:lnTo>
                  <a:pt x="339" y="1224"/>
                </a:lnTo>
                <a:lnTo>
                  <a:pt x="334" y="1222"/>
                </a:lnTo>
                <a:lnTo>
                  <a:pt x="334" y="1222"/>
                </a:lnTo>
                <a:lnTo>
                  <a:pt x="327" y="1222"/>
                </a:lnTo>
                <a:lnTo>
                  <a:pt x="327" y="1222"/>
                </a:lnTo>
                <a:lnTo>
                  <a:pt x="319" y="1217"/>
                </a:lnTo>
                <a:lnTo>
                  <a:pt x="319" y="1217"/>
                </a:lnTo>
                <a:lnTo>
                  <a:pt x="312" y="1219"/>
                </a:lnTo>
                <a:lnTo>
                  <a:pt x="312" y="1219"/>
                </a:lnTo>
                <a:lnTo>
                  <a:pt x="312" y="1222"/>
                </a:lnTo>
                <a:lnTo>
                  <a:pt x="312" y="1222"/>
                </a:lnTo>
                <a:lnTo>
                  <a:pt x="315" y="1224"/>
                </a:lnTo>
                <a:lnTo>
                  <a:pt x="315" y="1224"/>
                </a:lnTo>
                <a:lnTo>
                  <a:pt x="312" y="1222"/>
                </a:lnTo>
                <a:lnTo>
                  <a:pt x="312" y="1222"/>
                </a:lnTo>
                <a:lnTo>
                  <a:pt x="302" y="1222"/>
                </a:lnTo>
                <a:lnTo>
                  <a:pt x="302" y="1222"/>
                </a:lnTo>
                <a:lnTo>
                  <a:pt x="302" y="1222"/>
                </a:lnTo>
                <a:lnTo>
                  <a:pt x="295" y="1222"/>
                </a:lnTo>
                <a:lnTo>
                  <a:pt x="295" y="1222"/>
                </a:lnTo>
                <a:lnTo>
                  <a:pt x="290" y="1224"/>
                </a:lnTo>
                <a:lnTo>
                  <a:pt x="290" y="1224"/>
                </a:lnTo>
                <a:lnTo>
                  <a:pt x="290" y="1224"/>
                </a:lnTo>
                <a:lnTo>
                  <a:pt x="287" y="1224"/>
                </a:lnTo>
                <a:lnTo>
                  <a:pt x="287" y="1224"/>
                </a:lnTo>
                <a:lnTo>
                  <a:pt x="280" y="1217"/>
                </a:lnTo>
                <a:lnTo>
                  <a:pt x="280" y="1217"/>
                </a:lnTo>
                <a:lnTo>
                  <a:pt x="278" y="1217"/>
                </a:lnTo>
                <a:lnTo>
                  <a:pt x="278" y="1217"/>
                </a:lnTo>
                <a:lnTo>
                  <a:pt x="275" y="1219"/>
                </a:lnTo>
                <a:lnTo>
                  <a:pt x="275" y="1219"/>
                </a:lnTo>
                <a:lnTo>
                  <a:pt x="273" y="1219"/>
                </a:lnTo>
                <a:lnTo>
                  <a:pt x="273" y="1219"/>
                </a:lnTo>
                <a:lnTo>
                  <a:pt x="270" y="1217"/>
                </a:lnTo>
                <a:lnTo>
                  <a:pt x="270" y="1217"/>
                </a:lnTo>
                <a:lnTo>
                  <a:pt x="268" y="1219"/>
                </a:lnTo>
                <a:lnTo>
                  <a:pt x="268" y="1219"/>
                </a:lnTo>
                <a:lnTo>
                  <a:pt x="265" y="1219"/>
                </a:lnTo>
                <a:lnTo>
                  <a:pt x="265" y="1219"/>
                </a:lnTo>
                <a:lnTo>
                  <a:pt x="265" y="1217"/>
                </a:lnTo>
                <a:lnTo>
                  <a:pt x="265" y="1217"/>
                </a:lnTo>
                <a:lnTo>
                  <a:pt x="263" y="1217"/>
                </a:lnTo>
                <a:lnTo>
                  <a:pt x="263" y="1217"/>
                </a:lnTo>
                <a:lnTo>
                  <a:pt x="263" y="1217"/>
                </a:lnTo>
                <a:lnTo>
                  <a:pt x="263" y="1215"/>
                </a:lnTo>
                <a:lnTo>
                  <a:pt x="263" y="1215"/>
                </a:lnTo>
                <a:lnTo>
                  <a:pt x="263" y="1212"/>
                </a:lnTo>
                <a:lnTo>
                  <a:pt x="263" y="1212"/>
                </a:lnTo>
                <a:lnTo>
                  <a:pt x="265" y="1212"/>
                </a:lnTo>
                <a:lnTo>
                  <a:pt x="265" y="1212"/>
                </a:lnTo>
                <a:lnTo>
                  <a:pt x="260" y="1207"/>
                </a:lnTo>
                <a:lnTo>
                  <a:pt x="260" y="1207"/>
                </a:lnTo>
                <a:lnTo>
                  <a:pt x="260" y="1200"/>
                </a:lnTo>
                <a:lnTo>
                  <a:pt x="260" y="1200"/>
                </a:lnTo>
                <a:lnTo>
                  <a:pt x="258" y="1197"/>
                </a:lnTo>
                <a:lnTo>
                  <a:pt x="258" y="1197"/>
                </a:lnTo>
                <a:lnTo>
                  <a:pt x="255" y="1192"/>
                </a:lnTo>
                <a:lnTo>
                  <a:pt x="255" y="1192"/>
                </a:lnTo>
                <a:lnTo>
                  <a:pt x="253" y="1192"/>
                </a:lnTo>
                <a:lnTo>
                  <a:pt x="253" y="1192"/>
                </a:lnTo>
                <a:lnTo>
                  <a:pt x="251" y="1190"/>
                </a:lnTo>
                <a:lnTo>
                  <a:pt x="251" y="1190"/>
                </a:lnTo>
                <a:lnTo>
                  <a:pt x="248" y="1187"/>
                </a:lnTo>
                <a:lnTo>
                  <a:pt x="248" y="1187"/>
                </a:lnTo>
                <a:lnTo>
                  <a:pt x="246" y="1187"/>
                </a:lnTo>
                <a:lnTo>
                  <a:pt x="246" y="1187"/>
                </a:lnTo>
                <a:lnTo>
                  <a:pt x="246" y="1187"/>
                </a:lnTo>
                <a:lnTo>
                  <a:pt x="241" y="1185"/>
                </a:lnTo>
                <a:lnTo>
                  <a:pt x="241" y="1185"/>
                </a:lnTo>
                <a:lnTo>
                  <a:pt x="238" y="1183"/>
                </a:lnTo>
                <a:lnTo>
                  <a:pt x="238" y="1183"/>
                </a:lnTo>
                <a:lnTo>
                  <a:pt x="238" y="1183"/>
                </a:lnTo>
                <a:lnTo>
                  <a:pt x="233" y="1183"/>
                </a:lnTo>
                <a:lnTo>
                  <a:pt x="233" y="1183"/>
                </a:lnTo>
                <a:lnTo>
                  <a:pt x="233" y="1180"/>
                </a:lnTo>
                <a:lnTo>
                  <a:pt x="233" y="1180"/>
                </a:lnTo>
                <a:lnTo>
                  <a:pt x="231" y="1180"/>
                </a:lnTo>
                <a:lnTo>
                  <a:pt x="231" y="1180"/>
                </a:lnTo>
                <a:lnTo>
                  <a:pt x="228" y="1178"/>
                </a:lnTo>
                <a:lnTo>
                  <a:pt x="228" y="1178"/>
                </a:lnTo>
                <a:lnTo>
                  <a:pt x="228" y="1175"/>
                </a:lnTo>
                <a:lnTo>
                  <a:pt x="228" y="1175"/>
                </a:lnTo>
                <a:lnTo>
                  <a:pt x="226" y="1175"/>
                </a:lnTo>
                <a:lnTo>
                  <a:pt x="226" y="1175"/>
                </a:lnTo>
                <a:lnTo>
                  <a:pt x="223" y="1170"/>
                </a:lnTo>
                <a:lnTo>
                  <a:pt x="223" y="1170"/>
                </a:lnTo>
                <a:lnTo>
                  <a:pt x="214" y="1163"/>
                </a:lnTo>
                <a:lnTo>
                  <a:pt x="214" y="1163"/>
                </a:lnTo>
                <a:lnTo>
                  <a:pt x="209" y="1163"/>
                </a:lnTo>
                <a:lnTo>
                  <a:pt x="209" y="1163"/>
                </a:lnTo>
                <a:lnTo>
                  <a:pt x="204" y="1158"/>
                </a:lnTo>
                <a:lnTo>
                  <a:pt x="204" y="1158"/>
                </a:lnTo>
                <a:lnTo>
                  <a:pt x="196" y="1158"/>
                </a:lnTo>
                <a:lnTo>
                  <a:pt x="196" y="1158"/>
                </a:lnTo>
                <a:lnTo>
                  <a:pt x="194" y="1156"/>
                </a:lnTo>
                <a:lnTo>
                  <a:pt x="194" y="1156"/>
                </a:lnTo>
                <a:lnTo>
                  <a:pt x="194" y="1153"/>
                </a:lnTo>
                <a:lnTo>
                  <a:pt x="194" y="1153"/>
                </a:lnTo>
                <a:lnTo>
                  <a:pt x="189" y="1151"/>
                </a:lnTo>
                <a:lnTo>
                  <a:pt x="189" y="1151"/>
                </a:lnTo>
                <a:lnTo>
                  <a:pt x="187" y="1151"/>
                </a:lnTo>
                <a:lnTo>
                  <a:pt x="187" y="1151"/>
                </a:lnTo>
                <a:lnTo>
                  <a:pt x="184" y="1151"/>
                </a:lnTo>
                <a:lnTo>
                  <a:pt x="184" y="1151"/>
                </a:lnTo>
                <a:lnTo>
                  <a:pt x="187" y="1148"/>
                </a:lnTo>
                <a:lnTo>
                  <a:pt x="187" y="1148"/>
                </a:lnTo>
                <a:lnTo>
                  <a:pt x="189" y="1146"/>
                </a:lnTo>
                <a:lnTo>
                  <a:pt x="189" y="1146"/>
                </a:lnTo>
                <a:lnTo>
                  <a:pt x="187" y="1143"/>
                </a:lnTo>
                <a:lnTo>
                  <a:pt x="187" y="1143"/>
                </a:lnTo>
                <a:lnTo>
                  <a:pt x="187" y="1143"/>
                </a:lnTo>
                <a:lnTo>
                  <a:pt x="192" y="1143"/>
                </a:lnTo>
                <a:lnTo>
                  <a:pt x="192" y="1143"/>
                </a:lnTo>
                <a:lnTo>
                  <a:pt x="194" y="1146"/>
                </a:lnTo>
                <a:lnTo>
                  <a:pt x="194" y="1146"/>
                </a:lnTo>
                <a:lnTo>
                  <a:pt x="194" y="1146"/>
                </a:lnTo>
                <a:lnTo>
                  <a:pt x="196" y="1146"/>
                </a:lnTo>
                <a:lnTo>
                  <a:pt x="196" y="1146"/>
                </a:lnTo>
                <a:lnTo>
                  <a:pt x="196" y="1141"/>
                </a:lnTo>
                <a:lnTo>
                  <a:pt x="196" y="1141"/>
                </a:lnTo>
                <a:lnTo>
                  <a:pt x="196" y="1141"/>
                </a:lnTo>
                <a:lnTo>
                  <a:pt x="196" y="1136"/>
                </a:lnTo>
                <a:lnTo>
                  <a:pt x="196" y="1136"/>
                </a:lnTo>
                <a:lnTo>
                  <a:pt x="199" y="1133"/>
                </a:lnTo>
                <a:lnTo>
                  <a:pt x="199" y="1133"/>
                </a:lnTo>
                <a:lnTo>
                  <a:pt x="199" y="1133"/>
                </a:lnTo>
                <a:lnTo>
                  <a:pt x="201" y="1131"/>
                </a:lnTo>
                <a:lnTo>
                  <a:pt x="201" y="1131"/>
                </a:lnTo>
                <a:lnTo>
                  <a:pt x="204" y="1131"/>
                </a:lnTo>
                <a:lnTo>
                  <a:pt x="204" y="1131"/>
                </a:lnTo>
                <a:lnTo>
                  <a:pt x="204" y="1131"/>
                </a:lnTo>
                <a:lnTo>
                  <a:pt x="206" y="1128"/>
                </a:lnTo>
                <a:lnTo>
                  <a:pt x="206" y="1128"/>
                </a:lnTo>
                <a:lnTo>
                  <a:pt x="206" y="1128"/>
                </a:lnTo>
                <a:lnTo>
                  <a:pt x="204" y="1126"/>
                </a:lnTo>
                <a:lnTo>
                  <a:pt x="204" y="1126"/>
                </a:lnTo>
                <a:lnTo>
                  <a:pt x="201" y="1126"/>
                </a:lnTo>
                <a:lnTo>
                  <a:pt x="201" y="1126"/>
                </a:lnTo>
                <a:lnTo>
                  <a:pt x="201" y="1126"/>
                </a:lnTo>
                <a:lnTo>
                  <a:pt x="199" y="1124"/>
                </a:lnTo>
                <a:lnTo>
                  <a:pt x="199" y="1124"/>
                </a:lnTo>
                <a:lnTo>
                  <a:pt x="196" y="1121"/>
                </a:lnTo>
                <a:lnTo>
                  <a:pt x="196" y="1121"/>
                </a:lnTo>
                <a:lnTo>
                  <a:pt x="201" y="1119"/>
                </a:lnTo>
                <a:lnTo>
                  <a:pt x="201" y="1119"/>
                </a:lnTo>
                <a:lnTo>
                  <a:pt x="206" y="1121"/>
                </a:lnTo>
                <a:lnTo>
                  <a:pt x="206" y="1121"/>
                </a:lnTo>
                <a:lnTo>
                  <a:pt x="206" y="1119"/>
                </a:lnTo>
                <a:lnTo>
                  <a:pt x="206" y="1119"/>
                </a:lnTo>
                <a:lnTo>
                  <a:pt x="206" y="1119"/>
                </a:lnTo>
                <a:lnTo>
                  <a:pt x="204" y="1116"/>
                </a:lnTo>
                <a:lnTo>
                  <a:pt x="204" y="1116"/>
                </a:lnTo>
                <a:lnTo>
                  <a:pt x="206" y="1114"/>
                </a:lnTo>
                <a:lnTo>
                  <a:pt x="206" y="1114"/>
                </a:lnTo>
                <a:lnTo>
                  <a:pt x="216" y="1109"/>
                </a:lnTo>
                <a:lnTo>
                  <a:pt x="216" y="1109"/>
                </a:lnTo>
                <a:lnTo>
                  <a:pt x="216" y="1106"/>
                </a:lnTo>
                <a:lnTo>
                  <a:pt x="216" y="1106"/>
                </a:lnTo>
                <a:lnTo>
                  <a:pt x="216" y="1106"/>
                </a:lnTo>
                <a:lnTo>
                  <a:pt x="211" y="1106"/>
                </a:lnTo>
                <a:lnTo>
                  <a:pt x="211" y="1106"/>
                </a:lnTo>
                <a:lnTo>
                  <a:pt x="206" y="1109"/>
                </a:lnTo>
                <a:lnTo>
                  <a:pt x="206" y="1109"/>
                </a:lnTo>
                <a:lnTo>
                  <a:pt x="204" y="1109"/>
                </a:lnTo>
                <a:lnTo>
                  <a:pt x="204" y="1109"/>
                </a:lnTo>
                <a:lnTo>
                  <a:pt x="204" y="1109"/>
                </a:lnTo>
                <a:lnTo>
                  <a:pt x="204" y="1109"/>
                </a:lnTo>
                <a:lnTo>
                  <a:pt x="204" y="1101"/>
                </a:lnTo>
                <a:lnTo>
                  <a:pt x="204" y="1101"/>
                </a:lnTo>
                <a:lnTo>
                  <a:pt x="206" y="1101"/>
                </a:lnTo>
                <a:lnTo>
                  <a:pt x="206" y="1101"/>
                </a:lnTo>
                <a:lnTo>
                  <a:pt x="209" y="1094"/>
                </a:lnTo>
                <a:lnTo>
                  <a:pt x="209" y="1094"/>
                </a:lnTo>
                <a:lnTo>
                  <a:pt x="216" y="1094"/>
                </a:lnTo>
                <a:lnTo>
                  <a:pt x="216" y="1094"/>
                </a:lnTo>
                <a:lnTo>
                  <a:pt x="221" y="1092"/>
                </a:lnTo>
                <a:lnTo>
                  <a:pt x="221" y="1092"/>
                </a:lnTo>
                <a:lnTo>
                  <a:pt x="219" y="1089"/>
                </a:lnTo>
                <a:lnTo>
                  <a:pt x="219" y="1089"/>
                </a:lnTo>
                <a:lnTo>
                  <a:pt x="221" y="1082"/>
                </a:lnTo>
                <a:lnTo>
                  <a:pt x="221" y="1082"/>
                </a:lnTo>
                <a:lnTo>
                  <a:pt x="221" y="1079"/>
                </a:lnTo>
                <a:lnTo>
                  <a:pt x="221" y="1079"/>
                </a:lnTo>
                <a:lnTo>
                  <a:pt x="216" y="1074"/>
                </a:lnTo>
                <a:lnTo>
                  <a:pt x="216" y="1074"/>
                </a:lnTo>
                <a:lnTo>
                  <a:pt x="216" y="1069"/>
                </a:lnTo>
                <a:lnTo>
                  <a:pt x="216" y="1069"/>
                </a:lnTo>
                <a:lnTo>
                  <a:pt x="221" y="1067"/>
                </a:lnTo>
                <a:lnTo>
                  <a:pt x="221" y="1067"/>
                </a:lnTo>
                <a:lnTo>
                  <a:pt x="223" y="1065"/>
                </a:lnTo>
                <a:lnTo>
                  <a:pt x="223" y="1065"/>
                </a:lnTo>
                <a:lnTo>
                  <a:pt x="223" y="1060"/>
                </a:lnTo>
                <a:lnTo>
                  <a:pt x="223" y="1060"/>
                </a:lnTo>
                <a:lnTo>
                  <a:pt x="221" y="1060"/>
                </a:lnTo>
                <a:lnTo>
                  <a:pt x="221" y="1060"/>
                </a:lnTo>
                <a:lnTo>
                  <a:pt x="219" y="1055"/>
                </a:lnTo>
                <a:lnTo>
                  <a:pt x="219" y="1055"/>
                </a:lnTo>
                <a:lnTo>
                  <a:pt x="216" y="1057"/>
                </a:lnTo>
                <a:lnTo>
                  <a:pt x="216" y="1057"/>
                </a:lnTo>
                <a:lnTo>
                  <a:pt x="214" y="1057"/>
                </a:lnTo>
                <a:lnTo>
                  <a:pt x="214" y="1057"/>
                </a:lnTo>
                <a:lnTo>
                  <a:pt x="209" y="1055"/>
                </a:lnTo>
                <a:lnTo>
                  <a:pt x="209" y="1055"/>
                </a:lnTo>
                <a:lnTo>
                  <a:pt x="206" y="1055"/>
                </a:lnTo>
                <a:lnTo>
                  <a:pt x="206" y="1055"/>
                </a:lnTo>
                <a:lnTo>
                  <a:pt x="201" y="1052"/>
                </a:lnTo>
                <a:lnTo>
                  <a:pt x="201" y="1052"/>
                </a:lnTo>
                <a:lnTo>
                  <a:pt x="199" y="1052"/>
                </a:lnTo>
                <a:lnTo>
                  <a:pt x="199" y="1052"/>
                </a:lnTo>
                <a:lnTo>
                  <a:pt x="192" y="1052"/>
                </a:lnTo>
                <a:lnTo>
                  <a:pt x="192" y="1052"/>
                </a:lnTo>
                <a:lnTo>
                  <a:pt x="192" y="1055"/>
                </a:lnTo>
                <a:lnTo>
                  <a:pt x="192" y="1055"/>
                </a:lnTo>
                <a:lnTo>
                  <a:pt x="189" y="1052"/>
                </a:lnTo>
                <a:lnTo>
                  <a:pt x="189" y="1052"/>
                </a:lnTo>
                <a:lnTo>
                  <a:pt x="184" y="1047"/>
                </a:lnTo>
                <a:lnTo>
                  <a:pt x="184" y="1047"/>
                </a:lnTo>
                <a:lnTo>
                  <a:pt x="182" y="1040"/>
                </a:lnTo>
                <a:lnTo>
                  <a:pt x="182" y="1040"/>
                </a:lnTo>
                <a:lnTo>
                  <a:pt x="179" y="1040"/>
                </a:lnTo>
                <a:lnTo>
                  <a:pt x="179" y="1040"/>
                </a:lnTo>
                <a:lnTo>
                  <a:pt x="174" y="1045"/>
                </a:lnTo>
                <a:lnTo>
                  <a:pt x="174" y="1045"/>
                </a:lnTo>
                <a:lnTo>
                  <a:pt x="169" y="1045"/>
                </a:lnTo>
                <a:lnTo>
                  <a:pt x="169" y="1045"/>
                </a:lnTo>
                <a:lnTo>
                  <a:pt x="167" y="1045"/>
                </a:lnTo>
                <a:lnTo>
                  <a:pt x="167" y="1045"/>
                </a:lnTo>
                <a:lnTo>
                  <a:pt x="162" y="1042"/>
                </a:lnTo>
                <a:lnTo>
                  <a:pt x="162" y="1042"/>
                </a:lnTo>
                <a:lnTo>
                  <a:pt x="160" y="1045"/>
                </a:lnTo>
                <a:lnTo>
                  <a:pt x="160" y="1045"/>
                </a:lnTo>
                <a:lnTo>
                  <a:pt x="152" y="1040"/>
                </a:lnTo>
                <a:lnTo>
                  <a:pt x="152" y="1040"/>
                </a:lnTo>
                <a:lnTo>
                  <a:pt x="150" y="1035"/>
                </a:lnTo>
                <a:lnTo>
                  <a:pt x="150" y="1035"/>
                </a:lnTo>
                <a:lnTo>
                  <a:pt x="150" y="1030"/>
                </a:lnTo>
                <a:lnTo>
                  <a:pt x="150" y="1030"/>
                </a:lnTo>
                <a:lnTo>
                  <a:pt x="147" y="1030"/>
                </a:lnTo>
                <a:lnTo>
                  <a:pt x="147" y="1030"/>
                </a:lnTo>
                <a:lnTo>
                  <a:pt x="147" y="1025"/>
                </a:lnTo>
                <a:lnTo>
                  <a:pt x="147" y="1025"/>
                </a:lnTo>
                <a:lnTo>
                  <a:pt x="145" y="1023"/>
                </a:lnTo>
                <a:lnTo>
                  <a:pt x="145" y="1023"/>
                </a:lnTo>
                <a:lnTo>
                  <a:pt x="135" y="1025"/>
                </a:lnTo>
                <a:lnTo>
                  <a:pt x="135" y="1025"/>
                </a:lnTo>
                <a:lnTo>
                  <a:pt x="130" y="1020"/>
                </a:lnTo>
                <a:lnTo>
                  <a:pt x="130" y="1020"/>
                </a:lnTo>
                <a:lnTo>
                  <a:pt x="132" y="1015"/>
                </a:lnTo>
                <a:lnTo>
                  <a:pt x="132" y="1015"/>
                </a:lnTo>
                <a:lnTo>
                  <a:pt x="130" y="1013"/>
                </a:lnTo>
                <a:lnTo>
                  <a:pt x="130" y="1013"/>
                </a:lnTo>
                <a:lnTo>
                  <a:pt x="128" y="1005"/>
                </a:lnTo>
                <a:lnTo>
                  <a:pt x="128" y="1005"/>
                </a:lnTo>
                <a:lnTo>
                  <a:pt x="123" y="1005"/>
                </a:lnTo>
                <a:lnTo>
                  <a:pt x="123" y="1005"/>
                </a:lnTo>
                <a:lnTo>
                  <a:pt x="120" y="1008"/>
                </a:lnTo>
                <a:lnTo>
                  <a:pt x="120" y="1008"/>
                </a:lnTo>
                <a:lnTo>
                  <a:pt x="113" y="1008"/>
                </a:lnTo>
                <a:lnTo>
                  <a:pt x="113" y="1008"/>
                </a:lnTo>
                <a:lnTo>
                  <a:pt x="105" y="1005"/>
                </a:lnTo>
                <a:lnTo>
                  <a:pt x="105" y="1005"/>
                </a:lnTo>
                <a:lnTo>
                  <a:pt x="103" y="1008"/>
                </a:lnTo>
                <a:lnTo>
                  <a:pt x="103" y="1008"/>
                </a:lnTo>
                <a:lnTo>
                  <a:pt x="103" y="1010"/>
                </a:lnTo>
                <a:lnTo>
                  <a:pt x="103" y="1010"/>
                </a:lnTo>
                <a:lnTo>
                  <a:pt x="98" y="1010"/>
                </a:lnTo>
                <a:lnTo>
                  <a:pt x="98" y="1010"/>
                </a:lnTo>
                <a:lnTo>
                  <a:pt x="96" y="1010"/>
                </a:lnTo>
                <a:lnTo>
                  <a:pt x="96" y="1010"/>
                </a:lnTo>
                <a:lnTo>
                  <a:pt x="96" y="1008"/>
                </a:lnTo>
                <a:lnTo>
                  <a:pt x="96" y="1008"/>
                </a:lnTo>
                <a:lnTo>
                  <a:pt x="93" y="1003"/>
                </a:lnTo>
                <a:lnTo>
                  <a:pt x="93" y="1003"/>
                </a:lnTo>
                <a:lnTo>
                  <a:pt x="93" y="998"/>
                </a:lnTo>
                <a:lnTo>
                  <a:pt x="93" y="998"/>
                </a:lnTo>
                <a:lnTo>
                  <a:pt x="91" y="993"/>
                </a:lnTo>
                <a:lnTo>
                  <a:pt x="91" y="993"/>
                </a:lnTo>
                <a:lnTo>
                  <a:pt x="91" y="991"/>
                </a:lnTo>
                <a:lnTo>
                  <a:pt x="91" y="991"/>
                </a:lnTo>
                <a:lnTo>
                  <a:pt x="91" y="988"/>
                </a:lnTo>
                <a:lnTo>
                  <a:pt x="91" y="988"/>
                </a:lnTo>
                <a:lnTo>
                  <a:pt x="96" y="991"/>
                </a:lnTo>
                <a:lnTo>
                  <a:pt x="96" y="991"/>
                </a:lnTo>
                <a:lnTo>
                  <a:pt x="103" y="991"/>
                </a:lnTo>
                <a:lnTo>
                  <a:pt x="103" y="991"/>
                </a:lnTo>
                <a:lnTo>
                  <a:pt x="105" y="983"/>
                </a:lnTo>
                <a:lnTo>
                  <a:pt x="105" y="983"/>
                </a:lnTo>
                <a:lnTo>
                  <a:pt x="108" y="983"/>
                </a:lnTo>
                <a:lnTo>
                  <a:pt x="108" y="983"/>
                </a:lnTo>
                <a:lnTo>
                  <a:pt x="103" y="981"/>
                </a:lnTo>
                <a:lnTo>
                  <a:pt x="103" y="981"/>
                </a:lnTo>
                <a:lnTo>
                  <a:pt x="103" y="978"/>
                </a:lnTo>
                <a:lnTo>
                  <a:pt x="103" y="978"/>
                </a:lnTo>
                <a:lnTo>
                  <a:pt x="98" y="974"/>
                </a:lnTo>
                <a:lnTo>
                  <a:pt x="98" y="974"/>
                </a:lnTo>
                <a:lnTo>
                  <a:pt x="93" y="971"/>
                </a:lnTo>
                <a:lnTo>
                  <a:pt x="93" y="971"/>
                </a:lnTo>
                <a:lnTo>
                  <a:pt x="91" y="966"/>
                </a:lnTo>
                <a:lnTo>
                  <a:pt x="91" y="966"/>
                </a:lnTo>
                <a:lnTo>
                  <a:pt x="88" y="964"/>
                </a:lnTo>
                <a:lnTo>
                  <a:pt x="88" y="964"/>
                </a:lnTo>
                <a:lnTo>
                  <a:pt x="83" y="959"/>
                </a:lnTo>
                <a:lnTo>
                  <a:pt x="83" y="959"/>
                </a:lnTo>
                <a:lnTo>
                  <a:pt x="81" y="954"/>
                </a:lnTo>
                <a:lnTo>
                  <a:pt x="81" y="954"/>
                </a:lnTo>
                <a:lnTo>
                  <a:pt x="78" y="949"/>
                </a:lnTo>
                <a:lnTo>
                  <a:pt x="78" y="949"/>
                </a:lnTo>
                <a:lnTo>
                  <a:pt x="78" y="946"/>
                </a:lnTo>
                <a:lnTo>
                  <a:pt x="78" y="946"/>
                </a:lnTo>
                <a:lnTo>
                  <a:pt x="76" y="942"/>
                </a:lnTo>
                <a:lnTo>
                  <a:pt x="76" y="942"/>
                </a:lnTo>
                <a:lnTo>
                  <a:pt x="76" y="939"/>
                </a:lnTo>
                <a:lnTo>
                  <a:pt x="76" y="939"/>
                </a:lnTo>
                <a:lnTo>
                  <a:pt x="76" y="934"/>
                </a:lnTo>
                <a:lnTo>
                  <a:pt x="76" y="934"/>
                </a:lnTo>
                <a:lnTo>
                  <a:pt x="69" y="932"/>
                </a:lnTo>
                <a:lnTo>
                  <a:pt x="69" y="932"/>
                </a:lnTo>
                <a:lnTo>
                  <a:pt x="66" y="932"/>
                </a:lnTo>
                <a:lnTo>
                  <a:pt x="66" y="932"/>
                </a:lnTo>
                <a:lnTo>
                  <a:pt x="66" y="929"/>
                </a:lnTo>
                <a:lnTo>
                  <a:pt x="66" y="929"/>
                </a:lnTo>
                <a:lnTo>
                  <a:pt x="61" y="932"/>
                </a:lnTo>
                <a:lnTo>
                  <a:pt x="61" y="932"/>
                </a:lnTo>
                <a:lnTo>
                  <a:pt x="56" y="934"/>
                </a:lnTo>
                <a:lnTo>
                  <a:pt x="56" y="934"/>
                </a:lnTo>
                <a:lnTo>
                  <a:pt x="54" y="929"/>
                </a:lnTo>
                <a:lnTo>
                  <a:pt x="54" y="929"/>
                </a:lnTo>
                <a:lnTo>
                  <a:pt x="51" y="929"/>
                </a:lnTo>
                <a:lnTo>
                  <a:pt x="51" y="929"/>
                </a:lnTo>
                <a:lnTo>
                  <a:pt x="46" y="932"/>
                </a:lnTo>
                <a:lnTo>
                  <a:pt x="46" y="932"/>
                </a:lnTo>
                <a:lnTo>
                  <a:pt x="44" y="927"/>
                </a:lnTo>
                <a:lnTo>
                  <a:pt x="44" y="927"/>
                </a:lnTo>
                <a:lnTo>
                  <a:pt x="39" y="927"/>
                </a:lnTo>
                <a:lnTo>
                  <a:pt x="39" y="927"/>
                </a:lnTo>
                <a:lnTo>
                  <a:pt x="37" y="927"/>
                </a:lnTo>
                <a:lnTo>
                  <a:pt x="37" y="927"/>
                </a:lnTo>
                <a:lnTo>
                  <a:pt x="37" y="927"/>
                </a:lnTo>
                <a:lnTo>
                  <a:pt x="37" y="922"/>
                </a:lnTo>
                <a:lnTo>
                  <a:pt x="37" y="922"/>
                </a:lnTo>
                <a:lnTo>
                  <a:pt x="34" y="919"/>
                </a:lnTo>
                <a:lnTo>
                  <a:pt x="34" y="919"/>
                </a:lnTo>
                <a:lnTo>
                  <a:pt x="32" y="914"/>
                </a:lnTo>
                <a:lnTo>
                  <a:pt x="32" y="914"/>
                </a:lnTo>
                <a:lnTo>
                  <a:pt x="32" y="912"/>
                </a:lnTo>
                <a:lnTo>
                  <a:pt x="32" y="912"/>
                </a:lnTo>
                <a:lnTo>
                  <a:pt x="29" y="910"/>
                </a:lnTo>
                <a:lnTo>
                  <a:pt x="29" y="910"/>
                </a:lnTo>
                <a:lnTo>
                  <a:pt x="29" y="907"/>
                </a:lnTo>
                <a:lnTo>
                  <a:pt x="29" y="907"/>
                </a:lnTo>
                <a:lnTo>
                  <a:pt x="29" y="905"/>
                </a:lnTo>
                <a:lnTo>
                  <a:pt x="29" y="905"/>
                </a:lnTo>
                <a:lnTo>
                  <a:pt x="27" y="905"/>
                </a:lnTo>
                <a:lnTo>
                  <a:pt x="27" y="905"/>
                </a:lnTo>
                <a:lnTo>
                  <a:pt x="27" y="902"/>
                </a:lnTo>
                <a:lnTo>
                  <a:pt x="27" y="902"/>
                </a:lnTo>
                <a:lnTo>
                  <a:pt x="27" y="900"/>
                </a:lnTo>
                <a:lnTo>
                  <a:pt x="27" y="900"/>
                </a:lnTo>
                <a:lnTo>
                  <a:pt x="24" y="900"/>
                </a:lnTo>
                <a:lnTo>
                  <a:pt x="24" y="900"/>
                </a:lnTo>
                <a:lnTo>
                  <a:pt x="27" y="895"/>
                </a:lnTo>
                <a:lnTo>
                  <a:pt x="27" y="895"/>
                </a:lnTo>
                <a:lnTo>
                  <a:pt x="27" y="892"/>
                </a:lnTo>
                <a:lnTo>
                  <a:pt x="27" y="892"/>
                </a:lnTo>
                <a:lnTo>
                  <a:pt x="29" y="890"/>
                </a:lnTo>
                <a:lnTo>
                  <a:pt x="29" y="890"/>
                </a:lnTo>
                <a:lnTo>
                  <a:pt x="29" y="887"/>
                </a:lnTo>
                <a:lnTo>
                  <a:pt x="29" y="887"/>
                </a:lnTo>
                <a:lnTo>
                  <a:pt x="22" y="875"/>
                </a:lnTo>
                <a:lnTo>
                  <a:pt x="22" y="875"/>
                </a:lnTo>
                <a:lnTo>
                  <a:pt x="22" y="863"/>
                </a:lnTo>
                <a:lnTo>
                  <a:pt x="22" y="863"/>
                </a:lnTo>
                <a:lnTo>
                  <a:pt x="24" y="863"/>
                </a:lnTo>
                <a:lnTo>
                  <a:pt x="24" y="863"/>
                </a:lnTo>
                <a:lnTo>
                  <a:pt x="24" y="858"/>
                </a:lnTo>
                <a:lnTo>
                  <a:pt x="24" y="858"/>
                </a:lnTo>
                <a:lnTo>
                  <a:pt x="27" y="853"/>
                </a:lnTo>
                <a:lnTo>
                  <a:pt x="27" y="853"/>
                </a:lnTo>
                <a:lnTo>
                  <a:pt x="29" y="853"/>
                </a:lnTo>
                <a:lnTo>
                  <a:pt x="29" y="853"/>
                </a:lnTo>
                <a:lnTo>
                  <a:pt x="29" y="853"/>
                </a:lnTo>
                <a:lnTo>
                  <a:pt x="27" y="851"/>
                </a:lnTo>
                <a:lnTo>
                  <a:pt x="27" y="851"/>
                </a:lnTo>
                <a:lnTo>
                  <a:pt x="27" y="851"/>
                </a:lnTo>
                <a:lnTo>
                  <a:pt x="27" y="846"/>
                </a:lnTo>
                <a:lnTo>
                  <a:pt x="27" y="846"/>
                </a:lnTo>
                <a:lnTo>
                  <a:pt x="27" y="843"/>
                </a:lnTo>
                <a:lnTo>
                  <a:pt x="27" y="843"/>
                </a:lnTo>
                <a:lnTo>
                  <a:pt x="27" y="843"/>
                </a:lnTo>
                <a:lnTo>
                  <a:pt x="27" y="843"/>
                </a:lnTo>
                <a:lnTo>
                  <a:pt x="29" y="846"/>
                </a:lnTo>
                <a:lnTo>
                  <a:pt x="29" y="846"/>
                </a:lnTo>
                <a:lnTo>
                  <a:pt x="32" y="843"/>
                </a:lnTo>
                <a:lnTo>
                  <a:pt x="32" y="843"/>
                </a:lnTo>
                <a:lnTo>
                  <a:pt x="32" y="841"/>
                </a:lnTo>
                <a:lnTo>
                  <a:pt x="32" y="841"/>
                </a:lnTo>
                <a:lnTo>
                  <a:pt x="34" y="838"/>
                </a:lnTo>
                <a:lnTo>
                  <a:pt x="34" y="838"/>
                </a:lnTo>
                <a:lnTo>
                  <a:pt x="37" y="841"/>
                </a:lnTo>
                <a:lnTo>
                  <a:pt x="37" y="841"/>
                </a:lnTo>
                <a:lnTo>
                  <a:pt x="39" y="838"/>
                </a:lnTo>
                <a:lnTo>
                  <a:pt x="39" y="838"/>
                </a:lnTo>
                <a:lnTo>
                  <a:pt x="41" y="836"/>
                </a:lnTo>
                <a:lnTo>
                  <a:pt x="41" y="836"/>
                </a:lnTo>
                <a:lnTo>
                  <a:pt x="41" y="836"/>
                </a:lnTo>
                <a:lnTo>
                  <a:pt x="46" y="836"/>
                </a:lnTo>
                <a:lnTo>
                  <a:pt x="46" y="836"/>
                </a:lnTo>
                <a:lnTo>
                  <a:pt x="49" y="833"/>
                </a:lnTo>
                <a:lnTo>
                  <a:pt x="49" y="833"/>
                </a:lnTo>
                <a:lnTo>
                  <a:pt x="46" y="831"/>
                </a:lnTo>
                <a:lnTo>
                  <a:pt x="46" y="831"/>
                </a:lnTo>
                <a:lnTo>
                  <a:pt x="44" y="831"/>
                </a:lnTo>
                <a:lnTo>
                  <a:pt x="44" y="831"/>
                </a:lnTo>
                <a:lnTo>
                  <a:pt x="41" y="831"/>
                </a:lnTo>
                <a:lnTo>
                  <a:pt x="41" y="831"/>
                </a:lnTo>
                <a:lnTo>
                  <a:pt x="39" y="831"/>
                </a:lnTo>
                <a:lnTo>
                  <a:pt x="39" y="831"/>
                </a:lnTo>
                <a:lnTo>
                  <a:pt x="37" y="828"/>
                </a:lnTo>
                <a:lnTo>
                  <a:pt x="37" y="828"/>
                </a:lnTo>
                <a:lnTo>
                  <a:pt x="34" y="828"/>
                </a:lnTo>
                <a:lnTo>
                  <a:pt x="34" y="828"/>
                </a:lnTo>
                <a:lnTo>
                  <a:pt x="29" y="823"/>
                </a:lnTo>
                <a:lnTo>
                  <a:pt x="29" y="823"/>
                </a:lnTo>
                <a:lnTo>
                  <a:pt x="29" y="821"/>
                </a:lnTo>
                <a:lnTo>
                  <a:pt x="29" y="821"/>
                </a:lnTo>
                <a:lnTo>
                  <a:pt x="34" y="823"/>
                </a:lnTo>
                <a:lnTo>
                  <a:pt x="34" y="823"/>
                </a:lnTo>
                <a:lnTo>
                  <a:pt x="34" y="821"/>
                </a:lnTo>
                <a:lnTo>
                  <a:pt x="34" y="821"/>
                </a:lnTo>
                <a:lnTo>
                  <a:pt x="32" y="821"/>
                </a:lnTo>
                <a:lnTo>
                  <a:pt x="32" y="821"/>
                </a:lnTo>
                <a:lnTo>
                  <a:pt x="34" y="819"/>
                </a:lnTo>
                <a:lnTo>
                  <a:pt x="34" y="819"/>
                </a:lnTo>
                <a:lnTo>
                  <a:pt x="32" y="819"/>
                </a:lnTo>
                <a:lnTo>
                  <a:pt x="27" y="821"/>
                </a:lnTo>
                <a:lnTo>
                  <a:pt x="27" y="821"/>
                </a:lnTo>
                <a:lnTo>
                  <a:pt x="27" y="821"/>
                </a:lnTo>
                <a:lnTo>
                  <a:pt x="27" y="821"/>
                </a:lnTo>
                <a:lnTo>
                  <a:pt x="27" y="819"/>
                </a:lnTo>
                <a:lnTo>
                  <a:pt x="27" y="819"/>
                </a:lnTo>
                <a:lnTo>
                  <a:pt x="34" y="811"/>
                </a:lnTo>
                <a:lnTo>
                  <a:pt x="34" y="811"/>
                </a:lnTo>
                <a:lnTo>
                  <a:pt x="37" y="809"/>
                </a:lnTo>
                <a:lnTo>
                  <a:pt x="37" y="809"/>
                </a:lnTo>
                <a:lnTo>
                  <a:pt x="41" y="801"/>
                </a:lnTo>
                <a:lnTo>
                  <a:pt x="41" y="801"/>
                </a:lnTo>
                <a:lnTo>
                  <a:pt x="44" y="794"/>
                </a:lnTo>
                <a:lnTo>
                  <a:pt x="44" y="794"/>
                </a:lnTo>
                <a:lnTo>
                  <a:pt x="49" y="787"/>
                </a:lnTo>
                <a:lnTo>
                  <a:pt x="49" y="787"/>
                </a:lnTo>
                <a:lnTo>
                  <a:pt x="54" y="777"/>
                </a:lnTo>
                <a:lnTo>
                  <a:pt x="54" y="777"/>
                </a:lnTo>
                <a:lnTo>
                  <a:pt x="59" y="767"/>
                </a:lnTo>
                <a:lnTo>
                  <a:pt x="59" y="767"/>
                </a:lnTo>
                <a:lnTo>
                  <a:pt x="59" y="762"/>
                </a:lnTo>
                <a:lnTo>
                  <a:pt x="59" y="762"/>
                </a:lnTo>
                <a:lnTo>
                  <a:pt x="51" y="755"/>
                </a:lnTo>
                <a:lnTo>
                  <a:pt x="51" y="755"/>
                </a:lnTo>
                <a:lnTo>
                  <a:pt x="46" y="752"/>
                </a:lnTo>
                <a:lnTo>
                  <a:pt x="46" y="752"/>
                </a:lnTo>
                <a:lnTo>
                  <a:pt x="39" y="742"/>
                </a:lnTo>
                <a:lnTo>
                  <a:pt x="39" y="742"/>
                </a:lnTo>
                <a:lnTo>
                  <a:pt x="41" y="737"/>
                </a:lnTo>
                <a:lnTo>
                  <a:pt x="41" y="737"/>
                </a:lnTo>
                <a:lnTo>
                  <a:pt x="44" y="732"/>
                </a:lnTo>
                <a:lnTo>
                  <a:pt x="44" y="732"/>
                </a:lnTo>
                <a:lnTo>
                  <a:pt x="44" y="730"/>
                </a:lnTo>
                <a:lnTo>
                  <a:pt x="44" y="730"/>
                </a:lnTo>
                <a:lnTo>
                  <a:pt x="39" y="725"/>
                </a:lnTo>
                <a:lnTo>
                  <a:pt x="39" y="725"/>
                </a:lnTo>
                <a:lnTo>
                  <a:pt x="37" y="723"/>
                </a:lnTo>
                <a:lnTo>
                  <a:pt x="37" y="723"/>
                </a:lnTo>
                <a:lnTo>
                  <a:pt x="37" y="718"/>
                </a:lnTo>
                <a:lnTo>
                  <a:pt x="37" y="718"/>
                </a:lnTo>
                <a:lnTo>
                  <a:pt x="39" y="715"/>
                </a:lnTo>
                <a:lnTo>
                  <a:pt x="39" y="715"/>
                </a:lnTo>
                <a:lnTo>
                  <a:pt x="37" y="713"/>
                </a:lnTo>
                <a:lnTo>
                  <a:pt x="37" y="713"/>
                </a:lnTo>
                <a:lnTo>
                  <a:pt x="34" y="710"/>
                </a:lnTo>
                <a:lnTo>
                  <a:pt x="34" y="710"/>
                </a:lnTo>
                <a:lnTo>
                  <a:pt x="32" y="708"/>
                </a:lnTo>
                <a:lnTo>
                  <a:pt x="32" y="708"/>
                </a:lnTo>
                <a:lnTo>
                  <a:pt x="32" y="703"/>
                </a:lnTo>
                <a:lnTo>
                  <a:pt x="32" y="703"/>
                </a:lnTo>
                <a:lnTo>
                  <a:pt x="34" y="701"/>
                </a:lnTo>
                <a:lnTo>
                  <a:pt x="34" y="701"/>
                </a:lnTo>
                <a:lnTo>
                  <a:pt x="32" y="701"/>
                </a:lnTo>
                <a:lnTo>
                  <a:pt x="32" y="701"/>
                </a:lnTo>
                <a:lnTo>
                  <a:pt x="32" y="698"/>
                </a:lnTo>
                <a:lnTo>
                  <a:pt x="32" y="698"/>
                </a:lnTo>
                <a:lnTo>
                  <a:pt x="32" y="688"/>
                </a:lnTo>
                <a:lnTo>
                  <a:pt x="32" y="688"/>
                </a:lnTo>
                <a:lnTo>
                  <a:pt x="34" y="686"/>
                </a:lnTo>
                <a:lnTo>
                  <a:pt x="34" y="686"/>
                </a:lnTo>
                <a:lnTo>
                  <a:pt x="27" y="671"/>
                </a:lnTo>
                <a:lnTo>
                  <a:pt x="27" y="671"/>
                </a:lnTo>
                <a:lnTo>
                  <a:pt x="22" y="659"/>
                </a:lnTo>
                <a:lnTo>
                  <a:pt x="22" y="659"/>
                </a:lnTo>
                <a:lnTo>
                  <a:pt x="19" y="654"/>
                </a:lnTo>
                <a:lnTo>
                  <a:pt x="19" y="654"/>
                </a:lnTo>
                <a:lnTo>
                  <a:pt x="17" y="651"/>
                </a:lnTo>
                <a:lnTo>
                  <a:pt x="17" y="651"/>
                </a:lnTo>
                <a:lnTo>
                  <a:pt x="19" y="644"/>
                </a:lnTo>
                <a:lnTo>
                  <a:pt x="19" y="644"/>
                </a:lnTo>
                <a:lnTo>
                  <a:pt x="22" y="639"/>
                </a:lnTo>
                <a:lnTo>
                  <a:pt x="22" y="639"/>
                </a:lnTo>
                <a:lnTo>
                  <a:pt x="22" y="634"/>
                </a:lnTo>
                <a:lnTo>
                  <a:pt x="22" y="634"/>
                </a:lnTo>
                <a:lnTo>
                  <a:pt x="22" y="632"/>
                </a:lnTo>
                <a:lnTo>
                  <a:pt x="22" y="632"/>
                </a:lnTo>
                <a:lnTo>
                  <a:pt x="14" y="627"/>
                </a:lnTo>
                <a:lnTo>
                  <a:pt x="14" y="627"/>
                </a:lnTo>
                <a:lnTo>
                  <a:pt x="12" y="624"/>
                </a:lnTo>
                <a:lnTo>
                  <a:pt x="12" y="624"/>
                </a:lnTo>
                <a:lnTo>
                  <a:pt x="9" y="622"/>
                </a:lnTo>
                <a:lnTo>
                  <a:pt x="9" y="622"/>
                </a:lnTo>
                <a:lnTo>
                  <a:pt x="7" y="619"/>
                </a:lnTo>
                <a:lnTo>
                  <a:pt x="7" y="619"/>
                </a:lnTo>
                <a:lnTo>
                  <a:pt x="5" y="619"/>
                </a:lnTo>
                <a:lnTo>
                  <a:pt x="5" y="619"/>
                </a:lnTo>
                <a:lnTo>
                  <a:pt x="2" y="612"/>
                </a:lnTo>
                <a:lnTo>
                  <a:pt x="2" y="612"/>
                </a:lnTo>
                <a:lnTo>
                  <a:pt x="0" y="610"/>
                </a:lnTo>
                <a:lnTo>
                  <a:pt x="0" y="610"/>
                </a:lnTo>
                <a:lnTo>
                  <a:pt x="0" y="605"/>
                </a:lnTo>
                <a:lnTo>
                  <a:pt x="0" y="605"/>
                </a:lnTo>
                <a:lnTo>
                  <a:pt x="2" y="600"/>
                </a:lnTo>
                <a:lnTo>
                  <a:pt x="2" y="600"/>
                </a:lnTo>
                <a:lnTo>
                  <a:pt x="0" y="600"/>
                </a:lnTo>
                <a:lnTo>
                  <a:pt x="0" y="600"/>
                </a:lnTo>
                <a:lnTo>
                  <a:pt x="2" y="597"/>
                </a:lnTo>
                <a:lnTo>
                  <a:pt x="2" y="597"/>
                </a:lnTo>
                <a:lnTo>
                  <a:pt x="5" y="595"/>
                </a:lnTo>
                <a:lnTo>
                  <a:pt x="5" y="595"/>
                </a:lnTo>
                <a:lnTo>
                  <a:pt x="5" y="595"/>
                </a:lnTo>
                <a:lnTo>
                  <a:pt x="7" y="595"/>
                </a:lnTo>
                <a:lnTo>
                  <a:pt x="7" y="595"/>
                </a:lnTo>
                <a:lnTo>
                  <a:pt x="7" y="590"/>
                </a:lnTo>
                <a:lnTo>
                  <a:pt x="7" y="590"/>
                </a:lnTo>
                <a:lnTo>
                  <a:pt x="12" y="585"/>
                </a:lnTo>
                <a:lnTo>
                  <a:pt x="12" y="585"/>
                </a:lnTo>
                <a:lnTo>
                  <a:pt x="14" y="585"/>
                </a:lnTo>
                <a:lnTo>
                  <a:pt x="14" y="585"/>
                </a:lnTo>
                <a:lnTo>
                  <a:pt x="17" y="582"/>
                </a:lnTo>
                <a:lnTo>
                  <a:pt x="17" y="582"/>
                </a:lnTo>
                <a:lnTo>
                  <a:pt x="17" y="578"/>
                </a:lnTo>
                <a:lnTo>
                  <a:pt x="17" y="578"/>
                </a:lnTo>
                <a:lnTo>
                  <a:pt x="19" y="578"/>
                </a:lnTo>
                <a:lnTo>
                  <a:pt x="19" y="578"/>
                </a:lnTo>
                <a:lnTo>
                  <a:pt x="22" y="578"/>
                </a:lnTo>
                <a:lnTo>
                  <a:pt x="22" y="578"/>
                </a:lnTo>
                <a:lnTo>
                  <a:pt x="24" y="575"/>
                </a:lnTo>
                <a:lnTo>
                  <a:pt x="24" y="575"/>
                </a:lnTo>
                <a:lnTo>
                  <a:pt x="24" y="573"/>
                </a:lnTo>
                <a:lnTo>
                  <a:pt x="24" y="573"/>
                </a:lnTo>
                <a:lnTo>
                  <a:pt x="24" y="573"/>
                </a:lnTo>
                <a:lnTo>
                  <a:pt x="27" y="573"/>
                </a:lnTo>
                <a:lnTo>
                  <a:pt x="27" y="573"/>
                </a:lnTo>
                <a:lnTo>
                  <a:pt x="29" y="575"/>
                </a:lnTo>
                <a:lnTo>
                  <a:pt x="29" y="575"/>
                </a:lnTo>
                <a:lnTo>
                  <a:pt x="29" y="578"/>
                </a:lnTo>
                <a:lnTo>
                  <a:pt x="29" y="578"/>
                </a:lnTo>
                <a:lnTo>
                  <a:pt x="32" y="580"/>
                </a:lnTo>
                <a:lnTo>
                  <a:pt x="32" y="580"/>
                </a:lnTo>
                <a:lnTo>
                  <a:pt x="32" y="575"/>
                </a:lnTo>
                <a:lnTo>
                  <a:pt x="32" y="575"/>
                </a:lnTo>
                <a:lnTo>
                  <a:pt x="32" y="573"/>
                </a:lnTo>
                <a:lnTo>
                  <a:pt x="32" y="573"/>
                </a:lnTo>
                <a:lnTo>
                  <a:pt x="34" y="573"/>
                </a:lnTo>
                <a:lnTo>
                  <a:pt x="34" y="573"/>
                </a:lnTo>
                <a:lnTo>
                  <a:pt x="37" y="573"/>
                </a:lnTo>
                <a:lnTo>
                  <a:pt x="37" y="573"/>
                </a:lnTo>
                <a:lnTo>
                  <a:pt x="32" y="570"/>
                </a:lnTo>
                <a:lnTo>
                  <a:pt x="32" y="570"/>
                </a:lnTo>
                <a:lnTo>
                  <a:pt x="34" y="570"/>
                </a:lnTo>
                <a:lnTo>
                  <a:pt x="34" y="570"/>
                </a:lnTo>
                <a:lnTo>
                  <a:pt x="34" y="570"/>
                </a:lnTo>
                <a:lnTo>
                  <a:pt x="37" y="570"/>
                </a:lnTo>
                <a:lnTo>
                  <a:pt x="37" y="570"/>
                </a:lnTo>
                <a:lnTo>
                  <a:pt x="37" y="570"/>
                </a:lnTo>
                <a:lnTo>
                  <a:pt x="37" y="568"/>
                </a:lnTo>
                <a:lnTo>
                  <a:pt x="37" y="568"/>
                </a:lnTo>
                <a:lnTo>
                  <a:pt x="34" y="568"/>
                </a:lnTo>
                <a:lnTo>
                  <a:pt x="34" y="568"/>
                </a:lnTo>
                <a:lnTo>
                  <a:pt x="34" y="565"/>
                </a:lnTo>
                <a:lnTo>
                  <a:pt x="34" y="565"/>
                </a:lnTo>
                <a:lnTo>
                  <a:pt x="39" y="565"/>
                </a:lnTo>
                <a:lnTo>
                  <a:pt x="39" y="565"/>
                </a:lnTo>
                <a:lnTo>
                  <a:pt x="41" y="568"/>
                </a:lnTo>
                <a:lnTo>
                  <a:pt x="41" y="568"/>
                </a:lnTo>
                <a:lnTo>
                  <a:pt x="44" y="570"/>
                </a:lnTo>
                <a:lnTo>
                  <a:pt x="44" y="570"/>
                </a:lnTo>
                <a:lnTo>
                  <a:pt x="44" y="570"/>
                </a:lnTo>
                <a:lnTo>
                  <a:pt x="46" y="570"/>
                </a:lnTo>
                <a:lnTo>
                  <a:pt x="46" y="570"/>
                </a:lnTo>
                <a:lnTo>
                  <a:pt x="49" y="570"/>
                </a:lnTo>
                <a:lnTo>
                  <a:pt x="49" y="570"/>
                </a:lnTo>
                <a:lnTo>
                  <a:pt x="49" y="573"/>
                </a:lnTo>
                <a:lnTo>
                  <a:pt x="49" y="573"/>
                </a:lnTo>
                <a:lnTo>
                  <a:pt x="51" y="573"/>
                </a:lnTo>
                <a:lnTo>
                  <a:pt x="51" y="573"/>
                </a:lnTo>
                <a:lnTo>
                  <a:pt x="51" y="575"/>
                </a:lnTo>
                <a:lnTo>
                  <a:pt x="51" y="575"/>
                </a:lnTo>
                <a:lnTo>
                  <a:pt x="49" y="578"/>
                </a:lnTo>
                <a:lnTo>
                  <a:pt x="49" y="578"/>
                </a:lnTo>
                <a:lnTo>
                  <a:pt x="46" y="575"/>
                </a:lnTo>
                <a:lnTo>
                  <a:pt x="46" y="575"/>
                </a:lnTo>
                <a:lnTo>
                  <a:pt x="41" y="578"/>
                </a:lnTo>
                <a:lnTo>
                  <a:pt x="41" y="578"/>
                </a:lnTo>
                <a:lnTo>
                  <a:pt x="39" y="575"/>
                </a:lnTo>
                <a:lnTo>
                  <a:pt x="39" y="575"/>
                </a:lnTo>
                <a:lnTo>
                  <a:pt x="39" y="573"/>
                </a:lnTo>
                <a:lnTo>
                  <a:pt x="39" y="573"/>
                </a:lnTo>
                <a:lnTo>
                  <a:pt x="39" y="575"/>
                </a:lnTo>
                <a:lnTo>
                  <a:pt x="39" y="575"/>
                </a:lnTo>
                <a:lnTo>
                  <a:pt x="39" y="578"/>
                </a:lnTo>
                <a:lnTo>
                  <a:pt x="39" y="578"/>
                </a:lnTo>
                <a:lnTo>
                  <a:pt x="39" y="580"/>
                </a:lnTo>
                <a:lnTo>
                  <a:pt x="39" y="580"/>
                </a:lnTo>
                <a:lnTo>
                  <a:pt x="41" y="578"/>
                </a:lnTo>
                <a:lnTo>
                  <a:pt x="41" y="578"/>
                </a:lnTo>
                <a:lnTo>
                  <a:pt x="41" y="580"/>
                </a:lnTo>
                <a:lnTo>
                  <a:pt x="41" y="580"/>
                </a:lnTo>
                <a:lnTo>
                  <a:pt x="44" y="582"/>
                </a:lnTo>
                <a:lnTo>
                  <a:pt x="44" y="582"/>
                </a:lnTo>
                <a:lnTo>
                  <a:pt x="46" y="580"/>
                </a:lnTo>
                <a:lnTo>
                  <a:pt x="46" y="580"/>
                </a:lnTo>
                <a:lnTo>
                  <a:pt x="49" y="580"/>
                </a:lnTo>
                <a:lnTo>
                  <a:pt x="49" y="580"/>
                </a:lnTo>
                <a:lnTo>
                  <a:pt x="49" y="582"/>
                </a:lnTo>
                <a:lnTo>
                  <a:pt x="49" y="582"/>
                </a:lnTo>
                <a:lnTo>
                  <a:pt x="49" y="582"/>
                </a:lnTo>
                <a:lnTo>
                  <a:pt x="51" y="580"/>
                </a:lnTo>
                <a:lnTo>
                  <a:pt x="51" y="580"/>
                </a:lnTo>
                <a:lnTo>
                  <a:pt x="51" y="582"/>
                </a:lnTo>
                <a:lnTo>
                  <a:pt x="51" y="582"/>
                </a:lnTo>
                <a:lnTo>
                  <a:pt x="51" y="582"/>
                </a:lnTo>
                <a:lnTo>
                  <a:pt x="51" y="585"/>
                </a:lnTo>
                <a:lnTo>
                  <a:pt x="51" y="585"/>
                </a:lnTo>
                <a:lnTo>
                  <a:pt x="54" y="582"/>
                </a:lnTo>
                <a:lnTo>
                  <a:pt x="54" y="582"/>
                </a:lnTo>
                <a:lnTo>
                  <a:pt x="54" y="580"/>
                </a:lnTo>
                <a:lnTo>
                  <a:pt x="54" y="580"/>
                </a:lnTo>
                <a:lnTo>
                  <a:pt x="56" y="580"/>
                </a:lnTo>
                <a:lnTo>
                  <a:pt x="56" y="580"/>
                </a:lnTo>
                <a:lnTo>
                  <a:pt x="56" y="582"/>
                </a:lnTo>
                <a:lnTo>
                  <a:pt x="56" y="582"/>
                </a:lnTo>
                <a:lnTo>
                  <a:pt x="54" y="585"/>
                </a:lnTo>
                <a:lnTo>
                  <a:pt x="54" y="585"/>
                </a:lnTo>
                <a:lnTo>
                  <a:pt x="56" y="585"/>
                </a:lnTo>
                <a:lnTo>
                  <a:pt x="56" y="585"/>
                </a:lnTo>
                <a:lnTo>
                  <a:pt x="59" y="585"/>
                </a:lnTo>
                <a:lnTo>
                  <a:pt x="59" y="585"/>
                </a:lnTo>
                <a:lnTo>
                  <a:pt x="56" y="587"/>
                </a:lnTo>
                <a:lnTo>
                  <a:pt x="56" y="587"/>
                </a:lnTo>
                <a:lnTo>
                  <a:pt x="54" y="590"/>
                </a:lnTo>
                <a:lnTo>
                  <a:pt x="54" y="590"/>
                </a:lnTo>
                <a:lnTo>
                  <a:pt x="59" y="590"/>
                </a:lnTo>
                <a:lnTo>
                  <a:pt x="59" y="590"/>
                </a:lnTo>
                <a:lnTo>
                  <a:pt x="59" y="585"/>
                </a:lnTo>
                <a:lnTo>
                  <a:pt x="59" y="585"/>
                </a:lnTo>
                <a:lnTo>
                  <a:pt x="59" y="582"/>
                </a:lnTo>
                <a:lnTo>
                  <a:pt x="59" y="582"/>
                </a:lnTo>
                <a:lnTo>
                  <a:pt x="61" y="582"/>
                </a:lnTo>
                <a:lnTo>
                  <a:pt x="61" y="582"/>
                </a:lnTo>
                <a:lnTo>
                  <a:pt x="64" y="582"/>
                </a:lnTo>
                <a:lnTo>
                  <a:pt x="64" y="582"/>
                </a:lnTo>
                <a:lnTo>
                  <a:pt x="66" y="582"/>
                </a:lnTo>
                <a:lnTo>
                  <a:pt x="66" y="582"/>
                </a:lnTo>
                <a:lnTo>
                  <a:pt x="66" y="582"/>
                </a:lnTo>
                <a:lnTo>
                  <a:pt x="64" y="580"/>
                </a:lnTo>
                <a:lnTo>
                  <a:pt x="64" y="580"/>
                </a:lnTo>
                <a:lnTo>
                  <a:pt x="64" y="580"/>
                </a:lnTo>
                <a:lnTo>
                  <a:pt x="69" y="580"/>
                </a:lnTo>
                <a:lnTo>
                  <a:pt x="69" y="580"/>
                </a:lnTo>
                <a:lnTo>
                  <a:pt x="69" y="582"/>
                </a:lnTo>
                <a:lnTo>
                  <a:pt x="69" y="582"/>
                </a:lnTo>
                <a:lnTo>
                  <a:pt x="73" y="582"/>
                </a:lnTo>
                <a:lnTo>
                  <a:pt x="73" y="582"/>
                </a:lnTo>
                <a:lnTo>
                  <a:pt x="76" y="585"/>
                </a:lnTo>
                <a:lnTo>
                  <a:pt x="76" y="585"/>
                </a:lnTo>
                <a:lnTo>
                  <a:pt x="78" y="582"/>
                </a:lnTo>
                <a:lnTo>
                  <a:pt x="78" y="582"/>
                </a:lnTo>
                <a:lnTo>
                  <a:pt x="78" y="582"/>
                </a:lnTo>
                <a:lnTo>
                  <a:pt x="83" y="582"/>
                </a:lnTo>
                <a:lnTo>
                  <a:pt x="83" y="582"/>
                </a:lnTo>
                <a:lnTo>
                  <a:pt x="86" y="585"/>
                </a:lnTo>
                <a:lnTo>
                  <a:pt x="86" y="585"/>
                </a:lnTo>
                <a:lnTo>
                  <a:pt x="86" y="582"/>
                </a:lnTo>
                <a:lnTo>
                  <a:pt x="86" y="582"/>
                </a:lnTo>
                <a:lnTo>
                  <a:pt x="91" y="585"/>
                </a:lnTo>
                <a:lnTo>
                  <a:pt x="91" y="585"/>
                </a:lnTo>
                <a:lnTo>
                  <a:pt x="105" y="592"/>
                </a:lnTo>
                <a:lnTo>
                  <a:pt x="105" y="592"/>
                </a:lnTo>
                <a:lnTo>
                  <a:pt x="115" y="600"/>
                </a:lnTo>
                <a:lnTo>
                  <a:pt x="115" y="600"/>
                </a:lnTo>
                <a:lnTo>
                  <a:pt x="118" y="602"/>
                </a:lnTo>
                <a:lnTo>
                  <a:pt x="118" y="602"/>
                </a:lnTo>
                <a:lnTo>
                  <a:pt x="123" y="605"/>
                </a:lnTo>
                <a:lnTo>
                  <a:pt x="123" y="605"/>
                </a:lnTo>
                <a:lnTo>
                  <a:pt x="125" y="610"/>
                </a:lnTo>
                <a:lnTo>
                  <a:pt x="125" y="610"/>
                </a:lnTo>
                <a:lnTo>
                  <a:pt x="128" y="610"/>
                </a:lnTo>
                <a:lnTo>
                  <a:pt x="128" y="610"/>
                </a:lnTo>
                <a:lnTo>
                  <a:pt x="128" y="607"/>
                </a:lnTo>
                <a:lnTo>
                  <a:pt x="128" y="607"/>
                </a:lnTo>
                <a:lnTo>
                  <a:pt x="128" y="607"/>
                </a:lnTo>
                <a:lnTo>
                  <a:pt x="128" y="607"/>
                </a:lnTo>
                <a:lnTo>
                  <a:pt x="132" y="610"/>
                </a:lnTo>
                <a:lnTo>
                  <a:pt x="132" y="610"/>
                </a:lnTo>
                <a:lnTo>
                  <a:pt x="135" y="610"/>
                </a:lnTo>
                <a:lnTo>
                  <a:pt x="135" y="610"/>
                </a:lnTo>
                <a:lnTo>
                  <a:pt x="140" y="614"/>
                </a:lnTo>
                <a:lnTo>
                  <a:pt x="140" y="614"/>
                </a:lnTo>
                <a:lnTo>
                  <a:pt x="142" y="614"/>
                </a:lnTo>
                <a:lnTo>
                  <a:pt x="142" y="614"/>
                </a:lnTo>
                <a:lnTo>
                  <a:pt x="140" y="610"/>
                </a:lnTo>
                <a:lnTo>
                  <a:pt x="140" y="610"/>
                </a:lnTo>
                <a:lnTo>
                  <a:pt x="137" y="607"/>
                </a:lnTo>
                <a:lnTo>
                  <a:pt x="137" y="607"/>
                </a:lnTo>
                <a:lnTo>
                  <a:pt x="140" y="607"/>
                </a:lnTo>
                <a:lnTo>
                  <a:pt x="140" y="607"/>
                </a:lnTo>
                <a:lnTo>
                  <a:pt x="142" y="612"/>
                </a:lnTo>
                <a:lnTo>
                  <a:pt x="142" y="612"/>
                </a:lnTo>
                <a:lnTo>
                  <a:pt x="142" y="614"/>
                </a:lnTo>
                <a:lnTo>
                  <a:pt x="142" y="614"/>
                </a:lnTo>
                <a:lnTo>
                  <a:pt x="150" y="619"/>
                </a:lnTo>
                <a:lnTo>
                  <a:pt x="150" y="619"/>
                </a:lnTo>
                <a:lnTo>
                  <a:pt x="150" y="622"/>
                </a:lnTo>
                <a:lnTo>
                  <a:pt x="150" y="622"/>
                </a:lnTo>
                <a:lnTo>
                  <a:pt x="152" y="622"/>
                </a:lnTo>
                <a:lnTo>
                  <a:pt x="152" y="622"/>
                </a:lnTo>
                <a:lnTo>
                  <a:pt x="152" y="622"/>
                </a:lnTo>
                <a:lnTo>
                  <a:pt x="155" y="622"/>
                </a:lnTo>
                <a:lnTo>
                  <a:pt x="155" y="622"/>
                </a:lnTo>
                <a:lnTo>
                  <a:pt x="160" y="624"/>
                </a:lnTo>
                <a:lnTo>
                  <a:pt x="160" y="624"/>
                </a:lnTo>
                <a:lnTo>
                  <a:pt x="160" y="629"/>
                </a:lnTo>
                <a:lnTo>
                  <a:pt x="160" y="629"/>
                </a:lnTo>
                <a:lnTo>
                  <a:pt x="162" y="629"/>
                </a:lnTo>
                <a:lnTo>
                  <a:pt x="162" y="629"/>
                </a:lnTo>
                <a:lnTo>
                  <a:pt x="164" y="634"/>
                </a:lnTo>
                <a:lnTo>
                  <a:pt x="164" y="634"/>
                </a:lnTo>
                <a:lnTo>
                  <a:pt x="164" y="634"/>
                </a:lnTo>
                <a:lnTo>
                  <a:pt x="167" y="634"/>
                </a:lnTo>
                <a:lnTo>
                  <a:pt x="167" y="634"/>
                </a:lnTo>
                <a:lnTo>
                  <a:pt x="167" y="639"/>
                </a:lnTo>
                <a:lnTo>
                  <a:pt x="167" y="639"/>
                </a:lnTo>
                <a:lnTo>
                  <a:pt x="167" y="641"/>
                </a:lnTo>
                <a:lnTo>
                  <a:pt x="167" y="641"/>
                </a:lnTo>
                <a:lnTo>
                  <a:pt x="167" y="646"/>
                </a:lnTo>
                <a:lnTo>
                  <a:pt x="167" y="646"/>
                </a:lnTo>
                <a:lnTo>
                  <a:pt x="164" y="649"/>
                </a:lnTo>
                <a:lnTo>
                  <a:pt x="164" y="649"/>
                </a:lnTo>
                <a:lnTo>
                  <a:pt x="164" y="651"/>
                </a:lnTo>
                <a:lnTo>
                  <a:pt x="164" y="651"/>
                </a:lnTo>
                <a:lnTo>
                  <a:pt x="162" y="656"/>
                </a:lnTo>
                <a:lnTo>
                  <a:pt x="162" y="656"/>
                </a:lnTo>
                <a:lnTo>
                  <a:pt x="162" y="656"/>
                </a:lnTo>
                <a:lnTo>
                  <a:pt x="155" y="666"/>
                </a:lnTo>
                <a:lnTo>
                  <a:pt x="155" y="666"/>
                </a:lnTo>
                <a:lnTo>
                  <a:pt x="152" y="669"/>
                </a:lnTo>
                <a:lnTo>
                  <a:pt x="152" y="669"/>
                </a:lnTo>
                <a:lnTo>
                  <a:pt x="145" y="669"/>
                </a:lnTo>
                <a:lnTo>
                  <a:pt x="145" y="669"/>
                </a:lnTo>
                <a:lnTo>
                  <a:pt x="145" y="671"/>
                </a:lnTo>
                <a:lnTo>
                  <a:pt x="145" y="671"/>
                </a:lnTo>
                <a:lnTo>
                  <a:pt x="140" y="671"/>
                </a:lnTo>
                <a:lnTo>
                  <a:pt x="140" y="671"/>
                </a:lnTo>
                <a:lnTo>
                  <a:pt x="137" y="671"/>
                </a:lnTo>
                <a:lnTo>
                  <a:pt x="137" y="671"/>
                </a:lnTo>
                <a:lnTo>
                  <a:pt x="132" y="673"/>
                </a:lnTo>
                <a:lnTo>
                  <a:pt x="132" y="673"/>
                </a:lnTo>
                <a:lnTo>
                  <a:pt x="123" y="671"/>
                </a:lnTo>
                <a:lnTo>
                  <a:pt x="123" y="671"/>
                </a:lnTo>
                <a:lnTo>
                  <a:pt x="118" y="671"/>
                </a:lnTo>
                <a:lnTo>
                  <a:pt x="118" y="671"/>
                </a:lnTo>
                <a:lnTo>
                  <a:pt x="113" y="669"/>
                </a:lnTo>
                <a:lnTo>
                  <a:pt x="113" y="669"/>
                </a:lnTo>
                <a:lnTo>
                  <a:pt x="110" y="669"/>
                </a:lnTo>
                <a:lnTo>
                  <a:pt x="110" y="669"/>
                </a:lnTo>
                <a:lnTo>
                  <a:pt x="108" y="669"/>
                </a:lnTo>
                <a:lnTo>
                  <a:pt x="108" y="669"/>
                </a:lnTo>
                <a:lnTo>
                  <a:pt x="105" y="669"/>
                </a:lnTo>
                <a:lnTo>
                  <a:pt x="105" y="669"/>
                </a:lnTo>
                <a:lnTo>
                  <a:pt x="103" y="666"/>
                </a:lnTo>
                <a:lnTo>
                  <a:pt x="103" y="666"/>
                </a:lnTo>
                <a:lnTo>
                  <a:pt x="100" y="666"/>
                </a:lnTo>
                <a:lnTo>
                  <a:pt x="100" y="666"/>
                </a:lnTo>
                <a:lnTo>
                  <a:pt x="98" y="669"/>
                </a:lnTo>
                <a:lnTo>
                  <a:pt x="98" y="669"/>
                </a:lnTo>
                <a:lnTo>
                  <a:pt x="96" y="664"/>
                </a:lnTo>
                <a:lnTo>
                  <a:pt x="96" y="664"/>
                </a:lnTo>
                <a:lnTo>
                  <a:pt x="96" y="661"/>
                </a:lnTo>
                <a:lnTo>
                  <a:pt x="96" y="661"/>
                </a:lnTo>
                <a:lnTo>
                  <a:pt x="93" y="664"/>
                </a:lnTo>
                <a:lnTo>
                  <a:pt x="93" y="664"/>
                </a:lnTo>
                <a:lnTo>
                  <a:pt x="91" y="664"/>
                </a:lnTo>
                <a:lnTo>
                  <a:pt x="91" y="664"/>
                </a:lnTo>
                <a:lnTo>
                  <a:pt x="91" y="661"/>
                </a:lnTo>
                <a:lnTo>
                  <a:pt x="91" y="661"/>
                </a:lnTo>
                <a:lnTo>
                  <a:pt x="86" y="661"/>
                </a:lnTo>
                <a:lnTo>
                  <a:pt x="86" y="661"/>
                </a:lnTo>
                <a:lnTo>
                  <a:pt x="86" y="664"/>
                </a:lnTo>
                <a:lnTo>
                  <a:pt x="86" y="664"/>
                </a:lnTo>
                <a:lnTo>
                  <a:pt x="81" y="664"/>
                </a:lnTo>
                <a:lnTo>
                  <a:pt x="81" y="664"/>
                </a:lnTo>
                <a:lnTo>
                  <a:pt x="81" y="661"/>
                </a:lnTo>
                <a:lnTo>
                  <a:pt x="81" y="661"/>
                </a:lnTo>
                <a:lnTo>
                  <a:pt x="81" y="661"/>
                </a:lnTo>
                <a:lnTo>
                  <a:pt x="83" y="659"/>
                </a:lnTo>
                <a:lnTo>
                  <a:pt x="83" y="659"/>
                </a:lnTo>
                <a:lnTo>
                  <a:pt x="81" y="656"/>
                </a:lnTo>
                <a:lnTo>
                  <a:pt x="81" y="656"/>
                </a:lnTo>
                <a:lnTo>
                  <a:pt x="81" y="659"/>
                </a:lnTo>
                <a:lnTo>
                  <a:pt x="81" y="659"/>
                </a:lnTo>
                <a:lnTo>
                  <a:pt x="73" y="659"/>
                </a:lnTo>
                <a:lnTo>
                  <a:pt x="73" y="659"/>
                </a:lnTo>
                <a:lnTo>
                  <a:pt x="71" y="656"/>
                </a:lnTo>
                <a:lnTo>
                  <a:pt x="71" y="656"/>
                </a:lnTo>
                <a:lnTo>
                  <a:pt x="71" y="656"/>
                </a:lnTo>
                <a:lnTo>
                  <a:pt x="69" y="656"/>
                </a:lnTo>
                <a:lnTo>
                  <a:pt x="69" y="656"/>
                </a:lnTo>
                <a:lnTo>
                  <a:pt x="61" y="651"/>
                </a:lnTo>
                <a:lnTo>
                  <a:pt x="61" y="651"/>
                </a:lnTo>
                <a:lnTo>
                  <a:pt x="61" y="649"/>
                </a:lnTo>
                <a:lnTo>
                  <a:pt x="61" y="649"/>
                </a:lnTo>
                <a:lnTo>
                  <a:pt x="59" y="649"/>
                </a:lnTo>
                <a:lnTo>
                  <a:pt x="59" y="649"/>
                </a:lnTo>
                <a:lnTo>
                  <a:pt x="56" y="646"/>
                </a:lnTo>
                <a:lnTo>
                  <a:pt x="56" y="646"/>
                </a:lnTo>
                <a:lnTo>
                  <a:pt x="54" y="646"/>
                </a:lnTo>
                <a:lnTo>
                  <a:pt x="54" y="646"/>
                </a:lnTo>
                <a:lnTo>
                  <a:pt x="54" y="649"/>
                </a:lnTo>
                <a:lnTo>
                  <a:pt x="54" y="649"/>
                </a:lnTo>
                <a:lnTo>
                  <a:pt x="56" y="651"/>
                </a:lnTo>
                <a:lnTo>
                  <a:pt x="56" y="651"/>
                </a:lnTo>
                <a:lnTo>
                  <a:pt x="56" y="654"/>
                </a:lnTo>
                <a:lnTo>
                  <a:pt x="56" y="654"/>
                </a:lnTo>
                <a:lnTo>
                  <a:pt x="61" y="656"/>
                </a:lnTo>
                <a:lnTo>
                  <a:pt x="61" y="656"/>
                </a:lnTo>
                <a:lnTo>
                  <a:pt x="61" y="659"/>
                </a:lnTo>
                <a:lnTo>
                  <a:pt x="61" y="659"/>
                </a:lnTo>
                <a:lnTo>
                  <a:pt x="66" y="661"/>
                </a:lnTo>
                <a:lnTo>
                  <a:pt x="66" y="661"/>
                </a:lnTo>
                <a:lnTo>
                  <a:pt x="66" y="661"/>
                </a:lnTo>
                <a:lnTo>
                  <a:pt x="64" y="664"/>
                </a:lnTo>
                <a:lnTo>
                  <a:pt x="64" y="664"/>
                </a:lnTo>
                <a:lnTo>
                  <a:pt x="64" y="666"/>
                </a:lnTo>
                <a:lnTo>
                  <a:pt x="64" y="666"/>
                </a:lnTo>
                <a:lnTo>
                  <a:pt x="64" y="666"/>
                </a:lnTo>
                <a:lnTo>
                  <a:pt x="69" y="664"/>
                </a:lnTo>
                <a:lnTo>
                  <a:pt x="69" y="664"/>
                </a:lnTo>
                <a:lnTo>
                  <a:pt x="71" y="664"/>
                </a:lnTo>
                <a:lnTo>
                  <a:pt x="71" y="664"/>
                </a:lnTo>
                <a:lnTo>
                  <a:pt x="73" y="664"/>
                </a:lnTo>
                <a:lnTo>
                  <a:pt x="73" y="664"/>
                </a:lnTo>
                <a:lnTo>
                  <a:pt x="71" y="666"/>
                </a:lnTo>
                <a:lnTo>
                  <a:pt x="71" y="666"/>
                </a:lnTo>
                <a:lnTo>
                  <a:pt x="71" y="666"/>
                </a:lnTo>
                <a:lnTo>
                  <a:pt x="73" y="666"/>
                </a:lnTo>
                <a:lnTo>
                  <a:pt x="73" y="666"/>
                </a:lnTo>
                <a:lnTo>
                  <a:pt x="73" y="669"/>
                </a:lnTo>
                <a:lnTo>
                  <a:pt x="73" y="669"/>
                </a:lnTo>
                <a:lnTo>
                  <a:pt x="71" y="669"/>
                </a:lnTo>
                <a:lnTo>
                  <a:pt x="71" y="669"/>
                </a:lnTo>
                <a:lnTo>
                  <a:pt x="69" y="671"/>
                </a:lnTo>
                <a:lnTo>
                  <a:pt x="69" y="671"/>
                </a:lnTo>
                <a:lnTo>
                  <a:pt x="73" y="671"/>
                </a:lnTo>
                <a:lnTo>
                  <a:pt x="73" y="671"/>
                </a:lnTo>
                <a:lnTo>
                  <a:pt x="73" y="671"/>
                </a:lnTo>
                <a:lnTo>
                  <a:pt x="76" y="671"/>
                </a:lnTo>
                <a:lnTo>
                  <a:pt x="76" y="671"/>
                </a:lnTo>
                <a:lnTo>
                  <a:pt x="78" y="673"/>
                </a:lnTo>
                <a:lnTo>
                  <a:pt x="78" y="673"/>
                </a:lnTo>
                <a:lnTo>
                  <a:pt x="78" y="671"/>
                </a:lnTo>
                <a:lnTo>
                  <a:pt x="78" y="671"/>
                </a:lnTo>
                <a:lnTo>
                  <a:pt x="86" y="673"/>
                </a:lnTo>
                <a:lnTo>
                  <a:pt x="86" y="673"/>
                </a:lnTo>
                <a:lnTo>
                  <a:pt x="91" y="678"/>
                </a:lnTo>
                <a:lnTo>
                  <a:pt x="91" y="678"/>
                </a:lnTo>
                <a:lnTo>
                  <a:pt x="91" y="678"/>
                </a:lnTo>
                <a:lnTo>
                  <a:pt x="91" y="681"/>
                </a:lnTo>
                <a:lnTo>
                  <a:pt x="91" y="681"/>
                </a:lnTo>
                <a:lnTo>
                  <a:pt x="91" y="683"/>
                </a:lnTo>
                <a:lnTo>
                  <a:pt x="91" y="683"/>
                </a:lnTo>
                <a:lnTo>
                  <a:pt x="91" y="683"/>
                </a:lnTo>
                <a:lnTo>
                  <a:pt x="91" y="686"/>
                </a:lnTo>
                <a:lnTo>
                  <a:pt x="91" y="686"/>
                </a:lnTo>
                <a:lnTo>
                  <a:pt x="91" y="691"/>
                </a:lnTo>
                <a:lnTo>
                  <a:pt x="91" y="691"/>
                </a:lnTo>
                <a:lnTo>
                  <a:pt x="88" y="693"/>
                </a:lnTo>
                <a:lnTo>
                  <a:pt x="88" y="693"/>
                </a:lnTo>
                <a:lnTo>
                  <a:pt x="88" y="696"/>
                </a:lnTo>
                <a:lnTo>
                  <a:pt x="88" y="696"/>
                </a:lnTo>
                <a:lnTo>
                  <a:pt x="91" y="696"/>
                </a:lnTo>
                <a:lnTo>
                  <a:pt x="91" y="696"/>
                </a:lnTo>
                <a:lnTo>
                  <a:pt x="91" y="698"/>
                </a:lnTo>
                <a:lnTo>
                  <a:pt x="91" y="698"/>
                </a:lnTo>
                <a:lnTo>
                  <a:pt x="96" y="703"/>
                </a:lnTo>
                <a:lnTo>
                  <a:pt x="96" y="703"/>
                </a:lnTo>
                <a:lnTo>
                  <a:pt x="96" y="705"/>
                </a:lnTo>
                <a:lnTo>
                  <a:pt x="96" y="705"/>
                </a:lnTo>
                <a:lnTo>
                  <a:pt x="98" y="708"/>
                </a:lnTo>
                <a:lnTo>
                  <a:pt x="98" y="708"/>
                </a:lnTo>
                <a:lnTo>
                  <a:pt x="98" y="710"/>
                </a:lnTo>
                <a:lnTo>
                  <a:pt x="98" y="710"/>
                </a:lnTo>
                <a:lnTo>
                  <a:pt x="98" y="715"/>
                </a:lnTo>
                <a:lnTo>
                  <a:pt x="98" y="715"/>
                </a:lnTo>
                <a:lnTo>
                  <a:pt x="98" y="718"/>
                </a:lnTo>
                <a:lnTo>
                  <a:pt x="98" y="718"/>
                </a:lnTo>
                <a:lnTo>
                  <a:pt x="98" y="718"/>
                </a:lnTo>
                <a:lnTo>
                  <a:pt x="100" y="720"/>
                </a:lnTo>
                <a:lnTo>
                  <a:pt x="100" y="720"/>
                </a:lnTo>
                <a:lnTo>
                  <a:pt x="105" y="723"/>
                </a:lnTo>
                <a:lnTo>
                  <a:pt x="105" y="723"/>
                </a:lnTo>
                <a:lnTo>
                  <a:pt x="108" y="720"/>
                </a:lnTo>
                <a:lnTo>
                  <a:pt x="108" y="720"/>
                </a:lnTo>
                <a:lnTo>
                  <a:pt x="110" y="720"/>
                </a:lnTo>
                <a:lnTo>
                  <a:pt x="110" y="720"/>
                </a:lnTo>
                <a:lnTo>
                  <a:pt x="113" y="725"/>
                </a:lnTo>
                <a:lnTo>
                  <a:pt x="113" y="725"/>
                </a:lnTo>
                <a:lnTo>
                  <a:pt x="115" y="725"/>
                </a:lnTo>
                <a:lnTo>
                  <a:pt x="115" y="725"/>
                </a:lnTo>
                <a:lnTo>
                  <a:pt x="115" y="730"/>
                </a:lnTo>
                <a:lnTo>
                  <a:pt x="115" y="730"/>
                </a:lnTo>
                <a:lnTo>
                  <a:pt x="118" y="730"/>
                </a:lnTo>
                <a:lnTo>
                  <a:pt x="118" y="730"/>
                </a:lnTo>
                <a:lnTo>
                  <a:pt x="123" y="730"/>
                </a:lnTo>
                <a:lnTo>
                  <a:pt x="123" y="730"/>
                </a:lnTo>
                <a:lnTo>
                  <a:pt x="123" y="732"/>
                </a:lnTo>
                <a:lnTo>
                  <a:pt x="123" y="732"/>
                </a:lnTo>
                <a:lnTo>
                  <a:pt x="128" y="732"/>
                </a:lnTo>
                <a:lnTo>
                  <a:pt x="128" y="732"/>
                </a:lnTo>
                <a:lnTo>
                  <a:pt x="130" y="735"/>
                </a:lnTo>
                <a:lnTo>
                  <a:pt x="130" y="735"/>
                </a:lnTo>
                <a:lnTo>
                  <a:pt x="132" y="735"/>
                </a:lnTo>
                <a:lnTo>
                  <a:pt x="132" y="735"/>
                </a:lnTo>
                <a:lnTo>
                  <a:pt x="135" y="732"/>
                </a:lnTo>
                <a:lnTo>
                  <a:pt x="135" y="732"/>
                </a:lnTo>
                <a:lnTo>
                  <a:pt x="137" y="730"/>
                </a:lnTo>
                <a:lnTo>
                  <a:pt x="137" y="730"/>
                </a:lnTo>
                <a:lnTo>
                  <a:pt x="140" y="730"/>
                </a:lnTo>
                <a:lnTo>
                  <a:pt x="140" y="730"/>
                </a:lnTo>
                <a:lnTo>
                  <a:pt x="140" y="725"/>
                </a:lnTo>
                <a:lnTo>
                  <a:pt x="140" y="725"/>
                </a:lnTo>
                <a:lnTo>
                  <a:pt x="137" y="723"/>
                </a:lnTo>
                <a:lnTo>
                  <a:pt x="137" y="723"/>
                </a:lnTo>
                <a:lnTo>
                  <a:pt x="140" y="723"/>
                </a:lnTo>
                <a:lnTo>
                  <a:pt x="140" y="723"/>
                </a:lnTo>
                <a:lnTo>
                  <a:pt x="140" y="720"/>
                </a:lnTo>
                <a:lnTo>
                  <a:pt x="140" y="720"/>
                </a:lnTo>
                <a:lnTo>
                  <a:pt x="135" y="720"/>
                </a:lnTo>
                <a:lnTo>
                  <a:pt x="135" y="720"/>
                </a:lnTo>
                <a:lnTo>
                  <a:pt x="135" y="718"/>
                </a:lnTo>
                <a:lnTo>
                  <a:pt x="135" y="718"/>
                </a:lnTo>
                <a:lnTo>
                  <a:pt x="132" y="718"/>
                </a:lnTo>
                <a:lnTo>
                  <a:pt x="132" y="718"/>
                </a:lnTo>
                <a:lnTo>
                  <a:pt x="130" y="718"/>
                </a:lnTo>
                <a:lnTo>
                  <a:pt x="130" y="718"/>
                </a:lnTo>
                <a:lnTo>
                  <a:pt x="128" y="720"/>
                </a:lnTo>
                <a:lnTo>
                  <a:pt x="128" y="720"/>
                </a:lnTo>
                <a:lnTo>
                  <a:pt x="125" y="718"/>
                </a:lnTo>
                <a:lnTo>
                  <a:pt x="125" y="718"/>
                </a:lnTo>
                <a:lnTo>
                  <a:pt x="123" y="715"/>
                </a:lnTo>
                <a:lnTo>
                  <a:pt x="123" y="715"/>
                </a:lnTo>
                <a:lnTo>
                  <a:pt x="118" y="713"/>
                </a:lnTo>
                <a:lnTo>
                  <a:pt x="118" y="713"/>
                </a:lnTo>
                <a:lnTo>
                  <a:pt x="118" y="710"/>
                </a:lnTo>
                <a:lnTo>
                  <a:pt x="118" y="710"/>
                </a:lnTo>
                <a:lnTo>
                  <a:pt x="115" y="705"/>
                </a:lnTo>
                <a:lnTo>
                  <a:pt x="115" y="705"/>
                </a:lnTo>
                <a:lnTo>
                  <a:pt x="118" y="705"/>
                </a:lnTo>
                <a:lnTo>
                  <a:pt x="118" y="705"/>
                </a:lnTo>
                <a:lnTo>
                  <a:pt x="120" y="703"/>
                </a:lnTo>
                <a:lnTo>
                  <a:pt x="120" y="703"/>
                </a:lnTo>
                <a:lnTo>
                  <a:pt x="118" y="701"/>
                </a:lnTo>
                <a:lnTo>
                  <a:pt x="118" y="701"/>
                </a:lnTo>
                <a:lnTo>
                  <a:pt x="120" y="701"/>
                </a:lnTo>
                <a:lnTo>
                  <a:pt x="120" y="701"/>
                </a:lnTo>
                <a:lnTo>
                  <a:pt x="118" y="698"/>
                </a:lnTo>
                <a:lnTo>
                  <a:pt x="118" y="698"/>
                </a:lnTo>
                <a:lnTo>
                  <a:pt x="118" y="696"/>
                </a:lnTo>
                <a:lnTo>
                  <a:pt x="118" y="696"/>
                </a:lnTo>
                <a:lnTo>
                  <a:pt x="123" y="696"/>
                </a:lnTo>
                <a:lnTo>
                  <a:pt x="123" y="696"/>
                </a:lnTo>
                <a:lnTo>
                  <a:pt x="125" y="698"/>
                </a:lnTo>
                <a:lnTo>
                  <a:pt x="125" y="698"/>
                </a:lnTo>
                <a:lnTo>
                  <a:pt x="130" y="698"/>
                </a:lnTo>
                <a:lnTo>
                  <a:pt x="130" y="698"/>
                </a:lnTo>
                <a:lnTo>
                  <a:pt x="132" y="703"/>
                </a:lnTo>
                <a:lnTo>
                  <a:pt x="132" y="703"/>
                </a:lnTo>
                <a:lnTo>
                  <a:pt x="135" y="705"/>
                </a:lnTo>
                <a:lnTo>
                  <a:pt x="135" y="705"/>
                </a:lnTo>
                <a:lnTo>
                  <a:pt x="140" y="705"/>
                </a:lnTo>
                <a:lnTo>
                  <a:pt x="140" y="705"/>
                </a:lnTo>
                <a:lnTo>
                  <a:pt x="142" y="708"/>
                </a:lnTo>
                <a:lnTo>
                  <a:pt x="142" y="708"/>
                </a:lnTo>
                <a:lnTo>
                  <a:pt x="145" y="708"/>
                </a:lnTo>
                <a:lnTo>
                  <a:pt x="145" y="708"/>
                </a:lnTo>
                <a:lnTo>
                  <a:pt x="155" y="713"/>
                </a:lnTo>
                <a:lnTo>
                  <a:pt x="155" y="713"/>
                </a:lnTo>
                <a:lnTo>
                  <a:pt x="160" y="715"/>
                </a:lnTo>
                <a:lnTo>
                  <a:pt x="160" y="715"/>
                </a:lnTo>
                <a:lnTo>
                  <a:pt x="160" y="713"/>
                </a:lnTo>
                <a:lnTo>
                  <a:pt x="160" y="713"/>
                </a:lnTo>
                <a:lnTo>
                  <a:pt x="162" y="710"/>
                </a:lnTo>
                <a:lnTo>
                  <a:pt x="162" y="710"/>
                </a:lnTo>
                <a:lnTo>
                  <a:pt x="162" y="708"/>
                </a:lnTo>
                <a:lnTo>
                  <a:pt x="162" y="708"/>
                </a:lnTo>
                <a:lnTo>
                  <a:pt x="164" y="708"/>
                </a:lnTo>
                <a:lnTo>
                  <a:pt x="164" y="708"/>
                </a:lnTo>
                <a:lnTo>
                  <a:pt x="167" y="705"/>
                </a:lnTo>
                <a:lnTo>
                  <a:pt x="167" y="705"/>
                </a:lnTo>
                <a:lnTo>
                  <a:pt x="164" y="698"/>
                </a:lnTo>
                <a:lnTo>
                  <a:pt x="164" y="698"/>
                </a:lnTo>
                <a:lnTo>
                  <a:pt x="157" y="691"/>
                </a:lnTo>
                <a:lnTo>
                  <a:pt x="157" y="691"/>
                </a:lnTo>
                <a:lnTo>
                  <a:pt x="155" y="688"/>
                </a:lnTo>
                <a:lnTo>
                  <a:pt x="155" y="688"/>
                </a:lnTo>
                <a:lnTo>
                  <a:pt x="155" y="683"/>
                </a:lnTo>
                <a:lnTo>
                  <a:pt x="155" y="683"/>
                </a:lnTo>
                <a:lnTo>
                  <a:pt x="160" y="681"/>
                </a:lnTo>
                <a:lnTo>
                  <a:pt x="160" y="681"/>
                </a:lnTo>
                <a:lnTo>
                  <a:pt x="162" y="676"/>
                </a:lnTo>
                <a:lnTo>
                  <a:pt x="162" y="676"/>
                </a:lnTo>
                <a:lnTo>
                  <a:pt x="164" y="673"/>
                </a:lnTo>
                <a:lnTo>
                  <a:pt x="164" y="673"/>
                </a:lnTo>
                <a:lnTo>
                  <a:pt x="167" y="671"/>
                </a:lnTo>
                <a:lnTo>
                  <a:pt x="167" y="671"/>
                </a:lnTo>
                <a:lnTo>
                  <a:pt x="169" y="669"/>
                </a:lnTo>
                <a:lnTo>
                  <a:pt x="169" y="669"/>
                </a:lnTo>
                <a:lnTo>
                  <a:pt x="174" y="666"/>
                </a:lnTo>
                <a:lnTo>
                  <a:pt x="174" y="666"/>
                </a:lnTo>
                <a:lnTo>
                  <a:pt x="179" y="659"/>
                </a:lnTo>
                <a:lnTo>
                  <a:pt x="179" y="659"/>
                </a:lnTo>
                <a:lnTo>
                  <a:pt x="182" y="656"/>
                </a:lnTo>
                <a:lnTo>
                  <a:pt x="182" y="656"/>
                </a:lnTo>
                <a:lnTo>
                  <a:pt x="184" y="656"/>
                </a:lnTo>
                <a:lnTo>
                  <a:pt x="184" y="656"/>
                </a:lnTo>
                <a:lnTo>
                  <a:pt x="187" y="659"/>
                </a:lnTo>
                <a:lnTo>
                  <a:pt x="187" y="659"/>
                </a:lnTo>
                <a:lnTo>
                  <a:pt x="192" y="659"/>
                </a:lnTo>
                <a:lnTo>
                  <a:pt x="192" y="659"/>
                </a:lnTo>
                <a:lnTo>
                  <a:pt x="196" y="659"/>
                </a:lnTo>
                <a:lnTo>
                  <a:pt x="196" y="659"/>
                </a:lnTo>
                <a:lnTo>
                  <a:pt x="199" y="661"/>
                </a:lnTo>
                <a:lnTo>
                  <a:pt x="199" y="661"/>
                </a:lnTo>
                <a:lnTo>
                  <a:pt x="199" y="664"/>
                </a:lnTo>
                <a:lnTo>
                  <a:pt x="199" y="664"/>
                </a:lnTo>
                <a:lnTo>
                  <a:pt x="201" y="661"/>
                </a:lnTo>
                <a:lnTo>
                  <a:pt x="201" y="661"/>
                </a:lnTo>
                <a:lnTo>
                  <a:pt x="206" y="664"/>
                </a:lnTo>
                <a:lnTo>
                  <a:pt x="206" y="664"/>
                </a:lnTo>
                <a:lnTo>
                  <a:pt x="206" y="669"/>
                </a:lnTo>
                <a:lnTo>
                  <a:pt x="206" y="669"/>
                </a:lnTo>
                <a:lnTo>
                  <a:pt x="209" y="669"/>
                </a:lnTo>
                <a:lnTo>
                  <a:pt x="209" y="669"/>
                </a:lnTo>
                <a:lnTo>
                  <a:pt x="209" y="664"/>
                </a:lnTo>
                <a:lnTo>
                  <a:pt x="209" y="664"/>
                </a:lnTo>
                <a:lnTo>
                  <a:pt x="206" y="661"/>
                </a:lnTo>
                <a:lnTo>
                  <a:pt x="206" y="661"/>
                </a:lnTo>
                <a:lnTo>
                  <a:pt x="209" y="659"/>
                </a:lnTo>
                <a:lnTo>
                  <a:pt x="209" y="659"/>
                </a:lnTo>
                <a:lnTo>
                  <a:pt x="209" y="651"/>
                </a:lnTo>
                <a:lnTo>
                  <a:pt x="209" y="651"/>
                </a:lnTo>
                <a:lnTo>
                  <a:pt x="209" y="649"/>
                </a:lnTo>
                <a:lnTo>
                  <a:pt x="209" y="649"/>
                </a:lnTo>
                <a:lnTo>
                  <a:pt x="206" y="649"/>
                </a:lnTo>
                <a:lnTo>
                  <a:pt x="206" y="649"/>
                </a:lnTo>
                <a:lnTo>
                  <a:pt x="206" y="646"/>
                </a:lnTo>
                <a:lnTo>
                  <a:pt x="206" y="646"/>
                </a:lnTo>
                <a:lnTo>
                  <a:pt x="209" y="644"/>
                </a:lnTo>
                <a:lnTo>
                  <a:pt x="209" y="644"/>
                </a:lnTo>
                <a:lnTo>
                  <a:pt x="206" y="641"/>
                </a:lnTo>
                <a:lnTo>
                  <a:pt x="206" y="641"/>
                </a:lnTo>
                <a:lnTo>
                  <a:pt x="209" y="641"/>
                </a:lnTo>
                <a:lnTo>
                  <a:pt x="209" y="641"/>
                </a:lnTo>
                <a:lnTo>
                  <a:pt x="206" y="639"/>
                </a:lnTo>
                <a:lnTo>
                  <a:pt x="206" y="639"/>
                </a:lnTo>
                <a:lnTo>
                  <a:pt x="201" y="637"/>
                </a:lnTo>
                <a:lnTo>
                  <a:pt x="201" y="637"/>
                </a:lnTo>
                <a:lnTo>
                  <a:pt x="196" y="637"/>
                </a:lnTo>
                <a:lnTo>
                  <a:pt x="196" y="637"/>
                </a:lnTo>
                <a:lnTo>
                  <a:pt x="196" y="632"/>
                </a:lnTo>
                <a:lnTo>
                  <a:pt x="196" y="632"/>
                </a:lnTo>
                <a:lnTo>
                  <a:pt x="196" y="629"/>
                </a:lnTo>
                <a:lnTo>
                  <a:pt x="196" y="629"/>
                </a:lnTo>
                <a:lnTo>
                  <a:pt x="196" y="622"/>
                </a:lnTo>
                <a:lnTo>
                  <a:pt x="196" y="622"/>
                </a:lnTo>
                <a:lnTo>
                  <a:pt x="199" y="622"/>
                </a:lnTo>
                <a:lnTo>
                  <a:pt x="199" y="622"/>
                </a:lnTo>
                <a:lnTo>
                  <a:pt x="199" y="619"/>
                </a:lnTo>
                <a:lnTo>
                  <a:pt x="199" y="619"/>
                </a:lnTo>
                <a:lnTo>
                  <a:pt x="199" y="617"/>
                </a:lnTo>
                <a:lnTo>
                  <a:pt x="199" y="617"/>
                </a:lnTo>
                <a:lnTo>
                  <a:pt x="199" y="614"/>
                </a:lnTo>
                <a:lnTo>
                  <a:pt x="199" y="614"/>
                </a:lnTo>
                <a:lnTo>
                  <a:pt x="196" y="612"/>
                </a:lnTo>
                <a:lnTo>
                  <a:pt x="196" y="612"/>
                </a:lnTo>
                <a:lnTo>
                  <a:pt x="196" y="610"/>
                </a:lnTo>
                <a:lnTo>
                  <a:pt x="196" y="610"/>
                </a:lnTo>
                <a:lnTo>
                  <a:pt x="196" y="602"/>
                </a:lnTo>
                <a:lnTo>
                  <a:pt x="196" y="602"/>
                </a:lnTo>
                <a:lnTo>
                  <a:pt x="192" y="600"/>
                </a:lnTo>
                <a:lnTo>
                  <a:pt x="192" y="600"/>
                </a:lnTo>
                <a:lnTo>
                  <a:pt x="184" y="592"/>
                </a:lnTo>
                <a:lnTo>
                  <a:pt x="184" y="592"/>
                </a:lnTo>
                <a:lnTo>
                  <a:pt x="184" y="592"/>
                </a:lnTo>
                <a:lnTo>
                  <a:pt x="187" y="592"/>
                </a:lnTo>
                <a:lnTo>
                  <a:pt x="187" y="592"/>
                </a:lnTo>
                <a:lnTo>
                  <a:pt x="194" y="595"/>
                </a:lnTo>
                <a:lnTo>
                  <a:pt x="194" y="595"/>
                </a:lnTo>
                <a:lnTo>
                  <a:pt x="196" y="595"/>
                </a:lnTo>
                <a:lnTo>
                  <a:pt x="196" y="595"/>
                </a:lnTo>
                <a:lnTo>
                  <a:pt x="199" y="595"/>
                </a:lnTo>
                <a:lnTo>
                  <a:pt x="199" y="595"/>
                </a:lnTo>
                <a:lnTo>
                  <a:pt x="204" y="595"/>
                </a:lnTo>
                <a:lnTo>
                  <a:pt x="204" y="595"/>
                </a:lnTo>
                <a:lnTo>
                  <a:pt x="214" y="595"/>
                </a:lnTo>
                <a:lnTo>
                  <a:pt x="214" y="595"/>
                </a:lnTo>
                <a:lnTo>
                  <a:pt x="216" y="597"/>
                </a:lnTo>
                <a:lnTo>
                  <a:pt x="216" y="597"/>
                </a:lnTo>
                <a:lnTo>
                  <a:pt x="216" y="600"/>
                </a:lnTo>
                <a:lnTo>
                  <a:pt x="216" y="600"/>
                </a:lnTo>
                <a:lnTo>
                  <a:pt x="221" y="605"/>
                </a:lnTo>
                <a:lnTo>
                  <a:pt x="221" y="605"/>
                </a:lnTo>
                <a:lnTo>
                  <a:pt x="223" y="605"/>
                </a:lnTo>
                <a:lnTo>
                  <a:pt x="223" y="605"/>
                </a:lnTo>
                <a:lnTo>
                  <a:pt x="223" y="607"/>
                </a:lnTo>
                <a:lnTo>
                  <a:pt x="223" y="607"/>
                </a:lnTo>
                <a:lnTo>
                  <a:pt x="228" y="612"/>
                </a:lnTo>
                <a:lnTo>
                  <a:pt x="228" y="612"/>
                </a:lnTo>
                <a:lnTo>
                  <a:pt x="228" y="614"/>
                </a:lnTo>
                <a:lnTo>
                  <a:pt x="228" y="614"/>
                </a:lnTo>
                <a:lnTo>
                  <a:pt x="223" y="614"/>
                </a:lnTo>
                <a:lnTo>
                  <a:pt x="223" y="614"/>
                </a:lnTo>
                <a:lnTo>
                  <a:pt x="221" y="617"/>
                </a:lnTo>
                <a:lnTo>
                  <a:pt x="221" y="617"/>
                </a:lnTo>
                <a:lnTo>
                  <a:pt x="216" y="617"/>
                </a:lnTo>
                <a:lnTo>
                  <a:pt x="216" y="617"/>
                </a:lnTo>
                <a:lnTo>
                  <a:pt x="214" y="619"/>
                </a:lnTo>
                <a:lnTo>
                  <a:pt x="214" y="619"/>
                </a:lnTo>
                <a:lnTo>
                  <a:pt x="216" y="619"/>
                </a:lnTo>
                <a:lnTo>
                  <a:pt x="216" y="619"/>
                </a:lnTo>
                <a:lnTo>
                  <a:pt x="214" y="622"/>
                </a:lnTo>
                <a:lnTo>
                  <a:pt x="214" y="622"/>
                </a:lnTo>
                <a:lnTo>
                  <a:pt x="211" y="622"/>
                </a:lnTo>
                <a:lnTo>
                  <a:pt x="211" y="622"/>
                </a:lnTo>
                <a:lnTo>
                  <a:pt x="211" y="624"/>
                </a:lnTo>
                <a:lnTo>
                  <a:pt x="211" y="624"/>
                </a:lnTo>
                <a:lnTo>
                  <a:pt x="211" y="627"/>
                </a:lnTo>
                <a:lnTo>
                  <a:pt x="211" y="627"/>
                </a:lnTo>
                <a:lnTo>
                  <a:pt x="214" y="629"/>
                </a:lnTo>
                <a:lnTo>
                  <a:pt x="214" y="629"/>
                </a:lnTo>
                <a:lnTo>
                  <a:pt x="221" y="634"/>
                </a:lnTo>
                <a:lnTo>
                  <a:pt x="221" y="634"/>
                </a:lnTo>
                <a:lnTo>
                  <a:pt x="226" y="641"/>
                </a:lnTo>
                <a:lnTo>
                  <a:pt x="226" y="641"/>
                </a:lnTo>
                <a:lnTo>
                  <a:pt x="228" y="641"/>
                </a:lnTo>
                <a:lnTo>
                  <a:pt x="228" y="641"/>
                </a:lnTo>
                <a:lnTo>
                  <a:pt x="233" y="639"/>
                </a:lnTo>
                <a:lnTo>
                  <a:pt x="233" y="639"/>
                </a:lnTo>
                <a:lnTo>
                  <a:pt x="236" y="644"/>
                </a:lnTo>
                <a:lnTo>
                  <a:pt x="236" y="644"/>
                </a:lnTo>
                <a:lnTo>
                  <a:pt x="236" y="641"/>
                </a:lnTo>
                <a:lnTo>
                  <a:pt x="236" y="641"/>
                </a:lnTo>
                <a:lnTo>
                  <a:pt x="241" y="641"/>
                </a:lnTo>
                <a:lnTo>
                  <a:pt x="241" y="641"/>
                </a:lnTo>
                <a:lnTo>
                  <a:pt x="241" y="639"/>
                </a:lnTo>
                <a:lnTo>
                  <a:pt x="241" y="639"/>
                </a:lnTo>
                <a:lnTo>
                  <a:pt x="246" y="637"/>
                </a:lnTo>
                <a:lnTo>
                  <a:pt x="246" y="637"/>
                </a:lnTo>
                <a:lnTo>
                  <a:pt x="248" y="634"/>
                </a:lnTo>
                <a:lnTo>
                  <a:pt x="248" y="634"/>
                </a:lnTo>
                <a:lnTo>
                  <a:pt x="246" y="629"/>
                </a:lnTo>
                <a:lnTo>
                  <a:pt x="246" y="629"/>
                </a:lnTo>
                <a:lnTo>
                  <a:pt x="248" y="624"/>
                </a:lnTo>
                <a:lnTo>
                  <a:pt x="248" y="624"/>
                </a:lnTo>
                <a:lnTo>
                  <a:pt x="248" y="622"/>
                </a:lnTo>
                <a:lnTo>
                  <a:pt x="248" y="622"/>
                </a:lnTo>
                <a:lnTo>
                  <a:pt x="246" y="619"/>
                </a:lnTo>
                <a:lnTo>
                  <a:pt x="246" y="619"/>
                </a:lnTo>
                <a:lnTo>
                  <a:pt x="246" y="619"/>
                </a:lnTo>
                <a:lnTo>
                  <a:pt x="255" y="617"/>
                </a:lnTo>
                <a:lnTo>
                  <a:pt x="255" y="617"/>
                </a:lnTo>
                <a:lnTo>
                  <a:pt x="255" y="617"/>
                </a:lnTo>
                <a:lnTo>
                  <a:pt x="260" y="617"/>
                </a:lnTo>
                <a:lnTo>
                  <a:pt x="260" y="617"/>
                </a:lnTo>
                <a:lnTo>
                  <a:pt x="260" y="614"/>
                </a:lnTo>
                <a:lnTo>
                  <a:pt x="260" y="614"/>
                </a:lnTo>
                <a:lnTo>
                  <a:pt x="255" y="612"/>
                </a:lnTo>
                <a:lnTo>
                  <a:pt x="255" y="612"/>
                </a:lnTo>
                <a:lnTo>
                  <a:pt x="255" y="610"/>
                </a:lnTo>
                <a:lnTo>
                  <a:pt x="255" y="610"/>
                </a:lnTo>
                <a:lnTo>
                  <a:pt x="258" y="610"/>
                </a:lnTo>
                <a:lnTo>
                  <a:pt x="258" y="610"/>
                </a:lnTo>
                <a:lnTo>
                  <a:pt x="258" y="612"/>
                </a:lnTo>
                <a:lnTo>
                  <a:pt x="258" y="612"/>
                </a:lnTo>
                <a:lnTo>
                  <a:pt x="263" y="610"/>
                </a:lnTo>
                <a:lnTo>
                  <a:pt x="263" y="610"/>
                </a:lnTo>
                <a:lnTo>
                  <a:pt x="268" y="602"/>
                </a:lnTo>
                <a:lnTo>
                  <a:pt x="268" y="602"/>
                </a:lnTo>
                <a:lnTo>
                  <a:pt x="270" y="602"/>
                </a:lnTo>
                <a:lnTo>
                  <a:pt x="270" y="602"/>
                </a:lnTo>
                <a:lnTo>
                  <a:pt x="275" y="595"/>
                </a:lnTo>
                <a:lnTo>
                  <a:pt x="275" y="595"/>
                </a:lnTo>
                <a:lnTo>
                  <a:pt x="275" y="592"/>
                </a:lnTo>
                <a:lnTo>
                  <a:pt x="275" y="592"/>
                </a:lnTo>
                <a:lnTo>
                  <a:pt x="278" y="592"/>
                </a:lnTo>
                <a:lnTo>
                  <a:pt x="278" y="592"/>
                </a:lnTo>
                <a:lnTo>
                  <a:pt x="280" y="592"/>
                </a:lnTo>
                <a:lnTo>
                  <a:pt x="280" y="592"/>
                </a:lnTo>
                <a:lnTo>
                  <a:pt x="285" y="590"/>
                </a:lnTo>
                <a:lnTo>
                  <a:pt x="285" y="590"/>
                </a:lnTo>
                <a:lnTo>
                  <a:pt x="285" y="590"/>
                </a:lnTo>
                <a:lnTo>
                  <a:pt x="292" y="587"/>
                </a:lnTo>
                <a:lnTo>
                  <a:pt x="292" y="587"/>
                </a:lnTo>
                <a:lnTo>
                  <a:pt x="292" y="590"/>
                </a:lnTo>
                <a:lnTo>
                  <a:pt x="292" y="590"/>
                </a:lnTo>
                <a:lnTo>
                  <a:pt x="292" y="590"/>
                </a:lnTo>
                <a:lnTo>
                  <a:pt x="295" y="592"/>
                </a:lnTo>
                <a:lnTo>
                  <a:pt x="295" y="592"/>
                </a:lnTo>
                <a:lnTo>
                  <a:pt x="292" y="592"/>
                </a:lnTo>
                <a:lnTo>
                  <a:pt x="292" y="592"/>
                </a:lnTo>
                <a:lnTo>
                  <a:pt x="295" y="595"/>
                </a:lnTo>
                <a:lnTo>
                  <a:pt x="295" y="595"/>
                </a:lnTo>
                <a:lnTo>
                  <a:pt x="297" y="592"/>
                </a:lnTo>
                <a:lnTo>
                  <a:pt x="297" y="592"/>
                </a:lnTo>
                <a:lnTo>
                  <a:pt x="297" y="590"/>
                </a:lnTo>
                <a:lnTo>
                  <a:pt x="297" y="590"/>
                </a:lnTo>
                <a:lnTo>
                  <a:pt x="297" y="587"/>
                </a:lnTo>
                <a:lnTo>
                  <a:pt x="297" y="587"/>
                </a:lnTo>
                <a:lnTo>
                  <a:pt x="295" y="585"/>
                </a:lnTo>
                <a:lnTo>
                  <a:pt x="295" y="585"/>
                </a:lnTo>
                <a:lnTo>
                  <a:pt x="295" y="585"/>
                </a:lnTo>
                <a:lnTo>
                  <a:pt x="300" y="580"/>
                </a:lnTo>
                <a:lnTo>
                  <a:pt x="300" y="580"/>
                </a:lnTo>
                <a:lnTo>
                  <a:pt x="300" y="578"/>
                </a:lnTo>
                <a:lnTo>
                  <a:pt x="300" y="578"/>
                </a:lnTo>
                <a:lnTo>
                  <a:pt x="302" y="580"/>
                </a:lnTo>
                <a:lnTo>
                  <a:pt x="302" y="580"/>
                </a:lnTo>
                <a:lnTo>
                  <a:pt x="300" y="582"/>
                </a:lnTo>
                <a:lnTo>
                  <a:pt x="300" y="582"/>
                </a:lnTo>
                <a:lnTo>
                  <a:pt x="300" y="582"/>
                </a:lnTo>
                <a:lnTo>
                  <a:pt x="302" y="585"/>
                </a:lnTo>
                <a:lnTo>
                  <a:pt x="302" y="585"/>
                </a:lnTo>
                <a:lnTo>
                  <a:pt x="305" y="585"/>
                </a:lnTo>
                <a:lnTo>
                  <a:pt x="305" y="585"/>
                </a:lnTo>
                <a:lnTo>
                  <a:pt x="305" y="582"/>
                </a:lnTo>
                <a:lnTo>
                  <a:pt x="305" y="582"/>
                </a:lnTo>
                <a:lnTo>
                  <a:pt x="305" y="582"/>
                </a:lnTo>
                <a:lnTo>
                  <a:pt x="302" y="578"/>
                </a:lnTo>
                <a:lnTo>
                  <a:pt x="302" y="578"/>
                </a:lnTo>
                <a:lnTo>
                  <a:pt x="302" y="578"/>
                </a:lnTo>
                <a:lnTo>
                  <a:pt x="305" y="575"/>
                </a:lnTo>
                <a:lnTo>
                  <a:pt x="305" y="575"/>
                </a:lnTo>
                <a:lnTo>
                  <a:pt x="312" y="573"/>
                </a:lnTo>
                <a:lnTo>
                  <a:pt x="312" y="573"/>
                </a:lnTo>
                <a:lnTo>
                  <a:pt x="319" y="570"/>
                </a:lnTo>
                <a:lnTo>
                  <a:pt x="319" y="570"/>
                </a:lnTo>
                <a:lnTo>
                  <a:pt x="319" y="573"/>
                </a:lnTo>
                <a:lnTo>
                  <a:pt x="319" y="573"/>
                </a:lnTo>
                <a:lnTo>
                  <a:pt x="317" y="573"/>
                </a:lnTo>
                <a:lnTo>
                  <a:pt x="317" y="573"/>
                </a:lnTo>
                <a:lnTo>
                  <a:pt x="315" y="573"/>
                </a:lnTo>
                <a:lnTo>
                  <a:pt x="315" y="573"/>
                </a:lnTo>
                <a:lnTo>
                  <a:pt x="307" y="578"/>
                </a:lnTo>
                <a:lnTo>
                  <a:pt x="307" y="578"/>
                </a:lnTo>
                <a:lnTo>
                  <a:pt x="310" y="578"/>
                </a:lnTo>
                <a:lnTo>
                  <a:pt x="310" y="578"/>
                </a:lnTo>
                <a:lnTo>
                  <a:pt x="312" y="578"/>
                </a:lnTo>
                <a:lnTo>
                  <a:pt x="312" y="578"/>
                </a:lnTo>
                <a:lnTo>
                  <a:pt x="312" y="578"/>
                </a:lnTo>
                <a:lnTo>
                  <a:pt x="317" y="580"/>
                </a:lnTo>
                <a:lnTo>
                  <a:pt x="317" y="580"/>
                </a:lnTo>
                <a:lnTo>
                  <a:pt x="315" y="582"/>
                </a:lnTo>
                <a:lnTo>
                  <a:pt x="315" y="582"/>
                </a:lnTo>
                <a:lnTo>
                  <a:pt x="315" y="582"/>
                </a:lnTo>
                <a:lnTo>
                  <a:pt x="315" y="587"/>
                </a:lnTo>
                <a:lnTo>
                  <a:pt x="315" y="587"/>
                </a:lnTo>
                <a:lnTo>
                  <a:pt x="315" y="587"/>
                </a:lnTo>
                <a:lnTo>
                  <a:pt x="312" y="587"/>
                </a:lnTo>
                <a:lnTo>
                  <a:pt x="312" y="587"/>
                </a:lnTo>
                <a:lnTo>
                  <a:pt x="307" y="592"/>
                </a:lnTo>
                <a:lnTo>
                  <a:pt x="307" y="592"/>
                </a:lnTo>
                <a:lnTo>
                  <a:pt x="310" y="595"/>
                </a:lnTo>
                <a:lnTo>
                  <a:pt x="310" y="595"/>
                </a:lnTo>
                <a:lnTo>
                  <a:pt x="312" y="595"/>
                </a:lnTo>
                <a:lnTo>
                  <a:pt x="312" y="595"/>
                </a:lnTo>
                <a:lnTo>
                  <a:pt x="315" y="595"/>
                </a:lnTo>
                <a:lnTo>
                  <a:pt x="315" y="595"/>
                </a:lnTo>
                <a:lnTo>
                  <a:pt x="315" y="595"/>
                </a:lnTo>
                <a:lnTo>
                  <a:pt x="317" y="592"/>
                </a:lnTo>
                <a:lnTo>
                  <a:pt x="317" y="592"/>
                </a:lnTo>
                <a:lnTo>
                  <a:pt x="322" y="595"/>
                </a:lnTo>
                <a:lnTo>
                  <a:pt x="322" y="595"/>
                </a:lnTo>
                <a:lnTo>
                  <a:pt x="322" y="597"/>
                </a:lnTo>
                <a:lnTo>
                  <a:pt x="322" y="597"/>
                </a:lnTo>
                <a:lnTo>
                  <a:pt x="322" y="595"/>
                </a:lnTo>
                <a:lnTo>
                  <a:pt x="322" y="595"/>
                </a:lnTo>
                <a:lnTo>
                  <a:pt x="324" y="590"/>
                </a:lnTo>
                <a:lnTo>
                  <a:pt x="324" y="590"/>
                </a:lnTo>
                <a:lnTo>
                  <a:pt x="327" y="590"/>
                </a:lnTo>
                <a:lnTo>
                  <a:pt x="327" y="590"/>
                </a:lnTo>
                <a:lnTo>
                  <a:pt x="329" y="592"/>
                </a:lnTo>
                <a:lnTo>
                  <a:pt x="329" y="592"/>
                </a:lnTo>
                <a:lnTo>
                  <a:pt x="332" y="595"/>
                </a:lnTo>
                <a:lnTo>
                  <a:pt x="332" y="595"/>
                </a:lnTo>
                <a:lnTo>
                  <a:pt x="332" y="592"/>
                </a:lnTo>
                <a:lnTo>
                  <a:pt x="332" y="592"/>
                </a:lnTo>
                <a:lnTo>
                  <a:pt x="332" y="590"/>
                </a:lnTo>
                <a:lnTo>
                  <a:pt x="332" y="590"/>
                </a:lnTo>
                <a:lnTo>
                  <a:pt x="332" y="590"/>
                </a:lnTo>
                <a:lnTo>
                  <a:pt x="329" y="587"/>
                </a:lnTo>
                <a:lnTo>
                  <a:pt x="329" y="587"/>
                </a:lnTo>
                <a:lnTo>
                  <a:pt x="329" y="585"/>
                </a:lnTo>
                <a:lnTo>
                  <a:pt x="329" y="585"/>
                </a:lnTo>
                <a:lnTo>
                  <a:pt x="332" y="582"/>
                </a:lnTo>
                <a:lnTo>
                  <a:pt x="332" y="582"/>
                </a:lnTo>
                <a:lnTo>
                  <a:pt x="334" y="582"/>
                </a:lnTo>
                <a:lnTo>
                  <a:pt x="334" y="582"/>
                </a:lnTo>
                <a:lnTo>
                  <a:pt x="337" y="580"/>
                </a:lnTo>
                <a:lnTo>
                  <a:pt x="337" y="580"/>
                </a:lnTo>
                <a:lnTo>
                  <a:pt x="339" y="578"/>
                </a:lnTo>
                <a:lnTo>
                  <a:pt x="339" y="578"/>
                </a:lnTo>
                <a:lnTo>
                  <a:pt x="342" y="580"/>
                </a:lnTo>
                <a:lnTo>
                  <a:pt x="342" y="580"/>
                </a:lnTo>
                <a:lnTo>
                  <a:pt x="344" y="580"/>
                </a:lnTo>
                <a:lnTo>
                  <a:pt x="344" y="580"/>
                </a:lnTo>
                <a:lnTo>
                  <a:pt x="347" y="580"/>
                </a:lnTo>
                <a:lnTo>
                  <a:pt x="347" y="580"/>
                </a:lnTo>
                <a:lnTo>
                  <a:pt x="349" y="580"/>
                </a:lnTo>
                <a:lnTo>
                  <a:pt x="349" y="580"/>
                </a:lnTo>
                <a:lnTo>
                  <a:pt x="354" y="580"/>
                </a:lnTo>
                <a:lnTo>
                  <a:pt x="354" y="580"/>
                </a:lnTo>
                <a:lnTo>
                  <a:pt x="356" y="578"/>
                </a:lnTo>
                <a:lnTo>
                  <a:pt x="356" y="578"/>
                </a:lnTo>
                <a:lnTo>
                  <a:pt x="356" y="575"/>
                </a:lnTo>
                <a:lnTo>
                  <a:pt x="356" y="575"/>
                </a:lnTo>
                <a:lnTo>
                  <a:pt x="359" y="575"/>
                </a:lnTo>
                <a:lnTo>
                  <a:pt x="359" y="575"/>
                </a:lnTo>
                <a:lnTo>
                  <a:pt x="361" y="575"/>
                </a:lnTo>
                <a:lnTo>
                  <a:pt x="361" y="575"/>
                </a:lnTo>
                <a:lnTo>
                  <a:pt x="364" y="573"/>
                </a:lnTo>
                <a:lnTo>
                  <a:pt x="364" y="573"/>
                </a:lnTo>
                <a:lnTo>
                  <a:pt x="366" y="570"/>
                </a:lnTo>
                <a:lnTo>
                  <a:pt x="366" y="570"/>
                </a:lnTo>
                <a:lnTo>
                  <a:pt x="369" y="570"/>
                </a:lnTo>
                <a:lnTo>
                  <a:pt x="369" y="570"/>
                </a:lnTo>
                <a:lnTo>
                  <a:pt x="371" y="565"/>
                </a:lnTo>
                <a:lnTo>
                  <a:pt x="371" y="565"/>
                </a:lnTo>
                <a:lnTo>
                  <a:pt x="374" y="565"/>
                </a:lnTo>
                <a:lnTo>
                  <a:pt x="374" y="565"/>
                </a:lnTo>
                <a:lnTo>
                  <a:pt x="376" y="563"/>
                </a:lnTo>
                <a:lnTo>
                  <a:pt x="376" y="563"/>
                </a:lnTo>
                <a:lnTo>
                  <a:pt x="376" y="565"/>
                </a:lnTo>
                <a:lnTo>
                  <a:pt x="376" y="565"/>
                </a:lnTo>
                <a:lnTo>
                  <a:pt x="374" y="568"/>
                </a:lnTo>
                <a:lnTo>
                  <a:pt x="374" y="568"/>
                </a:lnTo>
                <a:lnTo>
                  <a:pt x="376" y="568"/>
                </a:lnTo>
                <a:lnTo>
                  <a:pt x="376" y="568"/>
                </a:lnTo>
                <a:lnTo>
                  <a:pt x="378" y="573"/>
                </a:lnTo>
                <a:lnTo>
                  <a:pt x="378" y="573"/>
                </a:lnTo>
                <a:lnTo>
                  <a:pt x="381" y="573"/>
                </a:lnTo>
                <a:lnTo>
                  <a:pt x="381" y="573"/>
                </a:lnTo>
                <a:lnTo>
                  <a:pt x="378" y="575"/>
                </a:lnTo>
                <a:lnTo>
                  <a:pt x="378" y="575"/>
                </a:lnTo>
                <a:lnTo>
                  <a:pt x="378" y="578"/>
                </a:lnTo>
                <a:lnTo>
                  <a:pt x="378" y="578"/>
                </a:lnTo>
                <a:lnTo>
                  <a:pt x="378" y="580"/>
                </a:lnTo>
                <a:lnTo>
                  <a:pt x="378" y="580"/>
                </a:lnTo>
                <a:lnTo>
                  <a:pt x="381" y="582"/>
                </a:lnTo>
                <a:lnTo>
                  <a:pt x="381" y="582"/>
                </a:lnTo>
                <a:lnTo>
                  <a:pt x="388" y="582"/>
                </a:lnTo>
                <a:lnTo>
                  <a:pt x="388" y="582"/>
                </a:lnTo>
                <a:lnTo>
                  <a:pt x="388" y="582"/>
                </a:lnTo>
                <a:lnTo>
                  <a:pt x="388" y="580"/>
                </a:lnTo>
                <a:lnTo>
                  <a:pt x="388" y="580"/>
                </a:lnTo>
                <a:lnTo>
                  <a:pt x="388" y="580"/>
                </a:lnTo>
                <a:lnTo>
                  <a:pt x="386" y="575"/>
                </a:lnTo>
                <a:lnTo>
                  <a:pt x="386" y="575"/>
                </a:lnTo>
                <a:lnTo>
                  <a:pt x="386" y="573"/>
                </a:lnTo>
                <a:lnTo>
                  <a:pt x="386" y="573"/>
                </a:lnTo>
                <a:lnTo>
                  <a:pt x="388" y="573"/>
                </a:lnTo>
                <a:lnTo>
                  <a:pt x="388" y="573"/>
                </a:lnTo>
                <a:lnTo>
                  <a:pt x="391" y="573"/>
                </a:lnTo>
                <a:lnTo>
                  <a:pt x="391" y="573"/>
                </a:lnTo>
                <a:lnTo>
                  <a:pt x="396" y="573"/>
                </a:lnTo>
                <a:lnTo>
                  <a:pt x="396" y="573"/>
                </a:lnTo>
                <a:lnTo>
                  <a:pt x="396" y="565"/>
                </a:lnTo>
                <a:lnTo>
                  <a:pt x="396" y="565"/>
                </a:lnTo>
                <a:lnTo>
                  <a:pt x="398" y="565"/>
                </a:lnTo>
                <a:lnTo>
                  <a:pt x="398" y="565"/>
                </a:lnTo>
                <a:lnTo>
                  <a:pt x="401" y="568"/>
                </a:lnTo>
                <a:lnTo>
                  <a:pt x="401" y="568"/>
                </a:lnTo>
                <a:lnTo>
                  <a:pt x="403" y="568"/>
                </a:lnTo>
                <a:lnTo>
                  <a:pt x="403" y="568"/>
                </a:lnTo>
                <a:lnTo>
                  <a:pt x="401" y="563"/>
                </a:lnTo>
                <a:lnTo>
                  <a:pt x="401" y="563"/>
                </a:lnTo>
                <a:lnTo>
                  <a:pt x="396" y="563"/>
                </a:lnTo>
                <a:lnTo>
                  <a:pt x="396" y="563"/>
                </a:lnTo>
                <a:lnTo>
                  <a:pt x="396" y="560"/>
                </a:lnTo>
                <a:lnTo>
                  <a:pt x="396" y="560"/>
                </a:lnTo>
                <a:lnTo>
                  <a:pt x="393" y="555"/>
                </a:lnTo>
                <a:lnTo>
                  <a:pt x="393" y="555"/>
                </a:lnTo>
                <a:lnTo>
                  <a:pt x="391" y="555"/>
                </a:lnTo>
                <a:lnTo>
                  <a:pt x="391" y="555"/>
                </a:lnTo>
                <a:lnTo>
                  <a:pt x="391" y="558"/>
                </a:lnTo>
                <a:lnTo>
                  <a:pt x="391" y="558"/>
                </a:lnTo>
                <a:lnTo>
                  <a:pt x="388" y="555"/>
                </a:lnTo>
                <a:lnTo>
                  <a:pt x="388" y="555"/>
                </a:lnTo>
                <a:lnTo>
                  <a:pt x="388" y="548"/>
                </a:lnTo>
                <a:lnTo>
                  <a:pt x="388" y="548"/>
                </a:lnTo>
                <a:lnTo>
                  <a:pt x="386" y="548"/>
                </a:lnTo>
                <a:lnTo>
                  <a:pt x="386" y="548"/>
                </a:lnTo>
                <a:lnTo>
                  <a:pt x="383" y="543"/>
                </a:lnTo>
                <a:lnTo>
                  <a:pt x="383" y="543"/>
                </a:lnTo>
                <a:lnTo>
                  <a:pt x="383" y="543"/>
                </a:lnTo>
                <a:lnTo>
                  <a:pt x="386" y="543"/>
                </a:lnTo>
                <a:lnTo>
                  <a:pt x="386" y="543"/>
                </a:lnTo>
                <a:lnTo>
                  <a:pt x="386" y="538"/>
                </a:lnTo>
                <a:lnTo>
                  <a:pt x="386" y="538"/>
                </a:lnTo>
                <a:lnTo>
                  <a:pt x="386" y="536"/>
                </a:lnTo>
                <a:lnTo>
                  <a:pt x="386" y="536"/>
                </a:lnTo>
                <a:lnTo>
                  <a:pt x="386" y="533"/>
                </a:lnTo>
                <a:lnTo>
                  <a:pt x="386" y="533"/>
                </a:lnTo>
                <a:lnTo>
                  <a:pt x="388" y="536"/>
                </a:lnTo>
                <a:lnTo>
                  <a:pt x="388" y="536"/>
                </a:lnTo>
                <a:lnTo>
                  <a:pt x="391" y="533"/>
                </a:lnTo>
                <a:lnTo>
                  <a:pt x="391" y="533"/>
                </a:lnTo>
                <a:lnTo>
                  <a:pt x="393" y="536"/>
                </a:lnTo>
                <a:lnTo>
                  <a:pt x="393" y="536"/>
                </a:lnTo>
                <a:lnTo>
                  <a:pt x="396" y="536"/>
                </a:lnTo>
                <a:lnTo>
                  <a:pt x="396" y="536"/>
                </a:lnTo>
                <a:lnTo>
                  <a:pt x="398" y="536"/>
                </a:lnTo>
                <a:lnTo>
                  <a:pt x="398" y="536"/>
                </a:lnTo>
                <a:lnTo>
                  <a:pt x="410" y="536"/>
                </a:lnTo>
                <a:lnTo>
                  <a:pt x="410" y="536"/>
                </a:lnTo>
                <a:lnTo>
                  <a:pt x="425" y="536"/>
                </a:lnTo>
                <a:lnTo>
                  <a:pt x="425" y="536"/>
                </a:lnTo>
                <a:lnTo>
                  <a:pt x="430" y="538"/>
                </a:lnTo>
                <a:lnTo>
                  <a:pt x="430" y="538"/>
                </a:lnTo>
                <a:lnTo>
                  <a:pt x="440" y="543"/>
                </a:lnTo>
                <a:lnTo>
                  <a:pt x="440" y="543"/>
                </a:lnTo>
                <a:lnTo>
                  <a:pt x="440" y="543"/>
                </a:lnTo>
                <a:lnTo>
                  <a:pt x="440" y="546"/>
                </a:lnTo>
                <a:lnTo>
                  <a:pt x="440" y="546"/>
                </a:lnTo>
                <a:lnTo>
                  <a:pt x="440" y="550"/>
                </a:lnTo>
                <a:lnTo>
                  <a:pt x="440" y="550"/>
                </a:lnTo>
                <a:lnTo>
                  <a:pt x="445" y="546"/>
                </a:lnTo>
                <a:lnTo>
                  <a:pt x="445" y="546"/>
                </a:lnTo>
                <a:lnTo>
                  <a:pt x="447" y="546"/>
                </a:lnTo>
                <a:lnTo>
                  <a:pt x="447" y="546"/>
                </a:lnTo>
                <a:lnTo>
                  <a:pt x="450" y="548"/>
                </a:lnTo>
                <a:lnTo>
                  <a:pt x="450" y="548"/>
                </a:lnTo>
                <a:lnTo>
                  <a:pt x="452" y="548"/>
                </a:lnTo>
                <a:lnTo>
                  <a:pt x="452" y="548"/>
                </a:lnTo>
                <a:lnTo>
                  <a:pt x="455" y="550"/>
                </a:lnTo>
                <a:lnTo>
                  <a:pt x="455" y="550"/>
                </a:lnTo>
                <a:lnTo>
                  <a:pt x="460" y="550"/>
                </a:lnTo>
                <a:lnTo>
                  <a:pt x="460" y="550"/>
                </a:lnTo>
                <a:lnTo>
                  <a:pt x="467" y="555"/>
                </a:lnTo>
                <a:lnTo>
                  <a:pt x="467" y="555"/>
                </a:lnTo>
                <a:lnTo>
                  <a:pt x="477" y="558"/>
                </a:lnTo>
                <a:lnTo>
                  <a:pt x="477" y="558"/>
                </a:lnTo>
                <a:lnTo>
                  <a:pt x="479" y="560"/>
                </a:lnTo>
                <a:lnTo>
                  <a:pt x="479" y="560"/>
                </a:lnTo>
                <a:lnTo>
                  <a:pt x="482" y="563"/>
                </a:lnTo>
                <a:lnTo>
                  <a:pt x="482" y="563"/>
                </a:lnTo>
                <a:lnTo>
                  <a:pt x="487" y="565"/>
                </a:lnTo>
                <a:lnTo>
                  <a:pt x="487" y="565"/>
                </a:lnTo>
                <a:lnTo>
                  <a:pt x="489" y="568"/>
                </a:lnTo>
                <a:lnTo>
                  <a:pt x="489" y="568"/>
                </a:lnTo>
                <a:lnTo>
                  <a:pt x="494" y="575"/>
                </a:lnTo>
                <a:lnTo>
                  <a:pt x="494" y="575"/>
                </a:lnTo>
                <a:lnTo>
                  <a:pt x="497" y="575"/>
                </a:lnTo>
                <a:lnTo>
                  <a:pt x="497" y="575"/>
                </a:lnTo>
                <a:lnTo>
                  <a:pt x="497" y="573"/>
                </a:lnTo>
                <a:lnTo>
                  <a:pt x="497" y="573"/>
                </a:lnTo>
                <a:lnTo>
                  <a:pt x="497" y="570"/>
                </a:lnTo>
                <a:lnTo>
                  <a:pt x="497" y="570"/>
                </a:lnTo>
                <a:lnTo>
                  <a:pt x="499" y="570"/>
                </a:lnTo>
                <a:lnTo>
                  <a:pt x="499" y="570"/>
                </a:lnTo>
                <a:lnTo>
                  <a:pt x="499" y="568"/>
                </a:lnTo>
                <a:lnTo>
                  <a:pt x="499" y="568"/>
                </a:lnTo>
                <a:lnTo>
                  <a:pt x="497" y="565"/>
                </a:lnTo>
                <a:lnTo>
                  <a:pt x="497" y="565"/>
                </a:lnTo>
                <a:lnTo>
                  <a:pt x="497" y="563"/>
                </a:lnTo>
                <a:lnTo>
                  <a:pt x="497" y="563"/>
                </a:lnTo>
                <a:lnTo>
                  <a:pt x="497" y="553"/>
                </a:lnTo>
                <a:lnTo>
                  <a:pt x="497" y="553"/>
                </a:lnTo>
                <a:lnTo>
                  <a:pt x="501" y="550"/>
                </a:lnTo>
                <a:lnTo>
                  <a:pt x="501" y="550"/>
                </a:lnTo>
                <a:lnTo>
                  <a:pt x="497" y="553"/>
                </a:lnTo>
                <a:lnTo>
                  <a:pt x="497" y="553"/>
                </a:lnTo>
                <a:lnTo>
                  <a:pt x="497" y="550"/>
                </a:lnTo>
                <a:lnTo>
                  <a:pt x="497" y="550"/>
                </a:lnTo>
                <a:lnTo>
                  <a:pt x="494" y="550"/>
                </a:lnTo>
                <a:lnTo>
                  <a:pt x="494" y="550"/>
                </a:lnTo>
                <a:lnTo>
                  <a:pt x="492" y="553"/>
                </a:lnTo>
                <a:lnTo>
                  <a:pt x="492" y="553"/>
                </a:lnTo>
                <a:lnTo>
                  <a:pt x="489" y="550"/>
                </a:lnTo>
                <a:lnTo>
                  <a:pt x="489" y="550"/>
                </a:lnTo>
                <a:lnTo>
                  <a:pt x="482" y="543"/>
                </a:lnTo>
                <a:lnTo>
                  <a:pt x="482" y="543"/>
                </a:lnTo>
                <a:lnTo>
                  <a:pt x="482" y="543"/>
                </a:lnTo>
                <a:lnTo>
                  <a:pt x="479" y="541"/>
                </a:lnTo>
                <a:lnTo>
                  <a:pt x="479" y="541"/>
                </a:lnTo>
                <a:lnTo>
                  <a:pt x="479" y="536"/>
                </a:lnTo>
                <a:lnTo>
                  <a:pt x="479" y="536"/>
                </a:lnTo>
                <a:lnTo>
                  <a:pt x="477" y="533"/>
                </a:lnTo>
                <a:lnTo>
                  <a:pt x="477" y="533"/>
                </a:lnTo>
                <a:lnTo>
                  <a:pt x="474" y="538"/>
                </a:lnTo>
                <a:lnTo>
                  <a:pt x="474" y="538"/>
                </a:lnTo>
                <a:lnTo>
                  <a:pt x="470" y="536"/>
                </a:lnTo>
                <a:lnTo>
                  <a:pt x="470" y="536"/>
                </a:lnTo>
                <a:lnTo>
                  <a:pt x="467" y="536"/>
                </a:lnTo>
                <a:lnTo>
                  <a:pt x="467" y="536"/>
                </a:lnTo>
                <a:lnTo>
                  <a:pt x="465" y="533"/>
                </a:lnTo>
                <a:lnTo>
                  <a:pt x="465" y="533"/>
                </a:lnTo>
                <a:lnTo>
                  <a:pt x="462" y="536"/>
                </a:lnTo>
                <a:lnTo>
                  <a:pt x="462" y="536"/>
                </a:lnTo>
                <a:lnTo>
                  <a:pt x="462" y="531"/>
                </a:lnTo>
                <a:lnTo>
                  <a:pt x="462" y="531"/>
                </a:lnTo>
                <a:lnTo>
                  <a:pt x="460" y="528"/>
                </a:lnTo>
                <a:lnTo>
                  <a:pt x="460" y="528"/>
                </a:lnTo>
                <a:lnTo>
                  <a:pt x="457" y="521"/>
                </a:lnTo>
                <a:lnTo>
                  <a:pt x="457" y="521"/>
                </a:lnTo>
                <a:lnTo>
                  <a:pt x="457" y="519"/>
                </a:lnTo>
                <a:lnTo>
                  <a:pt x="457" y="519"/>
                </a:lnTo>
                <a:lnTo>
                  <a:pt x="460" y="521"/>
                </a:lnTo>
                <a:lnTo>
                  <a:pt x="460" y="521"/>
                </a:lnTo>
                <a:lnTo>
                  <a:pt x="462" y="519"/>
                </a:lnTo>
                <a:lnTo>
                  <a:pt x="462" y="519"/>
                </a:lnTo>
                <a:lnTo>
                  <a:pt x="462" y="516"/>
                </a:lnTo>
                <a:lnTo>
                  <a:pt x="462" y="516"/>
                </a:lnTo>
                <a:lnTo>
                  <a:pt x="457" y="511"/>
                </a:lnTo>
                <a:lnTo>
                  <a:pt x="457" y="511"/>
                </a:lnTo>
                <a:lnTo>
                  <a:pt x="457" y="509"/>
                </a:lnTo>
                <a:lnTo>
                  <a:pt x="457" y="509"/>
                </a:lnTo>
                <a:lnTo>
                  <a:pt x="457" y="506"/>
                </a:lnTo>
                <a:lnTo>
                  <a:pt x="457" y="506"/>
                </a:lnTo>
                <a:lnTo>
                  <a:pt x="460" y="506"/>
                </a:lnTo>
                <a:lnTo>
                  <a:pt x="460" y="506"/>
                </a:lnTo>
                <a:lnTo>
                  <a:pt x="457" y="504"/>
                </a:lnTo>
                <a:lnTo>
                  <a:pt x="457" y="504"/>
                </a:lnTo>
                <a:lnTo>
                  <a:pt x="455" y="504"/>
                </a:lnTo>
                <a:lnTo>
                  <a:pt x="455" y="504"/>
                </a:lnTo>
                <a:lnTo>
                  <a:pt x="452" y="496"/>
                </a:lnTo>
                <a:lnTo>
                  <a:pt x="452" y="496"/>
                </a:lnTo>
                <a:lnTo>
                  <a:pt x="450" y="496"/>
                </a:lnTo>
                <a:lnTo>
                  <a:pt x="450" y="496"/>
                </a:lnTo>
                <a:lnTo>
                  <a:pt x="447" y="496"/>
                </a:lnTo>
                <a:lnTo>
                  <a:pt x="447" y="496"/>
                </a:lnTo>
                <a:lnTo>
                  <a:pt x="445" y="494"/>
                </a:lnTo>
                <a:lnTo>
                  <a:pt x="445" y="494"/>
                </a:lnTo>
                <a:lnTo>
                  <a:pt x="445" y="489"/>
                </a:lnTo>
                <a:lnTo>
                  <a:pt x="445" y="489"/>
                </a:lnTo>
                <a:lnTo>
                  <a:pt x="447" y="487"/>
                </a:lnTo>
                <a:lnTo>
                  <a:pt x="447" y="487"/>
                </a:lnTo>
                <a:lnTo>
                  <a:pt x="445" y="482"/>
                </a:lnTo>
                <a:lnTo>
                  <a:pt x="445" y="482"/>
                </a:lnTo>
                <a:lnTo>
                  <a:pt x="445" y="479"/>
                </a:lnTo>
                <a:lnTo>
                  <a:pt x="445" y="479"/>
                </a:lnTo>
                <a:lnTo>
                  <a:pt x="445" y="479"/>
                </a:lnTo>
                <a:lnTo>
                  <a:pt x="452" y="469"/>
                </a:lnTo>
                <a:lnTo>
                  <a:pt x="452" y="469"/>
                </a:lnTo>
                <a:lnTo>
                  <a:pt x="455" y="467"/>
                </a:lnTo>
                <a:lnTo>
                  <a:pt x="455" y="467"/>
                </a:lnTo>
                <a:lnTo>
                  <a:pt x="455" y="467"/>
                </a:lnTo>
                <a:lnTo>
                  <a:pt x="455" y="462"/>
                </a:lnTo>
                <a:lnTo>
                  <a:pt x="455" y="462"/>
                </a:lnTo>
                <a:lnTo>
                  <a:pt x="455" y="459"/>
                </a:lnTo>
                <a:lnTo>
                  <a:pt x="455" y="459"/>
                </a:lnTo>
                <a:lnTo>
                  <a:pt x="457" y="455"/>
                </a:lnTo>
                <a:lnTo>
                  <a:pt x="457" y="455"/>
                </a:lnTo>
                <a:lnTo>
                  <a:pt x="455" y="452"/>
                </a:lnTo>
                <a:lnTo>
                  <a:pt x="455" y="452"/>
                </a:lnTo>
                <a:lnTo>
                  <a:pt x="452" y="447"/>
                </a:lnTo>
                <a:lnTo>
                  <a:pt x="452" y="447"/>
                </a:lnTo>
                <a:lnTo>
                  <a:pt x="455" y="445"/>
                </a:lnTo>
                <a:lnTo>
                  <a:pt x="455" y="445"/>
                </a:lnTo>
                <a:lnTo>
                  <a:pt x="452" y="442"/>
                </a:lnTo>
                <a:lnTo>
                  <a:pt x="452" y="442"/>
                </a:lnTo>
                <a:lnTo>
                  <a:pt x="455" y="437"/>
                </a:lnTo>
                <a:lnTo>
                  <a:pt x="455" y="437"/>
                </a:lnTo>
                <a:lnTo>
                  <a:pt x="452" y="437"/>
                </a:lnTo>
                <a:lnTo>
                  <a:pt x="452" y="437"/>
                </a:lnTo>
                <a:lnTo>
                  <a:pt x="452" y="430"/>
                </a:lnTo>
                <a:lnTo>
                  <a:pt x="452" y="430"/>
                </a:lnTo>
                <a:lnTo>
                  <a:pt x="455" y="430"/>
                </a:lnTo>
                <a:lnTo>
                  <a:pt x="455" y="430"/>
                </a:lnTo>
                <a:lnTo>
                  <a:pt x="452" y="425"/>
                </a:lnTo>
                <a:lnTo>
                  <a:pt x="452" y="425"/>
                </a:lnTo>
                <a:lnTo>
                  <a:pt x="452" y="420"/>
                </a:lnTo>
                <a:lnTo>
                  <a:pt x="452" y="420"/>
                </a:lnTo>
                <a:lnTo>
                  <a:pt x="452" y="415"/>
                </a:lnTo>
                <a:lnTo>
                  <a:pt x="452" y="415"/>
                </a:lnTo>
                <a:lnTo>
                  <a:pt x="455" y="413"/>
                </a:lnTo>
                <a:lnTo>
                  <a:pt x="455" y="413"/>
                </a:lnTo>
                <a:lnTo>
                  <a:pt x="457" y="415"/>
                </a:lnTo>
                <a:lnTo>
                  <a:pt x="457" y="415"/>
                </a:lnTo>
                <a:lnTo>
                  <a:pt x="457" y="415"/>
                </a:lnTo>
                <a:lnTo>
                  <a:pt x="457" y="418"/>
                </a:lnTo>
                <a:lnTo>
                  <a:pt x="457" y="418"/>
                </a:lnTo>
                <a:lnTo>
                  <a:pt x="460" y="415"/>
                </a:lnTo>
                <a:lnTo>
                  <a:pt x="460" y="415"/>
                </a:lnTo>
                <a:lnTo>
                  <a:pt x="465" y="415"/>
                </a:lnTo>
                <a:lnTo>
                  <a:pt x="465" y="415"/>
                </a:lnTo>
                <a:lnTo>
                  <a:pt x="470" y="415"/>
                </a:lnTo>
                <a:lnTo>
                  <a:pt x="470" y="415"/>
                </a:lnTo>
                <a:lnTo>
                  <a:pt x="472" y="415"/>
                </a:lnTo>
                <a:lnTo>
                  <a:pt x="472" y="415"/>
                </a:lnTo>
                <a:lnTo>
                  <a:pt x="474" y="415"/>
                </a:lnTo>
                <a:lnTo>
                  <a:pt x="474" y="415"/>
                </a:lnTo>
                <a:lnTo>
                  <a:pt x="477" y="413"/>
                </a:lnTo>
                <a:lnTo>
                  <a:pt x="477" y="413"/>
                </a:lnTo>
                <a:lnTo>
                  <a:pt x="479" y="415"/>
                </a:lnTo>
                <a:lnTo>
                  <a:pt x="479" y="415"/>
                </a:lnTo>
                <a:lnTo>
                  <a:pt x="489" y="418"/>
                </a:lnTo>
                <a:lnTo>
                  <a:pt x="489" y="418"/>
                </a:lnTo>
                <a:lnTo>
                  <a:pt x="494" y="418"/>
                </a:lnTo>
                <a:lnTo>
                  <a:pt x="494" y="418"/>
                </a:lnTo>
                <a:lnTo>
                  <a:pt x="497" y="418"/>
                </a:lnTo>
                <a:lnTo>
                  <a:pt x="497" y="418"/>
                </a:lnTo>
                <a:lnTo>
                  <a:pt x="497" y="423"/>
                </a:lnTo>
                <a:lnTo>
                  <a:pt x="497" y="423"/>
                </a:lnTo>
                <a:lnTo>
                  <a:pt x="494" y="423"/>
                </a:lnTo>
                <a:lnTo>
                  <a:pt x="494" y="423"/>
                </a:lnTo>
                <a:lnTo>
                  <a:pt x="497" y="425"/>
                </a:lnTo>
                <a:lnTo>
                  <a:pt x="497" y="425"/>
                </a:lnTo>
                <a:lnTo>
                  <a:pt x="497" y="430"/>
                </a:lnTo>
                <a:lnTo>
                  <a:pt x="497" y="430"/>
                </a:lnTo>
                <a:lnTo>
                  <a:pt x="499" y="432"/>
                </a:lnTo>
                <a:lnTo>
                  <a:pt x="499" y="432"/>
                </a:lnTo>
                <a:lnTo>
                  <a:pt x="499" y="437"/>
                </a:lnTo>
                <a:lnTo>
                  <a:pt x="499" y="437"/>
                </a:lnTo>
                <a:lnTo>
                  <a:pt x="501" y="442"/>
                </a:lnTo>
                <a:lnTo>
                  <a:pt x="501" y="442"/>
                </a:lnTo>
                <a:lnTo>
                  <a:pt x="499" y="450"/>
                </a:lnTo>
                <a:lnTo>
                  <a:pt x="499" y="450"/>
                </a:lnTo>
                <a:lnTo>
                  <a:pt x="501" y="452"/>
                </a:lnTo>
                <a:lnTo>
                  <a:pt x="501" y="452"/>
                </a:lnTo>
                <a:lnTo>
                  <a:pt x="499" y="455"/>
                </a:lnTo>
                <a:lnTo>
                  <a:pt x="499" y="455"/>
                </a:lnTo>
                <a:lnTo>
                  <a:pt x="501" y="457"/>
                </a:lnTo>
                <a:lnTo>
                  <a:pt x="501" y="457"/>
                </a:lnTo>
                <a:lnTo>
                  <a:pt x="501" y="459"/>
                </a:lnTo>
                <a:lnTo>
                  <a:pt x="501" y="459"/>
                </a:lnTo>
                <a:lnTo>
                  <a:pt x="499" y="462"/>
                </a:lnTo>
                <a:lnTo>
                  <a:pt x="499" y="462"/>
                </a:lnTo>
                <a:lnTo>
                  <a:pt x="499" y="464"/>
                </a:lnTo>
                <a:lnTo>
                  <a:pt x="499" y="464"/>
                </a:lnTo>
                <a:lnTo>
                  <a:pt x="504" y="467"/>
                </a:lnTo>
                <a:lnTo>
                  <a:pt x="504" y="467"/>
                </a:lnTo>
                <a:lnTo>
                  <a:pt x="506" y="472"/>
                </a:lnTo>
                <a:lnTo>
                  <a:pt x="506" y="472"/>
                </a:lnTo>
                <a:lnTo>
                  <a:pt x="509" y="472"/>
                </a:lnTo>
                <a:lnTo>
                  <a:pt x="509" y="472"/>
                </a:lnTo>
                <a:lnTo>
                  <a:pt x="509" y="474"/>
                </a:lnTo>
                <a:lnTo>
                  <a:pt x="509" y="474"/>
                </a:lnTo>
                <a:lnTo>
                  <a:pt x="511" y="472"/>
                </a:lnTo>
                <a:lnTo>
                  <a:pt x="511" y="472"/>
                </a:lnTo>
                <a:lnTo>
                  <a:pt x="514" y="474"/>
                </a:lnTo>
                <a:lnTo>
                  <a:pt x="514" y="474"/>
                </a:lnTo>
                <a:lnTo>
                  <a:pt x="514" y="479"/>
                </a:lnTo>
                <a:lnTo>
                  <a:pt x="514" y="479"/>
                </a:lnTo>
                <a:lnTo>
                  <a:pt x="519" y="482"/>
                </a:lnTo>
                <a:lnTo>
                  <a:pt x="519" y="482"/>
                </a:lnTo>
                <a:lnTo>
                  <a:pt x="521" y="487"/>
                </a:lnTo>
                <a:lnTo>
                  <a:pt x="521" y="487"/>
                </a:lnTo>
                <a:lnTo>
                  <a:pt x="521" y="496"/>
                </a:lnTo>
                <a:lnTo>
                  <a:pt x="521" y="496"/>
                </a:lnTo>
                <a:lnTo>
                  <a:pt x="524" y="499"/>
                </a:lnTo>
                <a:lnTo>
                  <a:pt x="524" y="499"/>
                </a:lnTo>
                <a:lnTo>
                  <a:pt x="524" y="499"/>
                </a:lnTo>
                <a:lnTo>
                  <a:pt x="524" y="501"/>
                </a:lnTo>
                <a:lnTo>
                  <a:pt x="524" y="501"/>
                </a:lnTo>
                <a:lnTo>
                  <a:pt x="526" y="506"/>
                </a:lnTo>
                <a:lnTo>
                  <a:pt x="526" y="506"/>
                </a:lnTo>
                <a:lnTo>
                  <a:pt x="526" y="511"/>
                </a:lnTo>
                <a:lnTo>
                  <a:pt x="526" y="511"/>
                </a:lnTo>
                <a:lnTo>
                  <a:pt x="531" y="519"/>
                </a:lnTo>
                <a:lnTo>
                  <a:pt x="531" y="519"/>
                </a:lnTo>
                <a:lnTo>
                  <a:pt x="529" y="521"/>
                </a:lnTo>
                <a:lnTo>
                  <a:pt x="529" y="521"/>
                </a:lnTo>
                <a:lnTo>
                  <a:pt x="531" y="526"/>
                </a:lnTo>
                <a:lnTo>
                  <a:pt x="531" y="526"/>
                </a:lnTo>
                <a:lnTo>
                  <a:pt x="536" y="526"/>
                </a:lnTo>
                <a:lnTo>
                  <a:pt x="536" y="526"/>
                </a:lnTo>
                <a:lnTo>
                  <a:pt x="533" y="531"/>
                </a:lnTo>
                <a:lnTo>
                  <a:pt x="533" y="531"/>
                </a:lnTo>
                <a:lnTo>
                  <a:pt x="536" y="531"/>
                </a:lnTo>
                <a:lnTo>
                  <a:pt x="536" y="531"/>
                </a:lnTo>
                <a:lnTo>
                  <a:pt x="536" y="538"/>
                </a:lnTo>
                <a:lnTo>
                  <a:pt x="536" y="538"/>
                </a:lnTo>
                <a:lnTo>
                  <a:pt x="543" y="546"/>
                </a:lnTo>
                <a:lnTo>
                  <a:pt x="543" y="546"/>
                </a:lnTo>
                <a:lnTo>
                  <a:pt x="548" y="548"/>
                </a:lnTo>
                <a:lnTo>
                  <a:pt x="548" y="548"/>
                </a:lnTo>
                <a:lnTo>
                  <a:pt x="548" y="550"/>
                </a:lnTo>
                <a:lnTo>
                  <a:pt x="548" y="550"/>
                </a:lnTo>
                <a:lnTo>
                  <a:pt x="551" y="550"/>
                </a:lnTo>
                <a:lnTo>
                  <a:pt x="551" y="550"/>
                </a:lnTo>
                <a:lnTo>
                  <a:pt x="556" y="555"/>
                </a:lnTo>
                <a:lnTo>
                  <a:pt x="556" y="555"/>
                </a:lnTo>
                <a:lnTo>
                  <a:pt x="556" y="558"/>
                </a:lnTo>
                <a:lnTo>
                  <a:pt x="556" y="558"/>
                </a:lnTo>
                <a:lnTo>
                  <a:pt x="556" y="558"/>
                </a:lnTo>
                <a:lnTo>
                  <a:pt x="556" y="560"/>
                </a:lnTo>
                <a:lnTo>
                  <a:pt x="556" y="560"/>
                </a:lnTo>
                <a:lnTo>
                  <a:pt x="553" y="565"/>
                </a:lnTo>
                <a:lnTo>
                  <a:pt x="553" y="565"/>
                </a:lnTo>
                <a:lnTo>
                  <a:pt x="556" y="570"/>
                </a:lnTo>
                <a:lnTo>
                  <a:pt x="556" y="570"/>
                </a:lnTo>
                <a:lnTo>
                  <a:pt x="561" y="573"/>
                </a:lnTo>
                <a:lnTo>
                  <a:pt x="561" y="573"/>
                </a:lnTo>
                <a:lnTo>
                  <a:pt x="561" y="578"/>
                </a:lnTo>
                <a:lnTo>
                  <a:pt x="561" y="578"/>
                </a:lnTo>
                <a:lnTo>
                  <a:pt x="558" y="580"/>
                </a:lnTo>
                <a:lnTo>
                  <a:pt x="558" y="580"/>
                </a:lnTo>
                <a:lnTo>
                  <a:pt x="558" y="582"/>
                </a:lnTo>
                <a:lnTo>
                  <a:pt x="558" y="582"/>
                </a:lnTo>
                <a:lnTo>
                  <a:pt x="556" y="585"/>
                </a:lnTo>
                <a:lnTo>
                  <a:pt x="556" y="585"/>
                </a:lnTo>
                <a:lnTo>
                  <a:pt x="556" y="587"/>
                </a:lnTo>
                <a:lnTo>
                  <a:pt x="556" y="587"/>
                </a:lnTo>
                <a:lnTo>
                  <a:pt x="556" y="592"/>
                </a:lnTo>
                <a:lnTo>
                  <a:pt x="556" y="592"/>
                </a:lnTo>
                <a:lnTo>
                  <a:pt x="553" y="595"/>
                </a:lnTo>
                <a:lnTo>
                  <a:pt x="553" y="595"/>
                </a:lnTo>
                <a:lnTo>
                  <a:pt x="553" y="597"/>
                </a:lnTo>
                <a:lnTo>
                  <a:pt x="553" y="597"/>
                </a:lnTo>
                <a:lnTo>
                  <a:pt x="556" y="595"/>
                </a:lnTo>
                <a:lnTo>
                  <a:pt x="556" y="595"/>
                </a:lnTo>
                <a:lnTo>
                  <a:pt x="556" y="597"/>
                </a:lnTo>
                <a:lnTo>
                  <a:pt x="556" y="597"/>
                </a:lnTo>
                <a:lnTo>
                  <a:pt x="553" y="600"/>
                </a:lnTo>
                <a:lnTo>
                  <a:pt x="553" y="600"/>
                </a:lnTo>
                <a:lnTo>
                  <a:pt x="553" y="607"/>
                </a:lnTo>
                <a:lnTo>
                  <a:pt x="553" y="607"/>
                </a:lnTo>
                <a:lnTo>
                  <a:pt x="551" y="607"/>
                </a:lnTo>
                <a:lnTo>
                  <a:pt x="551" y="607"/>
                </a:lnTo>
                <a:lnTo>
                  <a:pt x="548" y="607"/>
                </a:lnTo>
                <a:lnTo>
                  <a:pt x="548" y="607"/>
                </a:lnTo>
                <a:lnTo>
                  <a:pt x="548" y="610"/>
                </a:lnTo>
                <a:lnTo>
                  <a:pt x="548" y="610"/>
                </a:lnTo>
                <a:lnTo>
                  <a:pt x="551" y="612"/>
                </a:lnTo>
                <a:lnTo>
                  <a:pt x="551" y="612"/>
                </a:lnTo>
                <a:lnTo>
                  <a:pt x="551" y="614"/>
                </a:lnTo>
                <a:lnTo>
                  <a:pt x="551" y="614"/>
                </a:lnTo>
                <a:lnTo>
                  <a:pt x="548" y="617"/>
                </a:lnTo>
                <a:lnTo>
                  <a:pt x="548" y="617"/>
                </a:lnTo>
                <a:lnTo>
                  <a:pt x="546" y="619"/>
                </a:lnTo>
                <a:lnTo>
                  <a:pt x="546" y="619"/>
                </a:lnTo>
                <a:lnTo>
                  <a:pt x="538" y="619"/>
                </a:lnTo>
                <a:lnTo>
                  <a:pt x="538" y="619"/>
                </a:lnTo>
                <a:lnTo>
                  <a:pt x="536" y="617"/>
                </a:lnTo>
                <a:lnTo>
                  <a:pt x="536" y="617"/>
                </a:lnTo>
                <a:lnTo>
                  <a:pt x="541" y="614"/>
                </a:lnTo>
                <a:lnTo>
                  <a:pt x="541" y="614"/>
                </a:lnTo>
                <a:lnTo>
                  <a:pt x="541" y="612"/>
                </a:lnTo>
                <a:lnTo>
                  <a:pt x="541" y="612"/>
                </a:lnTo>
                <a:lnTo>
                  <a:pt x="538" y="612"/>
                </a:lnTo>
                <a:lnTo>
                  <a:pt x="538" y="612"/>
                </a:lnTo>
                <a:lnTo>
                  <a:pt x="538" y="614"/>
                </a:lnTo>
                <a:lnTo>
                  <a:pt x="538" y="614"/>
                </a:lnTo>
                <a:lnTo>
                  <a:pt x="536" y="614"/>
                </a:lnTo>
                <a:lnTo>
                  <a:pt x="536" y="614"/>
                </a:lnTo>
                <a:lnTo>
                  <a:pt x="529" y="610"/>
                </a:lnTo>
                <a:lnTo>
                  <a:pt x="529" y="610"/>
                </a:lnTo>
                <a:lnTo>
                  <a:pt x="526" y="612"/>
                </a:lnTo>
                <a:lnTo>
                  <a:pt x="526" y="612"/>
                </a:lnTo>
                <a:lnTo>
                  <a:pt x="519" y="614"/>
                </a:lnTo>
                <a:lnTo>
                  <a:pt x="519" y="614"/>
                </a:lnTo>
                <a:lnTo>
                  <a:pt x="514" y="614"/>
                </a:lnTo>
                <a:lnTo>
                  <a:pt x="514" y="614"/>
                </a:lnTo>
                <a:lnTo>
                  <a:pt x="511" y="617"/>
                </a:lnTo>
                <a:lnTo>
                  <a:pt x="511" y="617"/>
                </a:lnTo>
                <a:lnTo>
                  <a:pt x="514" y="617"/>
                </a:lnTo>
                <a:lnTo>
                  <a:pt x="514" y="617"/>
                </a:lnTo>
                <a:lnTo>
                  <a:pt x="514" y="619"/>
                </a:lnTo>
                <a:lnTo>
                  <a:pt x="514" y="619"/>
                </a:lnTo>
                <a:lnTo>
                  <a:pt x="516" y="617"/>
                </a:lnTo>
                <a:lnTo>
                  <a:pt x="516" y="617"/>
                </a:lnTo>
                <a:lnTo>
                  <a:pt x="521" y="614"/>
                </a:lnTo>
                <a:lnTo>
                  <a:pt x="521" y="614"/>
                </a:lnTo>
                <a:lnTo>
                  <a:pt x="521" y="619"/>
                </a:lnTo>
                <a:lnTo>
                  <a:pt x="521" y="619"/>
                </a:lnTo>
                <a:lnTo>
                  <a:pt x="526" y="622"/>
                </a:lnTo>
                <a:lnTo>
                  <a:pt x="526" y="622"/>
                </a:lnTo>
                <a:lnTo>
                  <a:pt x="538" y="624"/>
                </a:lnTo>
                <a:lnTo>
                  <a:pt x="538" y="624"/>
                </a:lnTo>
                <a:lnTo>
                  <a:pt x="543" y="627"/>
                </a:lnTo>
                <a:lnTo>
                  <a:pt x="543" y="627"/>
                </a:lnTo>
                <a:lnTo>
                  <a:pt x="548" y="624"/>
                </a:lnTo>
                <a:lnTo>
                  <a:pt x="548" y="624"/>
                </a:lnTo>
                <a:lnTo>
                  <a:pt x="553" y="624"/>
                </a:lnTo>
                <a:lnTo>
                  <a:pt x="553" y="624"/>
                </a:lnTo>
                <a:lnTo>
                  <a:pt x="556" y="627"/>
                </a:lnTo>
                <a:lnTo>
                  <a:pt x="556" y="627"/>
                </a:lnTo>
                <a:lnTo>
                  <a:pt x="561" y="627"/>
                </a:lnTo>
                <a:lnTo>
                  <a:pt x="561" y="627"/>
                </a:lnTo>
                <a:lnTo>
                  <a:pt x="565" y="624"/>
                </a:lnTo>
                <a:lnTo>
                  <a:pt x="565" y="624"/>
                </a:lnTo>
                <a:lnTo>
                  <a:pt x="565" y="622"/>
                </a:lnTo>
                <a:lnTo>
                  <a:pt x="565" y="622"/>
                </a:lnTo>
                <a:lnTo>
                  <a:pt x="563" y="619"/>
                </a:lnTo>
                <a:lnTo>
                  <a:pt x="563" y="619"/>
                </a:lnTo>
                <a:lnTo>
                  <a:pt x="563" y="614"/>
                </a:lnTo>
                <a:lnTo>
                  <a:pt x="563" y="614"/>
                </a:lnTo>
                <a:lnTo>
                  <a:pt x="565" y="612"/>
                </a:lnTo>
                <a:lnTo>
                  <a:pt x="565" y="612"/>
                </a:lnTo>
                <a:lnTo>
                  <a:pt x="568" y="612"/>
                </a:lnTo>
                <a:lnTo>
                  <a:pt x="568" y="612"/>
                </a:lnTo>
                <a:lnTo>
                  <a:pt x="568" y="610"/>
                </a:lnTo>
                <a:lnTo>
                  <a:pt x="568" y="610"/>
                </a:lnTo>
                <a:lnTo>
                  <a:pt x="573" y="605"/>
                </a:lnTo>
                <a:lnTo>
                  <a:pt x="573" y="605"/>
                </a:lnTo>
                <a:lnTo>
                  <a:pt x="573" y="602"/>
                </a:lnTo>
                <a:lnTo>
                  <a:pt x="573" y="602"/>
                </a:lnTo>
                <a:lnTo>
                  <a:pt x="575" y="595"/>
                </a:lnTo>
                <a:lnTo>
                  <a:pt x="575" y="595"/>
                </a:lnTo>
                <a:lnTo>
                  <a:pt x="573" y="590"/>
                </a:lnTo>
                <a:lnTo>
                  <a:pt x="573" y="590"/>
                </a:lnTo>
                <a:lnTo>
                  <a:pt x="573" y="585"/>
                </a:lnTo>
                <a:lnTo>
                  <a:pt x="573" y="585"/>
                </a:lnTo>
                <a:lnTo>
                  <a:pt x="578" y="578"/>
                </a:lnTo>
                <a:lnTo>
                  <a:pt x="578" y="578"/>
                </a:lnTo>
                <a:lnTo>
                  <a:pt x="580" y="575"/>
                </a:lnTo>
                <a:lnTo>
                  <a:pt x="580" y="575"/>
                </a:lnTo>
                <a:lnTo>
                  <a:pt x="575" y="563"/>
                </a:lnTo>
                <a:lnTo>
                  <a:pt x="575" y="563"/>
                </a:lnTo>
                <a:lnTo>
                  <a:pt x="568" y="558"/>
                </a:lnTo>
                <a:lnTo>
                  <a:pt x="568" y="558"/>
                </a:lnTo>
                <a:lnTo>
                  <a:pt x="565" y="555"/>
                </a:lnTo>
                <a:lnTo>
                  <a:pt x="565" y="555"/>
                </a:lnTo>
                <a:lnTo>
                  <a:pt x="565" y="548"/>
                </a:lnTo>
                <a:lnTo>
                  <a:pt x="565" y="548"/>
                </a:lnTo>
                <a:lnTo>
                  <a:pt x="570" y="543"/>
                </a:lnTo>
                <a:lnTo>
                  <a:pt x="570" y="543"/>
                </a:lnTo>
                <a:lnTo>
                  <a:pt x="573" y="541"/>
                </a:lnTo>
                <a:lnTo>
                  <a:pt x="573" y="541"/>
                </a:lnTo>
                <a:lnTo>
                  <a:pt x="578" y="541"/>
                </a:lnTo>
                <a:lnTo>
                  <a:pt x="578" y="541"/>
                </a:lnTo>
                <a:lnTo>
                  <a:pt x="583" y="533"/>
                </a:lnTo>
                <a:lnTo>
                  <a:pt x="583" y="533"/>
                </a:lnTo>
                <a:lnTo>
                  <a:pt x="588" y="533"/>
                </a:lnTo>
                <a:lnTo>
                  <a:pt x="588" y="533"/>
                </a:lnTo>
                <a:lnTo>
                  <a:pt x="593" y="538"/>
                </a:lnTo>
                <a:lnTo>
                  <a:pt x="593" y="538"/>
                </a:lnTo>
                <a:lnTo>
                  <a:pt x="593" y="543"/>
                </a:lnTo>
                <a:lnTo>
                  <a:pt x="593" y="543"/>
                </a:lnTo>
                <a:lnTo>
                  <a:pt x="597" y="546"/>
                </a:lnTo>
                <a:lnTo>
                  <a:pt x="597" y="546"/>
                </a:lnTo>
                <a:lnTo>
                  <a:pt x="600" y="548"/>
                </a:lnTo>
                <a:lnTo>
                  <a:pt x="600" y="548"/>
                </a:lnTo>
                <a:lnTo>
                  <a:pt x="600" y="548"/>
                </a:lnTo>
                <a:lnTo>
                  <a:pt x="605" y="550"/>
                </a:lnTo>
                <a:lnTo>
                  <a:pt x="605" y="550"/>
                </a:lnTo>
                <a:lnTo>
                  <a:pt x="602" y="555"/>
                </a:lnTo>
                <a:lnTo>
                  <a:pt x="602" y="555"/>
                </a:lnTo>
                <a:lnTo>
                  <a:pt x="607" y="558"/>
                </a:lnTo>
                <a:lnTo>
                  <a:pt x="607" y="558"/>
                </a:lnTo>
                <a:lnTo>
                  <a:pt x="607" y="560"/>
                </a:lnTo>
                <a:lnTo>
                  <a:pt x="607" y="560"/>
                </a:lnTo>
                <a:lnTo>
                  <a:pt x="610" y="565"/>
                </a:lnTo>
                <a:lnTo>
                  <a:pt x="610" y="565"/>
                </a:lnTo>
                <a:lnTo>
                  <a:pt x="610" y="568"/>
                </a:lnTo>
                <a:lnTo>
                  <a:pt x="610" y="568"/>
                </a:lnTo>
                <a:lnTo>
                  <a:pt x="610" y="570"/>
                </a:lnTo>
                <a:lnTo>
                  <a:pt x="610" y="570"/>
                </a:lnTo>
                <a:lnTo>
                  <a:pt x="612" y="573"/>
                </a:lnTo>
                <a:lnTo>
                  <a:pt x="612" y="573"/>
                </a:lnTo>
                <a:lnTo>
                  <a:pt x="615" y="573"/>
                </a:lnTo>
                <a:lnTo>
                  <a:pt x="615" y="573"/>
                </a:lnTo>
                <a:lnTo>
                  <a:pt x="620" y="575"/>
                </a:lnTo>
                <a:lnTo>
                  <a:pt x="620" y="575"/>
                </a:lnTo>
                <a:lnTo>
                  <a:pt x="624" y="575"/>
                </a:lnTo>
                <a:lnTo>
                  <a:pt x="624" y="575"/>
                </a:lnTo>
                <a:lnTo>
                  <a:pt x="627" y="575"/>
                </a:lnTo>
                <a:lnTo>
                  <a:pt x="627" y="575"/>
                </a:lnTo>
                <a:lnTo>
                  <a:pt x="629" y="575"/>
                </a:lnTo>
                <a:lnTo>
                  <a:pt x="629" y="575"/>
                </a:lnTo>
                <a:lnTo>
                  <a:pt x="632" y="573"/>
                </a:lnTo>
                <a:lnTo>
                  <a:pt x="632" y="573"/>
                </a:lnTo>
                <a:lnTo>
                  <a:pt x="634" y="570"/>
                </a:lnTo>
                <a:lnTo>
                  <a:pt x="634" y="570"/>
                </a:lnTo>
                <a:lnTo>
                  <a:pt x="632" y="570"/>
                </a:lnTo>
                <a:lnTo>
                  <a:pt x="632" y="570"/>
                </a:lnTo>
                <a:lnTo>
                  <a:pt x="629" y="570"/>
                </a:lnTo>
                <a:lnTo>
                  <a:pt x="629" y="570"/>
                </a:lnTo>
                <a:lnTo>
                  <a:pt x="627" y="568"/>
                </a:lnTo>
                <a:lnTo>
                  <a:pt x="627" y="568"/>
                </a:lnTo>
                <a:lnTo>
                  <a:pt x="624" y="573"/>
                </a:lnTo>
                <a:lnTo>
                  <a:pt x="624" y="573"/>
                </a:lnTo>
                <a:lnTo>
                  <a:pt x="620" y="573"/>
                </a:lnTo>
                <a:lnTo>
                  <a:pt x="620" y="573"/>
                </a:lnTo>
                <a:lnTo>
                  <a:pt x="620" y="570"/>
                </a:lnTo>
                <a:lnTo>
                  <a:pt x="620" y="570"/>
                </a:lnTo>
                <a:lnTo>
                  <a:pt x="615" y="570"/>
                </a:lnTo>
                <a:lnTo>
                  <a:pt x="615" y="570"/>
                </a:lnTo>
                <a:lnTo>
                  <a:pt x="612" y="568"/>
                </a:lnTo>
                <a:lnTo>
                  <a:pt x="612" y="568"/>
                </a:lnTo>
                <a:lnTo>
                  <a:pt x="615" y="565"/>
                </a:lnTo>
                <a:lnTo>
                  <a:pt x="615" y="565"/>
                </a:lnTo>
                <a:lnTo>
                  <a:pt x="612" y="563"/>
                </a:lnTo>
                <a:lnTo>
                  <a:pt x="612" y="563"/>
                </a:lnTo>
                <a:lnTo>
                  <a:pt x="610" y="560"/>
                </a:lnTo>
                <a:lnTo>
                  <a:pt x="610" y="560"/>
                </a:lnTo>
                <a:lnTo>
                  <a:pt x="610" y="553"/>
                </a:lnTo>
                <a:lnTo>
                  <a:pt x="610" y="553"/>
                </a:lnTo>
                <a:lnTo>
                  <a:pt x="615" y="553"/>
                </a:lnTo>
                <a:lnTo>
                  <a:pt x="615" y="553"/>
                </a:lnTo>
                <a:lnTo>
                  <a:pt x="617" y="550"/>
                </a:lnTo>
                <a:lnTo>
                  <a:pt x="617" y="550"/>
                </a:lnTo>
                <a:lnTo>
                  <a:pt x="615" y="550"/>
                </a:lnTo>
                <a:lnTo>
                  <a:pt x="615" y="550"/>
                </a:lnTo>
                <a:lnTo>
                  <a:pt x="612" y="548"/>
                </a:lnTo>
                <a:lnTo>
                  <a:pt x="612" y="548"/>
                </a:lnTo>
                <a:lnTo>
                  <a:pt x="612" y="546"/>
                </a:lnTo>
                <a:lnTo>
                  <a:pt x="612" y="546"/>
                </a:lnTo>
                <a:lnTo>
                  <a:pt x="612" y="543"/>
                </a:lnTo>
                <a:lnTo>
                  <a:pt x="612" y="543"/>
                </a:lnTo>
                <a:lnTo>
                  <a:pt x="607" y="541"/>
                </a:lnTo>
                <a:lnTo>
                  <a:pt x="607" y="541"/>
                </a:lnTo>
                <a:lnTo>
                  <a:pt x="607" y="538"/>
                </a:lnTo>
                <a:lnTo>
                  <a:pt x="607" y="538"/>
                </a:lnTo>
                <a:lnTo>
                  <a:pt x="602" y="533"/>
                </a:lnTo>
                <a:lnTo>
                  <a:pt x="602" y="533"/>
                </a:lnTo>
                <a:lnTo>
                  <a:pt x="597" y="533"/>
                </a:lnTo>
                <a:lnTo>
                  <a:pt x="597" y="533"/>
                </a:lnTo>
                <a:lnTo>
                  <a:pt x="590" y="531"/>
                </a:lnTo>
                <a:lnTo>
                  <a:pt x="590" y="531"/>
                </a:lnTo>
                <a:lnTo>
                  <a:pt x="588" y="528"/>
                </a:lnTo>
                <a:lnTo>
                  <a:pt x="588" y="528"/>
                </a:lnTo>
                <a:lnTo>
                  <a:pt x="585" y="528"/>
                </a:lnTo>
                <a:lnTo>
                  <a:pt x="585" y="528"/>
                </a:lnTo>
                <a:lnTo>
                  <a:pt x="580" y="526"/>
                </a:lnTo>
                <a:lnTo>
                  <a:pt x="580" y="526"/>
                </a:lnTo>
                <a:lnTo>
                  <a:pt x="575" y="526"/>
                </a:lnTo>
                <a:lnTo>
                  <a:pt x="575" y="526"/>
                </a:lnTo>
                <a:lnTo>
                  <a:pt x="573" y="526"/>
                </a:lnTo>
                <a:lnTo>
                  <a:pt x="573" y="526"/>
                </a:lnTo>
                <a:lnTo>
                  <a:pt x="568" y="528"/>
                </a:lnTo>
                <a:lnTo>
                  <a:pt x="568" y="528"/>
                </a:lnTo>
                <a:lnTo>
                  <a:pt x="568" y="533"/>
                </a:lnTo>
                <a:lnTo>
                  <a:pt x="568" y="533"/>
                </a:lnTo>
                <a:lnTo>
                  <a:pt x="565" y="536"/>
                </a:lnTo>
                <a:lnTo>
                  <a:pt x="565" y="536"/>
                </a:lnTo>
                <a:lnTo>
                  <a:pt x="561" y="533"/>
                </a:lnTo>
                <a:lnTo>
                  <a:pt x="561" y="533"/>
                </a:lnTo>
                <a:lnTo>
                  <a:pt x="556" y="536"/>
                </a:lnTo>
                <a:lnTo>
                  <a:pt x="556" y="536"/>
                </a:lnTo>
                <a:lnTo>
                  <a:pt x="551" y="536"/>
                </a:lnTo>
                <a:lnTo>
                  <a:pt x="551" y="536"/>
                </a:lnTo>
                <a:lnTo>
                  <a:pt x="551" y="533"/>
                </a:lnTo>
                <a:lnTo>
                  <a:pt x="551" y="533"/>
                </a:lnTo>
                <a:lnTo>
                  <a:pt x="551" y="528"/>
                </a:lnTo>
                <a:lnTo>
                  <a:pt x="551" y="528"/>
                </a:lnTo>
                <a:lnTo>
                  <a:pt x="551" y="526"/>
                </a:lnTo>
                <a:lnTo>
                  <a:pt x="551" y="526"/>
                </a:lnTo>
                <a:lnTo>
                  <a:pt x="543" y="519"/>
                </a:lnTo>
                <a:lnTo>
                  <a:pt x="543" y="519"/>
                </a:lnTo>
                <a:lnTo>
                  <a:pt x="541" y="516"/>
                </a:lnTo>
                <a:lnTo>
                  <a:pt x="541" y="516"/>
                </a:lnTo>
                <a:lnTo>
                  <a:pt x="543" y="509"/>
                </a:lnTo>
                <a:lnTo>
                  <a:pt x="543" y="509"/>
                </a:lnTo>
                <a:lnTo>
                  <a:pt x="538" y="504"/>
                </a:lnTo>
                <a:lnTo>
                  <a:pt x="538" y="504"/>
                </a:lnTo>
                <a:lnTo>
                  <a:pt x="541" y="499"/>
                </a:lnTo>
                <a:lnTo>
                  <a:pt x="541" y="499"/>
                </a:lnTo>
                <a:lnTo>
                  <a:pt x="541" y="489"/>
                </a:lnTo>
                <a:lnTo>
                  <a:pt x="541" y="489"/>
                </a:lnTo>
                <a:lnTo>
                  <a:pt x="538" y="484"/>
                </a:lnTo>
                <a:lnTo>
                  <a:pt x="538" y="484"/>
                </a:lnTo>
                <a:lnTo>
                  <a:pt x="533" y="479"/>
                </a:lnTo>
                <a:lnTo>
                  <a:pt x="533" y="479"/>
                </a:lnTo>
                <a:lnTo>
                  <a:pt x="531" y="479"/>
                </a:lnTo>
                <a:lnTo>
                  <a:pt x="531" y="479"/>
                </a:lnTo>
                <a:lnTo>
                  <a:pt x="529" y="474"/>
                </a:lnTo>
                <a:lnTo>
                  <a:pt x="529" y="474"/>
                </a:lnTo>
                <a:lnTo>
                  <a:pt x="521" y="469"/>
                </a:lnTo>
                <a:lnTo>
                  <a:pt x="521" y="469"/>
                </a:lnTo>
                <a:lnTo>
                  <a:pt x="516" y="467"/>
                </a:lnTo>
                <a:lnTo>
                  <a:pt x="516" y="467"/>
                </a:lnTo>
                <a:lnTo>
                  <a:pt x="516" y="462"/>
                </a:lnTo>
                <a:lnTo>
                  <a:pt x="516" y="462"/>
                </a:lnTo>
                <a:lnTo>
                  <a:pt x="519" y="457"/>
                </a:lnTo>
                <a:lnTo>
                  <a:pt x="519" y="457"/>
                </a:lnTo>
                <a:lnTo>
                  <a:pt x="516" y="452"/>
                </a:lnTo>
                <a:lnTo>
                  <a:pt x="516" y="452"/>
                </a:lnTo>
                <a:lnTo>
                  <a:pt x="514" y="450"/>
                </a:lnTo>
                <a:lnTo>
                  <a:pt x="514" y="450"/>
                </a:lnTo>
                <a:lnTo>
                  <a:pt x="514" y="447"/>
                </a:lnTo>
                <a:lnTo>
                  <a:pt x="514" y="447"/>
                </a:lnTo>
                <a:lnTo>
                  <a:pt x="519" y="445"/>
                </a:lnTo>
                <a:lnTo>
                  <a:pt x="519" y="445"/>
                </a:lnTo>
                <a:lnTo>
                  <a:pt x="524" y="437"/>
                </a:lnTo>
                <a:lnTo>
                  <a:pt x="524" y="437"/>
                </a:lnTo>
                <a:lnTo>
                  <a:pt x="526" y="432"/>
                </a:lnTo>
                <a:lnTo>
                  <a:pt x="526" y="432"/>
                </a:lnTo>
                <a:lnTo>
                  <a:pt x="524" y="423"/>
                </a:lnTo>
                <a:lnTo>
                  <a:pt x="524" y="423"/>
                </a:lnTo>
                <a:lnTo>
                  <a:pt x="516" y="410"/>
                </a:lnTo>
                <a:lnTo>
                  <a:pt x="516" y="410"/>
                </a:lnTo>
                <a:lnTo>
                  <a:pt x="519" y="410"/>
                </a:lnTo>
                <a:lnTo>
                  <a:pt x="519" y="410"/>
                </a:lnTo>
                <a:lnTo>
                  <a:pt x="524" y="413"/>
                </a:lnTo>
                <a:lnTo>
                  <a:pt x="524" y="413"/>
                </a:lnTo>
                <a:lnTo>
                  <a:pt x="524" y="418"/>
                </a:lnTo>
                <a:lnTo>
                  <a:pt x="524" y="418"/>
                </a:lnTo>
                <a:lnTo>
                  <a:pt x="526" y="418"/>
                </a:lnTo>
                <a:lnTo>
                  <a:pt x="526" y="418"/>
                </a:lnTo>
                <a:lnTo>
                  <a:pt x="526" y="418"/>
                </a:lnTo>
                <a:lnTo>
                  <a:pt x="529" y="423"/>
                </a:lnTo>
                <a:lnTo>
                  <a:pt x="529" y="423"/>
                </a:lnTo>
                <a:lnTo>
                  <a:pt x="531" y="428"/>
                </a:lnTo>
                <a:lnTo>
                  <a:pt x="531" y="428"/>
                </a:lnTo>
                <a:lnTo>
                  <a:pt x="531" y="435"/>
                </a:lnTo>
                <a:lnTo>
                  <a:pt x="531" y="435"/>
                </a:lnTo>
                <a:lnTo>
                  <a:pt x="533" y="437"/>
                </a:lnTo>
                <a:lnTo>
                  <a:pt x="533" y="437"/>
                </a:lnTo>
                <a:lnTo>
                  <a:pt x="531" y="442"/>
                </a:lnTo>
                <a:lnTo>
                  <a:pt x="531" y="442"/>
                </a:lnTo>
                <a:lnTo>
                  <a:pt x="533" y="445"/>
                </a:lnTo>
                <a:lnTo>
                  <a:pt x="533" y="445"/>
                </a:lnTo>
                <a:lnTo>
                  <a:pt x="538" y="450"/>
                </a:lnTo>
                <a:lnTo>
                  <a:pt x="538" y="450"/>
                </a:lnTo>
                <a:lnTo>
                  <a:pt x="538" y="452"/>
                </a:lnTo>
                <a:lnTo>
                  <a:pt x="538" y="452"/>
                </a:lnTo>
                <a:lnTo>
                  <a:pt x="541" y="455"/>
                </a:lnTo>
                <a:lnTo>
                  <a:pt x="541" y="455"/>
                </a:lnTo>
                <a:lnTo>
                  <a:pt x="541" y="457"/>
                </a:lnTo>
                <a:lnTo>
                  <a:pt x="541" y="457"/>
                </a:lnTo>
                <a:lnTo>
                  <a:pt x="538" y="457"/>
                </a:lnTo>
                <a:lnTo>
                  <a:pt x="538" y="457"/>
                </a:lnTo>
                <a:lnTo>
                  <a:pt x="538" y="459"/>
                </a:lnTo>
                <a:lnTo>
                  <a:pt x="538" y="459"/>
                </a:lnTo>
                <a:lnTo>
                  <a:pt x="543" y="459"/>
                </a:lnTo>
                <a:lnTo>
                  <a:pt x="543" y="459"/>
                </a:lnTo>
                <a:lnTo>
                  <a:pt x="548" y="462"/>
                </a:lnTo>
                <a:lnTo>
                  <a:pt x="548" y="462"/>
                </a:lnTo>
                <a:lnTo>
                  <a:pt x="553" y="462"/>
                </a:lnTo>
                <a:lnTo>
                  <a:pt x="553" y="462"/>
                </a:lnTo>
                <a:lnTo>
                  <a:pt x="556" y="462"/>
                </a:lnTo>
                <a:lnTo>
                  <a:pt x="556" y="462"/>
                </a:lnTo>
                <a:lnTo>
                  <a:pt x="558" y="464"/>
                </a:lnTo>
                <a:lnTo>
                  <a:pt x="558" y="464"/>
                </a:lnTo>
                <a:lnTo>
                  <a:pt x="561" y="467"/>
                </a:lnTo>
                <a:lnTo>
                  <a:pt x="561" y="467"/>
                </a:lnTo>
                <a:lnTo>
                  <a:pt x="563" y="462"/>
                </a:lnTo>
                <a:lnTo>
                  <a:pt x="563" y="462"/>
                </a:lnTo>
                <a:lnTo>
                  <a:pt x="565" y="462"/>
                </a:lnTo>
                <a:lnTo>
                  <a:pt x="565" y="462"/>
                </a:lnTo>
                <a:lnTo>
                  <a:pt x="568" y="459"/>
                </a:lnTo>
                <a:lnTo>
                  <a:pt x="568" y="459"/>
                </a:lnTo>
                <a:lnTo>
                  <a:pt x="573" y="462"/>
                </a:lnTo>
                <a:lnTo>
                  <a:pt x="573" y="462"/>
                </a:lnTo>
                <a:lnTo>
                  <a:pt x="575" y="467"/>
                </a:lnTo>
                <a:lnTo>
                  <a:pt x="575" y="467"/>
                </a:lnTo>
                <a:lnTo>
                  <a:pt x="578" y="467"/>
                </a:lnTo>
                <a:lnTo>
                  <a:pt x="578" y="467"/>
                </a:lnTo>
                <a:lnTo>
                  <a:pt x="583" y="469"/>
                </a:lnTo>
                <a:lnTo>
                  <a:pt x="583" y="469"/>
                </a:lnTo>
                <a:lnTo>
                  <a:pt x="590" y="467"/>
                </a:lnTo>
                <a:lnTo>
                  <a:pt x="590" y="467"/>
                </a:lnTo>
                <a:lnTo>
                  <a:pt x="593" y="464"/>
                </a:lnTo>
                <a:lnTo>
                  <a:pt x="593" y="464"/>
                </a:lnTo>
                <a:lnTo>
                  <a:pt x="588" y="467"/>
                </a:lnTo>
                <a:lnTo>
                  <a:pt x="588" y="467"/>
                </a:lnTo>
                <a:lnTo>
                  <a:pt x="583" y="467"/>
                </a:lnTo>
                <a:lnTo>
                  <a:pt x="583" y="467"/>
                </a:lnTo>
                <a:lnTo>
                  <a:pt x="583" y="462"/>
                </a:lnTo>
                <a:lnTo>
                  <a:pt x="583" y="462"/>
                </a:lnTo>
                <a:lnTo>
                  <a:pt x="580" y="462"/>
                </a:lnTo>
                <a:lnTo>
                  <a:pt x="580" y="462"/>
                </a:lnTo>
                <a:lnTo>
                  <a:pt x="578" y="457"/>
                </a:lnTo>
                <a:lnTo>
                  <a:pt x="578" y="457"/>
                </a:lnTo>
                <a:lnTo>
                  <a:pt x="573" y="457"/>
                </a:lnTo>
                <a:lnTo>
                  <a:pt x="573" y="457"/>
                </a:lnTo>
                <a:lnTo>
                  <a:pt x="573" y="455"/>
                </a:lnTo>
                <a:lnTo>
                  <a:pt x="573" y="455"/>
                </a:lnTo>
                <a:lnTo>
                  <a:pt x="570" y="455"/>
                </a:lnTo>
                <a:lnTo>
                  <a:pt x="570" y="455"/>
                </a:lnTo>
                <a:lnTo>
                  <a:pt x="568" y="457"/>
                </a:lnTo>
                <a:lnTo>
                  <a:pt x="568" y="457"/>
                </a:lnTo>
                <a:lnTo>
                  <a:pt x="561" y="457"/>
                </a:lnTo>
                <a:lnTo>
                  <a:pt x="561" y="457"/>
                </a:lnTo>
                <a:lnTo>
                  <a:pt x="558" y="455"/>
                </a:lnTo>
                <a:lnTo>
                  <a:pt x="558" y="455"/>
                </a:lnTo>
                <a:lnTo>
                  <a:pt x="553" y="455"/>
                </a:lnTo>
                <a:lnTo>
                  <a:pt x="553" y="455"/>
                </a:lnTo>
                <a:lnTo>
                  <a:pt x="548" y="450"/>
                </a:lnTo>
                <a:lnTo>
                  <a:pt x="548" y="450"/>
                </a:lnTo>
                <a:lnTo>
                  <a:pt x="546" y="445"/>
                </a:lnTo>
                <a:lnTo>
                  <a:pt x="546" y="445"/>
                </a:lnTo>
                <a:lnTo>
                  <a:pt x="546" y="445"/>
                </a:lnTo>
                <a:lnTo>
                  <a:pt x="541" y="437"/>
                </a:lnTo>
                <a:lnTo>
                  <a:pt x="541" y="437"/>
                </a:lnTo>
                <a:lnTo>
                  <a:pt x="543" y="437"/>
                </a:lnTo>
                <a:lnTo>
                  <a:pt x="543" y="437"/>
                </a:lnTo>
                <a:lnTo>
                  <a:pt x="543" y="435"/>
                </a:lnTo>
                <a:lnTo>
                  <a:pt x="543" y="435"/>
                </a:lnTo>
                <a:lnTo>
                  <a:pt x="548" y="432"/>
                </a:lnTo>
                <a:lnTo>
                  <a:pt x="548" y="432"/>
                </a:lnTo>
                <a:lnTo>
                  <a:pt x="551" y="432"/>
                </a:lnTo>
                <a:lnTo>
                  <a:pt x="551" y="432"/>
                </a:lnTo>
                <a:lnTo>
                  <a:pt x="556" y="437"/>
                </a:lnTo>
                <a:lnTo>
                  <a:pt x="556" y="437"/>
                </a:lnTo>
                <a:lnTo>
                  <a:pt x="561" y="440"/>
                </a:lnTo>
                <a:lnTo>
                  <a:pt x="561" y="440"/>
                </a:lnTo>
                <a:lnTo>
                  <a:pt x="565" y="440"/>
                </a:lnTo>
                <a:lnTo>
                  <a:pt x="565" y="440"/>
                </a:lnTo>
                <a:lnTo>
                  <a:pt x="570" y="432"/>
                </a:lnTo>
                <a:lnTo>
                  <a:pt x="570" y="432"/>
                </a:lnTo>
                <a:lnTo>
                  <a:pt x="565" y="428"/>
                </a:lnTo>
                <a:lnTo>
                  <a:pt x="565" y="428"/>
                </a:lnTo>
                <a:lnTo>
                  <a:pt x="561" y="425"/>
                </a:lnTo>
                <a:lnTo>
                  <a:pt x="561" y="425"/>
                </a:lnTo>
                <a:lnTo>
                  <a:pt x="556" y="430"/>
                </a:lnTo>
                <a:lnTo>
                  <a:pt x="556" y="430"/>
                </a:lnTo>
                <a:lnTo>
                  <a:pt x="553" y="428"/>
                </a:lnTo>
                <a:lnTo>
                  <a:pt x="553" y="428"/>
                </a:lnTo>
                <a:lnTo>
                  <a:pt x="556" y="425"/>
                </a:lnTo>
                <a:lnTo>
                  <a:pt x="556" y="425"/>
                </a:lnTo>
                <a:lnTo>
                  <a:pt x="556" y="425"/>
                </a:lnTo>
                <a:lnTo>
                  <a:pt x="558" y="425"/>
                </a:lnTo>
                <a:lnTo>
                  <a:pt x="558" y="425"/>
                </a:lnTo>
                <a:lnTo>
                  <a:pt x="558" y="423"/>
                </a:lnTo>
                <a:lnTo>
                  <a:pt x="558" y="423"/>
                </a:lnTo>
                <a:lnTo>
                  <a:pt x="563" y="415"/>
                </a:lnTo>
                <a:lnTo>
                  <a:pt x="563" y="415"/>
                </a:lnTo>
                <a:lnTo>
                  <a:pt x="565" y="413"/>
                </a:lnTo>
                <a:lnTo>
                  <a:pt x="565" y="413"/>
                </a:lnTo>
                <a:lnTo>
                  <a:pt x="568" y="415"/>
                </a:lnTo>
                <a:lnTo>
                  <a:pt x="568" y="415"/>
                </a:lnTo>
                <a:lnTo>
                  <a:pt x="580" y="415"/>
                </a:lnTo>
                <a:lnTo>
                  <a:pt x="580" y="415"/>
                </a:lnTo>
                <a:lnTo>
                  <a:pt x="583" y="418"/>
                </a:lnTo>
                <a:lnTo>
                  <a:pt x="583" y="418"/>
                </a:lnTo>
                <a:lnTo>
                  <a:pt x="588" y="420"/>
                </a:lnTo>
                <a:lnTo>
                  <a:pt x="588" y="420"/>
                </a:lnTo>
                <a:lnTo>
                  <a:pt x="595" y="423"/>
                </a:lnTo>
                <a:lnTo>
                  <a:pt x="595" y="423"/>
                </a:lnTo>
                <a:lnTo>
                  <a:pt x="597" y="425"/>
                </a:lnTo>
                <a:lnTo>
                  <a:pt x="597" y="425"/>
                </a:lnTo>
                <a:lnTo>
                  <a:pt x="600" y="428"/>
                </a:lnTo>
                <a:lnTo>
                  <a:pt x="600" y="428"/>
                </a:lnTo>
                <a:lnTo>
                  <a:pt x="607" y="435"/>
                </a:lnTo>
                <a:lnTo>
                  <a:pt x="607" y="435"/>
                </a:lnTo>
                <a:lnTo>
                  <a:pt x="610" y="435"/>
                </a:lnTo>
                <a:lnTo>
                  <a:pt x="610" y="435"/>
                </a:lnTo>
                <a:lnTo>
                  <a:pt x="620" y="432"/>
                </a:lnTo>
                <a:lnTo>
                  <a:pt x="620" y="432"/>
                </a:lnTo>
                <a:lnTo>
                  <a:pt x="624" y="430"/>
                </a:lnTo>
                <a:lnTo>
                  <a:pt x="624" y="430"/>
                </a:lnTo>
                <a:lnTo>
                  <a:pt x="627" y="432"/>
                </a:lnTo>
                <a:lnTo>
                  <a:pt x="627" y="432"/>
                </a:lnTo>
                <a:lnTo>
                  <a:pt x="629" y="430"/>
                </a:lnTo>
                <a:lnTo>
                  <a:pt x="629" y="430"/>
                </a:lnTo>
                <a:lnTo>
                  <a:pt x="632" y="432"/>
                </a:lnTo>
                <a:lnTo>
                  <a:pt x="632" y="432"/>
                </a:lnTo>
                <a:lnTo>
                  <a:pt x="632" y="437"/>
                </a:lnTo>
                <a:lnTo>
                  <a:pt x="632" y="437"/>
                </a:lnTo>
                <a:lnTo>
                  <a:pt x="632" y="440"/>
                </a:lnTo>
                <a:lnTo>
                  <a:pt x="632" y="440"/>
                </a:lnTo>
                <a:lnTo>
                  <a:pt x="632" y="442"/>
                </a:lnTo>
                <a:lnTo>
                  <a:pt x="632" y="442"/>
                </a:lnTo>
                <a:lnTo>
                  <a:pt x="627" y="445"/>
                </a:lnTo>
                <a:lnTo>
                  <a:pt x="627" y="445"/>
                </a:lnTo>
                <a:lnTo>
                  <a:pt x="627" y="450"/>
                </a:lnTo>
                <a:lnTo>
                  <a:pt x="627" y="450"/>
                </a:lnTo>
                <a:lnTo>
                  <a:pt x="629" y="452"/>
                </a:lnTo>
                <a:lnTo>
                  <a:pt x="629" y="452"/>
                </a:lnTo>
                <a:lnTo>
                  <a:pt x="629" y="457"/>
                </a:lnTo>
                <a:lnTo>
                  <a:pt x="629" y="457"/>
                </a:lnTo>
                <a:lnTo>
                  <a:pt x="634" y="462"/>
                </a:lnTo>
                <a:lnTo>
                  <a:pt x="634" y="462"/>
                </a:lnTo>
                <a:lnTo>
                  <a:pt x="634" y="464"/>
                </a:lnTo>
                <a:lnTo>
                  <a:pt x="634" y="464"/>
                </a:lnTo>
                <a:lnTo>
                  <a:pt x="632" y="467"/>
                </a:lnTo>
                <a:lnTo>
                  <a:pt x="632" y="467"/>
                </a:lnTo>
                <a:lnTo>
                  <a:pt x="634" y="477"/>
                </a:lnTo>
                <a:lnTo>
                  <a:pt x="634" y="477"/>
                </a:lnTo>
                <a:lnTo>
                  <a:pt x="637" y="477"/>
                </a:lnTo>
                <a:lnTo>
                  <a:pt x="637" y="477"/>
                </a:lnTo>
                <a:lnTo>
                  <a:pt x="637" y="474"/>
                </a:lnTo>
                <a:lnTo>
                  <a:pt x="637" y="474"/>
                </a:lnTo>
                <a:lnTo>
                  <a:pt x="637" y="472"/>
                </a:lnTo>
                <a:lnTo>
                  <a:pt x="637" y="472"/>
                </a:lnTo>
                <a:lnTo>
                  <a:pt x="639" y="469"/>
                </a:lnTo>
                <a:lnTo>
                  <a:pt x="639" y="469"/>
                </a:lnTo>
                <a:lnTo>
                  <a:pt x="637" y="467"/>
                </a:lnTo>
                <a:lnTo>
                  <a:pt x="637" y="467"/>
                </a:lnTo>
                <a:lnTo>
                  <a:pt x="639" y="464"/>
                </a:lnTo>
                <a:lnTo>
                  <a:pt x="639" y="464"/>
                </a:lnTo>
                <a:lnTo>
                  <a:pt x="642" y="459"/>
                </a:lnTo>
                <a:lnTo>
                  <a:pt x="642" y="459"/>
                </a:lnTo>
                <a:lnTo>
                  <a:pt x="644" y="462"/>
                </a:lnTo>
                <a:lnTo>
                  <a:pt x="644" y="462"/>
                </a:lnTo>
                <a:lnTo>
                  <a:pt x="647" y="467"/>
                </a:lnTo>
                <a:lnTo>
                  <a:pt x="647" y="467"/>
                </a:lnTo>
                <a:lnTo>
                  <a:pt x="647" y="474"/>
                </a:lnTo>
                <a:lnTo>
                  <a:pt x="647" y="474"/>
                </a:lnTo>
                <a:lnTo>
                  <a:pt x="647" y="477"/>
                </a:lnTo>
                <a:lnTo>
                  <a:pt x="647" y="477"/>
                </a:lnTo>
                <a:lnTo>
                  <a:pt x="647" y="479"/>
                </a:lnTo>
                <a:lnTo>
                  <a:pt x="647" y="479"/>
                </a:lnTo>
                <a:lnTo>
                  <a:pt x="647" y="482"/>
                </a:lnTo>
                <a:lnTo>
                  <a:pt x="647" y="482"/>
                </a:lnTo>
                <a:lnTo>
                  <a:pt x="644" y="484"/>
                </a:lnTo>
                <a:lnTo>
                  <a:pt x="644" y="484"/>
                </a:lnTo>
                <a:lnTo>
                  <a:pt x="649" y="487"/>
                </a:lnTo>
                <a:lnTo>
                  <a:pt x="649" y="487"/>
                </a:lnTo>
                <a:lnTo>
                  <a:pt x="654" y="487"/>
                </a:lnTo>
                <a:lnTo>
                  <a:pt x="654" y="487"/>
                </a:lnTo>
                <a:lnTo>
                  <a:pt x="659" y="487"/>
                </a:lnTo>
                <a:lnTo>
                  <a:pt x="659" y="487"/>
                </a:lnTo>
                <a:lnTo>
                  <a:pt x="661" y="491"/>
                </a:lnTo>
                <a:lnTo>
                  <a:pt x="661" y="491"/>
                </a:lnTo>
                <a:lnTo>
                  <a:pt x="661" y="494"/>
                </a:lnTo>
                <a:lnTo>
                  <a:pt x="661" y="494"/>
                </a:lnTo>
                <a:lnTo>
                  <a:pt x="666" y="496"/>
                </a:lnTo>
                <a:lnTo>
                  <a:pt x="666" y="496"/>
                </a:lnTo>
                <a:lnTo>
                  <a:pt x="671" y="496"/>
                </a:lnTo>
                <a:lnTo>
                  <a:pt x="671" y="496"/>
                </a:lnTo>
                <a:lnTo>
                  <a:pt x="679" y="504"/>
                </a:lnTo>
                <a:lnTo>
                  <a:pt x="679" y="504"/>
                </a:lnTo>
                <a:lnTo>
                  <a:pt x="676" y="501"/>
                </a:lnTo>
                <a:lnTo>
                  <a:pt x="676" y="501"/>
                </a:lnTo>
                <a:lnTo>
                  <a:pt x="679" y="496"/>
                </a:lnTo>
                <a:lnTo>
                  <a:pt x="679" y="496"/>
                </a:lnTo>
                <a:lnTo>
                  <a:pt x="681" y="491"/>
                </a:lnTo>
                <a:lnTo>
                  <a:pt x="681" y="491"/>
                </a:lnTo>
                <a:lnTo>
                  <a:pt x="686" y="491"/>
                </a:lnTo>
                <a:lnTo>
                  <a:pt x="686" y="491"/>
                </a:lnTo>
                <a:lnTo>
                  <a:pt x="693" y="496"/>
                </a:lnTo>
                <a:lnTo>
                  <a:pt x="693" y="496"/>
                </a:lnTo>
                <a:lnTo>
                  <a:pt x="696" y="496"/>
                </a:lnTo>
                <a:lnTo>
                  <a:pt x="696" y="496"/>
                </a:lnTo>
                <a:lnTo>
                  <a:pt x="698" y="501"/>
                </a:lnTo>
                <a:lnTo>
                  <a:pt x="698" y="501"/>
                </a:lnTo>
                <a:lnTo>
                  <a:pt x="701" y="506"/>
                </a:lnTo>
                <a:lnTo>
                  <a:pt x="701" y="506"/>
                </a:lnTo>
                <a:lnTo>
                  <a:pt x="701" y="499"/>
                </a:lnTo>
                <a:lnTo>
                  <a:pt x="701" y="499"/>
                </a:lnTo>
                <a:lnTo>
                  <a:pt x="698" y="496"/>
                </a:lnTo>
                <a:lnTo>
                  <a:pt x="698" y="496"/>
                </a:lnTo>
                <a:lnTo>
                  <a:pt x="696" y="496"/>
                </a:lnTo>
                <a:lnTo>
                  <a:pt x="696" y="496"/>
                </a:lnTo>
                <a:lnTo>
                  <a:pt x="691" y="494"/>
                </a:lnTo>
                <a:lnTo>
                  <a:pt x="691" y="494"/>
                </a:lnTo>
                <a:lnTo>
                  <a:pt x="686" y="491"/>
                </a:lnTo>
                <a:lnTo>
                  <a:pt x="686" y="491"/>
                </a:lnTo>
                <a:lnTo>
                  <a:pt x="681" y="491"/>
                </a:lnTo>
                <a:lnTo>
                  <a:pt x="681" y="491"/>
                </a:lnTo>
                <a:lnTo>
                  <a:pt x="676" y="496"/>
                </a:lnTo>
                <a:lnTo>
                  <a:pt x="676" y="496"/>
                </a:lnTo>
                <a:lnTo>
                  <a:pt x="674" y="494"/>
                </a:lnTo>
                <a:lnTo>
                  <a:pt x="674" y="494"/>
                </a:lnTo>
                <a:lnTo>
                  <a:pt x="671" y="496"/>
                </a:lnTo>
                <a:lnTo>
                  <a:pt x="671" y="496"/>
                </a:lnTo>
                <a:lnTo>
                  <a:pt x="666" y="494"/>
                </a:lnTo>
                <a:lnTo>
                  <a:pt x="666" y="494"/>
                </a:lnTo>
                <a:lnTo>
                  <a:pt x="661" y="487"/>
                </a:lnTo>
                <a:lnTo>
                  <a:pt x="661" y="487"/>
                </a:lnTo>
                <a:lnTo>
                  <a:pt x="659" y="484"/>
                </a:lnTo>
                <a:lnTo>
                  <a:pt x="659" y="484"/>
                </a:lnTo>
                <a:lnTo>
                  <a:pt x="654" y="484"/>
                </a:lnTo>
                <a:lnTo>
                  <a:pt x="654" y="484"/>
                </a:lnTo>
                <a:lnTo>
                  <a:pt x="649" y="479"/>
                </a:lnTo>
                <a:lnTo>
                  <a:pt x="649" y="479"/>
                </a:lnTo>
                <a:lnTo>
                  <a:pt x="652" y="482"/>
                </a:lnTo>
                <a:lnTo>
                  <a:pt x="652" y="482"/>
                </a:lnTo>
                <a:lnTo>
                  <a:pt x="654" y="479"/>
                </a:lnTo>
                <a:lnTo>
                  <a:pt x="654" y="479"/>
                </a:lnTo>
                <a:lnTo>
                  <a:pt x="659" y="474"/>
                </a:lnTo>
                <a:lnTo>
                  <a:pt x="659" y="474"/>
                </a:lnTo>
                <a:lnTo>
                  <a:pt x="656" y="469"/>
                </a:lnTo>
                <a:lnTo>
                  <a:pt x="656" y="469"/>
                </a:lnTo>
                <a:lnTo>
                  <a:pt x="652" y="467"/>
                </a:lnTo>
                <a:lnTo>
                  <a:pt x="652" y="467"/>
                </a:lnTo>
                <a:lnTo>
                  <a:pt x="652" y="459"/>
                </a:lnTo>
                <a:lnTo>
                  <a:pt x="652" y="459"/>
                </a:lnTo>
                <a:lnTo>
                  <a:pt x="647" y="452"/>
                </a:lnTo>
                <a:lnTo>
                  <a:pt x="647" y="452"/>
                </a:lnTo>
                <a:lnTo>
                  <a:pt x="642" y="450"/>
                </a:lnTo>
                <a:lnTo>
                  <a:pt x="642" y="450"/>
                </a:lnTo>
                <a:lnTo>
                  <a:pt x="639" y="447"/>
                </a:lnTo>
                <a:lnTo>
                  <a:pt x="639" y="447"/>
                </a:lnTo>
                <a:lnTo>
                  <a:pt x="639" y="442"/>
                </a:lnTo>
                <a:lnTo>
                  <a:pt x="639" y="442"/>
                </a:lnTo>
                <a:lnTo>
                  <a:pt x="639" y="440"/>
                </a:lnTo>
                <a:lnTo>
                  <a:pt x="639" y="440"/>
                </a:lnTo>
                <a:lnTo>
                  <a:pt x="639" y="432"/>
                </a:lnTo>
                <a:lnTo>
                  <a:pt x="639" y="432"/>
                </a:lnTo>
                <a:lnTo>
                  <a:pt x="634" y="428"/>
                </a:lnTo>
                <a:lnTo>
                  <a:pt x="634" y="428"/>
                </a:lnTo>
                <a:lnTo>
                  <a:pt x="632" y="428"/>
                </a:lnTo>
                <a:lnTo>
                  <a:pt x="632" y="428"/>
                </a:lnTo>
                <a:lnTo>
                  <a:pt x="627" y="425"/>
                </a:lnTo>
                <a:lnTo>
                  <a:pt x="627" y="425"/>
                </a:lnTo>
                <a:lnTo>
                  <a:pt x="620" y="425"/>
                </a:lnTo>
                <a:lnTo>
                  <a:pt x="620" y="425"/>
                </a:lnTo>
                <a:lnTo>
                  <a:pt x="617" y="420"/>
                </a:lnTo>
                <a:lnTo>
                  <a:pt x="617" y="420"/>
                </a:lnTo>
                <a:lnTo>
                  <a:pt x="612" y="418"/>
                </a:lnTo>
                <a:lnTo>
                  <a:pt x="612" y="418"/>
                </a:lnTo>
                <a:lnTo>
                  <a:pt x="612" y="413"/>
                </a:lnTo>
                <a:lnTo>
                  <a:pt x="612" y="413"/>
                </a:lnTo>
                <a:lnTo>
                  <a:pt x="612" y="410"/>
                </a:lnTo>
                <a:lnTo>
                  <a:pt x="612" y="410"/>
                </a:lnTo>
                <a:lnTo>
                  <a:pt x="612" y="408"/>
                </a:lnTo>
                <a:lnTo>
                  <a:pt x="612" y="408"/>
                </a:lnTo>
                <a:lnTo>
                  <a:pt x="607" y="410"/>
                </a:lnTo>
                <a:lnTo>
                  <a:pt x="607" y="410"/>
                </a:lnTo>
                <a:lnTo>
                  <a:pt x="597" y="410"/>
                </a:lnTo>
                <a:lnTo>
                  <a:pt x="597" y="410"/>
                </a:lnTo>
                <a:lnTo>
                  <a:pt x="593" y="410"/>
                </a:lnTo>
                <a:lnTo>
                  <a:pt x="593" y="410"/>
                </a:lnTo>
                <a:lnTo>
                  <a:pt x="588" y="408"/>
                </a:lnTo>
                <a:lnTo>
                  <a:pt x="588" y="408"/>
                </a:lnTo>
                <a:lnTo>
                  <a:pt x="588" y="403"/>
                </a:lnTo>
                <a:lnTo>
                  <a:pt x="588" y="403"/>
                </a:lnTo>
                <a:lnTo>
                  <a:pt x="588" y="403"/>
                </a:lnTo>
                <a:lnTo>
                  <a:pt x="585" y="400"/>
                </a:lnTo>
                <a:lnTo>
                  <a:pt x="585" y="400"/>
                </a:lnTo>
                <a:lnTo>
                  <a:pt x="585" y="396"/>
                </a:lnTo>
                <a:lnTo>
                  <a:pt x="585" y="396"/>
                </a:lnTo>
                <a:lnTo>
                  <a:pt x="583" y="388"/>
                </a:lnTo>
                <a:lnTo>
                  <a:pt x="583" y="388"/>
                </a:lnTo>
                <a:lnTo>
                  <a:pt x="575" y="386"/>
                </a:lnTo>
                <a:lnTo>
                  <a:pt x="575" y="386"/>
                </a:lnTo>
                <a:lnTo>
                  <a:pt x="578" y="383"/>
                </a:lnTo>
                <a:lnTo>
                  <a:pt x="578" y="383"/>
                </a:lnTo>
                <a:lnTo>
                  <a:pt x="578" y="381"/>
                </a:lnTo>
                <a:lnTo>
                  <a:pt x="578" y="381"/>
                </a:lnTo>
                <a:lnTo>
                  <a:pt x="575" y="381"/>
                </a:lnTo>
                <a:lnTo>
                  <a:pt x="575" y="381"/>
                </a:lnTo>
                <a:lnTo>
                  <a:pt x="573" y="378"/>
                </a:lnTo>
                <a:lnTo>
                  <a:pt x="573" y="378"/>
                </a:lnTo>
                <a:lnTo>
                  <a:pt x="573" y="376"/>
                </a:lnTo>
                <a:lnTo>
                  <a:pt x="573" y="376"/>
                </a:lnTo>
                <a:lnTo>
                  <a:pt x="573" y="371"/>
                </a:lnTo>
                <a:lnTo>
                  <a:pt x="573" y="371"/>
                </a:lnTo>
                <a:lnTo>
                  <a:pt x="570" y="368"/>
                </a:lnTo>
                <a:lnTo>
                  <a:pt x="570" y="368"/>
                </a:lnTo>
                <a:lnTo>
                  <a:pt x="573" y="368"/>
                </a:lnTo>
                <a:lnTo>
                  <a:pt x="573" y="368"/>
                </a:lnTo>
                <a:lnTo>
                  <a:pt x="578" y="368"/>
                </a:lnTo>
                <a:lnTo>
                  <a:pt x="578" y="368"/>
                </a:lnTo>
                <a:lnTo>
                  <a:pt x="580" y="364"/>
                </a:lnTo>
                <a:lnTo>
                  <a:pt x="580" y="364"/>
                </a:lnTo>
                <a:lnTo>
                  <a:pt x="585" y="364"/>
                </a:lnTo>
                <a:lnTo>
                  <a:pt x="585" y="364"/>
                </a:lnTo>
                <a:lnTo>
                  <a:pt x="593" y="361"/>
                </a:lnTo>
                <a:lnTo>
                  <a:pt x="593" y="361"/>
                </a:lnTo>
                <a:lnTo>
                  <a:pt x="605" y="356"/>
                </a:lnTo>
                <a:lnTo>
                  <a:pt x="605" y="356"/>
                </a:lnTo>
                <a:lnTo>
                  <a:pt x="610" y="354"/>
                </a:lnTo>
                <a:lnTo>
                  <a:pt x="610" y="354"/>
                </a:lnTo>
                <a:lnTo>
                  <a:pt x="612" y="354"/>
                </a:lnTo>
                <a:lnTo>
                  <a:pt x="612" y="354"/>
                </a:lnTo>
                <a:lnTo>
                  <a:pt x="615" y="354"/>
                </a:lnTo>
                <a:lnTo>
                  <a:pt x="615" y="354"/>
                </a:lnTo>
                <a:lnTo>
                  <a:pt x="620" y="351"/>
                </a:lnTo>
                <a:lnTo>
                  <a:pt x="620" y="351"/>
                </a:lnTo>
                <a:lnTo>
                  <a:pt x="622" y="349"/>
                </a:lnTo>
                <a:lnTo>
                  <a:pt x="622" y="349"/>
                </a:lnTo>
                <a:lnTo>
                  <a:pt x="627" y="346"/>
                </a:lnTo>
                <a:lnTo>
                  <a:pt x="627" y="346"/>
                </a:lnTo>
                <a:lnTo>
                  <a:pt x="637" y="341"/>
                </a:lnTo>
                <a:lnTo>
                  <a:pt x="637" y="341"/>
                </a:lnTo>
                <a:lnTo>
                  <a:pt x="639" y="344"/>
                </a:lnTo>
                <a:lnTo>
                  <a:pt x="639" y="344"/>
                </a:lnTo>
                <a:lnTo>
                  <a:pt x="637" y="346"/>
                </a:lnTo>
                <a:lnTo>
                  <a:pt x="637" y="346"/>
                </a:lnTo>
                <a:lnTo>
                  <a:pt x="637" y="349"/>
                </a:lnTo>
                <a:lnTo>
                  <a:pt x="637" y="349"/>
                </a:lnTo>
                <a:lnTo>
                  <a:pt x="634" y="351"/>
                </a:lnTo>
                <a:lnTo>
                  <a:pt x="634" y="351"/>
                </a:lnTo>
                <a:lnTo>
                  <a:pt x="632" y="356"/>
                </a:lnTo>
                <a:lnTo>
                  <a:pt x="632" y="356"/>
                </a:lnTo>
                <a:lnTo>
                  <a:pt x="632" y="361"/>
                </a:lnTo>
                <a:lnTo>
                  <a:pt x="632" y="361"/>
                </a:lnTo>
                <a:lnTo>
                  <a:pt x="639" y="366"/>
                </a:lnTo>
                <a:lnTo>
                  <a:pt x="639" y="366"/>
                </a:lnTo>
                <a:lnTo>
                  <a:pt x="644" y="366"/>
                </a:lnTo>
                <a:lnTo>
                  <a:pt x="644" y="366"/>
                </a:lnTo>
                <a:lnTo>
                  <a:pt x="642" y="364"/>
                </a:lnTo>
                <a:lnTo>
                  <a:pt x="642" y="364"/>
                </a:lnTo>
                <a:lnTo>
                  <a:pt x="634" y="359"/>
                </a:lnTo>
                <a:lnTo>
                  <a:pt x="634" y="359"/>
                </a:lnTo>
                <a:lnTo>
                  <a:pt x="634" y="356"/>
                </a:lnTo>
                <a:lnTo>
                  <a:pt x="634" y="356"/>
                </a:lnTo>
                <a:lnTo>
                  <a:pt x="637" y="354"/>
                </a:lnTo>
                <a:lnTo>
                  <a:pt x="637" y="354"/>
                </a:lnTo>
                <a:lnTo>
                  <a:pt x="644" y="349"/>
                </a:lnTo>
                <a:lnTo>
                  <a:pt x="644" y="349"/>
                </a:lnTo>
                <a:lnTo>
                  <a:pt x="647" y="344"/>
                </a:lnTo>
                <a:lnTo>
                  <a:pt x="647" y="344"/>
                </a:lnTo>
                <a:lnTo>
                  <a:pt x="644" y="339"/>
                </a:lnTo>
                <a:lnTo>
                  <a:pt x="644" y="339"/>
                </a:lnTo>
                <a:lnTo>
                  <a:pt x="639" y="339"/>
                </a:lnTo>
                <a:lnTo>
                  <a:pt x="639" y="339"/>
                </a:lnTo>
                <a:lnTo>
                  <a:pt x="637" y="337"/>
                </a:lnTo>
                <a:lnTo>
                  <a:pt x="637" y="337"/>
                </a:lnTo>
                <a:lnTo>
                  <a:pt x="637" y="334"/>
                </a:lnTo>
                <a:lnTo>
                  <a:pt x="637" y="334"/>
                </a:lnTo>
                <a:lnTo>
                  <a:pt x="632" y="334"/>
                </a:lnTo>
                <a:lnTo>
                  <a:pt x="632" y="334"/>
                </a:lnTo>
                <a:lnTo>
                  <a:pt x="629" y="334"/>
                </a:lnTo>
                <a:lnTo>
                  <a:pt x="629" y="334"/>
                </a:lnTo>
                <a:lnTo>
                  <a:pt x="629" y="334"/>
                </a:lnTo>
                <a:lnTo>
                  <a:pt x="627" y="329"/>
                </a:lnTo>
                <a:lnTo>
                  <a:pt x="627" y="329"/>
                </a:lnTo>
                <a:lnTo>
                  <a:pt x="622" y="329"/>
                </a:lnTo>
                <a:lnTo>
                  <a:pt x="622" y="329"/>
                </a:lnTo>
                <a:lnTo>
                  <a:pt x="620" y="332"/>
                </a:lnTo>
                <a:lnTo>
                  <a:pt x="620" y="332"/>
                </a:lnTo>
                <a:lnTo>
                  <a:pt x="615" y="327"/>
                </a:lnTo>
                <a:lnTo>
                  <a:pt x="615" y="327"/>
                </a:lnTo>
                <a:lnTo>
                  <a:pt x="617" y="324"/>
                </a:lnTo>
                <a:lnTo>
                  <a:pt x="617" y="324"/>
                </a:lnTo>
                <a:lnTo>
                  <a:pt x="617" y="322"/>
                </a:lnTo>
                <a:lnTo>
                  <a:pt x="617" y="322"/>
                </a:lnTo>
                <a:lnTo>
                  <a:pt x="620" y="322"/>
                </a:lnTo>
                <a:lnTo>
                  <a:pt x="620" y="322"/>
                </a:lnTo>
                <a:lnTo>
                  <a:pt x="622" y="324"/>
                </a:lnTo>
                <a:lnTo>
                  <a:pt x="622" y="324"/>
                </a:lnTo>
                <a:lnTo>
                  <a:pt x="627" y="324"/>
                </a:lnTo>
                <a:lnTo>
                  <a:pt x="627" y="324"/>
                </a:lnTo>
                <a:lnTo>
                  <a:pt x="629" y="322"/>
                </a:lnTo>
                <a:lnTo>
                  <a:pt x="629" y="322"/>
                </a:lnTo>
                <a:lnTo>
                  <a:pt x="627" y="322"/>
                </a:lnTo>
                <a:lnTo>
                  <a:pt x="627" y="322"/>
                </a:lnTo>
                <a:lnTo>
                  <a:pt x="627" y="322"/>
                </a:lnTo>
                <a:lnTo>
                  <a:pt x="624" y="322"/>
                </a:lnTo>
                <a:lnTo>
                  <a:pt x="624" y="322"/>
                </a:lnTo>
                <a:lnTo>
                  <a:pt x="620" y="319"/>
                </a:lnTo>
                <a:lnTo>
                  <a:pt x="620" y="319"/>
                </a:lnTo>
                <a:lnTo>
                  <a:pt x="620" y="317"/>
                </a:lnTo>
                <a:lnTo>
                  <a:pt x="620" y="317"/>
                </a:lnTo>
                <a:lnTo>
                  <a:pt x="617" y="317"/>
                </a:lnTo>
                <a:lnTo>
                  <a:pt x="617" y="317"/>
                </a:lnTo>
                <a:lnTo>
                  <a:pt x="612" y="314"/>
                </a:lnTo>
                <a:lnTo>
                  <a:pt x="612" y="314"/>
                </a:lnTo>
                <a:lnTo>
                  <a:pt x="607" y="317"/>
                </a:lnTo>
                <a:lnTo>
                  <a:pt x="607" y="317"/>
                </a:lnTo>
                <a:lnTo>
                  <a:pt x="607" y="314"/>
                </a:lnTo>
                <a:lnTo>
                  <a:pt x="607" y="314"/>
                </a:lnTo>
                <a:lnTo>
                  <a:pt x="607" y="312"/>
                </a:lnTo>
                <a:lnTo>
                  <a:pt x="607" y="312"/>
                </a:lnTo>
                <a:lnTo>
                  <a:pt x="607" y="309"/>
                </a:lnTo>
                <a:lnTo>
                  <a:pt x="607" y="309"/>
                </a:lnTo>
                <a:lnTo>
                  <a:pt x="605" y="307"/>
                </a:lnTo>
                <a:lnTo>
                  <a:pt x="605" y="307"/>
                </a:lnTo>
                <a:lnTo>
                  <a:pt x="607" y="305"/>
                </a:lnTo>
                <a:lnTo>
                  <a:pt x="607" y="305"/>
                </a:lnTo>
                <a:lnTo>
                  <a:pt x="610" y="307"/>
                </a:lnTo>
                <a:lnTo>
                  <a:pt x="610" y="307"/>
                </a:lnTo>
                <a:lnTo>
                  <a:pt x="612" y="309"/>
                </a:lnTo>
                <a:lnTo>
                  <a:pt x="612" y="309"/>
                </a:lnTo>
                <a:lnTo>
                  <a:pt x="615" y="309"/>
                </a:lnTo>
                <a:lnTo>
                  <a:pt x="615" y="309"/>
                </a:lnTo>
                <a:lnTo>
                  <a:pt x="620" y="314"/>
                </a:lnTo>
                <a:lnTo>
                  <a:pt x="620" y="314"/>
                </a:lnTo>
                <a:lnTo>
                  <a:pt x="620" y="312"/>
                </a:lnTo>
                <a:lnTo>
                  <a:pt x="620" y="312"/>
                </a:lnTo>
                <a:lnTo>
                  <a:pt x="617" y="309"/>
                </a:lnTo>
                <a:lnTo>
                  <a:pt x="617" y="309"/>
                </a:lnTo>
                <a:lnTo>
                  <a:pt x="622" y="307"/>
                </a:lnTo>
                <a:lnTo>
                  <a:pt x="622" y="307"/>
                </a:lnTo>
                <a:lnTo>
                  <a:pt x="622" y="302"/>
                </a:lnTo>
                <a:lnTo>
                  <a:pt x="622" y="302"/>
                </a:lnTo>
                <a:lnTo>
                  <a:pt x="620" y="300"/>
                </a:lnTo>
                <a:lnTo>
                  <a:pt x="620" y="300"/>
                </a:lnTo>
                <a:lnTo>
                  <a:pt x="620" y="297"/>
                </a:lnTo>
                <a:lnTo>
                  <a:pt x="620" y="297"/>
                </a:lnTo>
                <a:lnTo>
                  <a:pt x="622" y="300"/>
                </a:lnTo>
                <a:lnTo>
                  <a:pt x="622" y="300"/>
                </a:lnTo>
                <a:lnTo>
                  <a:pt x="624" y="297"/>
                </a:lnTo>
                <a:lnTo>
                  <a:pt x="624" y="297"/>
                </a:lnTo>
                <a:lnTo>
                  <a:pt x="617" y="295"/>
                </a:lnTo>
                <a:lnTo>
                  <a:pt x="617" y="295"/>
                </a:lnTo>
                <a:lnTo>
                  <a:pt x="617" y="297"/>
                </a:lnTo>
                <a:lnTo>
                  <a:pt x="617" y="297"/>
                </a:lnTo>
                <a:lnTo>
                  <a:pt x="615" y="297"/>
                </a:lnTo>
                <a:lnTo>
                  <a:pt x="615" y="297"/>
                </a:lnTo>
                <a:lnTo>
                  <a:pt x="615" y="295"/>
                </a:lnTo>
                <a:lnTo>
                  <a:pt x="615" y="295"/>
                </a:lnTo>
                <a:lnTo>
                  <a:pt x="617" y="292"/>
                </a:lnTo>
                <a:lnTo>
                  <a:pt x="617" y="292"/>
                </a:lnTo>
                <a:lnTo>
                  <a:pt x="622" y="290"/>
                </a:lnTo>
                <a:lnTo>
                  <a:pt x="622" y="290"/>
                </a:lnTo>
                <a:lnTo>
                  <a:pt x="627" y="290"/>
                </a:lnTo>
                <a:lnTo>
                  <a:pt x="627" y="290"/>
                </a:lnTo>
                <a:lnTo>
                  <a:pt x="624" y="287"/>
                </a:lnTo>
                <a:lnTo>
                  <a:pt x="624" y="287"/>
                </a:lnTo>
                <a:lnTo>
                  <a:pt x="629" y="282"/>
                </a:lnTo>
                <a:lnTo>
                  <a:pt x="629" y="282"/>
                </a:lnTo>
                <a:lnTo>
                  <a:pt x="629" y="280"/>
                </a:lnTo>
                <a:lnTo>
                  <a:pt x="629" y="280"/>
                </a:lnTo>
                <a:lnTo>
                  <a:pt x="629" y="280"/>
                </a:lnTo>
                <a:lnTo>
                  <a:pt x="629" y="277"/>
                </a:lnTo>
                <a:lnTo>
                  <a:pt x="629" y="277"/>
                </a:lnTo>
                <a:lnTo>
                  <a:pt x="632" y="273"/>
                </a:lnTo>
                <a:lnTo>
                  <a:pt x="632" y="273"/>
                </a:lnTo>
                <a:lnTo>
                  <a:pt x="632" y="273"/>
                </a:lnTo>
                <a:lnTo>
                  <a:pt x="634" y="275"/>
                </a:lnTo>
                <a:lnTo>
                  <a:pt x="634" y="275"/>
                </a:lnTo>
                <a:lnTo>
                  <a:pt x="637" y="275"/>
                </a:lnTo>
                <a:lnTo>
                  <a:pt x="637" y="275"/>
                </a:lnTo>
                <a:lnTo>
                  <a:pt x="637" y="273"/>
                </a:lnTo>
                <a:lnTo>
                  <a:pt x="637" y="273"/>
                </a:lnTo>
                <a:lnTo>
                  <a:pt x="639" y="273"/>
                </a:lnTo>
                <a:lnTo>
                  <a:pt x="639" y="273"/>
                </a:lnTo>
                <a:lnTo>
                  <a:pt x="637" y="270"/>
                </a:lnTo>
                <a:lnTo>
                  <a:pt x="637" y="270"/>
                </a:lnTo>
                <a:lnTo>
                  <a:pt x="637" y="268"/>
                </a:lnTo>
                <a:lnTo>
                  <a:pt x="637" y="268"/>
                </a:lnTo>
                <a:lnTo>
                  <a:pt x="642" y="265"/>
                </a:lnTo>
                <a:lnTo>
                  <a:pt x="642" y="265"/>
                </a:lnTo>
                <a:lnTo>
                  <a:pt x="644" y="265"/>
                </a:lnTo>
                <a:lnTo>
                  <a:pt x="644" y="265"/>
                </a:lnTo>
                <a:lnTo>
                  <a:pt x="644" y="263"/>
                </a:lnTo>
                <a:lnTo>
                  <a:pt x="644" y="263"/>
                </a:lnTo>
                <a:lnTo>
                  <a:pt x="647" y="263"/>
                </a:lnTo>
                <a:lnTo>
                  <a:pt x="647" y="263"/>
                </a:lnTo>
                <a:lnTo>
                  <a:pt x="649" y="263"/>
                </a:lnTo>
                <a:lnTo>
                  <a:pt x="649" y="263"/>
                </a:lnTo>
                <a:lnTo>
                  <a:pt x="654" y="263"/>
                </a:lnTo>
                <a:lnTo>
                  <a:pt x="654" y="263"/>
                </a:lnTo>
                <a:lnTo>
                  <a:pt x="652" y="260"/>
                </a:lnTo>
                <a:lnTo>
                  <a:pt x="652" y="260"/>
                </a:lnTo>
                <a:lnTo>
                  <a:pt x="654" y="258"/>
                </a:lnTo>
                <a:lnTo>
                  <a:pt x="654" y="258"/>
                </a:lnTo>
                <a:lnTo>
                  <a:pt x="659" y="258"/>
                </a:lnTo>
                <a:lnTo>
                  <a:pt x="659" y="258"/>
                </a:lnTo>
                <a:lnTo>
                  <a:pt x="664" y="255"/>
                </a:lnTo>
                <a:lnTo>
                  <a:pt x="664" y="255"/>
                </a:lnTo>
                <a:lnTo>
                  <a:pt x="666" y="250"/>
                </a:lnTo>
                <a:lnTo>
                  <a:pt x="666" y="250"/>
                </a:lnTo>
                <a:lnTo>
                  <a:pt x="674" y="248"/>
                </a:lnTo>
                <a:lnTo>
                  <a:pt x="674" y="248"/>
                </a:lnTo>
                <a:lnTo>
                  <a:pt x="674" y="246"/>
                </a:lnTo>
                <a:lnTo>
                  <a:pt x="674" y="246"/>
                </a:lnTo>
                <a:lnTo>
                  <a:pt x="674" y="246"/>
                </a:lnTo>
                <a:lnTo>
                  <a:pt x="666" y="248"/>
                </a:lnTo>
                <a:lnTo>
                  <a:pt x="666" y="248"/>
                </a:lnTo>
                <a:lnTo>
                  <a:pt x="666" y="246"/>
                </a:lnTo>
                <a:lnTo>
                  <a:pt x="666" y="246"/>
                </a:lnTo>
                <a:lnTo>
                  <a:pt x="661" y="250"/>
                </a:lnTo>
                <a:lnTo>
                  <a:pt x="661" y="250"/>
                </a:lnTo>
                <a:lnTo>
                  <a:pt x="661" y="248"/>
                </a:lnTo>
                <a:lnTo>
                  <a:pt x="661" y="248"/>
                </a:lnTo>
                <a:lnTo>
                  <a:pt x="661" y="241"/>
                </a:lnTo>
                <a:lnTo>
                  <a:pt x="661" y="241"/>
                </a:lnTo>
                <a:lnTo>
                  <a:pt x="661" y="241"/>
                </a:lnTo>
                <a:lnTo>
                  <a:pt x="664" y="236"/>
                </a:lnTo>
                <a:lnTo>
                  <a:pt x="664" y="236"/>
                </a:lnTo>
                <a:lnTo>
                  <a:pt x="664" y="238"/>
                </a:lnTo>
                <a:lnTo>
                  <a:pt x="664" y="238"/>
                </a:lnTo>
                <a:lnTo>
                  <a:pt x="664" y="238"/>
                </a:lnTo>
                <a:lnTo>
                  <a:pt x="666" y="238"/>
                </a:lnTo>
                <a:lnTo>
                  <a:pt x="666" y="238"/>
                </a:lnTo>
                <a:lnTo>
                  <a:pt x="669" y="238"/>
                </a:lnTo>
                <a:lnTo>
                  <a:pt x="669" y="238"/>
                </a:lnTo>
                <a:lnTo>
                  <a:pt x="664" y="233"/>
                </a:lnTo>
                <a:lnTo>
                  <a:pt x="664" y="233"/>
                </a:lnTo>
                <a:lnTo>
                  <a:pt x="669" y="233"/>
                </a:lnTo>
                <a:lnTo>
                  <a:pt x="669" y="233"/>
                </a:lnTo>
                <a:lnTo>
                  <a:pt x="671" y="236"/>
                </a:lnTo>
                <a:lnTo>
                  <a:pt x="671" y="236"/>
                </a:lnTo>
                <a:lnTo>
                  <a:pt x="674" y="236"/>
                </a:lnTo>
                <a:lnTo>
                  <a:pt x="674" y="236"/>
                </a:lnTo>
                <a:lnTo>
                  <a:pt x="679" y="233"/>
                </a:lnTo>
                <a:lnTo>
                  <a:pt x="679" y="233"/>
                </a:lnTo>
                <a:lnTo>
                  <a:pt x="681" y="233"/>
                </a:lnTo>
                <a:lnTo>
                  <a:pt x="681" y="233"/>
                </a:lnTo>
                <a:lnTo>
                  <a:pt x="691" y="231"/>
                </a:lnTo>
                <a:lnTo>
                  <a:pt x="691" y="231"/>
                </a:lnTo>
                <a:lnTo>
                  <a:pt x="693" y="231"/>
                </a:lnTo>
                <a:lnTo>
                  <a:pt x="693" y="231"/>
                </a:lnTo>
                <a:lnTo>
                  <a:pt x="696" y="233"/>
                </a:lnTo>
                <a:lnTo>
                  <a:pt x="696" y="233"/>
                </a:lnTo>
                <a:lnTo>
                  <a:pt x="691" y="241"/>
                </a:lnTo>
                <a:lnTo>
                  <a:pt x="691" y="241"/>
                </a:lnTo>
                <a:lnTo>
                  <a:pt x="691" y="243"/>
                </a:lnTo>
                <a:lnTo>
                  <a:pt x="691" y="243"/>
                </a:lnTo>
                <a:lnTo>
                  <a:pt x="696" y="246"/>
                </a:lnTo>
                <a:lnTo>
                  <a:pt x="696" y="246"/>
                </a:lnTo>
                <a:lnTo>
                  <a:pt x="696" y="241"/>
                </a:lnTo>
                <a:lnTo>
                  <a:pt x="696" y="241"/>
                </a:lnTo>
                <a:lnTo>
                  <a:pt x="698" y="236"/>
                </a:lnTo>
                <a:lnTo>
                  <a:pt x="698" y="236"/>
                </a:lnTo>
                <a:lnTo>
                  <a:pt x="698" y="233"/>
                </a:lnTo>
                <a:lnTo>
                  <a:pt x="698" y="233"/>
                </a:lnTo>
                <a:lnTo>
                  <a:pt x="698" y="231"/>
                </a:lnTo>
                <a:lnTo>
                  <a:pt x="698" y="231"/>
                </a:lnTo>
                <a:lnTo>
                  <a:pt x="701" y="236"/>
                </a:lnTo>
                <a:lnTo>
                  <a:pt x="701" y="236"/>
                </a:lnTo>
                <a:lnTo>
                  <a:pt x="701" y="238"/>
                </a:lnTo>
                <a:lnTo>
                  <a:pt x="701" y="238"/>
                </a:lnTo>
                <a:lnTo>
                  <a:pt x="703" y="238"/>
                </a:lnTo>
                <a:lnTo>
                  <a:pt x="703" y="238"/>
                </a:lnTo>
                <a:lnTo>
                  <a:pt x="706" y="236"/>
                </a:lnTo>
                <a:lnTo>
                  <a:pt x="706" y="236"/>
                </a:lnTo>
                <a:lnTo>
                  <a:pt x="703" y="233"/>
                </a:lnTo>
                <a:lnTo>
                  <a:pt x="703" y="233"/>
                </a:lnTo>
                <a:lnTo>
                  <a:pt x="706" y="231"/>
                </a:lnTo>
                <a:lnTo>
                  <a:pt x="706" y="231"/>
                </a:lnTo>
                <a:lnTo>
                  <a:pt x="708" y="231"/>
                </a:lnTo>
                <a:lnTo>
                  <a:pt x="708" y="231"/>
                </a:lnTo>
                <a:lnTo>
                  <a:pt x="708" y="236"/>
                </a:lnTo>
                <a:lnTo>
                  <a:pt x="708" y="236"/>
                </a:lnTo>
                <a:lnTo>
                  <a:pt x="713" y="231"/>
                </a:lnTo>
                <a:lnTo>
                  <a:pt x="713" y="231"/>
                </a:lnTo>
                <a:lnTo>
                  <a:pt x="713" y="228"/>
                </a:lnTo>
                <a:lnTo>
                  <a:pt x="713" y="228"/>
                </a:lnTo>
                <a:lnTo>
                  <a:pt x="711" y="226"/>
                </a:lnTo>
                <a:lnTo>
                  <a:pt x="711" y="226"/>
                </a:lnTo>
                <a:lnTo>
                  <a:pt x="716" y="226"/>
                </a:lnTo>
                <a:lnTo>
                  <a:pt x="716" y="226"/>
                </a:lnTo>
                <a:lnTo>
                  <a:pt x="716" y="226"/>
                </a:lnTo>
                <a:lnTo>
                  <a:pt x="713" y="223"/>
                </a:lnTo>
                <a:lnTo>
                  <a:pt x="713" y="223"/>
                </a:lnTo>
                <a:lnTo>
                  <a:pt x="718" y="221"/>
                </a:lnTo>
                <a:lnTo>
                  <a:pt x="718" y="221"/>
                </a:lnTo>
                <a:lnTo>
                  <a:pt x="720" y="221"/>
                </a:lnTo>
                <a:lnTo>
                  <a:pt x="720" y="221"/>
                </a:lnTo>
                <a:lnTo>
                  <a:pt x="723" y="218"/>
                </a:lnTo>
                <a:lnTo>
                  <a:pt x="723" y="218"/>
                </a:lnTo>
                <a:lnTo>
                  <a:pt x="725" y="218"/>
                </a:lnTo>
                <a:lnTo>
                  <a:pt x="725" y="218"/>
                </a:lnTo>
                <a:lnTo>
                  <a:pt x="725" y="221"/>
                </a:lnTo>
                <a:lnTo>
                  <a:pt x="725" y="221"/>
                </a:lnTo>
                <a:lnTo>
                  <a:pt x="728" y="221"/>
                </a:lnTo>
                <a:lnTo>
                  <a:pt x="728" y="221"/>
                </a:lnTo>
                <a:lnTo>
                  <a:pt x="733" y="223"/>
                </a:lnTo>
                <a:lnTo>
                  <a:pt x="733" y="223"/>
                </a:lnTo>
                <a:lnTo>
                  <a:pt x="733" y="226"/>
                </a:lnTo>
                <a:lnTo>
                  <a:pt x="733" y="226"/>
                </a:lnTo>
                <a:lnTo>
                  <a:pt x="733" y="228"/>
                </a:lnTo>
                <a:lnTo>
                  <a:pt x="733" y="228"/>
                </a:lnTo>
                <a:lnTo>
                  <a:pt x="730" y="236"/>
                </a:lnTo>
                <a:lnTo>
                  <a:pt x="730" y="236"/>
                </a:lnTo>
                <a:lnTo>
                  <a:pt x="735" y="233"/>
                </a:lnTo>
                <a:lnTo>
                  <a:pt x="735" y="233"/>
                </a:lnTo>
                <a:lnTo>
                  <a:pt x="738" y="228"/>
                </a:lnTo>
                <a:lnTo>
                  <a:pt x="738" y="228"/>
                </a:lnTo>
                <a:lnTo>
                  <a:pt x="735" y="221"/>
                </a:lnTo>
                <a:lnTo>
                  <a:pt x="735" y="221"/>
                </a:lnTo>
                <a:lnTo>
                  <a:pt x="730" y="218"/>
                </a:lnTo>
                <a:lnTo>
                  <a:pt x="730" y="218"/>
                </a:lnTo>
                <a:lnTo>
                  <a:pt x="728" y="214"/>
                </a:lnTo>
                <a:lnTo>
                  <a:pt x="728" y="214"/>
                </a:lnTo>
                <a:lnTo>
                  <a:pt x="725" y="216"/>
                </a:lnTo>
                <a:lnTo>
                  <a:pt x="725" y="216"/>
                </a:lnTo>
                <a:lnTo>
                  <a:pt x="723" y="216"/>
                </a:lnTo>
                <a:lnTo>
                  <a:pt x="723" y="216"/>
                </a:lnTo>
                <a:lnTo>
                  <a:pt x="718" y="216"/>
                </a:lnTo>
                <a:lnTo>
                  <a:pt x="718" y="216"/>
                </a:lnTo>
                <a:lnTo>
                  <a:pt x="718" y="214"/>
                </a:lnTo>
                <a:lnTo>
                  <a:pt x="718" y="214"/>
                </a:lnTo>
                <a:lnTo>
                  <a:pt x="716" y="211"/>
                </a:lnTo>
                <a:lnTo>
                  <a:pt x="716" y="211"/>
                </a:lnTo>
                <a:lnTo>
                  <a:pt x="716" y="211"/>
                </a:lnTo>
                <a:lnTo>
                  <a:pt x="716" y="209"/>
                </a:lnTo>
                <a:lnTo>
                  <a:pt x="716" y="209"/>
                </a:lnTo>
                <a:lnTo>
                  <a:pt x="723" y="209"/>
                </a:lnTo>
                <a:lnTo>
                  <a:pt x="723" y="209"/>
                </a:lnTo>
                <a:lnTo>
                  <a:pt x="725" y="206"/>
                </a:lnTo>
                <a:lnTo>
                  <a:pt x="725" y="206"/>
                </a:lnTo>
                <a:lnTo>
                  <a:pt x="728" y="206"/>
                </a:lnTo>
                <a:lnTo>
                  <a:pt x="728" y="206"/>
                </a:lnTo>
                <a:lnTo>
                  <a:pt x="730" y="206"/>
                </a:lnTo>
                <a:lnTo>
                  <a:pt x="730" y="206"/>
                </a:lnTo>
                <a:lnTo>
                  <a:pt x="735" y="206"/>
                </a:lnTo>
                <a:lnTo>
                  <a:pt x="735" y="206"/>
                </a:lnTo>
                <a:lnTo>
                  <a:pt x="735" y="206"/>
                </a:lnTo>
                <a:lnTo>
                  <a:pt x="743" y="204"/>
                </a:lnTo>
                <a:lnTo>
                  <a:pt x="743" y="204"/>
                </a:lnTo>
                <a:lnTo>
                  <a:pt x="747" y="206"/>
                </a:lnTo>
                <a:lnTo>
                  <a:pt x="747" y="206"/>
                </a:lnTo>
                <a:lnTo>
                  <a:pt x="750" y="206"/>
                </a:lnTo>
                <a:lnTo>
                  <a:pt x="750" y="206"/>
                </a:lnTo>
                <a:lnTo>
                  <a:pt x="752" y="206"/>
                </a:lnTo>
                <a:lnTo>
                  <a:pt x="752" y="206"/>
                </a:lnTo>
                <a:lnTo>
                  <a:pt x="755" y="204"/>
                </a:lnTo>
                <a:lnTo>
                  <a:pt x="755" y="204"/>
                </a:lnTo>
                <a:lnTo>
                  <a:pt x="752" y="201"/>
                </a:lnTo>
                <a:lnTo>
                  <a:pt x="752" y="201"/>
                </a:lnTo>
                <a:lnTo>
                  <a:pt x="747" y="201"/>
                </a:lnTo>
                <a:lnTo>
                  <a:pt x="747" y="201"/>
                </a:lnTo>
                <a:lnTo>
                  <a:pt x="743" y="201"/>
                </a:lnTo>
                <a:lnTo>
                  <a:pt x="743" y="201"/>
                </a:lnTo>
                <a:lnTo>
                  <a:pt x="740" y="201"/>
                </a:lnTo>
                <a:lnTo>
                  <a:pt x="740" y="201"/>
                </a:lnTo>
                <a:lnTo>
                  <a:pt x="735" y="201"/>
                </a:lnTo>
                <a:lnTo>
                  <a:pt x="735" y="201"/>
                </a:lnTo>
                <a:lnTo>
                  <a:pt x="735" y="199"/>
                </a:lnTo>
                <a:lnTo>
                  <a:pt x="735" y="199"/>
                </a:lnTo>
                <a:lnTo>
                  <a:pt x="733" y="196"/>
                </a:lnTo>
                <a:lnTo>
                  <a:pt x="733" y="196"/>
                </a:lnTo>
                <a:lnTo>
                  <a:pt x="738" y="191"/>
                </a:lnTo>
                <a:lnTo>
                  <a:pt x="738" y="191"/>
                </a:lnTo>
                <a:lnTo>
                  <a:pt x="733" y="191"/>
                </a:lnTo>
                <a:lnTo>
                  <a:pt x="733" y="191"/>
                </a:lnTo>
                <a:lnTo>
                  <a:pt x="730" y="186"/>
                </a:lnTo>
                <a:lnTo>
                  <a:pt x="730" y="186"/>
                </a:lnTo>
                <a:lnTo>
                  <a:pt x="725" y="186"/>
                </a:lnTo>
                <a:lnTo>
                  <a:pt x="725" y="186"/>
                </a:lnTo>
                <a:lnTo>
                  <a:pt x="723" y="184"/>
                </a:lnTo>
                <a:lnTo>
                  <a:pt x="723" y="184"/>
                </a:lnTo>
                <a:lnTo>
                  <a:pt x="723" y="179"/>
                </a:lnTo>
                <a:lnTo>
                  <a:pt x="723" y="179"/>
                </a:lnTo>
                <a:lnTo>
                  <a:pt x="725" y="179"/>
                </a:lnTo>
                <a:lnTo>
                  <a:pt x="725" y="179"/>
                </a:lnTo>
                <a:lnTo>
                  <a:pt x="725" y="177"/>
                </a:lnTo>
                <a:lnTo>
                  <a:pt x="725" y="177"/>
                </a:lnTo>
                <a:lnTo>
                  <a:pt x="723" y="172"/>
                </a:lnTo>
                <a:lnTo>
                  <a:pt x="723" y="172"/>
                </a:lnTo>
                <a:lnTo>
                  <a:pt x="723" y="157"/>
                </a:lnTo>
                <a:lnTo>
                  <a:pt x="723" y="157"/>
                </a:lnTo>
                <a:lnTo>
                  <a:pt x="725" y="155"/>
                </a:lnTo>
                <a:lnTo>
                  <a:pt x="725" y="155"/>
                </a:lnTo>
                <a:lnTo>
                  <a:pt x="725" y="150"/>
                </a:lnTo>
                <a:lnTo>
                  <a:pt x="725" y="150"/>
                </a:lnTo>
                <a:lnTo>
                  <a:pt x="725" y="145"/>
                </a:lnTo>
                <a:lnTo>
                  <a:pt x="725" y="145"/>
                </a:lnTo>
                <a:lnTo>
                  <a:pt x="728" y="142"/>
                </a:lnTo>
                <a:lnTo>
                  <a:pt x="728" y="142"/>
                </a:lnTo>
                <a:lnTo>
                  <a:pt x="725" y="140"/>
                </a:lnTo>
                <a:lnTo>
                  <a:pt x="725" y="140"/>
                </a:lnTo>
                <a:lnTo>
                  <a:pt x="730" y="140"/>
                </a:lnTo>
                <a:lnTo>
                  <a:pt x="730" y="140"/>
                </a:lnTo>
                <a:lnTo>
                  <a:pt x="730" y="135"/>
                </a:lnTo>
                <a:lnTo>
                  <a:pt x="730" y="135"/>
                </a:lnTo>
                <a:lnTo>
                  <a:pt x="735" y="132"/>
                </a:lnTo>
                <a:lnTo>
                  <a:pt x="735" y="132"/>
                </a:lnTo>
                <a:lnTo>
                  <a:pt x="735" y="132"/>
                </a:lnTo>
                <a:lnTo>
                  <a:pt x="740" y="137"/>
                </a:lnTo>
                <a:lnTo>
                  <a:pt x="740" y="137"/>
                </a:lnTo>
                <a:lnTo>
                  <a:pt x="743" y="135"/>
                </a:lnTo>
                <a:lnTo>
                  <a:pt x="743" y="135"/>
                </a:lnTo>
                <a:lnTo>
                  <a:pt x="745" y="135"/>
                </a:lnTo>
                <a:lnTo>
                  <a:pt x="745" y="135"/>
                </a:lnTo>
                <a:lnTo>
                  <a:pt x="747" y="137"/>
                </a:lnTo>
                <a:lnTo>
                  <a:pt x="747" y="137"/>
                </a:lnTo>
                <a:lnTo>
                  <a:pt x="752" y="140"/>
                </a:lnTo>
                <a:lnTo>
                  <a:pt x="752" y="140"/>
                </a:lnTo>
                <a:lnTo>
                  <a:pt x="755" y="135"/>
                </a:lnTo>
                <a:lnTo>
                  <a:pt x="755" y="135"/>
                </a:lnTo>
                <a:lnTo>
                  <a:pt x="757" y="135"/>
                </a:lnTo>
                <a:lnTo>
                  <a:pt x="757" y="135"/>
                </a:lnTo>
                <a:lnTo>
                  <a:pt x="757" y="140"/>
                </a:lnTo>
                <a:lnTo>
                  <a:pt x="757" y="140"/>
                </a:lnTo>
                <a:lnTo>
                  <a:pt x="757" y="142"/>
                </a:lnTo>
                <a:lnTo>
                  <a:pt x="757" y="142"/>
                </a:lnTo>
                <a:lnTo>
                  <a:pt x="762" y="142"/>
                </a:lnTo>
                <a:lnTo>
                  <a:pt x="762" y="142"/>
                </a:lnTo>
                <a:lnTo>
                  <a:pt x="762" y="145"/>
                </a:lnTo>
                <a:lnTo>
                  <a:pt x="762" y="145"/>
                </a:lnTo>
                <a:lnTo>
                  <a:pt x="760" y="147"/>
                </a:lnTo>
                <a:lnTo>
                  <a:pt x="760" y="147"/>
                </a:lnTo>
                <a:lnTo>
                  <a:pt x="760" y="147"/>
                </a:lnTo>
                <a:lnTo>
                  <a:pt x="760" y="150"/>
                </a:lnTo>
                <a:lnTo>
                  <a:pt x="760" y="150"/>
                </a:lnTo>
                <a:lnTo>
                  <a:pt x="760" y="152"/>
                </a:lnTo>
                <a:lnTo>
                  <a:pt x="760" y="152"/>
                </a:lnTo>
                <a:lnTo>
                  <a:pt x="757" y="159"/>
                </a:lnTo>
                <a:lnTo>
                  <a:pt x="757" y="159"/>
                </a:lnTo>
                <a:lnTo>
                  <a:pt x="752" y="159"/>
                </a:lnTo>
                <a:lnTo>
                  <a:pt x="752" y="159"/>
                </a:lnTo>
                <a:lnTo>
                  <a:pt x="750" y="162"/>
                </a:lnTo>
                <a:lnTo>
                  <a:pt x="750" y="162"/>
                </a:lnTo>
                <a:lnTo>
                  <a:pt x="752" y="164"/>
                </a:lnTo>
                <a:lnTo>
                  <a:pt x="752" y="164"/>
                </a:lnTo>
                <a:lnTo>
                  <a:pt x="760" y="162"/>
                </a:lnTo>
                <a:lnTo>
                  <a:pt x="760" y="162"/>
                </a:lnTo>
                <a:lnTo>
                  <a:pt x="765" y="155"/>
                </a:lnTo>
                <a:lnTo>
                  <a:pt x="765" y="155"/>
                </a:lnTo>
                <a:lnTo>
                  <a:pt x="767" y="155"/>
                </a:lnTo>
                <a:lnTo>
                  <a:pt x="767" y="155"/>
                </a:lnTo>
                <a:lnTo>
                  <a:pt x="767" y="157"/>
                </a:lnTo>
                <a:lnTo>
                  <a:pt x="767" y="157"/>
                </a:lnTo>
                <a:lnTo>
                  <a:pt x="765" y="159"/>
                </a:lnTo>
                <a:lnTo>
                  <a:pt x="765" y="159"/>
                </a:lnTo>
                <a:lnTo>
                  <a:pt x="765" y="162"/>
                </a:lnTo>
                <a:lnTo>
                  <a:pt x="765" y="162"/>
                </a:lnTo>
                <a:lnTo>
                  <a:pt x="770" y="162"/>
                </a:lnTo>
                <a:lnTo>
                  <a:pt x="770" y="162"/>
                </a:lnTo>
                <a:lnTo>
                  <a:pt x="772" y="157"/>
                </a:lnTo>
                <a:lnTo>
                  <a:pt x="772" y="157"/>
                </a:lnTo>
                <a:lnTo>
                  <a:pt x="775" y="157"/>
                </a:lnTo>
                <a:lnTo>
                  <a:pt x="775" y="157"/>
                </a:lnTo>
                <a:lnTo>
                  <a:pt x="775" y="157"/>
                </a:lnTo>
                <a:lnTo>
                  <a:pt x="779" y="157"/>
                </a:lnTo>
                <a:lnTo>
                  <a:pt x="779" y="157"/>
                </a:lnTo>
                <a:lnTo>
                  <a:pt x="779" y="155"/>
                </a:lnTo>
                <a:lnTo>
                  <a:pt x="779" y="155"/>
                </a:lnTo>
                <a:lnTo>
                  <a:pt x="782" y="152"/>
                </a:lnTo>
                <a:lnTo>
                  <a:pt x="782" y="152"/>
                </a:lnTo>
                <a:lnTo>
                  <a:pt x="784" y="155"/>
                </a:lnTo>
                <a:lnTo>
                  <a:pt x="784" y="155"/>
                </a:lnTo>
                <a:lnTo>
                  <a:pt x="787" y="152"/>
                </a:lnTo>
                <a:lnTo>
                  <a:pt x="787" y="152"/>
                </a:lnTo>
                <a:lnTo>
                  <a:pt x="792" y="157"/>
                </a:lnTo>
                <a:lnTo>
                  <a:pt x="792" y="157"/>
                </a:lnTo>
                <a:lnTo>
                  <a:pt x="792" y="159"/>
                </a:lnTo>
                <a:lnTo>
                  <a:pt x="792" y="159"/>
                </a:lnTo>
                <a:lnTo>
                  <a:pt x="792" y="164"/>
                </a:lnTo>
                <a:lnTo>
                  <a:pt x="792" y="164"/>
                </a:lnTo>
                <a:lnTo>
                  <a:pt x="792" y="167"/>
                </a:lnTo>
                <a:lnTo>
                  <a:pt x="792" y="167"/>
                </a:lnTo>
                <a:lnTo>
                  <a:pt x="792" y="169"/>
                </a:lnTo>
                <a:lnTo>
                  <a:pt x="792" y="169"/>
                </a:lnTo>
                <a:lnTo>
                  <a:pt x="789" y="174"/>
                </a:lnTo>
                <a:lnTo>
                  <a:pt x="789" y="174"/>
                </a:lnTo>
                <a:lnTo>
                  <a:pt x="792" y="182"/>
                </a:lnTo>
                <a:lnTo>
                  <a:pt x="792" y="182"/>
                </a:lnTo>
                <a:lnTo>
                  <a:pt x="792" y="184"/>
                </a:lnTo>
                <a:lnTo>
                  <a:pt x="792" y="184"/>
                </a:lnTo>
                <a:lnTo>
                  <a:pt x="789" y="184"/>
                </a:lnTo>
                <a:lnTo>
                  <a:pt x="789" y="184"/>
                </a:lnTo>
                <a:lnTo>
                  <a:pt x="787" y="186"/>
                </a:lnTo>
                <a:lnTo>
                  <a:pt x="787" y="186"/>
                </a:lnTo>
                <a:lnTo>
                  <a:pt x="789" y="186"/>
                </a:lnTo>
                <a:lnTo>
                  <a:pt x="789" y="186"/>
                </a:lnTo>
                <a:lnTo>
                  <a:pt x="797" y="186"/>
                </a:lnTo>
                <a:lnTo>
                  <a:pt x="797" y="186"/>
                </a:lnTo>
                <a:lnTo>
                  <a:pt x="799" y="182"/>
                </a:lnTo>
                <a:lnTo>
                  <a:pt x="799" y="182"/>
                </a:lnTo>
                <a:lnTo>
                  <a:pt x="804" y="182"/>
                </a:lnTo>
                <a:lnTo>
                  <a:pt x="804" y="182"/>
                </a:lnTo>
                <a:lnTo>
                  <a:pt x="807" y="177"/>
                </a:lnTo>
                <a:lnTo>
                  <a:pt x="807" y="177"/>
                </a:lnTo>
                <a:lnTo>
                  <a:pt x="807" y="172"/>
                </a:lnTo>
                <a:lnTo>
                  <a:pt x="807" y="172"/>
                </a:lnTo>
                <a:lnTo>
                  <a:pt x="804" y="169"/>
                </a:lnTo>
                <a:lnTo>
                  <a:pt x="804" y="169"/>
                </a:lnTo>
                <a:lnTo>
                  <a:pt x="802" y="169"/>
                </a:lnTo>
                <a:lnTo>
                  <a:pt x="802" y="169"/>
                </a:lnTo>
                <a:lnTo>
                  <a:pt x="799" y="167"/>
                </a:lnTo>
                <a:lnTo>
                  <a:pt x="799" y="167"/>
                </a:lnTo>
                <a:lnTo>
                  <a:pt x="799" y="164"/>
                </a:lnTo>
                <a:lnTo>
                  <a:pt x="799" y="164"/>
                </a:lnTo>
                <a:lnTo>
                  <a:pt x="802" y="164"/>
                </a:lnTo>
                <a:lnTo>
                  <a:pt x="802" y="164"/>
                </a:lnTo>
                <a:lnTo>
                  <a:pt x="804" y="164"/>
                </a:lnTo>
                <a:lnTo>
                  <a:pt x="804" y="164"/>
                </a:lnTo>
                <a:lnTo>
                  <a:pt x="804" y="164"/>
                </a:lnTo>
                <a:lnTo>
                  <a:pt x="807" y="164"/>
                </a:lnTo>
                <a:lnTo>
                  <a:pt x="807" y="164"/>
                </a:lnTo>
                <a:lnTo>
                  <a:pt x="811" y="162"/>
                </a:lnTo>
                <a:lnTo>
                  <a:pt x="811" y="162"/>
                </a:lnTo>
                <a:lnTo>
                  <a:pt x="816" y="157"/>
                </a:lnTo>
                <a:lnTo>
                  <a:pt x="816" y="157"/>
                </a:lnTo>
                <a:lnTo>
                  <a:pt x="819" y="159"/>
                </a:lnTo>
                <a:lnTo>
                  <a:pt x="819" y="159"/>
                </a:lnTo>
                <a:lnTo>
                  <a:pt x="821" y="159"/>
                </a:lnTo>
                <a:lnTo>
                  <a:pt x="821" y="159"/>
                </a:lnTo>
                <a:lnTo>
                  <a:pt x="824" y="155"/>
                </a:lnTo>
                <a:lnTo>
                  <a:pt x="824" y="155"/>
                </a:lnTo>
                <a:lnTo>
                  <a:pt x="826" y="152"/>
                </a:lnTo>
                <a:lnTo>
                  <a:pt x="826" y="152"/>
                </a:lnTo>
                <a:lnTo>
                  <a:pt x="826" y="155"/>
                </a:lnTo>
                <a:lnTo>
                  <a:pt x="826" y="155"/>
                </a:lnTo>
                <a:lnTo>
                  <a:pt x="829" y="152"/>
                </a:lnTo>
                <a:lnTo>
                  <a:pt x="829" y="152"/>
                </a:lnTo>
                <a:lnTo>
                  <a:pt x="834" y="150"/>
                </a:lnTo>
                <a:lnTo>
                  <a:pt x="834" y="150"/>
                </a:lnTo>
                <a:lnTo>
                  <a:pt x="834" y="152"/>
                </a:lnTo>
                <a:lnTo>
                  <a:pt x="834" y="152"/>
                </a:lnTo>
                <a:lnTo>
                  <a:pt x="839" y="152"/>
                </a:lnTo>
                <a:lnTo>
                  <a:pt x="839" y="152"/>
                </a:lnTo>
                <a:lnTo>
                  <a:pt x="839" y="152"/>
                </a:lnTo>
                <a:lnTo>
                  <a:pt x="836" y="155"/>
                </a:lnTo>
                <a:lnTo>
                  <a:pt x="836" y="155"/>
                </a:lnTo>
                <a:lnTo>
                  <a:pt x="839" y="157"/>
                </a:lnTo>
                <a:lnTo>
                  <a:pt x="839" y="157"/>
                </a:lnTo>
                <a:lnTo>
                  <a:pt x="843" y="157"/>
                </a:lnTo>
                <a:lnTo>
                  <a:pt x="843" y="157"/>
                </a:lnTo>
                <a:lnTo>
                  <a:pt x="846" y="157"/>
                </a:lnTo>
                <a:lnTo>
                  <a:pt x="846" y="157"/>
                </a:lnTo>
                <a:lnTo>
                  <a:pt x="848" y="159"/>
                </a:lnTo>
                <a:lnTo>
                  <a:pt x="848" y="159"/>
                </a:lnTo>
                <a:lnTo>
                  <a:pt x="861" y="164"/>
                </a:lnTo>
                <a:lnTo>
                  <a:pt x="861" y="164"/>
                </a:lnTo>
                <a:lnTo>
                  <a:pt x="863" y="167"/>
                </a:lnTo>
                <a:lnTo>
                  <a:pt x="863" y="167"/>
                </a:lnTo>
                <a:lnTo>
                  <a:pt x="863" y="169"/>
                </a:lnTo>
                <a:lnTo>
                  <a:pt x="863" y="169"/>
                </a:lnTo>
                <a:lnTo>
                  <a:pt x="863" y="172"/>
                </a:lnTo>
                <a:lnTo>
                  <a:pt x="863" y="172"/>
                </a:lnTo>
                <a:lnTo>
                  <a:pt x="870" y="177"/>
                </a:lnTo>
                <a:lnTo>
                  <a:pt x="870" y="177"/>
                </a:lnTo>
                <a:lnTo>
                  <a:pt x="870" y="177"/>
                </a:lnTo>
                <a:lnTo>
                  <a:pt x="870" y="174"/>
                </a:lnTo>
                <a:lnTo>
                  <a:pt x="870" y="174"/>
                </a:lnTo>
                <a:lnTo>
                  <a:pt x="873" y="174"/>
                </a:lnTo>
                <a:lnTo>
                  <a:pt x="873" y="174"/>
                </a:lnTo>
                <a:lnTo>
                  <a:pt x="873" y="172"/>
                </a:lnTo>
                <a:lnTo>
                  <a:pt x="873" y="172"/>
                </a:lnTo>
                <a:lnTo>
                  <a:pt x="870" y="172"/>
                </a:lnTo>
                <a:lnTo>
                  <a:pt x="870" y="172"/>
                </a:lnTo>
                <a:lnTo>
                  <a:pt x="868" y="169"/>
                </a:lnTo>
                <a:lnTo>
                  <a:pt x="868" y="169"/>
                </a:lnTo>
                <a:lnTo>
                  <a:pt x="868" y="167"/>
                </a:lnTo>
                <a:lnTo>
                  <a:pt x="868" y="167"/>
                </a:lnTo>
                <a:lnTo>
                  <a:pt x="870" y="167"/>
                </a:lnTo>
                <a:lnTo>
                  <a:pt x="870" y="167"/>
                </a:lnTo>
                <a:lnTo>
                  <a:pt x="873" y="167"/>
                </a:lnTo>
                <a:lnTo>
                  <a:pt x="873" y="167"/>
                </a:lnTo>
                <a:lnTo>
                  <a:pt x="875" y="169"/>
                </a:lnTo>
                <a:lnTo>
                  <a:pt x="875" y="169"/>
                </a:lnTo>
                <a:lnTo>
                  <a:pt x="878" y="169"/>
                </a:lnTo>
                <a:lnTo>
                  <a:pt x="878" y="169"/>
                </a:lnTo>
                <a:lnTo>
                  <a:pt x="878" y="172"/>
                </a:lnTo>
                <a:lnTo>
                  <a:pt x="878" y="172"/>
                </a:lnTo>
                <a:lnTo>
                  <a:pt x="880" y="177"/>
                </a:lnTo>
                <a:lnTo>
                  <a:pt x="880" y="177"/>
                </a:lnTo>
                <a:lnTo>
                  <a:pt x="883" y="182"/>
                </a:lnTo>
                <a:lnTo>
                  <a:pt x="883" y="182"/>
                </a:lnTo>
                <a:lnTo>
                  <a:pt x="883" y="182"/>
                </a:lnTo>
                <a:lnTo>
                  <a:pt x="885" y="179"/>
                </a:lnTo>
                <a:lnTo>
                  <a:pt x="885" y="179"/>
                </a:lnTo>
                <a:lnTo>
                  <a:pt x="888" y="179"/>
                </a:lnTo>
                <a:lnTo>
                  <a:pt x="888" y="179"/>
                </a:lnTo>
                <a:lnTo>
                  <a:pt x="888" y="182"/>
                </a:lnTo>
                <a:lnTo>
                  <a:pt x="888" y="182"/>
                </a:lnTo>
                <a:lnTo>
                  <a:pt x="890" y="184"/>
                </a:lnTo>
                <a:lnTo>
                  <a:pt x="890" y="184"/>
                </a:lnTo>
                <a:lnTo>
                  <a:pt x="890" y="186"/>
                </a:lnTo>
                <a:lnTo>
                  <a:pt x="890" y="186"/>
                </a:lnTo>
                <a:lnTo>
                  <a:pt x="893" y="191"/>
                </a:lnTo>
                <a:lnTo>
                  <a:pt x="893" y="191"/>
                </a:lnTo>
                <a:lnTo>
                  <a:pt x="893" y="194"/>
                </a:lnTo>
                <a:lnTo>
                  <a:pt x="893" y="194"/>
                </a:lnTo>
                <a:lnTo>
                  <a:pt x="893" y="191"/>
                </a:lnTo>
                <a:lnTo>
                  <a:pt x="893" y="191"/>
                </a:lnTo>
                <a:lnTo>
                  <a:pt x="893" y="191"/>
                </a:lnTo>
                <a:lnTo>
                  <a:pt x="890" y="189"/>
                </a:lnTo>
                <a:lnTo>
                  <a:pt x="890" y="189"/>
                </a:lnTo>
                <a:lnTo>
                  <a:pt x="890" y="189"/>
                </a:lnTo>
                <a:lnTo>
                  <a:pt x="888" y="191"/>
                </a:lnTo>
                <a:lnTo>
                  <a:pt x="888" y="191"/>
                </a:lnTo>
                <a:lnTo>
                  <a:pt x="885" y="189"/>
                </a:lnTo>
                <a:lnTo>
                  <a:pt x="885" y="189"/>
                </a:lnTo>
                <a:lnTo>
                  <a:pt x="880" y="186"/>
                </a:lnTo>
                <a:lnTo>
                  <a:pt x="880" y="186"/>
                </a:lnTo>
                <a:lnTo>
                  <a:pt x="875" y="186"/>
                </a:lnTo>
                <a:lnTo>
                  <a:pt x="875" y="186"/>
                </a:lnTo>
                <a:lnTo>
                  <a:pt x="875" y="186"/>
                </a:lnTo>
                <a:lnTo>
                  <a:pt x="878" y="191"/>
                </a:lnTo>
                <a:lnTo>
                  <a:pt x="878" y="191"/>
                </a:lnTo>
                <a:lnTo>
                  <a:pt x="880" y="191"/>
                </a:lnTo>
                <a:lnTo>
                  <a:pt x="880" y="191"/>
                </a:lnTo>
                <a:lnTo>
                  <a:pt x="883" y="191"/>
                </a:lnTo>
                <a:lnTo>
                  <a:pt x="883" y="191"/>
                </a:lnTo>
                <a:lnTo>
                  <a:pt x="883" y="194"/>
                </a:lnTo>
                <a:lnTo>
                  <a:pt x="883" y="194"/>
                </a:lnTo>
                <a:lnTo>
                  <a:pt x="885" y="196"/>
                </a:lnTo>
                <a:lnTo>
                  <a:pt x="885" y="196"/>
                </a:lnTo>
                <a:lnTo>
                  <a:pt x="885" y="199"/>
                </a:lnTo>
                <a:lnTo>
                  <a:pt x="885" y="199"/>
                </a:lnTo>
                <a:lnTo>
                  <a:pt x="888" y="196"/>
                </a:lnTo>
                <a:lnTo>
                  <a:pt x="888" y="196"/>
                </a:lnTo>
                <a:lnTo>
                  <a:pt x="888" y="194"/>
                </a:lnTo>
                <a:lnTo>
                  <a:pt x="888" y="194"/>
                </a:lnTo>
                <a:lnTo>
                  <a:pt x="890" y="194"/>
                </a:lnTo>
                <a:lnTo>
                  <a:pt x="890" y="194"/>
                </a:lnTo>
                <a:lnTo>
                  <a:pt x="890" y="196"/>
                </a:lnTo>
                <a:lnTo>
                  <a:pt x="890" y="196"/>
                </a:lnTo>
                <a:lnTo>
                  <a:pt x="893" y="196"/>
                </a:lnTo>
                <a:lnTo>
                  <a:pt x="893" y="196"/>
                </a:lnTo>
                <a:lnTo>
                  <a:pt x="895" y="196"/>
                </a:lnTo>
                <a:lnTo>
                  <a:pt x="895" y="196"/>
                </a:lnTo>
                <a:lnTo>
                  <a:pt x="898" y="196"/>
                </a:lnTo>
                <a:lnTo>
                  <a:pt x="898" y="196"/>
                </a:lnTo>
                <a:lnTo>
                  <a:pt x="898" y="199"/>
                </a:lnTo>
                <a:lnTo>
                  <a:pt x="898" y="199"/>
                </a:lnTo>
                <a:lnTo>
                  <a:pt x="898" y="201"/>
                </a:lnTo>
                <a:lnTo>
                  <a:pt x="898" y="201"/>
                </a:lnTo>
                <a:lnTo>
                  <a:pt x="900" y="206"/>
                </a:lnTo>
                <a:lnTo>
                  <a:pt x="900" y="206"/>
                </a:lnTo>
                <a:lnTo>
                  <a:pt x="900" y="211"/>
                </a:lnTo>
                <a:lnTo>
                  <a:pt x="900" y="211"/>
                </a:lnTo>
                <a:lnTo>
                  <a:pt x="900" y="216"/>
                </a:lnTo>
                <a:lnTo>
                  <a:pt x="900" y="216"/>
                </a:lnTo>
                <a:lnTo>
                  <a:pt x="898" y="221"/>
                </a:lnTo>
                <a:lnTo>
                  <a:pt x="898" y="221"/>
                </a:lnTo>
                <a:lnTo>
                  <a:pt x="898" y="221"/>
                </a:lnTo>
                <a:lnTo>
                  <a:pt x="895" y="223"/>
                </a:lnTo>
                <a:lnTo>
                  <a:pt x="895" y="223"/>
                </a:lnTo>
                <a:lnTo>
                  <a:pt x="895" y="226"/>
                </a:lnTo>
                <a:lnTo>
                  <a:pt x="895" y="226"/>
                </a:lnTo>
                <a:lnTo>
                  <a:pt x="895" y="231"/>
                </a:lnTo>
                <a:lnTo>
                  <a:pt x="895" y="231"/>
                </a:lnTo>
                <a:lnTo>
                  <a:pt x="895" y="233"/>
                </a:lnTo>
                <a:lnTo>
                  <a:pt x="895" y="233"/>
                </a:lnTo>
                <a:lnTo>
                  <a:pt x="895" y="233"/>
                </a:lnTo>
                <a:lnTo>
                  <a:pt x="895" y="238"/>
                </a:lnTo>
                <a:lnTo>
                  <a:pt x="895" y="238"/>
                </a:lnTo>
                <a:lnTo>
                  <a:pt x="893" y="238"/>
                </a:lnTo>
                <a:lnTo>
                  <a:pt x="893" y="238"/>
                </a:lnTo>
                <a:lnTo>
                  <a:pt x="890" y="243"/>
                </a:lnTo>
                <a:lnTo>
                  <a:pt x="890" y="243"/>
                </a:lnTo>
                <a:lnTo>
                  <a:pt x="893" y="243"/>
                </a:lnTo>
                <a:lnTo>
                  <a:pt x="893" y="243"/>
                </a:lnTo>
                <a:lnTo>
                  <a:pt x="890" y="248"/>
                </a:lnTo>
                <a:lnTo>
                  <a:pt x="890" y="248"/>
                </a:lnTo>
                <a:lnTo>
                  <a:pt x="888" y="250"/>
                </a:lnTo>
                <a:lnTo>
                  <a:pt x="888" y="250"/>
                </a:lnTo>
                <a:lnTo>
                  <a:pt x="888" y="253"/>
                </a:lnTo>
                <a:lnTo>
                  <a:pt x="888" y="253"/>
                </a:lnTo>
                <a:lnTo>
                  <a:pt x="888" y="255"/>
                </a:lnTo>
                <a:lnTo>
                  <a:pt x="888" y="255"/>
                </a:lnTo>
                <a:lnTo>
                  <a:pt x="885" y="255"/>
                </a:lnTo>
                <a:lnTo>
                  <a:pt x="885" y="255"/>
                </a:lnTo>
                <a:lnTo>
                  <a:pt x="880" y="260"/>
                </a:lnTo>
                <a:lnTo>
                  <a:pt x="880" y="260"/>
                </a:lnTo>
                <a:lnTo>
                  <a:pt x="878" y="260"/>
                </a:lnTo>
                <a:lnTo>
                  <a:pt x="878" y="260"/>
                </a:lnTo>
                <a:lnTo>
                  <a:pt x="880" y="260"/>
                </a:lnTo>
                <a:lnTo>
                  <a:pt x="880" y="260"/>
                </a:lnTo>
                <a:lnTo>
                  <a:pt x="883" y="260"/>
                </a:lnTo>
                <a:lnTo>
                  <a:pt x="883" y="260"/>
                </a:lnTo>
                <a:lnTo>
                  <a:pt x="885" y="258"/>
                </a:lnTo>
                <a:lnTo>
                  <a:pt x="885" y="258"/>
                </a:lnTo>
                <a:lnTo>
                  <a:pt x="885" y="258"/>
                </a:lnTo>
                <a:lnTo>
                  <a:pt x="888" y="263"/>
                </a:lnTo>
                <a:lnTo>
                  <a:pt x="888" y="263"/>
                </a:lnTo>
                <a:lnTo>
                  <a:pt x="885" y="268"/>
                </a:lnTo>
                <a:lnTo>
                  <a:pt x="885" y="268"/>
                </a:lnTo>
                <a:lnTo>
                  <a:pt x="883" y="273"/>
                </a:lnTo>
                <a:lnTo>
                  <a:pt x="883" y="273"/>
                </a:lnTo>
                <a:lnTo>
                  <a:pt x="880" y="280"/>
                </a:lnTo>
                <a:lnTo>
                  <a:pt x="880" y="280"/>
                </a:lnTo>
                <a:lnTo>
                  <a:pt x="883" y="282"/>
                </a:lnTo>
                <a:lnTo>
                  <a:pt x="883" y="282"/>
                </a:lnTo>
                <a:lnTo>
                  <a:pt x="883" y="285"/>
                </a:lnTo>
                <a:lnTo>
                  <a:pt x="883" y="285"/>
                </a:lnTo>
                <a:lnTo>
                  <a:pt x="880" y="292"/>
                </a:lnTo>
                <a:lnTo>
                  <a:pt x="880" y="292"/>
                </a:lnTo>
                <a:lnTo>
                  <a:pt x="875" y="292"/>
                </a:lnTo>
                <a:lnTo>
                  <a:pt x="875" y="292"/>
                </a:lnTo>
                <a:lnTo>
                  <a:pt x="875" y="292"/>
                </a:lnTo>
                <a:lnTo>
                  <a:pt x="873" y="292"/>
                </a:lnTo>
                <a:lnTo>
                  <a:pt x="873" y="292"/>
                </a:lnTo>
                <a:lnTo>
                  <a:pt x="873" y="295"/>
                </a:lnTo>
                <a:lnTo>
                  <a:pt x="873" y="295"/>
                </a:lnTo>
                <a:lnTo>
                  <a:pt x="873" y="297"/>
                </a:lnTo>
                <a:lnTo>
                  <a:pt x="873" y="297"/>
                </a:lnTo>
                <a:lnTo>
                  <a:pt x="875" y="302"/>
                </a:lnTo>
                <a:lnTo>
                  <a:pt x="875" y="302"/>
                </a:lnTo>
                <a:lnTo>
                  <a:pt x="873" y="305"/>
                </a:lnTo>
                <a:lnTo>
                  <a:pt x="873" y="305"/>
                </a:lnTo>
                <a:lnTo>
                  <a:pt x="870" y="307"/>
                </a:lnTo>
                <a:lnTo>
                  <a:pt x="870" y="307"/>
                </a:lnTo>
                <a:lnTo>
                  <a:pt x="868" y="312"/>
                </a:lnTo>
                <a:lnTo>
                  <a:pt x="868" y="312"/>
                </a:lnTo>
                <a:lnTo>
                  <a:pt x="870" y="317"/>
                </a:lnTo>
                <a:lnTo>
                  <a:pt x="870" y="317"/>
                </a:lnTo>
                <a:lnTo>
                  <a:pt x="870" y="319"/>
                </a:lnTo>
                <a:lnTo>
                  <a:pt x="870" y="319"/>
                </a:lnTo>
                <a:lnTo>
                  <a:pt x="870" y="322"/>
                </a:lnTo>
                <a:lnTo>
                  <a:pt x="870" y="322"/>
                </a:lnTo>
                <a:lnTo>
                  <a:pt x="870" y="324"/>
                </a:lnTo>
                <a:lnTo>
                  <a:pt x="870" y="324"/>
                </a:lnTo>
                <a:lnTo>
                  <a:pt x="873" y="324"/>
                </a:lnTo>
                <a:lnTo>
                  <a:pt x="873" y="324"/>
                </a:lnTo>
                <a:lnTo>
                  <a:pt x="870" y="334"/>
                </a:lnTo>
                <a:lnTo>
                  <a:pt x="870" y="334"/>
                </a:lnTo>
                <a:lnTo>
                  <a:pt x="868" y="334"/>
                </a:lnTo>
                <a:lnTo>
                  <a:pt x="868" y="334"/>
                </a:lnTo>
                <a:lnTo>
                  <a:pt x="866" y="339"/>
                </a:lnTo>
                <a:lnTo>
                  <a:pt x="866" y="339"/>
                </a:lnTo>
                <a:lnTo>
                  <a:pt x="868" y="337"/>
                </a:lnTo>
                <a:lnTo>
                  <a:pt x="868" y="337"/>
                </a:lnTo>
                <a:lnTo>
                  <a:pt x="870" y="337"/>
                </a:lnTo>
                <a:lnTo>
                  <a:pt x="870" y="337"/>
                </a:lnTo>
                <a:lnTo>
                  <a:pt x="873" y="334"/>
                </a:lnTo>
                <a:lnTo>
                  <a:pt x="873" y="334"/>
                </a:lnTo>
                <a:lnTo>
                  <a:pt x="875" y="329"/>
                </a:lnTo>
                <a:lnTo>
                  <a:pt x="875" y="329"/>
                </a:lnTo>
                <a:lnTo>
                  <a:pt x="873" y="329"/>
                </a:lnTo>
                <a:lnTo>
                  <a:pt x="873" y="329"/>
                </a:lnTo>
                <a:lnTo>
                  <a:pt x="875" y="327"/>
                </a:lnTo>
                <a:lnTo>
                  <a:pt x="875" y="327"/>
                </a:lnTo>
                <a:lnTo>
                  <a:pt x="880" y="327"/>
                </a:lnTo>
                <a:lnTo>
                  <a:pt x="880" y="327"/>
                </a:lnTo>
                <a:lnTo>
                  <a:pt x="880" y="327"/>
                </a:lnTo>
                <a:lnTo>
                  <a:pt x="880" y="324"/>
                </a:lnTo>
                <a:lnTo>
                  <a:pt x="880" y="324"/>
                </a:lnTo>
                <a:lnTo>
                  <a:pt x="873" y="319"/>
                </a:lnTo>
                <a:lnTo>
                  <a:pt x="873" y="319"/>
                </a:lnTo>
                <a:lnTo>
                  <a:pt x="873" y="317"/>
                </a:lnTo>
                <a:lnTo>
                  <a:pt x="873" y="317"/>
                </a:lnTo>
                <a:lnTo>
                  <a:pt x="875" y="312"/>
                </a:lnTo>
                <a:lnTo>
                  <a:pt x="875" y="312"/>
                </a:lnTo>
                <a:lnTo>
                  <a:pt x="880" y="312"/>
                </a:lnTo>
                <a:lnTo>
                  <a:pt x="880" y="312"/>
                </a:lnTo>
                <a:lnTo>
                  <a:pt x="885" y="312"/>
                </a:lnTo>
                <a:lnTo>
                  <a:pt x="885" y="312"/>
                </a:lnTo>
                <a:lnTo>
                  <a:pt x="890" y="307"/>
                </a:lnTo>
                <a:lnTo>
                  <a:pt x="890" y="307"/>
                </a:lnTo>
                <a:lnTo>
                  <a:pt x="893" y="307"/>
                </a:lnTo>
                <a:lnTo>
                  <a:pt x="893" y="307"/>
                </a:lnTo>
                <a:lnTo>
                  <a:pt x="893" y="305"/>
                </a:lnTo>
                <a:lnTo>
                  <a:pt x="893" y="305"/>
                </a:lnTo>
                <a:lnTo>
                  <a:pt x="893" y="302"/>
                </a:lnTo>
                <a:lnTo>
                  <a:pt x="893" y="302"/>
                </a:lnTo>
                <a:lnTo>
                  <a:pt x="898" y="300"/>
                </a:lnTo>
                <a:lnTo>
                  <a:pt x="898" y="300"/>
                </a:lnTo>
                <a:lnTo>
                  <a:pt x="898" y="295"/>
                </a:lnTo>
                <a:lnTo>
                  <a:pt x="898" y="295"/>
                </a:lnTo>
                <a:lnTo>
                  <a:pt x="898" y="292"/>
                </a:lnTo>
                <a:lnTo>
                  <a:pt x="898" y="292"/>
                </a:lnTo>
                <a:lnTo>
                  <a:pt x="898" y="292"/>
                </a:lnTo>
                <a:lnTo>
                  <a:pt x="900" y="292"/>
                </a:lnTo>
                <a:lnTo>
                  <a:pt x="900" y="292"/>
                </a:lnTo>
                <a:lnTo>
                  <a:pt x="905" y="292"/>
                </a:lnTo>
                <a:lnTo>
                  <a:pt x="905" y="292"/>
                </a:lnTo>
                <a:lnTo>
                  <a:pt x="905" y="287"/>
                </a:lnTo>
                <a:lnTo>
                  <a:pt x="905" y="287"/>
                </a:lnTo>
                <a:lnTo>
                  <a:pt x="905" y="287"/>
                </a:lnTo>
                <a:lnTo>
                  <a:pt x="910" y="282"/>
                </a:lnTo>
                <a:lnTo>
                  <a:pt x="910" y="282"/>
                </a:lnTo>
                <a:lnTo>
                  <a:pt x="910" y="277"/>
                </a:lnTo>
                <a:lnTo>
                  <a:pt x="910" y="277"/>
                </a:lnTo>
                <a:lnTo>
                  <a:pt x="910" y="275"/>
                </a:lnTo>
                <a:lnTo>
                  <a:pt x="910" y="275"/>
                </a:lnTo>
                <a:lnTo>
                  <a:pt x="902" y="280"/>
                </a:lnTo>
                <a:lnTo>
                  <a:pt x="902" y="280"/>
                </a:lnTo>
                <a:lnTo>
                  <a:pt x="902" y="282"/>
                </a:lnTo>
                <a:lnTo>
                  <a:pt x="902" y="282"/>
                </a:lnTo>
                <a:lnTo>
                  <a:pt x="898" y="285"/>
                </a:lnTo>
                <a:lnTo>
                  <a:pt x="898" y="285"/>
                </a:lnTo>
                <a:lnTo>
                  <a:pt x="895" y="282"/>
                </a:lnTo>
                <a:lnTo>
                  <a:pt x="895" y="282"/>
                </a:lnTo>
                <a:lnTo>
                  <a:pt x="893" y="280"/>
                </a:lnTo>
                <a:lnTo>
                  <a:pt x="893" y="280"/>
                </a:lnTo>
                <a:lnTo>
                  <a:pt x="895" y="275"/>
                </a:lnTo>
                <a:lnTo>
                  <a:pt x="895" y="275"/>
                </a:lnTo>
                <a:lnTo>
                  <a:pt x="895" y="270"/>
                </a:lnTo>
                <a:lnTo>
                  <a:pt x="895" y="270"/>
                </a:lnTo>
                <a:lnTo>
                  <a:pt x="898" y="268"/>
                </a:lnTo>
                <a:lnTo>
                  <a:pt x="898" y="268"/>
                </a:lnTo>
                <a:lnTo>
                  <a:pt x="902" y="268"/>
                </a:lnTo>
                <a:lnTo>
                  <a:pt x="902" y="268"/>
                </a:lnTo>
                <a:lnTo>
                  <a:pt x="907" y="273"/>
                </a:lnTo>
                <a:lnTo>
                  <a:pt x="907" y="273"/>
                </a:lnTo>
                <a:lnTo>
                  <a:pt x="910" y="270"/>
                </a:lnTo>
                <a:lnTo>
                  <a:pt x="910" y="270"/>
                </a:lnTo>
                <a:lnTo>
                  <a:pt x="910" y="265"/>
                </a:lnTo>
                <a:lnTo>
                  <a:pt x="910" y="265"/>
                </a:lnTo>
                <a:lnTo>
                  <a:pt x="912" y="263"/>
                </a:lnTo>
                <a:lnTo>
                  <a:pt x="912" y="263"/>
                </a:lnTo>
                <a:lnTo>
                  <a:pt x="915" y="265"/>
                </a:lnTo>
                <a:lnTo>
                  <a:pt x="915" y="265"/>
                </a:lnTo>
                <a:lnTo>
                  <a:pt x="912" y="268"/>
                </a:lnTo>
                <a:lnTo>
                  <a:pt x="912" y="268"/>
                </a:lnTo>
                <a:lnTo>
                  <a:pt x="912" y="270"/>
                </a:lnTo>
                <a:lnTo>
                  <a:pt x="912" y="270"/>
                </a:lnTo>
                <a:lnTo>
                  <a:pt x="920" y="277"/>
                </a:lnTo>
                <a:lnTo>
                  <a:pt x="920" y="277"/>
                </a:lnTo>
                <a:lnTo>
                  <a:pt x="925" y="277"/>
                </a:lnTo>
                <a:lnTo>
                  <a:pt x="925" y="277"/>
                </a:lnTo>
                <a:lnTo>
                  <a:pt x="927" y="277"/>
                </a:lnTo>
                <a:lnTo>
                  <a:pt x="927" y="277"/>
                </a:lnTo>
                <a:lnTo>
                  <a:pt x="932" y="275"/>
                </a:lnTo>
                <a:lnTo>
                  <a:pt x="932" y="275"/>
                </a:lnTo>
                <a:lnTo>
                  <a:pt x="934" y="273"/>
                </a:lnTo>
                <a:lnTo>
                  <a:pt x="934" y="273"/>
                </a:lnTo>
                <a:lnTo>
                  <a:pt x="934" y="270"/>
                </a:lnTo>
                <a:lnTo>
                  <a:pt x="934" y="270"/>
                </a:lnTo>
                <a:lnTo>
                  <a:pt x="930" y="265"/>
                </a:lnTo>
                <a:lnTo>
                  <a:pt x="930" y="265"/>
                </a:lnTo>
                <a:lnTo>
                  <a:pt x="930" y="263"/>
                </a:lnTo>
                <a:lnTo>
                  <a:pt x="930" y="263"/>
                </a:lnTo>
                <a:lnTo>
                  <a:pt x="932" y="263"/>
                </a:lnTo>
                <a:lnTo>
                  <a:pt x="932" y="263"/>
                </a:lnTo>
                <a:lnTo>
                  <a:pt x="937" y="268"/>
                </a:lnTo>
                <a:lnTo>
                  <a:pt x="937" y="268"/>
                </a:lnTo>
                <a:lnTo>
                  <a:pt x="939" y="270"/>
                </a:lnTo>
                <a:lnTo>
                  <a:pt x="939" y="270"/>
                </a:lnTo>
                <a:lnTo>
                  <a:pt x="942" y="273"/>
                </a:lnTo>
                <a:lnTo>
                  <a:pt x="942" y="273"/>
                </a:lnTo>
                <a:lnTo>
                  <a:pt x="942" y="275"/>
                </a:lnTo>
                <a:lnTo>
                  <a:pt x="942" y="275"/>
                </a:lnTo>
                <a:lnTo>
                  <a:pt x="942" y="277"/>
                </a:lnTo>
                <a:lnTo>
                  <a:pt x="942" y="277"/>
                </a:lnTo>
                <a:lnTo>
                  <a:pt x="947" y="280"/>
                </a:lnTo>
                <a:lnTo>
                  <a:pt x="947" y="280"/>
                </a:lnTo>
                <a:lnTo>
                  <a:pt x="947" y="285"/>
                </a:lnTo>
                <a:lnTo>
                  <a:pt x="947" y="285"/>
                </a:lnTo>
                <a:lnTo>
                  <a:pt x="949" y="287"/>
                </a:lnTo>
                <a:lnTo>
                  <a:pt x="949" y="287"/>
                </a:lnTo>
                <a:lnTo>
                  <a:pt x="949" y="285"/>
                </a:lnTo>
                <a:lnTo>
                  <a:pt x="949" y="285"/>
                </a:lnTo>
                <a:lnTo>
                  <a:pt x="952" y="282"/>
                </a:lnTo>
                <a:lnTo>
                  <a:pt x="952" y="282"/>
                </a:lnTo>
                <a:lnTo>
                  <a:pt x="954" y="282"/>
                </a:lnTo>
                <a:lnTo>
                  <a:pt x="954" y="282"/>
                </a:lnTo>
                <a:lnTo>
                  <a:pt x="954" y="280"/>
                </a:lnTo>
                <a:lnTo>
                  <a:pt x="954" y="280"/>
                </a:lnTo>
                <a:lnTo>
                  <a:pt x="954" y="277"/>
                </a:lnTo>
                <a:lnTo>
                  <a:pt x="954" y="277"/>
                </a:lnTo>
                <a:lnTo>
                  <a:pt x="952" y="280"/>
                </a:lnTo>
                <a:lnTo>
                  <a:pt x="952" y="280"/>
                </a:lnTo>
                <a:lnTo>
                  <a:pt x="949" y="280"/>
                </a:lnTo>
                <a:lnTo>
                  <a:pt x="949" y="280"/>
                </a:lnTo>
                <a:lnTo>
                  <a:pt x="947" y="275"/>
                </a:lnTo>
                <a:lnTo>
                  <a:pt x="947" y="275"/>
                </a:lnTo>
                <a:lnTo>
                  <a:pt x="952" y="270"/>
                </a:lnTo>
                <a:lnTo>
                  <a:pt x="952" y="270"/>
                </a:lnTo>
                <a:lnTo>
                  <a:pt x="954" y="270"/>
                </a:lnTo>
                <a:lnTo>
                  <a:pt x="954" y="270"/>
                </a:lnTo>
                <a:lnTo>
                  <a:pt x="954" y="268"/>
                </a:lnTo>
                <a:lnTo>
                  <a:pt x="954" y="268"/>
                </a:lnTo>
                <a:lnTo>
                  <a:pt x="957" y="268"/>
                </a:lnTo>
                <a:lnTo>
                  <a:pt x="957" y="268"/>
                </a:lnTo>
                <a:lnTo>
                  <a:pt x="959" y="265"/>
                </a:lnTo>
                <a:lnTo>
                  <a:pt x="959" y="265"/>
                </a:lnTo>
                <a:lnTo>
                  <a:pt x="964" y="263"/>
                </a:lnTo>
                <a:lnTo>
                  <a:pt x="964" y="263"/>
                </a:lnTo>
                <a:lnTo>
                  <a:pt x="976" y="260"/>
                </a:lnTo>
                <a:lnTo>
                  <a:pt x="976" y="260"/>
                </a:lnTo>
                <a:lnTo>
                  <a:pt x="989" y="260"/>
                </a:lnTo>
                <a:lnTo>
                  <a:pt x="989" y="260"/>
                </a:lnTo>
                <a:lnTo>
                  <a:pt x="996" y="255"/>
                </a:lnTo>
                <a:lnTo>
                  <a:pt x="996" y="255"/>
                </a:lnTo>
                <a:lnTo>
                  <a:pt x="1001" y="255"/>
                </a:lnTo>
                <a:lnTo>
                  <a:pt x="1001" y="255"/>
                </a:lnTo>
                <a:lnTo>
                  <a:pt x="1006" y="258"/>
                </a:lnTo>
                <a:lnTo>
                  <a:pt x="1006" y="258"/>
                </a:lnTo>
                <a:lnTo>
                  <a:pt x="1006" y="260"/>
                </a:lnTo>
                <a:lnTo>
                  <a:pt x="1006" y="260"/>
                </a:lnTo>
                <a:lnTo>
                  <a:pt x="1003" y="260"/>
                </a:lnTo>
                <a:lnTo>
                  <a:pt x="1003" y="260"/>
                </a:lnTo>
                <a:lnTo>
                  <a:pt x="1003" y="265"/>
                </a:lnTo>
                <a:lnTo>
                  <a:pt x="1003" y="265"/>
                </a:lnTo>
                <a:lnTo>
                  <a:pt x="1003" y="270"/>
                </a:lnTo>
                <a:lnTo>
                  <a:pt x="1003" y="270"/>
                </a:lnTo>
                <a:lnTo>
                  <a:pt x="1008" y="275"/>
                </a:lnTo>
                <a:lnTo>
                  <a:pt x="1008" y="275"/>
                </a:lnTo>
                <a:lnTo>
                  <a:pt x="1023" y="275"/>
                </a:lnTo>
                <a:lnTo>
                  <a:pt x="1023" y="275"/>
                </a:lnTo>
                <a:lnTo>
                  <a:pt x="1025" y="275"/>
                </a:lnTo>
                <a:lnTo>
                  <a:pt x="1025" y="275"/>
                </a:lnTo>
                <a:lnTo>
                  <a:pt x="1025" y="275"/>
                </a:lnTo>
                <a:lnTo>
                  <a:pt x="1030" y="275"/>
                </a:lnTo>
                <a:lnTo>
                  <a:pt x="1030" y="275"/>
                </a:lnTo>
                <a:lnTo>
                  <a:pt x="1035" y="275"/>
                </a:lnTo>
                <a:lnTo>
                  <a:pt x="1035" y="275"/>
                </a:lnTo>
                <a:lnTo>
                  <a:pt x="1045" y="275"/>
                </a:lnTo>
                <a:lnTo>
                  <a:pt x="1045" y="275"/>
                </a:lnTo>
                <a:lnTo>
                  <a:pt x="1050" y="270"/>
                </a:lnTo>
                <a:lnTo>
                  <a:pt x="1050" y="270"/>
                </a:lnTo>
                <a:lnTo>
                  <a:pt x="1053" y="273"/>
                </a:lnTo>
                <a:lnTo>
                  <a:pt x="1053" y="273"/>
                </a:lnTo>
                <a:lnTo>
                  <a:pt x="1057" y="270"/>
                </a:lnTo>
                <a:lnTo>
                  <a:pt x="1057" y="270"/>
                </a:lnTo>
                <a:lnTo>
                  <a:pt x="1057" y="268"/>
                </a:lnTo>
                <a:lnTo>
                  <a:pt x="1057" y="268"/>
                </a:lnTo>
                <a:lnTo>
                  <a:pt x="1057" y="265"/>
                </a:lnTo>
                <a:lnTo>
                  <a:pt x="1057" y="265"/>
                </a:lnTo>
                <a:lnTo>
                  <a:pt x="1060" y="265"/>
                </a:lnTo>
                <a:lnTo>
                  <a:pt x="1060" y="265"/>
                </a:lnTo>
                <a:lnTo>
                  <a:pt x="1062" y="265"/>
                </a:lnTo>
                <a:lnTo>
                  <a:pt x="1062" y="265"/>
                </a:lnTo>
                <a:lnTo>
                  <a:pt x="1067" y="265"/>
                </a:lnTo>
                <a:lnTo>
                  <a:pt x="1067" y="265"/>
                </a:lnTo>
                <a:lnTo>
                  <a:pt x="1067" y="268"/>
                </a:lnTo>
                <a:lnTo>
                  <a:pt x="1067" y="268"/>
                </a:lnTo>
                <a:lnTo>
                  <a:pt x="1070" y="268"/>
                </a:lnTo>
                <a:lnTo>
                  <a:pt x="1070" y="268"/>
                </a:lnTo>
                <a:lnTo>
                  <a:pt x="1072" y="265"/>
                </a:lnTo>
                <a:lnTo>
                  <a:pt x="1072" y="265"/>
                </a:lnTo>
                <a:lnTo>
                  <a:pt x="1070" y="263"/>
                </a:lnTo>
                <a:lnTo>
                  <a:pt x="1070" y="263"/>
                </a:lnTo>
                <a:lnTo>
                  <a:pt x="1067" y="260"/>
                </a:lnTo>
                <a:lnTo>
                  <a:pt x="1067" y="260"/>
                </a:lnTo>
                <a:lnTo>
                  <a:pt x="1067" y="258"/>
                </a:lnTo>
                <a:lnTo>
                  <a:pt x="1067" y="258"/>
                </a:lnTo>
                <a:lnTo>
                  <a:pt x="1067" y="255"/>
                </a:lnTo>
                <a:lnTo>
                  <a:pt x="1067" y="255"/>
                </a:lnTo>
                <a:lnTo>
                  <a:pt x="1062" y="253"/>
                </a:lnTo>
                <a:lnTo>
                  <a:pt x="1062" y="253"/>
                </a:lnTo>
                <a:lnTo>
                  <a:pt x="1062" y="250"/>
                </a:lnTo>
                <a:lnTo>
                  <a:pt x="1062" y="250"/>
                </a:lnTo>
                <a:lnTo>
                  <a:pt x="1060" y="250"/>
                </a:lnTo>
                <a:lnTo>
                  <a:pt x="1060" y="250"/>
                </a:lnTo>
                <a:lnTo>
                  <a:pt x="1060" y="246"/>
                </a:lnTo>
                <a:lnTo>
                  <a:pt x="1060" y="246"/>
                </a:lnTo>
                <a:lnTo>
                  <a:pt x="1057" y="243"/>
                </a:lnTo>
                <a:lnTo>
                  <a:pt x="1057" y="243"/>
                </a:lnTo>
                <a:lnTo>
                  <a:pt x="1057" y="241"/>
                </a:lnTo>
                <a:lnTo>
                  <a:pt x="1057" y="241"/>
                </a:lnTo>
                <a:lnTo>
                  <a:pt x="1060" y="238"/>
                </a:lnTo>
                <a:lnTo>
                  <a:pt x="1060" y="238"/>
                </a:lnTo>
                <a:lnTo>
                  <a:pt x="1060" y="238"/>
                </a:lnTo>
                <a:lnTo>
                  <a:pt x="1062" y="241"/>
                </a:lnTo>
                <a:lnTo>
                  <a:pt x="1062" y="241"/>
                </a:lnTo>
                <a:lnTo>
                  <a:pt x="1065" y="238"/>
                </a:lnTo>
                <a:lnTo>
                  <a:pt x="1065" y="238"/>
                </a:lnTo>
                <a:lnTo>
                  <a:pt x="1065" y="236"/>
                </a:lnTo>
                <a:lnTo>
                  <a:pt x="1065" y="236"/>
                </a:lnTo>
                <a:lnTo>
                  <a:pt x="1062" y="233"/>
                </a:lnTo>
                <a:lnTo>
                  <a:pt x="1062" y="233"/>
                </a:lnTo>
                <a:lnTo>
                  <a:pt x="1065" y="233"/>
                </a:lnTo>
                <a:lnTo>
                  <a:pt x="1065" y="233"/>
                </a:lnTo>
                <a:lnTo>
                  <a:pt x="1070" y="236"/>
                </a:lnTo>
                <a:lnTo>
                  <a:pt x="1070" y="236"/>
                </a:lnTo>
                <a:lnTo>
                  <a:pt x="1072" y="233"/>
                </a:lnTo>
                <a:lnTo>
                  <a:pt x="1072" y="233"/>
                </a:lnTo>
                <a:lnTo>
                  <a:pt x="1072" y="231"/>
                </a:lnTo>
                <a:lnTo>
                  <a:pt x="1072" y="231"/>
                </a:lnTo>
                <a:lnTo>
                  <a:pt x="1072" y="233"/>
                </a:lnTo>
                <a:lnTo>
                  <a:pt x="1072" y="233"/>
                </a:lnTo>
                <a:lnTo>
                  <a:pt x="1077" y="233"/>
                </a:lnTo>
                <a:lnTo>
                  <a:pt x="1077" y="233"/>
                </a:lnTo>
                <a:lnTo>
                  <a:pt x="1080" y="233"/>
                </a:lnTo>
                <a:lnTo>
                  <a:pt x="1080" y="233"/>
                </a:lnTo>
                <a:lnTo>
                  <a:pt x="1080" y="231"/>
                </a:lnTo>
                <a:lnTo>
                  <a:pt x="1080" y="231"/>
                </a:lnTo>
                <a:lnTo>
                  <a:pt x="1082" y="233"/>
                </a:lnTo>
                <a:lnTo>
                  <a:pt x="1082" y="233"/>
                </a:lnTo>
                <a:lnTo>
                  <a:pt x="1085" y="236"/>
                </a:lnTo>
                <a:lnTo>
                  <a:pt x="1085" y="236"/>
                </a:lnTo>
                <a:lnTo>
                  <a:pt x="1087" y="238"/>
                </a:lnTo>
                <a:lnTo>
                  <a:pt x="1087" y="238"/>
                </a:lnTo>
                <a:lnTo>
                  <a:pt x="1089" y="236"/>
                </a:lnTo>
                <a:lnTo>
                  <a:pt x="1089" y="236"/>
                </a:lnTo>
                <a:lnTo>
                  <a:pt x="1089" y="233"/>
                </a:lnTo>
                <a:lnTo>
                  <a:pt x="1089" y="233"/>
                </a:lnTo>
                <a:lnTo>
                  <a:pt x="1092" y="233"/>
                </a:lnTo>
                <a:lnTo>
                  <a:pt x="1092" y="233"/>
                </a:lnTo>
                <a:lnTo>
                  <a:pt x="1094" y="236"/>
                </a:lnTo>
                <a:lnTo>
                  <a:pt x="1094" y="236"/>
                </a:lnTo>
                <a:lnTo>
                  <a:pt x="1092" y="238"/>
                </a:lnTo>
                <a:lnTo>
                  <a:pt x="1092" y="238"/>
                </a:lnTo>
                <a:lnTo>
                  <a:pt x="1089" y="241"/>
                </a:lnTo>
                <a:lnTo>
                  <a:pt x="1089" y="241"/>
                </a:lnTo>
                <a:lnTo>
                  <a:pt x="1092" y="241"/>
                </a:lnTo>
                <a:lnTo>
                  <a:pt x="1092" y="241"/>
                </a:lnTo>
                <a:lnTo>
                  <a:pt x="1094" y="241"/>
                </a:lnTo>
                <a:lnTo>
                  <a:pt x="1094" y="241"/>
                </a:lnTo>
                <a:lnTo>
                  <a:pt x="1097" y="241"/>
                </a:lnTo>
                <a:lnTo>
                  <a:pt x="1097" y="241"/>
                </a:lnTo>
                <a:lnTo>
                  <a:pt x="1097" y="238"/>
                </a:lnTo>
                <a:lnTo>
                  <a:pt x="1097" y="238"/>
                </a:lnTo>
                <a:lnTo>
                  <a:pt x="1097" y="238"/>
                </a:lnTo>
                <a:lnTo>
                  <a:pt x="1099" y="238"/>
                </a:lnTo>
                <a:lnTo>
                  <a:pt x="1099" y="238"/>
                </a:lnTo>
                <a:lnTo>
                  <a:pt x="1099" y="236"/>
                </a:lnTo>
                <a:lnTo>
                  <a:pt x="1099" y="236"/>
                </a:lnTo>
                <a:lnTo>
                  <a:pt x="1097" y="233"/>
                </a:lnTo>
                <a:lnTo>
                  <a:pt x="1097" y="233"/>
                </a:lnTo>
                <a:lnTo>
                  <a:pt x="1097" y="233"/>
                </a:lnTo>
                <a:lnTo>
                  <a:pt x="1099" y="233"/>
                </a:lnTo>
                <a:lnTo>
                  <a:pt x="1099" y="233"/>
                </a:lnTo>
                <a:lnTo>
                  <a:pt x="1104" y="231"/>
                </a:lnTo>
                <a:lnTo>
                  <a:pt x="1104" y="231"/>
                </a:lnTo>
                <a:lnTo>
                  <a:pt x="1107" y="233"/>
                </a:lnTo>
                <a:lnTo>
                  <a:pt x="1107" y="233"/>
                </a:lnTo>
                <a:lnTo>
                  <a:pt x="1109" y="233"/>
                </a:lnTo>
                <a:lnTo>
                  <a:pt x="1109" y="233"/>
                </a:lnTo>
                <a:lnTo>
                  <a:pt x="1112" y="233"/>
                </a:lnTo>
                <a:lnTo>
                  <a:pt x="1112" y="233"/>
                </a:lnTo>
                <a:lnTo>
                  <a:pt x="1112" y="233"/>
                </a:lnTo>
                <a:lnTo>
                  <a:pt x="1114" y="238"/>
                </a:lnTo>
                <a:lnTo>
                  <a:pt x="1114" y="238"/>
                </a:lnTo>
                <a:lnTo>
                  <a:pt x="1114" y="236"/>
                </a:lnTo>
                <a:lnTo>
                  <a:pt x="1114" y="236"/>
                </a:lnTo>
                <a:lnTo>
                  <a:pt x="1116" y="236"/>
                </a:lnTo>
                <a:lnTo>
                  <a:pt x="1116" y="236"/>
                </a:lnTo>
                <a:lnTo>
                  <a:pt x="1119" y="233"/>
                </a:lnTo>
                <a:lnTo>
                  <a:pt x="1119" y="233"/>
                </a:lnTo>
                <a:lnTo>
                  <a:pt x="1119" y="238"/>
                </a:lnTo>
                <a:lnTo>
                  <a:pt x="1119" y="238"/>
                </a:lnTo>
                <a:lnTo>
                  <a:pt x="1121" y="238"/>
                </a:lnTo>
                <a:lnTo>
                  <a:pt x="1121" y="238"/>
                </a:lnTo>
                <a:lnTo>
                  <a:pt x="1124" y="236"/>
                </a:lnTo>
                <a:lnTo>
                  <a:pt x="1124" y="236"/>
                </a:lnTo>
                <a:lnTo>
                  <a:pt x="1126" y="238"/>
                </a:lnTo>
                <a:lnTo>
                  <a:pt x="1126" y="238"/>
                </a:lnTo>
                <a:lnTo>
                  <a:pt x="1129" y="243"/>
                </a:lnTo>
                <a:lnTo>
                  <a:pt x="1129" y="243"/>
                </a:lnTo>
                <a:lnTo>
                  <a:pt x="1129" y="241"/>
                </a:lnTo>
                <a:lnTo>
                  <a:pt x="1129" y="241"/>
                </a:lnTo>
                <a:lnTo>
                  <a:pt x="1131" y="238"/>
                </a:lnTo>
                <a:lnTo>
                  <a:pt x="1131" y="238"/>
                </a:lnTo>
                <a:lnTo>
                  <a:pt x="1134" y="241"/>
                </a:lnTo>
                <a:lnTo>
                  <a:pt x="1134" y="241"/>
                </a:lnTo>
                <a:lnTo>
                  <a:pt x="1131" y="246"/>
                </a:lnTo>
                <a:lnTo>
                  <a:pt x="1131" y="246"/>
                </a:lnTo>
                <a:lnTo>
                  <a:pt x="1134" y="246"/>
                </a:lnTo>
                <a:lnTo>
                  <a:pt x="1134" y="246"/>
                </a:lnTo>
                <a:lnTo>
                  <a:pt x="1134" y="248"/>
                </a:lnTo>
                <a:lnTo>
                  <a:pt x="1134" y="248"/>
                </a:lnTo>
                <a:lnTo>
                  <a:pt x="1139" y="248"/>
                </a:lnTo>
                <a:lnTo>
                  <a:pt x="1139" y="248"/>
                </a:lnTo>
                <a:lnTo>
                  <a:pt x="1139" y="250"/>
                </a:lnTo>
                <a:lnTo>
                  <a:pt x="1139" y="250"/>
                </a:lnTo>
                <a:lnTo>
                  <a:pt x="1141" y="250"/>
                </a:lnTo>
                <a:lnTo>
                  <a:pt x="1141" y="250"/>
                </a:lnTo>
                <a:lnTo>
                  <a:pt x="1141" y="248"/>
                </a:lnTo>
                <a:lnTo>
                  <a:pt x="1141" y="248"/>
                </a:lnTo>
                <a:lnTo>
                  <a:pt x="1141" y="253"/>
                </a:lnTo>
                <a:lnTo>
                  <a:pt x="1141" y="253"/>
                </a:lnTo>
                <a:lnTo>
                  <a:pt x="1139" y="255"/>
                </a:lnTo>
                <a:lnTo>
                  <a:pt x="1139" y="255"/>
                </a:lnTo>
                <a:lnTo>
                  <a:pt x="1141" y="258"/>
                </a:lnTo>
                <a:lnTo>
                  <a:pt x="1141" y="258"/>
                </a:lnTo>
                <a:lnTo>
                  <a:pt x="1144" y="255"/>
                </a:lnTo>
                <a:lnTo>
                  <a:pt x="1144" y="255"/>
                </a:lnTo>
                <a:lnTo>
                  <a:pt x="1146" y="255"/>
                </a:lnTo>
                <a:lnTo>
                  <a:pt x="1146" y="255"/>
                </a:lnTo>
                <a:lnTo>
                  <a:pt x="1148" y="258"/>
                </a:lnTo>
                <a:lnTo>
                  <a:pt x="1148" y="258"/>
                </a:lnTo>
                <a:lnTo>
                  <a:pt x="1141" y="263"/>
                </a:lnTo>
                <a:lnTo>
                  <a:pt x="1141" y="263"/>
                </a:lnTo>
                <a:lnTo>
                  <a:pt x="1141" y="265"/>
                </a:lnTo>
                <a:lnTo>
                  <a:pt x="1141" y="265"/>
                </a:lnTo>
                <a:lnTo>
                  <a:pt x="1146" y="268"/>
                </a:lnTo>
                <a:lnTo>
                  <a:pt x="1146" y="268"/>
                </a:lnTo>
                <a:lnTo>
                  <a:pt x="1148" y="265"/>
                </a:lnTo>
                <a:lnTo>
                  <a:pt x="1148" y="265"/>
                </a:lnTo>
                <a:lnTo>
                  <a:pt x="1151" y="263"/>
                </a:lnTo>
                <a:lnTo>
                  <a:pt x="1151" y="263"/>
                </a:lnTo>
                <a:lnTo>
                  <a:pt x="1153" y="265"/>
                </a:lnTo>
                <a:lnTo>
                  <a:pt x="1153" y="265"/>
                </a:lnTo>
                <a:lnTo>
                  <a:pt x="1153" y="268"/>
                </a:lnTo>
                <a:lnTo>
                  <a:pt x="1153" y="268"/>
                </a:lnTo>
                <a:lnTo>
                  <a:pt x="1156" y="265"/>
                </a:lnTo>
                <a:lnTo>
                  <a:pt x="1156" y="265"/>
                </a:lnTo>
                <a:lnTo>
                  <a:pt x="1158" y="270"/>
                </a:lnTo>
                <a:lnTo>
                  <a:pt x="1158" y="270"/>
                </a:lnTo>
                <a:lnTo>
                  <a:pt x="1158" y="275"/>
                </a:lnTo>
                <a:lnTo>
                  <a:pt x="1158" y="275"/>
                </a:lnTo>
                <a:lnTo>
                  <a:pt x="1161" y="275"/>
                </a:lnTo>
                <a:lnTo>
                  <a:pt x="1161" y="275"/>
                </a:lnTo>
                <a:lnTo>
                  <a:pt x="1161" y="277"/>
                </a:lnTo>
                <a:lnTo>
                  <a:pt x="1161" y="277"/>
                </a:lnTo>
                <a:lnTo>
                  <a:pt x="1163" y="275"/>
                </a:lnTo>
                <a:lnTo>
                  <a:pt x="1163" y="275"/>
                </a:lnTo>
                <a:lnTo>
                  <a:pt x="1163" y="277"/>
                </a:lnTo>
                <a:lnTo>
                  <a:pt x="1163" y="277"/>
                </a:lnTo>
                <a:lnTo>
                  <a:pt x="1161" y="282"/>
                </a:lnTo>
                <a:lnTo>
                  <a:pt x="1161" y="282"/>
                </a:lnTo>
                <a:lnTo>
                  <a:pt x="1158" y="285"/>
                </a:lnTo>
                <a:lnTo>
                  <a:pt x="1158" y="285"/>
                </a:lnTo>
                <a:lnTo>
                  <a:pt x="1156" y="282"/>
                </a:lnTo>
                <a:lnTo>
                  <a:pt x="1156" y="282"/>
                </a:lnTo>
                <a:lnTo>
                  <a:pt x="1148" y="280"/>
                </a:lnTo>
                <a:lnTo>
                  <a:pt x="1148" y="280"/>
                </a:lnTo>
                <a:lnTo>
                  <a:pt x="1141" y="280"/>
                </a:lnTo>
                <a:lnTo>
                  <a:pt x="1141" y="280"/>
                </a:lnTo>
                <a:lnTo>
                  <a:pt x="1146" y="282"/>
                </a:lnTo>
                <a:lnTo>
                  <a:pt x="1146" y="282"/>
                </a:lnTo>
                <a:lnTo>
                  <a:pt x="1146" y="285"/>
                </a:lnTo>
                <a:lnTo>
                  <a:pt x="1146" y="285"/>
                </a:lnTo>
                <a:lnTo>
                  <a:pt x="1151" y="285"/>
                </a:lnTo>
                <a:lnTo>
                  <a:pt x="1151" y="285"/>
                </a:lnTo>
                <a:lnTo>
                  <a:pt x="1153" y="287"/>
                </a:lnTo>
                <a:lnTo>
                  <a:pt x="1153" y="287"/>
                </a:lnTo>
                <a:lnTo>
                  <a:pt x="1158" y="292"/>
                </a:lnTo>
                <a:lnTo>
                  <a:pt x="1158" y="292"/>
                </a:lnTo>
                <a:lnTo>
                  <a:pt x="1166" y="295"/>
                </a:lnTo>
                <a:lnTo>
                  <a:pt x="1166" y="295"/>
                </a:lnTo>
                <a:lnTo>
                  <a:pt x="1168" y="292"/>
                </a:lnTo>
                <a:lnTo>
                  <a:pt x="1168" y="292"/>
                </a:lnTo>
                <a:lnTo>
                  <a:pt x="1168" y="287"/>
                </a:lnTo>
                <a:lnTo>
                  <a:pt x="1168" y="287"/>
                </a:lnTo>
                <a:lnTo>
                  <a:pt x="1166" y="285"/>
                </a:lnTo>
                <a:lnTo>
                  <a:pt x="1166" y="285"/>
                </a:lnTo>
                <a:lnTo>
                  <a:pt x="1166" y="285"/>
                </a:lnTo>
                <a:lnTo>
                  <a:pt x="1166" y="285"/>
                </a:lnTo>
                <a:lnTo>
                  <a:pt x="1168" y="287"/>
                </a:lnTo>
                <a:lnTo>
                  <a:pt x="1168" y="287"/>
                </a:lnTo>
                <a:lnTo>
                  <a:pt x="1173" y="290"/>
                </a:lnTo>
                <a:lnTo>
                  <a:pt x="1173" y="290"/>
                </a:lnTo>
                <a:lnTo>
                  <a:pt x="1176" y="290"/>
                </a:lnTo>
                <a:lnTo>
                  <a:pt x="1176" y="290"/>
                </a:lnTo>
                <a:lnTo>
                  <a:pt x="1173" y="290"/>
                </a:lnTo>
                <a:lnTo>
                  <a:pt x="1173" y="290"/>
                </a:lnTo>
                <a:lnTo>
                  <a:pt x="1166" y="295"/>
                </a:lnTo>
                <a:lnTo>
                  <a:pt x="1166" y="295"/>
                </a:lnTo>
                <a:lnTo>
                  <a:pt x="1168" y="297"/>
                </a:lnTo>
                <a:lnTo>
                  <a:pt x="1168" y="297"/>
                </a:lnTo>
                <a:lnTo>
                  <a:pt x="1171" y="297"/>
                </a:lnTo>
                <a:lnTo>
                  <a:pt x="1171" y="297"/>
                </a:lnTo>
                <a:lnTo>
                  <a:pt x="1173" y="297"/>
                </a:lnTo>
                <a:lnTo>
                  <a:pt x="1173" y="297"/>
                </a:lnTo>
                <a:lnTo>
                  <a:pt x="1173" y="297"/>
                </a:lnTo>
                <a:lnTo>
                  <a:pt x="1185" y="307"/>
                </a:lnTo>
                <a:lnTo>
                  <a:pt x="1185" y="307"/>
                </a:lnTo>
                <a:lnTo>
                  <a:pt x="1188" y="307"/>
                </a:lnTo>
                <a:lnTo>
                  <a:pt x="1188" y="307"/>
                </a:lnTo>
                <a:lnTo>
                  <a:pt x="1190" y="312"/>
                </a:lnTo>
                <a:lnTo>
                  <a:pt x="1190" y="312"/>
                </a:lnTo>
                <a:lnTo>
                  <a:pt x="1198" y="312"/>
                </a:lnTo>
                <a:lnTo>
                  <a:pt x="1198" y="312"/>
                </a:lnTo>
                <a:lnTo>
                  <a:pt x="1203" y="317"/>
                </a:lnTo>
                <a:lnTo>
                  <a:pt x="1203" y="317"/>
                </a:lnTo>
                <a:lnTo>
                  <a:pt x="1205" y="317"/>
                </a:lnTo>
                <a:lnTo>
                  <a:pt x="1205" y="317"/>
                </a:lnTo>
                <a:lnTo>
                  <a:pt x="1208" y="317"/>
                </a:lnTo>
                <a:lnTo>
                  <a:pt x="1208" y="317"/>
                </a:lnTo>
                <a:lnTo>
                  <a:pt x="1205" y="314"/>
                </a:lnTo>
                <a:lnTo>
                  <a:pt x="1205" y="314"/>
                </a:lnTo>
                <a:lnTo>
                  <a:pt x="1208" y="312"/>
                </a:lnTo>
                <a:lnTo>
                  <a:pt x="1208" y="312"/>
                </a:lnTo>
                <a:lnTo>
                  <a:pt x="1210" y="314"/>
                </a:lnTo>
                <a:lnTo>
                  <a:pt x="1210" y="314"/>
                </a:lnTo>
                <a:lnTo>
                  <a:pt x="1210" y="317"/>
                </a:lnTo>
                <a:lnTo>
                  <a:pt x="1210" y="317"/>
                </a:lnTo>
                <a:lnTo>
                  <a:pt x="1212" y="322"/>
                </a:lnTo>
                <a:lnTo>
                  <a:pt x="1212" y="322"/>
                </a:lnTo>
                <a:lnTo>
                  <a:pt x="1215" y="322"/>
                </a:lnTo>
                <a:lnTo>
                  <a:pt x="1215" y="322"/>
                </a:lnTo>
                <a:lnTo>
                  <a:pt x="1215" y="317"/>
                </a:lnTo>
                <a:lnTo>
                  <a:pt x="1215" y="317"/>
                </a:lnTo>
                <a:lnTo>
                  <a:pt x="1212" y="300"/>
                </a:lnTo>
                <a:lnTo>
                  <a:pt x="1212" y="300"/>
                </a:lnTo>
                <a:lnTo>
                  <a:pt x="1210" y="292"/>
                </a:lnTo>
                <a:lnTo>
                  <a:pt x="1210" y="292"/>
                </a:lnTo>
                <a:lnTo>
                  <a:pt x="1205" y="285"/>
                </a:lnTo>
                <a:lnTo>
                  <a:pt x="1205" y="285"/>
                </a:lnTo>
                <a:lnTo>
                  <a:pt x="1205" y="275"/>
                </a:lnTo>
                <a:lnTo>
                  <a:pt x="1205" y="275"/>
                </a:lnTo>
                <a:lnTo>
                  <a:pt x="1203" y="270"/>
                </a:lnTo>
                <a:lnTo>
                  <a:pt x="1203" y="270"/>
                </a:lnTo>
                <a:lnTo>
                  <a:pt x="1200" y="268"/>
                </a:lnTo>
                <a:lnTo>
                  <a:pt x="1200" y="268"/>
                </a:lnTo>
                <a:lnTo>
                  <a:pt x="1205" y="270"/>
                </a:lnTo>
                <a:lnTo>
                  <a:pt x="1205" y="270"/>
                </a:lnTo>
                <a:lnTo>
                  <a:pt x="1205" y="273"/>
                </a:lnTo>
                <a:lnTo>
                  <a:pt x="1205" y="273"/>
                </a:lnTo>
                <a:lnTo>
                  <a:pt x="1210" y="277"/>
                </a:lnTo>
                <a:lnTo>
                  <a:pt x="1210" y="277"/>
                </a:lnTo>
                <a:lnTo>
                  <a:pt x="1212" y="277"/>
                </a:lnTo>
                <a:lnTo>
                  <a:pt x="1212" y="277"/>
                </a:lnTo>
                <a:lnTo>
                  <a:pt x="1217" y="282"/>
                </a:lnTo>
                <a:lnTo>
                  <a:pt x="1217" y="282"/>
                </a:lnTo>
                <a:lnTo>
                  <a:pt x="1222" y="282"/>
                </a:lnTo>
                <a:lnTo>
                  <a:pt x="1222" y="282"/>
                </a:lnTo>
                <a:lnTo>
                  <a:pt x="1235" y="282"/>
                </a:lnTo>
                <a:lnTo>
                  <a:pt x="1235" y="282"/>
                </a:lnTo>
                <a:lnTo>
                  <a:pt x="1237" y="282"/>
                </a:lnTo>
                <a:lnTo>
                  <a:pt x="1237" y="282"/>
                </a:lnTo>
                <a:lnTo>
                  <a:pt x="1239" y="280"/>
                </a:lnTo>
                <a:lnTo>
                  <a:pt x="1239" y="280"/>
                </a:lnTo>
                <a:lnTo>
                  <a:pt x="1242" y="282"/>
                </a:lnTo>
                <a:lnTo>
                  <a:pt x="1242" y="282"/>
                </a:lnTo>
                <a:lnTo>
                  <a:pt x="1242" y="282"/>
                </a:lnTo>
                <a:lnTo>
                  <a:pt x="1239" y="280"/>
                </a:lnTo>
                <a:lnTo>
                  <a:pt x="1239" y="280"/>
                </a:lnTo>
                <a:lnTo>
                  <a:pt x="1242" y="277"/>
                </a:lnTo>
                <a:lnTo>
                  <a:pt x="1242" y="277"/>
                </a:lnTo>
                <a:lnTo>
                  <a:pt x="1239" y="275"/>
                </a:lnTo>
                <a:lnTo>
                  <a:pt x="1239" y="275"/>
                </a:lnTo>
                <a:lnTo>
                  <a:pt x="1239" y="273"/>
                </a:lnTo>
                <a:lnTo>
                  <a:pt x="1239" y="273"/>
                </a:lnTo>
                <a:lnTo>
                  <a:pt x="1239" y="270"/>
                </a:lnTo>
                <a:lnTo>
                  <a:pt x="1239" y="270"/>
                </a:lnTo>
                <a:lnTo>
                  <a:pt x="1252" y="265"/>
                </a:lnTo>
                <a:lnTo>
                  <a:pt x="1252" y="265"/>
                </a:lnTo>
                <a:lnTo>
                  <a:pt x="1252" y="268"/>
                </a:lnTo>
                <a:lnTo>
                  <a:pt x="1252" y="268"/>
                </a:lnTo>
                <a:lnTo>
                  <a:pt x="1254" y="268"/>
                </a:lnTo>
                <a:lnTo>
                  <a:pt x="1254" y="268"/>
                </a:lnTo>
                <a:lnTo>
                  <a:pt x="1259" y="268"/>
                </a:lnTo>
                <a:lnTo>
                  <a:pt x="1259" y="268"/>
                </a:lnTo>
                <a:lnTo>
                  <a:pt x="1264" y="268"/>
                </a:lnTo>
                <a:lnTo>
                  <a:pt x="1264" y="268"/>
                </a:lnTo>
                <a:lnTo>
                  <a:pt x="1267" y="273"/>
                </a:lnTo>
                <a:lnTo>
                  <a:pt x="1267" y="273"/>
                </a:lnTo>
                <a:lnTo>
                  <a:pt x="1271" y="273"/>
                </a:lnTo>
                <a:lnTo>
                  <a:pt x="1271" y="273"/>
                </a:lnTo>
                <a:lnTo>
                  <a:pt x="1271" y="277"/>
                </a:lnTo>
                <a:lnTo>
                  <a:pt x="1271" y="277"/>
                </a:lnTo>
                <a:lnTo>
                  <a:pt x="1279" y="277"/>
                </a:lnTo>
                <a:lnTo>
                  <a:pt x="1279" y="277"/>
                </a:lnTo>
                <a:lnTo>
                  <a:pt x="1279" y="280"/>
                </a:lnTo>
                <a:lnTo>
                  <a:pt x="1279" y="280"/>
                </a:lnTo>
                <a:lnTo>
                  <a:pt x="1286" y="280"/>
                </a:lnTo>
                <a:lnTo>
                  <a:pt x="1286" y="280"/>
                </a:lnTo>
                <a:lnTo>
                  <a:pt x="1281" y="277"/>
                </a:lnTo>
                <a:lnTo>
                  <a:pt x="1281" y="277"/>
                </a:lnTo>
                <a:lnTo>
                  <a:pt x="1281" y="275"/>
                </a:lnTo>
                <a:lnTo>
                  <a:pt x="1281" y="275"/>
                </a:lnTo>
                <a:lnTo>
                  <a:pt x="1286" y="277"/>
                </a:lnTo>
                <a:lnTo>
                  <a:pt x="1286" y="277"/>
                </a:lnTo>
                <a:lnTo>
                  <a:pt x="1289" y="275"/>
                </a:lnTo>
                <a:lnTo>
                  <a:pt x="1289" y="275"/>
                </a:lnTo>
                <a:lnTo>
                  <a:pt x="1286" y="273"/>
                </a:lnTo>
                <a:lnTo>
                  <a:pt x="1286" y="273"/>
                </a:lnTo>
                <a:lnTo>
                  <a:pt x="1289" y="270"/>
                </a:lnTo>
                <a:lnTo>
                  <a:pt x="1289" y="270"/>
                </a:lnTo>
                <a:lnTo>
                  <a:pt x="1286" y="268"/>
                </a:lnTo>
                <a:lnTo>
                  <a:pt x="1286" y="268"/>
                </a:lnTo>
                <a:lnTo>
                  <a:pt x="1281" y="270"/>
                </a:lnTo>
                <a:lnTo>
                  <a:pt x="1281" y="270"/>
                </a:lnTo>
                <a:lnTo>
                  <a:pt x="1276" y="270"/>
                </a:lnTo>
                <a:lnTo>
                  <a:pt x="1276" y="270"/>
                </a:lnTo>
                <a:lnTo>
                  <a:pt x="1276" y="265"/>
                </a:lnTo>
                <a:lnTo>
                  <a:pt x="1276" y="265"/>
                </a:lnTo>
                <a:lnTo>
                  <a:pt x="1276" y="260"/>
                </a:lnTo>
                <a:lnTo>
                  <a:pt x="1276" y="260"/>
                </a:lnTo>
                <a:lnTo>
                  <a:pt x="1276" y="260"/>
                </a:lnTo>
                <a:lnTo>
                  <a:pt x="1279" y="260"/>
                </a:lnTo>
                <a:lnTo>
                  <a:pt x="1279" y="260"/>
                </a:lnTo>
                <a:lnTo>
                  <a:pt x="1281" y="260"/>
                </a:lnTo>
                <a:lnTo>
                  <a:pt x="1281" y="260"/>
                </a:lnTo>
                <a:lnTo>
                  <a:pt x="1281" y="258"/>
                </a:lnTo>
                <a:lnTo>
                  <a:pt x="1281" y="258"/>
                </a:lnTo>
                <a:lnTo>
                  <a:pt x="1284" y="255"/>
                </a:lnTo>
                <a:lnTo>
                  <a:pt x="1284" y="255"/>
                </a:lnTo>
                <a:lnTo>
                  <a:pt x="1289" y="260"/>
                </a:lnTo>
                <a:lnTo>
                  <a:pt x="1289" y="260"/>
                </a:lnTo>
                <a:lnTo>
                  <a:pt x="1289" y="263"/>
                </a:lnTo>
                <a:lnTo>
                  <a:pt x="1289" y="263"/>
                </a:lnTo>
                <a:lnTo>
                  <a:pt x="1291" y="263"/>
                </a:lnTo>
                <a:lnTo>
                  <a:pt x="1291" y="263"/>
                </a:lnTo>
                <a:lnTo>
                  <a:pt x="1294" y="263"/>
                </a:lnTo>
                <a:lnTo>
                  <a:pt x="1294" y="263"/>
                </a:lnTo>
                <a:lnTo>
                  <a:pt x="1294" y="263"/>
                </a:lnTo>
                <a:lnTo>
                  <a:pt x="1294" y="258"/>
                </a:lnTo>
                <a:lnTo>
                  <a:pt x="1294" y="258"/>
                </a:lnTo>
                <a:lnTo>
                  <a:pt x="1296" y="258"/>
                </a:lnTo>
                <a:lnTo>
                  <a:pt x="1296" y="258"/>
                </a:lnTo>
                <a:lnTo>
                  <a:pt x="1299" y="260"/>
                </a:lnTo>
                <a:lnTo>
                  <a:pt x="1299" y="260"/>
                </a:lnTo>
                <a:lnTo>
                  <a:pt x="1301" y="255"/>
                </a:lnTo>
                <a:lnTo>
                  <a:pt x="1301" y="255"/>
                </a:lnTo>
                <a:lnTo>
                  <a:pt x="1296" y="250"/>
                </a:lnTo>
                <a:lnTo>
                  <a:pt x="1296" y="250"/>
                </a:lnTo>
                <a:lnTo>
                  <a:pt x="1291" y="250"/>
                </a:lnTo>
                <a:lnTo>
                  <a:pt x="1291" y="250"/>
                </a:lnTo>
                <a:lnTo>
                  <a:pt x="1289" y="246"/>
                </a:lnTo>
                <a:lnTo>
                  <a:pt x="1289" y="246"/>
                </a:lnTo>
                <a:lnTo>
                  <a:pt x="1289" y="243"/>
                </a:lnTo>
                <a:lnTo>
                  <a:pt x="1289" y="243"/>
                </a:lnTo>
                <a:lnTo>
                  <a:pt x="1286" y="241"/>
                </a:lnTo>
                <a:lnTo>
                  <a:pt x="1286" y="241"/>
                </a:lnTo>
                <a:lnTo>
                  <a:pt x="1284" y="243"/>
                </a:lnTo>
                <a:lnTo>
                  <a:pt x="1284" y="243"/>
                </a:lnTo>
                <a:lnTo>
                  <a:pt x="1281" y="241"/>
                </a:lnTo>
                <a:lnTo>
                  <a:pt x="1281" y="241"/>
                </a:lnTo>
                <a:lnTo>
                  <a:pt x="1284" y="238"/>
                </a:lnTo>
                <a:lnTo>
                  <a:pt x="1284" y="238"/>
                </a:lnTo>
                <a:lnTo>
                  <a:pt x="1284" y="236"/>
                </a:lnTo>
                <a:lnTo>
                  <a:pt x="1284" y="236"/>
                </a:lnTo>
                <a:lnTo>
                  <a:pt x="1284" y="236"/>
                </a:lnTo>
                <a:lnTo>
                  <a:pt x="1281" y="231"/>
                </a:lnTo>
                <a:lnTo>
                  <a:pt x="1281" y="231"/>
                </a:lnTo>
                <a:lnTo>
                  <a:pt x="1286" y="231"/>
                </a:lnTo>
                <a:lnTo>
                  <a:pt x="1286" y="231"/>
                </a:lnTo>
                <a:lnTo>
                  <a:pt x="1286" y="226"/>
                </a:lnTo>
                <a:lnTo>
                  <a:pt x="1286" y="226"/>
                </a:lnTo>
                <a:lnTo>
                  <a:pt x="1281" y="228"/>
                </a:lnTo>
                <a:lnTo>
                  <a:pt x="1281" y="228"/>
                </a:lnTo>
                <a:lnTo>
                  <a:pt x="1279" y="231"/>
                </a:lnTo>
                <a:lnTo>
                  <a:pt x="1279" y="231"/>
                </a:lnTo>
                <a:lnTo>
                  <a:pt x="1279" y="236"/>
                </a:lnTo>
                <a:lnTo>
                  <a:pt x="1279" y="236"/>
                </a:lnTo>
                <a:lnTo>
                  <a:pt x="1271" y="233"/>
                </a:lnTo>
                <a:lnTo>
                  <a:pt x="1271" y="233"/>
                </a:lnTo>
                <a:lnTo>
                  <a:pt x="1269" y="228"/>
                </a:lnTo>
                <a:lnTo>
                  <a:pt x="1269" y="228"/>
                </a:lnTo>
                <a:lnTo>
                  <a:pt x="1271" y="223"/>
                </a:lnTo>
                <a:lnTo>
                  <a:pt x="1271" y="223"/>
                </a:lnTo>
                <a:lnTo>
                  <a:pt x="1271" y="221"/>
                </a:lnTo>
                <a:lnTo>
                  <a:pt x="1271" y="221"/>
                </a:lnTo>
                <a:lnTo>
                  <a:pt x="1276" y="218"/>
                </a:lnTo>
                <a:lnTo>
                  <a:pt x="1276" y="218"/>
                </a:lnTo>
                <a:lnTo>
                  <a:pt x="1279" y="218"/>
                </a:lnTo>
                <a:lnTo>
                  <a:pt x="1279" y="218"/>
                </a:lnTo>
                <a:lnTo>
                  <a:pt x="1286" y="214"/>
                </a:lnTo>
                <a:lnTo>
                  <a:pt x="1286" y="214"/>
                </a:lnTo>
                <a:lnTo>
                  <a:pt x="1286" y="211"/>
                </a:lnTo>
                <a:lnTo>
                  <a:pt x="1286" y="211"/>
                </a:lnTo>
                <a:lnTo>
                  <a:pt x="1281" y="206"/>
                </a:lnTo>
                <a:lnTo>
                  <a:pt x="1281" y="206"/>
                </a:lnTo>
                <a:lnTo>
                  <a:pt x="1279" y="209"/>
                </a:lnTo>
                <a:lnTo>
                  <a:pt x="1279" y="209"/>
                </a:lnTo>
                <a:lnTo>
                  <a:pt x="1276" y="206"/>
                </a:lnTo>
                <a:lnTo>
                  <a:pt x="1276" y="206"/>
                </a:lnTo>
                <a:lnTo>
                  <a:pt x="1271" y="206"/>
                </a:lnTo>
                <a:lnTo>
                  <a:pt x="1271" y="206"/>
                </a:lnTo>
                <a:lnTo>
                  <a:pt x="1269" y="204"/>
                </a:lnTo>
                <a:lnTo>
                  <a:pt x="1269" y="204"/>
                </a:lnTo>
                <a:lnTo>
                  <a:pt x="1271" y="201"/>
                </a:lnTo>
                <a:lnTo>
                  <a:pt x="1271" y="201"/>
                </a:lnTo>
                <a:lnTo>
                  <a:pt x="1279" y="199"/>
                </a:lnTo>
                <a:lnTo>
                  <a:pt x="1279" y="199"/>
                </a:lnTo>
                <a:lnTo>
                  <a:pt x="1286" y="204"/>
                </a:lnTo>
                <a:lnTo>
                  <a:pt x="1286" y="204"/>
                </a:lnTo>
                <a:lnTo>
                  <a:pt x="1291" y="201"/>
                </a:lnTo>
                <a:lnTo>
                  <a:pt x="1291" y="201"/>
                </a:lnTo>
                <a:lnTo>
                  <a:pt x="1301" y="201"/>
                </a:lnTo>
                <a:lnTo>
                  <a:pt x="1301" y="201"/>
                </a:lnTo>
                <a:lnTo>
                  <a:pt x="1321" y="201"/>
                </a:lnTo>
                <a:lnTo>
                  <a:pt x="1321" y="201"/>
                </a:lnTo>
                <a:lnTo>
                  <a:pt x="1323" y="199"/>
                </a:lnTo>
                <a:lnTo>
                  <a:pt x="1323" y="199"/>
                </a:lnTo>
                <a:lnTo>
                  <a:pt x="1335" y="199"/>
                </a:lnTo>
                <a:lnTo>
                  <a:pt x="1335" y="199"/>
                </a:lnTo>
                <a:lnTo>
                  <a:pt x="1343" y="199"/>
                </a:lnTo>
                <a:lnTo>
                  <a:pt x="1343" y="199"/>
                </a:lnTo>
                <a:lnTo>
                  <a:pt x="1348" y="199"/>
                </a:lnTo>
                <a:lnTo>
                  <a:pt x="1348" y="199"/>
                </a:lnTo>
                <a:lnTo>
                  <a:pt x="1355" y="199"/>
                </a:lnTo>
                <a:lnTo>
                  <a:pt x="1355" y="199"/>
                </a:lnTo>
                <a:lnTo>
                  <a:pt x="1350" y="199"/>
                </a:lnTo>
                <a:lnTo>
                  <a:pt x="1350" y="199"/>
                </a:lnTo>
                <a:lnTo>
                  <a:pt x="1340" y="204"/>
                </a:lnTo>
                <a:lnTo>
                  <a:pt x="1340" y="204"/>
                </a:lnTo>
                <a:lnTo>
                  <a:pt x="1335" y="201"/>
                </a:lnTo>
                <a:lnTo>
                  <a:pt x="1335" y="201"/>
                </a:lnTo>
                <a:lnTo>
                  <a:pt x="1335" y="204"/>
                </a:lnTo>
                <a:lnTo>
                  <a:pt x="1335" y="204"/>
                </a:lnTo>
                <a:lnTo>
                  <a:pt x="1331" y="201"/>
                </a:lnTo>
                <a:lnTo>
                  <a:pt x="1331" y="201"/>
                </a:lnTo>
                <a:lnTo>
                  <a:pt x="1331" y="209"/>
                </a:lnTo>
                <a:lnTo>
                  <a:pt x="1331" y="209"/>
                </a:lnTo>
                <a:lnTo>
                  <a:pt x="1333" y="211"/>
                </a:lnTo>
                <a:lnTo>
                  <a:pt x="1333" y="211"/>
                </a:lnTo>
                <a:lnTo>
                  <a:pt x="1331" y="214"/>
                </a:lnTo>
                <a:lnTo>
                  <a:pt x="1331" y="214"/>
                </a:lnTo>
                <a:lnTo>
                  <a:pt x="1331" y="216"/>
                </a:lnTo>
                <a:lnTo>
                  <a:pt x="1331" y="216"/>
                </a:lnTo>
                <a:lnTo>
                  <a:pt x="1333" y="216"/>
                </a:lnTo>
                <a:lnTo>
                  <a:pt x="1333" y="216"/>
                </a:lnTo>
                <a:lnTo>
                  <a:pt x="1338" y="214"/>
                </a:lnTo>
                <a:lnTo>
                  <a:pt x="1338" y="214"/>
                </a:lnTo>
                <a:lnTo>
                  <a:pt x="1338" y="211"/>
                </a:lnTo>
                <a:lnTo>
                  <a:pt x="1338" y="211"/>
                </a:lnTo>
                <a:lnTo>
                  <a:pt x="1345" y="204"/>
                </a:lnTo>
                <a:lnTo>
                  <a:pt x="1345" y="204"/>
                </a:lnTo>
                <a:lnTo>
                  <a:pt x="1355" y="201"/>
                </a:lnTo>
                <a:lnTo>
                  <a:pt x="1355" y="201"/>
                </a:lnTo>
                <a:lnTo>
                  <a:pt x="1358" y="206"/>
                </a:lnTo>
                <a:lnTo>
                  <a:pt x="1358" y="206"/>
                </a:lnTo>
                <a:lnTo>
                  <a:pt x="1358" y="214"/>
                </a:lnTo>
                <a:lnTo>
                  <a:pt x="1358" y="214"/>
                </a:lnTo>
                <a:lnTo>
                  <a:pt x="1358" y="216"/>
                </a:lnTo>
                <a:lnTo>
                  <a:pt x="1358" y="216"/>
                </a:lnTo>
                <a:lnTo>
                  <a:pt x="1355" y="211"/>
                </a:lnTo>
                <a:lnTo>
                  <a:pt x="1355" y="211"/>
                </a:lnTo>
                <a:lnTo>
                  <a:pt x="1353" y="209"/>
                </a:lnTo>
                <a:lnTo>
                  <a:pt x="1353" y="209"/>
                </a:lnTo>
                <a:lnTo>
                  <a:pt x="1353" y="204"/>
                </a:lnTo>
                <a:lnTo>
                  <a:pt x="1353" y="204"/>
                </a:lnTo>
                <a:lnTo>
                  <a:pt x="1348" y="209"/>
                </a:lnTo>
                <a:lnTo>
                  <a:pt x="1348" y="209"/>
                </a:lnTo>
                <a:lnTo>
                  <a:pt x="1345" y="206"/>
                </a:lnTo>
                <a:lnTo>
                  <a:pt x="1345" y="206"/>
                </a:lnTo>
                <a:lnTo>
                  <a:pt x="1348" y="214"/>
                </a:lnTo>
                <a:lnTo>
                  <a:pt x="1348" y="214"/>
                </a:lnTo>
                <a:lnTo>
                  <a:pt x="1353" y="214"/>
                </a:lnTo>
                <a:lnTo>
                  <a:pt x="1353" y="214"/>
                </a:lnTo>
                <a:lnTo>
                  <a:pt x="1353" y="221"/>
                </a:lnTo>
                <a:lnTo>
                  <a:pt x="1353" y="221"/>
                </a:lnTo>
                <a:lnTo>
                  <a:pt x="1350" y="226"/>
                </a:lnTo>
                <a:lnTo>
                  <a:pt x="1350" y="226"/>
                </a:lnTo>
                <a:lnTo>
                  <a:pt x="1348" y="223"/>
                </a:lnTo>
                <a:lnTo>
                  <a:pt x="1348" y="223"/>
                </a:lnTo>
                <a:lnTo>
                  <a:pt x="1345" y="226"/>
                </a:lnTo>
                <a:lnTo>
                  <a:pt x="1345" y="226"/>
                </a:lnTo>
                <a:lnTo>
                  <a:pt x="1350" y="228"/>
                </a:lnTo>
                <a:lnTo>
                  <a:pt x="1350" y="228"/>
                </a:lnTo>
                <a:lnTo>
                  <a:pt x="1350" y="231"/>
                </a:lnTo>
                <a:lnTo>
                  <a:pt x="1350" y="231"/>
                </a:lnTo>
                <a:lnTo>
                  <a:pt x="1350" y="231"/>
                </a:lnTo>
                <a:lnTo>
                  <a:pt x="1353" y="231"/>
                </a:lnTo>
                <a:lnTo>
                  <a:pt x="1353" y="231"/>
                </a:lnTo>
                <a:lnTo>
                  <a:pt x="1358" y="228"/>
                </a:lnTo>
                <a:lnTo>
                  <a:pt x="1358" y="228"/>
                </a:lnTo>
                <a:lnTo>
                  <a:pt x="1358" y="223"/>
                </a:lnTo>
                <a:lnTo>
                  <a:pt x="1358" y="223"/>
                </a:lnTo>
                <a:lnTo>
                  <a:pt x="1360" y="221"/>
                </a:lnTo>
                <a:lnTo>
                  <a:pt x="1360" y="221"/>
                </a:lnTo>
                <a:lnTo>
                  <a:pt x="1360" y="216"/>
                </a:lnTo>
                <a:lnTo>
                  <a:pt x="1360" y="216"/>
                </a:lnTo>
                <a:lnTo>
                  <a:pt x="1360" y="214"/>
                </a:lnTo>
                <a:lnTo>
                  <a:pt x="1360" y="214"/>
                </a:lnTo>
                <a:lnTo>
                  <a:pt x="1358" y="196"/>
                </a:lnTo>
                <a:lnTo>
                  <a:pt x="1358" y="196"/>
                </a:lnTo>
                <a:lnTo>
                  <a:pt x="1365" y="194"/>
                </a:lnTo>
                <a:lnTo>
                  <a:pt x="1365" y="194"/>
                </a:lnTo>
                <a:lnTo>
                  <a:pt x="1372" y="191"/>
                </a:lnTo>
                <a:lnTo>
                  <a:pt x="1372" y="191"/>
                </a:lnTo>
                <a:lnTo>
                  <a:pt x="1382" y="189"/>
                </a:lnTo>
                <a:lnTo>
                  <a:pt x="1382" y="189"/>
                </a:lnTo>
                <a:lnTo>
                  <a:pt x="1390" y="189"/>
                </a:lnTo>
                <a:lnTo>
                  <a:pt x="1390" y="189"/>
                </a:lnTo>
                <a:lnTo>
                  <a:pt x="1399" y="194"/>
                </a:lnTo>
                <a:lnTo>
                  <a:pt x="1399" y="194"/>
                </a:lnTo>
                <a:lnTo>
                  <a:pt x="1404" y="201"/>
                </a:lnTo>
                <a:lnTo>
                  <a:pt x="1404" y="201"/>
                </a:lnTo>
                <a:lnTo>
                  <a:pt x="1404" y="204"/>
                </a:lnTo>
                <a:lnTo>
                  <a:pt x="1404" y="204"/>
                </a:lnTo>
                <a:lnTo>
                  <a:pt x="1402" y="206"/>
                </a:lnTo>
                <a:lnTo>
                  <a:pt x="1402" y="206"/>
                </a:lnTo>
                <a:lnTo>
                  <a:pt x="1397" y="201"/>
                </a:lnTo>
                <a:lnTo>
                  <a:pt x="1397" y="201"/>
                </a:lnTo>
                <a:lnTo>
                  <a:pt x="1394" y="201"/>
                </a:lnTo>
                <a:lnTo>
                  <a:pt x="1394" y="201"/>
                </a:lnTo>
                <a:lnTo>
                  <a:pt x="1397" y="206"/>
                </a:lnTo>
                <a:lnTo>
                  <a:pt x="1397" y="206"/>
                </a:lnTo>
                <a:lnTo>
                  <a:pt x="1397" y="209"/>
                </a:lnTo>
                <a:lnTo>
                  <a:pt x="1397" y="209"/>
                </a:lnTo>
                <a:lnTo>
                  <a:pt x="1397" y="211"/>
                </a:lnTo>
                <a:lnTo>
                  <a:pt x="1397" y="211"/>
                </a:lnTo>
                <a:lnTo>
                  <a:pt x="1394" y="214"/>
                </a:lnTo>
                <a:lnTo>
                  <a:pt x="1394" y="214"/>
                </a:lnTo>
                <a:lnTo>
                  <a:pt x="1397" y="214"/>
                </a:lnTo>
                <a:lnTo>
                  <a:pt x="1397" y="214"/>
                </a:lnTo>
                <a:lnTo>
                  <a:pt x="1399" y="214"/>
                </a:lnTo>
                <a:lnTo>
                  <a:pt x="1399" y="214"/>
                </a:lnTo>
                <a:lnTo>
                  <a:pt x="1404" y="211"/>
                </a:lnTo>
                <a:lnTo>
                  <a:pt x="1404" y="211"/>
                </a:lnTo>
                <a:lnTo>
                  <a:pt x="1409" y="209"/>
                </a:lnTo>
                <a:lnTo>
                  <a:pt x="1409" y="209"/>
                </a:lnTo>
                <a:lnTo>
                  <a:pt x="1409" y="214"/>
                </a:lnTo>
                <a:lnTo>
                  <a:pt x="1409" y="214"/>
                </a:lnTo>
                <a:lnTo>
                  <a:pt x="1412" y="216"/>
                </a:lnTo>
                <a:lnTo>
                  <a:pt x="1412" y="216"/>
                </a:lnTo>
                <a:lnTo>
                  <a:pt x="1412" y="221"/>
                </a:lnTo>
                <a:lnTo>
                  <a:pt x="1412" y="221"/>
                </a:lnTo>
                <a:lnTo>
                  <a:pt x="1414" y="223"/>
                </a:lnTo>
                <a:lnTo>
                  <a:pt x="1414" y="223"/>
                </a:lnTo>
                <a:lnTo>
                  <a:pt x="1417" y="218"/>
                </a:lnTo>
                <a:lnTo>
                  <a:pt x="1417" y="218"/>
                </a:lnTo>
                <a:lnTo>
                  <a:pt x="1414" y="216"/>
                </a:lnTo>
                <a:lnTo>
                  <a:pt x="1414" y="216"/>
                </a:lnTo>
                <a:lnTo>
                  <a:pt x="1419" y="214"/>
                </a:lnTo>
                <a:lnTo>
                  <a:pt x="1419" y="214"/>
                </a:lnTo>
                <a:lnTo>
                  <a:pt x="1424" y="216"/>
                </a:lnTo>
                <a:lnTo>
                  <a:pt x="1424" y="216"/>
                </a:lnTo>
                <a:lnTo>
                  <a:pt x="1424" y="218"/>
                </a:lnTo>
                <a:lnTo>
                  <a:pt x="1424" y="218"/>
                </a:lnTo>
                <a:lnTo>
                  <a:pt x="1424" y="221"/>
                </a:lnTo>
                <a:lnTo>
                  <a:pt x="1424" y="221"/>
                </a:lnTo>
                <a:lnTo>
                  <a:pt x="1422" y="226"/>
                </a:lnTo>
                <a:lnTo>
                  <a:pt x="1422" y="226"/>
                </a:lnTo>
                <a:lnTo>
                  <a:pt x="1422" y="228"/>
                </a:lnTo>
                <a:lnTo>
                  <a:pt x="1422" y="228"/>
                </a:lnTo>
                <a:lnTo>
                  <a:pt x="1424" y="226"/>
                </a:lnTo>
                <a:lnTo>
                  <a:pt x="1424" y="226"/>
                </a:lnTo>
                <a:lnTo>
                  <a:pt x="1426" y="223"/>
                </a:lnTo>
                <a:lnTo>
                  <a:pt x="1426" y="223"/>
                </a:lnTo>
                <a:lnTo>
                  <a:pt x="1429" y="221"/>
                </a:lnTo>
                <a:lnTo>
                  <a:pt x="1429" y="221"/>
                </a:lnTo>
                <a:lnTo>
                  <a:pt x="1429" y="223"/>
                </a:lnTo>
                <a:lnTo>
                  <a:pt x="1429" y="223"/>
                </a:lnTo>
                <a:lnTo>
                  <a:pt x="1429" y="221"/>
                </a:lnTo>
                <a:lnTo>
                  <a:pt x="1429" y="221"/>
                </a:lnTo>
                <a:lnTo>
                  <a:pt x="1431" y="214"/>
                </a:lnTo>
                <a:lnTo>
                  <a:pt x="1431" y="214"/>
                </a:lnTo>
                <a:lnTo>
                  <a:pt x="1434" y="214"/>
                </a:lnTo>
                <a:lnTo>
                  <a:pt x="1434" y="214"/>
                </a:lnTo>
                <a:lnTo>
                  <a:pt x="1436" y="214"/>
                </a:lnTo>
                <a:lnTo>
                  <a:pt x="1436" y="214"/>
                </a:lnTo>
                <a:lnTo>
                  <a:pt x="1444" y="218"/>
                </a:lnTo>
                <a:lnTo>
                  <a:pt x="1444" y="218"/>
                </a:lnTo>
                <a:lnTo>
                  <a:pt x="1451" y="221"/>
                </a:lnTo>
                <a:lnTo>
                  <a:pt x="1451" y="221"/>
                </a:lnTo>
                <a:lnTo>
                  <a:pt x="1456" y="226"/>
                </a:lnTo>
                <a:lnTo>
                  <a:pt x="1456" y="226"/>
                </a:lnTo>
                <a:lnTo>
                  <a:pt x="1454" y="228"/>
                </a:lnTo>
                <a:lnTo>
                  <a:pt x="1454" y="228"/>
                </a:lnTo>
                <a:lnTo>
                  <a:pt x="1449" y="231"/>
                </a:lnTo>
                <a:lnTo>
                  <a:pt x="1449" y="231"/>
                </a:lnTo>
                <a:lnTo>
                  <a:pt x="1446" y="236"/>
                </a:lnTo>
                <a:lnTo>
                  <a:pt x="1446" y="236"/>
                </a:lnTo>
                <a:lnTo>
                  <a:pt x="1451" y="233"/>
                </a:lnTo>
                <a:lnTo>
                  <a:pt x="1451" y="233"/>
                </a:lnTo>
                <a:lnTo>
                  <a:pt x="1456" y="231"/>
                </a:lnTo>
                <a:lnTo>
                  <a:pt x="1456" y="231"/>
                </a:lnTo>
                <a:lnTo>
                  <a:pt x="1461" y="233"/>
                </a:lnTo>
                <a:lnTo>
                  <a:pt x="1461" y="233"/>
                </a:lnTo>
                <a:lnTo>
                  <a:pt x="1466" y="231"/>
                </a:lnTo>
                <a:lnTo>
                  <a:pt x="1466" y="231"/>
                </a:lnTo>
                <a:lnTo>
                  <a:pt x="1471" y="228"/>
                </a:lnTo>
                <a:lnTo>
                  <a:pt x="1471" y="228"/>
                </a:lnTo>
                <a:lnTo>
                  <a:pt x="1473" y="226"/>
                </a:lnTo>
                <a:lnTo>
                  <a:pt x="1473" y="226"/>
                </a:lnTo>
                <a:lnTo>
                  <a:pt x="1481" y="221"/>
                </a:lnTo>
                <a:lnTo>
                  <a:pt x="1481" y="221"/>
                </a:lnTo>
                <a:lnTo>
                  <a:pt x="1483" y="221"/>
                </a:lnTo>
                <a:lnTo>
                  <a:pt x="1483" y="221"/>
                </a:lnTo>
                <a:lnTo>
                  <a:pt x="1488" y="216"/>
                </a:lnTo>
                <a:lnTo>
                  <a:pt x="1488" y="216"/>
                </a:lnTo>
                <a:lnTo>
                  <a:pt x="1493" y="214"/>
                </a:lnTo>
                <a:lnTo>
                  <a:pt x="1493" y="214"/>
                </a:lnTo>
                <a:lnTo>
                  <a:pt x="1505" y="209"/>
                </a:lnTo>
                <a:lnTo>
                  <a:pt x="1505" y="209"/>
                </a:lnTo>
                <a:lnTo>
                  <a:pt x="1510" y="206"/>
                </a:lnTo>
                <a:lnTo>
                  <a:pt x="1510" y="206"/>
                </a:lnTo>
                <a:lnTo>
                  <a:pt x="1513" y="206"/>
                </a:lnTo>
                <a:lnTo>
                  <a:pt x="1513" y="206"/>
                </a:lnTo>
                <a:lnTo>
                  <a:pt x="1513" y="206"/>
                </a:lnTo>
                <a:lnTo>
                  <a:pt x="1520" y="201"/>
                </a:lnTo>
                <a:lnTo>
                  <a:pt x="1520" y="201"/>
                </a:lnTo>
                <a:lnTo>
                  <a:pt x="1525" y="201"/>
                </a:lnTo>
                <a:lnTo>
                  <a:pt x="1525" y="201"/>
                </a:lnTo>
                <a:lnTo>
                  <a:pt x="1532" y="201"/>
                </a:lnTo>
                <a:lnTo>
                  <a:pt x="1532" y="201"/>
                </a:lnTo>
                <a:lnTo>
                  <a:pt x="1547" y="206"/>
                </a:lnTo>
                <a:lnTo>
                  <a:pt x="1547" y="206"/>
                </a:lnTo>
                <a:lnTo>
                  <a:pt x="1552" y="214"/>
                </a:lnTo>
                <a:lnTo>
                  <a:pt x="1552" y="214"/>
                </a:lnTo>
                <a:lnTo>
                  <a:pt x="1559" y="216"/>
                </a:lnTo>
                <a:lnTo>
                  <a:pt x="1559" y="216"/>
                </a:lnTo>
                <a:lnTo>
                  <a:pt x="1564" y="223"/>
                </a:lnTo>
                <a:lnTo>
                  <a:pt x="1564" y="223"/>
                </a:lnTo>
                <a:lnTo>
                  <a:pt x="1569" y="228"/>
                </a:lnTo>
                <a:lnTo>
                  <a:pt x="1569" y="228"/>
                </a:lnTo>
                <a:lnTo>
                  <a:pt x="1569" y="231"/>
                </a:lnTo>
                <a:lnTo>
                  <a:pt x="1569" y="231"/>
                </a:lnTo>
                <a:lnTo>
                  <a:pt x="1569" y="233"/>
                </a:lnTo>
                <a:lnTo>
                  <a:pt x="1569" y="233"/>
                </a:lnTo>
                <a:lnTo>
                  <a:pt x="1569" y="238"/>
                </a:lnTo>
                <a:lnTo>
                  <a:pt x="1569" y="238"/>
                </a:lnTo>
                <a:lnTo>
                  <a:pt x="1572" y="243"/>
                </a:lnTo>
                <a:lnTo>
                  <a:pt x="1572" y="243"/>
                </a:lnTo>
                <a:lnTo>
                  <a:pt x="1574" y="246"/>
                </a:lnTo>
                <a:lnTo>
                  <a:pt x="1574" y="246"/>
                </a:lnTo>
                <a:lnTo>
                  <a:pt x="1572" y="250"/>
                </a:lnTo>
                <a:lnTo>
                  <a:pt x="1572" y="250"/>
                </a:lnTo>
                <a:lnTo>
                  <a:pt x="1574" y="248"/>
                </a:lnTo>
                <a:lnTo>
                  <a:pt x="1574" y="248"/>
                </a:lnTo>
                <a:lnTo>
                  <a:pt x="1579" y="246"/>
                </a:lnTo>
                <a:lnTo>
                  <a:pt x="1579" y="246"/>
                </a:lnTo>
                <a:lnTo>
                  <a:pt x="1581" y="246"/>
                </a:lnTo>
                <a:lnTo>
                  <a:pt x="1581" y="246"/>
                </a:lnTo>
                <a:lnTo>
                  <a:pt x="1584" y="246"/>
                </a:lnTo>
                <a:lnTo>
                  <a:pt x="1584" y="246"/>
                </a:lnTo>
                <a:lnTo>
                  <a:pt x="1584" y="243"/>
                </a:lnTo>
                <a:lnTo>
                  <a:pt x="1584" y="243"/>
                </a:lnTo>
                <a:lnTo>
                  <a:pt x="1589" y="243"/>
                </a:lnTo>
                <a:lnTo>
                  <a:pt x="1589" y="243"/>
                </a:lnTo>
                <a:lnTo>
                  <a:pt x="1591" y="246"/>
                </a:lnTo>
                <a:lnTo>
                  <a:pt x="1591" y="246"/>
                </a:lnTo>
                <a:lnTo>
                  <a:pt x="1594" y="250"/>
                </a:lnTo>
                <a:lnTo>
                  <a:pt x="1594" y="250"/>
                </a:lnTo>
                <a:lnTo>
                  <a:pt x="1594" y="246"/>
                </a:lnTo>
                <a:lnTo>
                  <a:pt x="1594" y="246"/>
                </a:lnTo>
                <a:lnTo>
                  <a:pt x="1594" y="241"/>
                </a:lnTo>
                <a:lnTo>
                  <a:pt x="1594" y="241"/>
                </a:lnTo>
                <a:lnTo>
                  <a:pt x="1596" y="241"/>
                </a:lnTo>
                <a:lnTo>
                  <a:pt x="1596" y="241"/>
                </a:lnTo>
                <a:lnTo>
                  <a:pt x="1599" y="246"/>
                </a:lnTo>
                <a:lnTo>
                  <a:pt x="1599" y="246"/>
                </a:lnTo>
                <a:lnTo>
                  <a:pt x="1604" y="250"/>
                </a:lnTo>
                <a:lnTo>
                  <a:pt x="1604" y="250"/>
                </a:lnTo>
                <a:lnTo>
                  <a:pt x="1604" y="255"/>
                </a:lnTo>
                <a:lnTo>
                  <a:pt x="1604" y="255"/>
                </a:lnTo>
                <a:lnTo>
                  <a:pt x="1606" y="255"/>
                </a:lnTo>
                <a:lnTo>
                  <a:pt x="1606" y="255"/>
                </a:lnTo>
                <a:lnTo>
                  <a:pt x="1611" y="263"/>
                </a:lnTo>
                <a:lnTo>
                  <a:pt x="1611" y="263"/>
                </a:lnTo>
                <a:lnTo>
                  <a:pt x="1611" y="260"/>
                </a:lnTo>
                <a:lnTo>
                  <a:pt x="1611" y="260"/>
                </a:lnTo>
                <a:lnTo>
                  <a:pt x="1609" y="255"/>
                </a:lnTo>
                <a:lnTo>
                  <a:pt x="1609" y="255"/>
                </a:lnTo>
                <a:lnTo>
                  <a:pt x="1606" y="253"/>
                </a:lnTo>
                <a:lnTo>
                  <a:pt x="1606" y="253"/>
                </a:lnTo>
                <a:lnTo>
                  <a:pt x="1606" y="250"/>
                </a:lnTo>
                <a:lnTo>
                  <a:pt x="1606" y="250"/>
                </a:lnTo>
                <a:lnTo>
                  <a:pt x="1609" y="253"/>
                </a:lnTo>
                <a:lnTo>
                  <a:pt x="1609" y="253"/>
                </a:lnTo>
                <a:lnTo>
                  <a:pt x="1611" y="253"/>
                </a:lnTo>
                <a:lnTo>
                  <a:pt x="1611" y="253"/>
                </a:lnTo>
                <a:lnTo>
                  <a:pt x="1616" y="255"/>
                </a:lnTo>
                <a:lnTo>
                  <a:pt x="1616" y="255"/>
                </a:lnTo>
                <a:lnTo>
                  <a:pt x="1618" y="260"/>
                </a:lnTo>
                <a:lnTo>
                  <a:pt x="1618" y="260"/>
                </a:lnTo>
                <a:lnTo>
                  <a:pt x="1618" y="255"/>
                </a:lnTo>
                <a:lnTo>
                  <a:pt x="1618" y="255"/>
                </a:lnTo>
                <a:lnTo>
                  <a:pt x="1613" y="248"/>
                </a:lnTo>
                <a:lnTo>
                  <a:pt x="1613" y="248"/>
                </a:lnTo>
                <a:lnTo>
                  <a:pt x="1613" y="241"/>
                </a:lnTo>
                <a:lnTo>
                  <a:pt x="1613" y="241"/>
                </a:lnTo>
                <a:lnTo>
                  <a:pt x="1613" y="236"/>
                </a:lnTo>
                <a:lnTo>
                  <a:pt x="1613" y="236"/>
                </a:lnTo>
                <a:lnTo>
                  <a:pt x="1616" y="231"/>
                </a:lnTo>
                <a:lnTo>
                  <a:pt x="1616" y="231"/>
                </a:lnTo>
                <a:lnTo>
                  <a:pt x="1623" y="231"/>
                </a:lnTo>
                <a:lnTo>
                  <a:pt x="1623" y="231"/>
                </a:lnTo>
                <a:lnTo>
                  <a:pt x="1626" y="228"/>
                </a:lnTo>
                <a:lnTo>
                  <a:pt x="1626" y="228"/>
                </a:lnTo>
                <a:lnTo>
                  <a:pt x="1631" y="226"/>
                </a:lnTo>
                <a:lnTo>
                  <a:pt x="1631" y="226"/>
                </a:lnTo>
                <a:lnTo>
                  <a:pt x="1631" y="223"/>
                </a:lnTo>
                <a:lnTo>
                  <a:pt x="1631" y="223"/>
                </a:lnTo>
                <a:lnTo>
                  <a:pt x="1631" y="223"/>
                </a:lnTo>
                <a:lnTo>
                  <a:pt x="1633" y="223"/>
                </a:lnTo>
                <a:lnTo>
                  <a:pt x="1633" y="223"/>
                </a:lnTo>
                <a:lnTo>
                  <a:pt x="1636" y="226"/>
                </a:lnTo>
                <a:lnTo>
                  <a:pt x="1636" y="226"/>
                </a:lnTo>
                <a:lnTo>
                  <a:pt x="1640" y="226"/>
                </a:lnTo>
                <a:lnTo>
                  <a:pt x="1640" y="226"/>
                </a:lnTo>
                <a:lnTo>
                  <a:pt x="1643" y="226"/>
                </a:lnTo>
                <a:lnTo>
                  <a:pt x="1643" y="226"/>
                </a:lnTo>
                <a:lnTo>
                  <a:pt x="1648" y="221"/>
                </a:lnTo>
                <a:lnTo>
                  <a:pt x="1648" y="221"/>
                </a:lnTo>
                <a:lnTo>
                  <a:pt x="1650" y="223"/>
                </a:lnTo>
                <a:lnTo>
                  <a:pt x="1650" y="223"/>
                </a:lnTo>
                <a:lnTo>
                  <a:pt x="1655" y="221"/>
                </a:lnTo>
                <a:lnTo>
                  <a:pt x="1655" y="221"/>
                </a:lnTo>
                <a:lnTo>
                  <a:pt x="1663" y="221"/>
                </a:lnTo>
                <a:lnTo>
                  <a:pt x="1663" y="221"/>
                </a:lnTo>
                <a:lnTo>
                  <a:pt x="1665" y="218"/>
                </a:lnTo>
                <a:lnTo>
                  <a:pt x="1665" y="218"/>
                </a:lnTo>
                <a:lnTo>
                  <a:pt x="1668" y="218"/>
                </a:lnTo>
                <a:lnTo>
                  <a:pt x="1668" y="218"/>
                </a:lnTo>
                <a:lnTo>
                  <a:pt x="1668" y="221"/>
                </a:lnTo>
                <a:lnTo>
                  <a:pt x="1668" y="221"/>
                </a:lnTo>
                <a:lnTo>
                  <a:pt x="1670" y="223"/>
                </a:lnTo>
                <a:lnTo>
                  <a:pt x="1670" y="223"/>
                </a:lnTo>
                <a:lnTo>
                  <a:pt x="1670" y="221"/>
                </a:lnTo>
                <a:lnTo>
                  <a:pt x="1670" y="221"/>
                </a:lnTo>
                <a:lnTo>
                  <a:pt x="1675" y="216"/>
                </a:lnTo>
                <a:lnTo>
                  <a:pt x="1675" y="216"/>
                </a:lnTo>
                <a:lnTo>
                  <a:pt x="1672" y="214"/>
                </a:lnTo>
                <a:lnTo>
                  <a:pt x="1672" y="214"/>
                </a:lnTo>
                <a:lnTo>
                  <a:pt x="1672" y="209"/>
                </a:lnTo>
                <a:lnTo>
                  <a:pt x="1672" y="209"/>
                </a:lnTo>
                <a:lnTo>
                  <a:pt x="1675" y="206"/>
                </a:lnTo>
                <a:lnTo>
                  <a:pt x="1675" y="206"/>
                </a:lnTo>
                <a:lnTo>
                  <a:pt x="1675" y="204"/>
                </a:lnTo>
                <a:lnTo>
                  <a:pt x="1675" y="204"/>
                </a:lnTo>
                <a:lnTo>
                  <a:pt x="1680" y="204"/>
                </a:lnTo>
                <a:lnTo>
                  <a:pt x="1680" y="204"/>
                </a:lnTo>
                <a:lnTo>
                  <a:pt x="1682" y="209"/>
                </a:lnTo>
                <a:lnTo>
                  <a:pt x="1682" y="209"/>
                </a:lnTo>
                <a:lnTo>
                  <a:pt x="1682" y="211"/>
                </a:lnTo>
                <a:lnTo>
                  <a:pt x="1682" y="211"/>
                </a:lnTo>
                <a:lnTo>
                  <a:pt x="1687" y="211"/>
                </a:lnTo>
                <a:lnTo>
                  <a:pt x="1687" y="211"/>
                </a:lnTo>
                <a:lnTo>
                  <a:pt x="1690" y="214"/>
                </a:lnTo>
                <a:lnTo>
                  <a:pt x="1690" y="214"/>
                </a:lnTo>
                <a:lnTo>
                  <a:pt x="1690" y="216"/>
                </a:lnTo>
                <a:lnTo>
                  <a:pt x="1690" y="216"/>
                </a:lnTo>
                <a:lnTo>
                  <a:pt x="1695" y="221"/>
                </a:lnTo>
                <a:lnTo>
                  <a:pt x="1695" y="221"/>
                </a:lnTo>
                <a:lnTo>
                  <a:pt x="1697" y="223"/>
                </a:lnTo>
                <a:lnTo>
                  <a:pt x="1697" y="223"/>
                </a:lnTo>
                <a:lnTo>
                  <a:pt x="1700" y="223"/>
                </a:lnTo>
                <a:lnTo>
                  <a:pt x="1700" y="223"/>
                </a:lnTo>
                <a:lnTo>
                  <a:pt x="1707" y="223"/>
                </a:lnTo>
                <a:lnTo>
                  <a:pt x="1707" y="223"/>
                </a:lnTo>
                <a:lnTo>
                  <a:pt x="1709" y="223"/>
                </a:lnTo>
                <a:lnTo>
                  <a:pt x="1709" y="223"/>
                </a:lnTo>
                <a:lnTo>
                  <a:pt x="1712" y="223"/>
                </a:lnTo>
                <a:lnTo>
                  <a:pt x="1712" y="223"/>
                </a:lnTo>
                <a:lnTo>
                  <a:pt x="1717" y="231"/>
                </a:lnTo>
                <a:lnTo>
                  <a:pt x="1717" y="231"/>
                </a:lnTo>
                <a:lnTo>
                  <a:pt x="1717" y="233"/>
                </a:lnTo>
                <a:lnTo>
                  <a:pt x="1717" y="233"/>
                </a:lnTo>
                <a:lnTo>
                  <a:pt x="1719" y="236"/>
                </a:lnTo>
                <a:lnTo>
                  <a:pt x="1719" y="236"/>
                </a:lnTo>
                <a:lnTo>
                  <a:pt x="1724" y="236"/>
                </a:lnTo>
                <a:lnTo>
                  <a:pt x="1724" y="236"/>
                </a:lnTo>
                <a:lnTo>
                  <a:pt x="1727" y="236"/>
                </a:lnTo>
                <a:lnTo>
                  <a:pt x="1727" y="236"/>
                </a:lnTo>
                <a:lnTo>
                  <a:pt x="1729" y="233"/>
                </a:lnTo>
                <a:lnTo>
                  <a:pt x="1729" y="233"/>
                </a:lnTo>
                <a:lnTo>
                  <a:pt x="1729" y="231"/>
                </a:lnTo>
                <a:lnTo>
                  <a:pt x="1729" y="231"/>
                </a:lnTo>
                <a:lnTo>
                  <a:pt x="1734" y="228"/>
                </a:lnTo>
                <a:lnTo>
                  <a:pt x="1734" y="228"/>
                </a:lnTo>
                <a:lnTo>
                  <a:pt x="1734" y="231"/>
                </a:lnTo>
                <a:lnTo>
                  <a:pt x="1734" y="231"/>
                </a:lnTo>
                <a:lnTo>
                  <a:pt x="1736" y="228"/>
                </a:lnTo>
                <a:lnTo>
                  <a:pt x="1736" y="228"/>
                </a:lnTo>
                <a:lnTo>
                  <a:pt x="1734" y="226"/>
                </a:lnTo>
                <a:lnTo>
                  <a:pt x="1734" y="226"/>
                </a:lnTo>
                <a:lnTo>
                  <a:pt x="1736" y="226"/>
                </a:lnTo>
                <a:lnTo>
                  <a:pt x="1736" y="226"/>
                </a:lnTo>
                <a:lnTo>
                  <a:pt x="1734" y="223"/>
                </a:lnTo>
                <a:lnTo>
                  <a:pt x="1734" y="223"/>
                </a:lnTo>
                <a:lnTo>
                  <a:pt x="1734" y="221"/>
                </a:lnTo>
                <a:lnTo>
                  <a:pt x="1734" y="221"/>
                </a:lnTo>
                <a:lnTo>
                  <a:pt x="1732" y="216"/>
                </a:lnTo>
                <a:lnTo>
                  <a:pt x="1732" y="216"/>
                </a:lnTo>
                <a:lnTo>
                  <a:pt x="1727" y="216"/>
                </a:lnTo>
                <a:lnTo>
                  <a:pt x="1727" y="216"/>
                </a:lnTo>
                <a:lnTo>
                  <a:pt x="1727" y="211"/>
                </a:lnTo>
                <a:lnTo>
                  <a:pt x="1727" y="211"/>
                </a:lnTo>
                <a:lnTo>
                  <a:pt x="1722" y="204"/>
                </a:lnTo>
                <a:lnTo>
                  <a:pt x="1722" y="204"/>
                </a:lnTo>
                <a:lnTo>
                  <a:pt x="1719" y="204"/>
                </a:lnTo>
                <a:lnTo>
                  <a:pt x="1719" y="204"/>
                </a:lnTo>
                <a:lnTo>
                  <a:pt x="1717" y="201"/>
                </a:lnTo>
                <a:lnTo>
                  <a:pt x="1717" y="201"/>
                </a:lnTo>
                <a:lnTo>
                  <a:pt x="1712" y="199"/>
                </a:lnTo>
                <a:lnTo>
                  <a:pt x="1712" y="199"/>
                </a:lnTo>
                <a:lnTo>
                  <a:pt x="1709" y="201"/>
                </a:lnTo>
                <a:lnTo>
                  <a:pt x="1709" y="201"/>
                </a:lnTo>
                <a:lnTo>
                  <a:pt x="1707" y="201"/>
                </a:lnTo>
                <a:lnTo>
                  <a:pt x="1707" y="201"/>
                </a:lnTo>
                <a:lnTo>
                  <a:pt x="1707" y="199"/>
                </a:lnTo>
                <a:lnTo>
                  <a:pt x="1707" y="199"/>
                </a:lnTo>
                <a:lnTo>
                  <a:pt x="1709" y="196"/>
                </a:lnTo>
                <a:lnTo>
                  <a:pt x="1709" y="196"/>
                </a:lnTo>
                <a:lnTo>
                  <a:pt x="1707" y="191"/>
                </a:lnTo>
                <a:lnTo>
                  <a:pt x="1707" y="191"/>
                </a:lnTo>
                <a:lnTo>
                  <a:pt x="1704" y="189"/>
                </a:lnTo>
                <a:lnTo>
                  <a:pt x="1704" y="189"/>
                </a:lnTo>
                <a:lnTo>
                  <a:pt x="1704" y="186"/>
                </a:lnTo>
                <a:lnTo>
                  <a:pt x="1704" y="186"/>
                </a:lnTo>
                <a:lnTo>
                  <a:pt x="1702" y="182"/>
                </a:lnTo>
                <a:lnTo>
                  <a:pt x="1702" y="182"/>
                </a:lnTo>
                <a:lnTo>
                  <a:pt x="1697" y="179"/>
                </a:lnTo>
                <a:lnTo>
                  <a:pt x="1697" y="179"/>
                </a:lnTo>
                <a:lnTo>
                  <a:pt x="1697" y="177"/>
                </a:lnTo>
                <a:lnTo>
                  <a:pt x="1697" y="177"/>
                </a:lnTo>
                <a:lnTo>
                  <a:pt x="1704" y="177"/>
                </a:lnTo>
                <a:lnTo>
                  <a:pt x="1704" y="177"/>
                </a:lnTo>
                <a:lnTo>
                  <a:pt x="1707" y="177"/>
                </a:lnTo>
                <a:lnTo>
                  <a:pt x="1707" y="177"/>
                </a:lnTo>
                <a:lnTo>
                  <a:pt x="1714" y="177"/>
                </a:lnTo>
                <a:lnTo>
                  <a:pt x="1714" y="177"/>
                </a:lnTo>
                <a:lnTo>
                  <a:pt x="1722" y="177"/>
                </a:lnTo>
                <a:lnTo>
                  <a:pt x="1722" y="177"/>
                </a:lnTo>
                <a:lnTo>
                  <a:pt x="1722" y="174"/>
                </a:lnTo>
                <a:lnTo>
                  <a:pt x="1722" y="174"/>
                </a:lnTo>
                <a:lnTo>
                  <a:pt x="1727" y="174"/>
                </a:lnTo>
                <a:lnTo>
                  <a:pt x="1727" y="174"/>
                </a:lnTo>
                <a:lnTo>
                  <a:pt x="1729" y="177"/>
                </a:lnTo>
                <a:lnTo>
                  <a:pt x="1729" y="177"/>
                </a:lnTo>
                <a:lnTo>
                  <a:pt x="1732" y="174"/>
                </a:lnTo>
                <a:lnTo>
                  <a:pt x="1732" y="174"/>
                </a:lnTo>
                <a:lnTo>
                  <a:pt x="1734" y="174"/>
                </a:lnTo>
                <a:lnTo>
                  <a:pt x="1734" y="174"/>
                </a:lnTo>
                <a:lnTo>
                  <a:pt x="1734" y="172"/>
                </a:lnTo>
                <a:lnTo>
                  <a:pt x="1734" y="172"/>
                </a:lnTo>
                <a:lnTo>
                  <a:pt x="1739" y="172"/>
                </a:lnTo>
                <a:lnTo>
                  <a:pt x="1739" y="172"/>
                </a:lnTo>
                <a:lnTo>
                  <a:pt x="1741" y="174"/>
                </a:lnTo>
                <a:lnTo>
                  <a:pt x="1741" y="174"/>
                </a:lnTo>
                <a:lnTo>
                  <a:pt x="1741" y="174"/>
                </a:lnTo>
                <a:lnTo>
                  <a:pt x="1744" y="169"/>
                </a:lnTo>
                <a:lnTo>
                  <a:pt x="1744" y="169"/>
                </a:lnTo>
                <a:lnTo>
                  <a:pt x="1746" y="172"/>
                </a:lnTo>
                <a:lnTo>
                  <a:pt x="1746" y="172"/>
                </a:lnTo>
                <a:lnTo>
                  <a:pt x="1746" y="169"/>
                </a:lnTo>
                <a:lnTo>
                  <a:pt x="1746" y="169"/>
                </a:lnTo>
                <a:lnTo>
                  <a:pt x="1759" y="164"/>
                </a:lnTo>
                <a:lnTo>
                  <a:pt x="1759" y="164"/>
                </a:lnTo>
                <a:lnTo>
                  <a:pt x="1761" y="169"/>
                </a:lnTo>
                <a:lnTo>
                  <a:pt x="1761" y="169"/>
                </a:lnTo>
                <a:lnTo>
                  <a:pt x="1761" y="167"/>
                </a:lnTo>
                <a:lnTo>
                  <a:pt x="1761" y="167"/>
                </a:lnTo>
                <a:lnTo>
                  <a:pt x="1763" y="162"/>
                </a:lnTo>
                <a:lnTo>
                  <a:pt x="1763" y="162"/>
                </a:lnTo>
                <a:lnTo>
                  <a:pt x="1763" y="164"/>
                </a:lnTo>
                <a:lnTo>
                  <a:pt x="1763" y="164"/>
                </a:lnTo>
                <a:lnTo>
                  <a:pt x="1768" y="164"/>
                </a:lnTo>
                <a:lnTo>
                  <a:pt x="1768" y="164"/>
                </a:lnTo>
                <a:lnTo>
                  <a:pt x="1771" y="162"/>
                </a:lnTo>
                <a:lnTo>
                  <a:pt x="1771" y="162"/>
                </a:lnTo>
                <a:lnTo>
                  <a:pt x="1773" y="164"/>
                </a:lnTo>
                <a:lnTo>
                  <a:pt x="1773" y="164"/>
                </a:lnTo>
                <a:lnTo>
                  <a:pt x="1778" y="164"/>
                </a:lnTo>
                <a:lnTo>
                  <a:pt x="1778" y="164"/>
                </a:lnTo>
                <a:lnTo>
                  <a:pt x="1781" y="164"/>
                </a:lnTo>
                <a:lnTo>
                  <a:pt x="1781" y="164"/>
                </a:lnTo>
                <a:lnTo>
                  <a:pt x="1783" y="167"/>
                </a:lnTo>
                <a:lnTo>
                  <a:pt x="1783" y="167"/>
                </a:lnTo>
                <a:lnTo>
                  <a:pt x="1786" y="167"/>
                </a:lnTo>
                <a:lnTo>
                  <a:pt x="1786" y="167"/>
                </a:lnTo>
                <a:lnTo>
                  <a:pt x="1788" y="164"/>
                </a:lnTo>
                <a:lnTo>
                  <a:pt x="1788" y="164"/>
                </a:lnTo>
                <a:lnTo>
                  <a:pt x="1793" y="164"/>
                </a:lnTo>
                <a:lnTo>
                  <a:pt x="1793" y="164"/>
                </a:lnTo>
                <a:lnTo>
                  <a:pt x="1803" y="167"/>
                </a:lnTo>
                <a:lnTo>
                  <a:pt x="1803" y="167"/>
                </a:lnTo>
                <a:lnTo>
                  <a:pt x="1805" y="169"/>
                </a:lnTo>
                <a:lnTo>
                  <a:pt x="1805" y="169"/>
                </a:lnTo>
                <a:lnTo>
                  <a:pt x="1808" y="169"/>
                </a:lnTo>
                <a:lnTo>
                  <a:pt x="1808" y="169"/>
                </a:lnTo>
                <a:lnTo>
                  <a:pt x="1805" y="167"/>
                </a:lnTo>
                <a:lnTo>
                  <a:pt x="1805" y="167"/>
                </a:lnTo>
                <a:lnTo>
                  <a:pt x="1810" y="167"/>
                </a:lnTo>
                <a:lnTo>
                  <a:pt x="1810" y="167"/>
                </a:lnTo>
                <a:lnTo>
                  <a:pt x="1813" y="169"/>
                </a:lnTo>
                <a:lnTo>
                  <a:pt x="1813" y="169"/>
                </a:lnTo>
                <a:lnTo>
                  <a:pt x="1810" y="169"/>
                </a:lnTo>
                <a:lnTo>
                  <a:pt x="1810" y="169"/>
                </a:lnTo>
                <a:lnTo>
                  <a:pt x="1813" y="172"/>
                </a:lnTo>
                <a:lnTo>
                  <a:pt x="1813" y="172"/>
                </a:lnTo>
                <a:lnTo>
                  <a:pt x="1818" y="169"/>
                </a:lnTo>
                <a:lnTo>
                  <a:pt x="1818" y="169"/>
                </a:lnTo>
                <a:lnTo>
                  <a:pt x="1827" y="172"/>
                </a:lnTo>
                <a:lnTo>
                  <a:pt x="1827" y="172"/>
                </a:lnTo>
                <a:lnTo>
                  <a:pt x="1835" y="177"/>
                </a:lnTo>
                <a:lnTo>
                  <a:pt x="1835" y="177"/>
                </a:lnTo>
                <a:lnTo>
                  <a:pt x="1835" y="179"/>
                </a:lnTo>
                <a:lnTo>
                  <a:pt x="1835" y="179"/>
                </a:lnTo>
                <a:lnTo>
                  <a:pt x="1832" y="177"/>
                </a:lnTo>
                <a:lnTo>
                  <a:pt x="1832" y="177"/>
                </a:lnTo>
                <a:lnTo>
                  <a:pt x="1827" y="174"/>
                </a:lnTo>
                <a:lnTo>
                  <a:pt x="1827" y="174"/>
                </a:lnTo>
                <a:lnTo>
                  <a:pt x="1827" y="177"/>
                </a:lnTo>
                <a:lnTo>
                  <a:pt x="1827" y="177"/>
                </a:lnTo>
                <a:lnTo>
                  <a:pt x="1837" y="179"/>
                </a:lnTo>
                <a:lnTo>
                  <a:pt x="1837" y="179"/>
                </a:lnTo>
                <a:lnTo>
                  <a:pt x="1840" y="179"/>
                </a:lnTo>
                <a:lnTo>
                  <a:pt x="1840" y="179"/>
                </a:lnTo>
                <a:lnTo>
                  <a:pt x="1842" y="177"/>
                </a:lnTo>
                <a:lnTo>
                  <a:pt x="1842" y="177"/>
                </a:lnTo>
                <a:lnTo>
                  <a:pt x="1847" y="177"/>
                </a:lnTo>
                <a:lnTo>
                  <a:pt x="1847" y="177"/>
                </a:lnTo>
                <a:lnTo>
                  <a:pt x="1850" y="177"/>
                </a:lnTo>
                <a:lnTo>
                  <a:pt x="1850" y="177"/>
                </a:lnTo>
                <a:lnTo>
                  <a:pt x="1850" y="174"/>
                </a:lnTo>
                <a:lnTo>
                  <a:pt x="1850" y="174"/>
                </a:lnTo>
                <a:lnTo>
                  <a:pt x="1852" y="174"/>
                </a:lnTo>
                <a:lnTo>
                  <a:pt x="1852" y="174"/>
                </a:lnTo>
                <a:lnTo>
                  <a:pt x="1855" y="177"/>
                </a:lnTo>
                <a:lnTo>
                  <a:pt x="1855" y="177"/>
                </a:lnTo>
                <a:lnTo>
                  <a:pt x="1857" y="177"/>
                </a:lnTo>
                <a:lnTo>
                  <a:pt x="1857" y="177"/>
                </a:lnTo>
                <a:lnTo>
                  <a:pt x="1859" y="177"/>
                </a:lnTo>
                <a:lnTo>
                  <a:pt x="1859" y="177"/>
                </a:lnTo>
                <a:lnTo>
                  <a:pt x="1859" y="177"/>
                </a:lnTo>
                <a:lnTo>
                  <a:pt x="1859" y="174"/>
                </a:lnTo>
                <a:lnTo>
                  <a:pt x="1859" y="174"/>
                </a:lnTo>
                <a:lnTo>
                  <a:pt x="1864" y="177"/>
                </a:lnTo>
                <a:lnTo>
                  <a:pt x="1864" y="177"/>
                </a:lnTo>
                <a:lnTo>
                  <a:pt x="1864" y="179"/>
                </a:lnTo>
                <a:lnTo>
                  <a:pt x="1864" y="179"/>
                </a:lnTo>
                <a:lnTo>
                  <a:pt x="1869" y="179"/>
                </a:lnTo>
                <a:lnTo>
                  <a:pt x="1869" y="179"/>
                </a:lnTo>
                <a:lnTo>
                  <a:pt x="1872" y="179"/>
                </a:lnTo>
                <a:lnTo>
                  <a:pt x="1872" y="179"/>
                </a:lnTo>
                <a:lnTo>
                  <a:pt x="1886" y="182"/>
                </a:lnTo>
                <a:lnTo>
                  <a:pt x="1886" y="182"/>
                </a:lnTo>
                <a:lnTo>
                  <a:pt x="1884" y="179"/>
                </a:lnTo>
                <a:lnTo>
                  <a:pt x="1884" y="179"/>
                </a:lnTo>
                <a:lnTo>
                  <a:pt x="1889" y="179"/>
                </a:lnTo>
                <a:lnTo>
                  <a:pt x="1889" y="179"/>
                </a:lnTo>
                <a:lnTo>
                  <a:pt x="1891" y="182"/>
                </a:lnTo>
                <a:lnTo>
                  <a:pt x="1891" y="182"/>
                </a:lnTo>
                <a:lnTo>
                  <a:pt x="1894" y="182"/>
                </a:lnTo>
                <a:lnTo>
                  <a:pt x="1894" y="182"/>
                </a:lnTo>
                <a:lnTo>
                  <a:pt x="1891" y="179"/>
                </a:lnTo>
                <a:lnTo>
                  <a:pt x="1891" y="179"/>
                </a:lnTo>
                <a:lnTo>
                  <a:pt x="1894" y="179"/>
                </a:lnTo>
                <a:lnTo>
                  <a:pt x="1894" y="179"/>
                </a:lnTo>
                <a:lnTo>
                  <a:pt x="1899" y="179"/>
                </a:lnTo>
                <a:lnTo>
                  <a:pt x="1899" y="179"/>
                </a:lnTo>
                <a:lnTo>
                  <a:pt x="1896" y="182"/>
                </a:lnTo>
                <a:lnTo>
                  <a:pt x="1896" y="182"/>
                </a:lnTo>
                <a:lnTo>
                  <a:pt x="1899" y="184"/>
                </a:lnTo>
                <a:lnTo>
                  <a:pt x="1899" y="184"/>
                </a:lnTo>
                <a:lnTo>
                  <a:pt x="1904" y="184"/>
                </a:lnTo>
                <a:lnTo>
                  <a:pt x="1904" y="184"/>
                </a:lnTo>
                <a:lnTo>
                  <a:pt x="1904" y="182"/>
                </a:lnTo>
                <a:lnTo>
                  <a:pt x="1904" y="182"/>
                </a:lnTo>
                <a:lnTo>
                  <a:pt x="1904" y="182"/>
                </a:lnTo>
                <a:lnTo>
                  <a:pt x="1909" y="182"/>
                </a:lnTo>
                <a:lnTo>
                  <a:pt x="1909" y="182"/>
                </a:lnTo>
                <a:lnTo>
                  <a:pt x="1909" y="182"/>
                </a:lnTo>
                <a:lnTo>
                  <a:pt x="1909" y="184"/>
                </a:lnTo>
                <a:lnTo>
                  <a:pt x="1909" y="184"/>
                </a:lnTo>
                <a:lnTo>
                  <a:pt x="1911" y="186"/>
                </a:lnTo>
                <a:lnTo>
                  <a:pt x="1911" y="186"/>
                </a:lnTo>
                <a:lnTo>
                  <a:pt x="1916" y="189"/>
                </a:lnTo>
                <a:lnTo>
                  <a:pt x="1916" y="189"/>
                </a:lnTo>
                <a:lnTo>
                  <a:pt x="1921" y="186"/>
                </a:lnTo>
                <a:lnTo>
                  <a:pt x="1921" y="186"/>
                </a:lnTo>
                <a:lnTo>
                  <a:pt x="1916" y="186"/>
                </a:lnTo>
                <a:lnTo>
                  <a:pt x="1916" y="186"/>
                </a:lnTo>
                <a:lnTo>
                  <a:pt x="1911" y="184"/>
                </a:lnTo>
                <a:lnTo>
                  <a:pt x="1911" y="184"/>
                </a:lnTo>
                <a:lnTo>
                  <a:pt x="1911" y="182"/>
                </a:lnTo>
                <a:lnTo>
                  <a:pt x="1911" y="182"/>
                </a:lnTo>
                <a:lnTo>
                  <a:pt x="1914" y="182"/>
                </a:lnTo>
                <a:lnTo>
                  <a:pt x="1914" y="182"/>
                </a:lnTo>
                <a:lnTo>
                  <a:pt x="1918" y="182"/>
                </a:lnTo>
                <a:lnTo>
                  <a:pt x="1918" y="182"/>
                </a:lnTo>
                <a:lnTo>
                  <a:pt x="1923" y="184"/>
                </a:lnTo>
                <a:lnTo>
                  <a:pt x="1923" y="184"/>
                </a:lnTo>
                <a:lnTo>
                  <a:pt x="1926" y="189"/>
                </a:lnTo>
                <a:lnTo>
                  <a:pt x="1926" y="189"/>
                </a:lnTo>
                <a:lnTo>
                  <a:pt x="1928" y="189"/>
                </a:lnTo>
                <a:lnTo>
                  <a:pt x="1928" y="189"/>
                </a:lnTo>
                <a:lnTo>
                  <a:pt x="1928" y="186"/>
                </a:lnTo>
                <a:lnTo>
                  <a:pt x="1928" y="186"/>
                </a:lnTo>
                <a:lnTo>
                  <a:pt x="1928" y="186"/>
                </a:lnTo>
                <a:lnTo>
                  <a:pt x="1931" y="186"/>
                </a:lnTo>
                <a:lnTo>
                  <a:pt x="1931" y="186"/>
                </a:lnTo>
                <a:lnTo>
                  <a:pt x="1931" y="189"/>
                </a:lnTo>
                <a:lnTo>
                  <a:pt x="1931" y="189"/>
                </a:lnTo>
                <a:lnTo>
                  <a:pt x="1931" y="189"/>
                </a:lnTo>
                <a:lnTo>
                  <a:pt x="1933" y="194"/>
                </a:lnTo>
                <a:lnTo>
                  <a:pt x="1933" y="194"/>
                </a:lnTo>
                <a:lnTo>
                  <a:pt x="1938" y="201"/>
                </a:lnTo>
                <a:lnTo>
                  <a:pt x="1938" y="201"/>
                </a:lnTo>
                <a:lnTo>
                  <a:pt x="1946" y="204"/>
                </a:lnTo>
                <a:lnTo>
                  <a:pt x="1946" y="204"/>
                </a:lnTo>
                <a:lnTo>
                  <a:pt x="1946" y="206"/>
                </a:lnTo>
                <a:lnTo>
                  <a:pt x="1946" y="206"/>
                </a:lnTo>
                <a:lnTo>
                  <a:pt x="1948" y="209"/>
                </a:lnTo>
                <a:lnTo>
                  <a:pt x="1948" y="209"/>
                </a:lnTo>
                <a:lnTo>
                  <a:pt x="1950" y="214"/>
                </a:lnTo>
                <a:lnTo>
                  <a:pt x="1950" y="214"/>
                </a:lnTo>
                <a:lnTo>
                  <a:pt x="1948" y="214"/>
                </a:lnTo>
                <a:lnTo>
                  <a:pt x="1948" y="214"/>
                </a:lnTo>
                <a:lnTo>
                  <a:pt x="1950" y="218"/>
                </a:lnTo>
                <a:lnTo>
                  <a:pt x="1950" y="218"/>
                </a:lnTo>
                <a:lnTo>
                  <a:pt x="1953" y="218"/>
                </a:lnTo>
                <a:lnTo>
                  <a:pt x="1953" y="218"/>
                </a:lnTo>
                <a:lnTo>
                  <a:pt x="1955" y="216"/>
                </a:lnTo>
                <a:lnTo>
                  <a:pt x="1955" y="216"/>
                </a:lnTo>
                <a:lnTo>
                  <a:pt x="1960" y="216"/>
                </a:lnTo>
                <a:lnTo>
                  <a:pt x="1960" y="216"/>
                </a:lnTo>
                <a:lnTo>
                  <a:pt x="1963" y="221"/>
                </a:lnTo>
                <a:lnTo>
                  <a:pt x="1963" y="221"/>
                </a:lnTo>
                <a:lnTo>
                  <a:pt x="1965" y="221"/>
                </a:lnTo>
                <a:lnTo>
                  <a:pt x="1965" y="221"/>
                </a:lnTo>
                <a:lnTo>
                  <a:pt x="1965" y="221"/>
                </a:lnTo>
                <a:lnTo>
                  <a:pt x="1963" y="218"/>
                </a:lnTo>
                <a:lnTo>
                  <a:pt x="1963" y="218"/>
                </a:lnTo>
                <a:lnTo>
                  <a:pt x="1963" y="216"/>
                </a:lnTo>
                <a:lnTo>
                  <a:pt x="1963" y="216"/>
                </a:lnTo>
                <a:lnTo>
                  <a:pt x="1965" y="214"/>
                </a:lnTo>
                <a:lnTo>
                  <a:pt x="1965" y="214"/>
                </a:lnTo>
                <a:lnTo>
                  <a:pt x="1965" y="214"/>
                </a:lnTo>
                <a:lnTo>
                  <a:pt x="1968" y="218"/>
                </a:lnTo>
                <a:lnTo>
                  <a:pt x="1968" y="218"/>
                </a:lnTo>
                <a:lnTo>
                  <a:pt x="1970" y="221"/>
                </a:lnTo>
                <a:lnTo>
                  <a:pt x="1970" y="221"/>
                </a:lnTo>
                <a:lnTo>
                  <a:pt x="1970" y="221"/>
                </a:lnTo>
                <a:lnTo>
                  <a:pt x="1968" y="216"/>
                </a:lnTo>
                <a:lnTo>
                  <a:pt x="1968" y="216"/>
                </a:lnTo>
                <a:lnTo>
                  <a:pt x="1968" y="211"/>
                </a:lnTo>
                <a:lnTo>
                  <a:pt x="1968" y="211"/>
                </a:lnTo>
                <a:lnTo>
                  <a:pt x="1965" y="209"/>
                </a:lnTo>
                <a:lnTo>
                  <a:pt x="1965" y="209"/>
                </a:lnTo>
                <a:lnTo>
                  <a:pt x="1963" y="211"/>
                </a:lnTo>
                <a:lnTo>
                  <a:pt x="1963" y="211"/>
                </a:lnTo>
                <a:lnTo>
                  <a:pt x="1958" y="214"/>
                </a:lnTo>
                <a:lnTo>
                  <a:pt x="1958" y="214"/>
                </a:lnTo>
                <a:lnTo>
                  <a:pt x="1958" y="211"/>
                </a:lnTo>
                <a:lnTo>
                  <a:pt x="1958" y="211"/>
                </a:lnTo>
                <a:lnTo>
                  <a:pt x="1960" y="209"/>
                </a:lnTo>
                <a:lnTo>
                  <a:pt x="1960" y="209"/>
                </a:lnTo>
                <a:lnTo>
                  <a:pt x="1958" y="204"/>
                </a:lnTo>
                <a:lnTo>
                  <a:pt x="1958" y="204"/>
                </a:lnTo>
                <a:lnTo>
                  <a:pt x="1953" y="201"/>
                </a:lnTo>
                <a:lnTo>
                  <a:pt x="1953" y="201"/>
                </a:lnTo>
                <a:lnTo>
                  <a:pt x="1950" y="196"/>
                </a:lnTo>
                <a:lnTo>
                  <a:pt x="1950" y="196"/>
                </a:lnTo>
                <a:lnTo>
                  <a:pt x="1948" y="194"/>
                </a:lnTo>
                <a:lnTo>
                  <a:pt x="1948" y="194"/>
                </a:lnTo>
                <a:lnTo>
                  <a:pt x="1948" y="194"/>
                </a:lnTo>
                <a:lnTo>
                  <a:pt x="1943" y="196"/>
                </a:lnTo>
                <a:lnTo>
                  <a:pt x="1943" y="196"/>
                </a:lnTo>
                <a:lnTo>
                  <a:pt x="1943" y="196"/>
                </a:lnTo>
                <a:lnTo>
                  <a:pt x="1946" y="194"/>
                </a:lnTo>
                <a:lnTo>
                  <a:pt x="1946" y="194"/>
                </a:lnTo>
                <a:lnTo>
                  <a:pt x="1948" y="189"/>
                </a:lnTo>
                <a:lnTo>
                  <a:pt x="1948" y="189"/>
                </a:lnTo>
                <a:lnTo>
                  <a:pt x="1953" y="184"/>
                </a:lnTo>
                <a:lnTo>
                  <a:pt x="1953" y="184"/>
                </a:lnTo>
                <a:lnTo>
                  <a:pt x="1953" y="182"/>
                </a:lnTo>
                <a:lnTo>
                  <a:pt x="1953" y="182"/>
                </a:lnTo>
                <a:lnTo>
                  <a:pt x="1953" y="184"/>
                </a:lnTo>
                <a:lnTo>
                  <a:pt x="1953" y="184"/>
                </a:lnTo>
                <a:lnTo>
                  <a:pt x="1955" y="189"/>
                </a:lnTo>
                <a:lnTo>
                  <a:pt x="1955" y="189"/>
                </a:lnTo>
                <a:lnTo>
                  <a:pt x="1958" y="191"/>
                </a:lnTo>
                <a:lnTo>
                  <a:pt x="1958" y="191"/>
                </a:lnTo>
                <a:lnTo>
                  <a:pt x="1960" y="189"/>
                </a:lnTo>
                <a:lnTo>
                  <a:pt x="1960" y="189"/>
                </a:lnTo>
                <a:lnTo>
                  <a:pt x="1958" y="186"/>
                </a:lnTo>
                <a:lnTo>
                  <a:pt x="1958" y="186"/>
                </a:lnTo>
                <a:lnTo>
                  <a:pt x="1955" y="184"/>
                </a:lnTo>
                <a:lnTo>
                  <a:pt x="1955" y="184"/>
                </a:lnTo>
                <a:lnTo>
                  <a:pt x="1958" y="184"/>
                </a:lnTo>
                <a:lnTo>
                  <a:pt x="1958" y="184"/>
                </a:lnTo>
                <a:lnTo>
                  <a:pt x="1960" y="182"/>
                </a:lnTo>
                <a:lnTo>
                  <a:pt x="1960" y="182"/>
                </a:lnTo>
                <a:lnTo>
                  <a:pt x="1963" y="179"/>
                </a:lnTo>
                <a:lnTo>
                  <a:pt x="1963" y="179"/>
                </a:lnTo>
                <a:lnTo>
                  <a:pt x="1958" y="179"/>
                </a:lnTo>
                <a:lnTo>
                  <a:pt x="1958" y="179"/>
                </a:lnTo>
                <a:lnTo>
                  <a:pt x="1960" y="179"/>
                </a:lnTo>
                <a:lnTo>
                  <a:pt x="1960" y="179"/>
                </a:lnTo>
                <a:lnTo>
                  <a:pt x="1960" y="177"/>
                </a:lnTo>
                <a:lnTo>
                  <a:pt x="1960" y="177"/>
                </a:lnTo>
                <a:lnTo>
                  <a:pt x="1965" y="177"/>
                </a:lnTo>
                <a:lnTo>
                  <a:pt x="1965" y="177"/>
                </a:lnTo>
                <a:lnTo>
                  <a:pt x="1968" y="172"/>
                </a:lnTo>
                <a:lnTo>
                  <a:pt x="1968" y="172"/>
                </a:lnTo>
                <a:lnTo>
                  <a:pt x="1970" y="172"/>
                </a:lnTo>
                <a:lnTo>
                  <a:pt x="1970" y="172"/>
                </a:lnTo>
                <a:lnTo>
                  <a:pt x="1970" y="174"/>
                </a:lnTo>
                <a:lnTo>
                  <a:pt x="1970" y="174"/>
                </a:lnTo>
                <a:lnTo>
                  <a:pt x="1973" y="174"/>
                </a:lnTo>
                <a:lnTo>
                  <a:pt x="1973" y="174"/>
                </a:lnTo>
                <a:lnTo>
                  <a:pt x="1975" y="174"/>
                </a:lnTo>
                <a:lnTo>
                  <a:pt x="1975" y="174"/>
                </a:lnTo>
                <a:lnTo>
                  <a:pt x="1975" y="177"/>
                </a:lnTo>
                <a:lnTo>
                  <a:pt x="1975" y="177"/>
                </a:lnTo>
                <a:lnTo>
                  <a:pt x="1978" y="179"/>
                </a:lnTo>
                <a:lnTo>
                  <a:pt x="1978" y="179"/>
                </a:lnTo>
                <a:lnTo>
                  <a:pt x="1982" y="179"/>
                </a:lnTo>
                <a:lnTo>
                  <a:pt x="1982" y="179"/>
                </a:lnTo>
                <a:lnTo>
                  <a:pt x="1985" y="179"/>
                </a:lnTo>
                <a:lnTo>
                  <a:pt x="1985" y="179"/>
                </a:lnTo>
                <a:lnTo>
                  <a:pt x="1995" y="179"/>
                </a:lnTo>
                <a:lnTo>
                  <a:pt x="1995" y="179"/>
                </a:lnTo>
                <a:lnTo>
                  <a:pt x="1995" y="184"/>
                </a:lnTo>
                <a:lnTo>
                  <a:pt x="1995" y="184"/>
                </a:lnTo>
                <a:lnTo>
                  <a:pt x="1995" y="184"/>
                </a:lnTo>
                <a:lnTo>
                  <a:pt x="1997" y="184"/>
                </a:lnTo>
                <a:lnTo>
                  <a:pt x="1997" y="184"/>
                </a:lnTo>
                <a:lnTo>
                  <a:pt x="1997" y="182"/>
                </a:lnTo>
                <a:lnTo>
                  <a:pt x="1997" y="182"/>
                </a:lnTo>
                <a:lnTo>
                  <a:pt x="2000" y="182"/>
                </a:lnTo>
                <a:lnTo>
                  <a:pt x="2000" y="182"/>
                </a:lnTo>
                <a:lnTo>
                  <a:pt x="2000" y="186"/>
                </a:lnTo>
                <a:lnTo>
                  <a:pt x="2000" y="186"/>
                </a:lnTo>
                <a:lnTo>
                  <a:pt x="2002" y="184"/>
                </a:lnTo>
                <a:lnTo>
                  <a:pt x="2002" y="184"/>
                </a:lnTo>
                <a:lnTo>
                  <a:pt x="2005" y="182"/>
                </a:lnTo>
                <a:lnTo>
                  <a:pt x="2005" y="182"/>
                </a:lnTo>
                <a:lnTo>
                  <a:pt x="2007" y="182"/>
                </a:lnTo>
                <a:lnTo>
                  <a:pt x="2007" y="182"/>
                </a:lnTo>
                <a:lnTo>
                  <a:pt x="2007" y="184"/>
                </a:lnTo>
                <a:lnTo>
                  <a:pt x="2007" y="184"/>
                </a:lnTo>
                <a:lnTo>
                  <a:pt x="2007" y="186"/>
                </a:lnTo>
                <a:lnTo>
                  <a:pt x="2007" y="186"/>
                </a:lnTo>
                <a:lnTo>
                  <a:pt x="2005" y="189"/>
                </a:lnTo>
                <a:lnTo>
                  <a:pt x="2005" y="189"/>
                </a:lnTo>
                <a:lnTo>
                  <a:pt x="2007" y="196"/>
                </a:lnTo>
                <a:lnTo>
                  <a:pt x="2007" y="196"/>
                </a:lnTo>
                <a:lnTo>
                  <a:pt x="2007" y="201"/>
                </a:lnTo>
                <a:lnTo>
                  <a:pt x="2007" y="201"/>
                </a:lnTo>
                <a:lnTo>
                  <a:pt x="2007" y="204"/>
                </a:lnTo>
                <a:lnTo>
                  <a:pt x="2007" y="204"/>
                </a:lnTo>
                <a:lnTo>
                  <a:pt x="2009" y="201"/>
                </a:lnTo>
                <a:lnTo>
                  <a:pt x="2009" y="201"/>
                </a:lnTo>
                <a:lnTo>
                  <a:pt x="2012" y="206"/>
                </a:lnTo>
                <a:lnTo>
                  <a:pt x="2012" y="206"/>
                </a:lnTo>
                <a:lnTo>
                  <a:pt x="2017" y="206"/>
                </a:lnTo>
                <a:lnTo>
                  <a:pt x="2017" y="206"/>
                </a:lnTo>
                <a:lnTo>
                  <a:pt x="2017" y="209"/>
                </a:lnTo>
                <a:lnTo>
                  <a:pt x="2017" y="209"/>
                </a:lnTo>
                <a:lnTo>
                  <a:pt x="2014" y="211"/>
                </a:lnTo>
                <a:lnTo>
                  <a:pt x="2014" y="211"/>
                </a:lnTo>
                <a:lnTo>
                  <a:pt x="2009" y="211"/>
                </a:lnTo>
                <a:lnTo>
                  <a:pt x="2009" y="211"/>
                </a:lnTo>
                <a:lnTo>
                  <a:pt x="2005" y="214"/>
                </a:lnTo>
                <a:lnTo>
                  <a:pt x="2005" y="214"/>
                </a:lnTo>
                <a:lnTo>
                  <a:pt x="2012" y="214"/>
                </a:lnTo>
                <a:lnTo>
                  <a:pt x="2012" y="214"/>
                </a:lnTo>
                <a:lnTo>
                  <a:pt x="2014" y="216"/>
                </a:lnTo>
                <a:lnTo>
                  <a:pt x="2014" y="216"/>
                </a:lnTo>
                <a:lnTo>
                  <a:pt x="2014" y="218"/>
                </a:lnTo>
                <a:lnTo>
                  <a:pt x="2014" y="218"/>
                </a:lnTo>
                <a:lnTo>
                  <a:pt x="2009" y="221"/>
                </a:lnTo>
                <a:lnTo>
                  <a:pt x="2009" y="221"/>
                </a:lnTo>
                <a:lnTo>
                  <a:pt x="2007" y="226"/>
                </a:lnTo>
                <a:lnTo>
                  <a:pt x="2007" y="226"/>
                </a:lnTo>
                <a:lnTo>
                  <a:pt x="2005" y="223"/>
                </a:lnTo>
                <a:lnTo>
                  <a:pt x="2005" y="223"/>
                </a:lnTo>
                <a:lnTo>
                  <a:pt x="2002" y="226"/>
                </a:lnTo>
                <a:lnTo>
                  <a:pt x="2002" y="226"/>
                </a:lnTo>
                <a:lnTo>
                  <a:pt x="1997" y="226"/>
                </a:lnTo>
                <a:lnTo>
                  <a:pt x="1997" y="226"/>
                </a:lnTo>
                <a:lnTo>
                  <a:pt x="1995" y="231"/>
                </a:lnTo>
                <a:lnTo>
                  <a:pt x="1995" y="231"/>
                </a:lnTo>
                <a:lnTo>
                  <a:pt x="2000" y="228"/>
                </a:lnTo>
                <a:lnTo>
                  <a:pt x="2000" y="228"/>
                </a:lnTo>
                <a:lnTo>
                  <a:pt x="2002" y="231"/>
                </a:lnTo>
                <a:lnTo>
                  <a:pt x="2002" y="231"/>
                </a:lnTo>
                <a:lnTo>
                  <a:pt x="2002" y="233"/>
                </a:lnTo>
                <a:lnTo>
                  <a:pt x="2002" y="233"/>
                </a:lnTo>
                <a:lnTo>
                  <a:pt x="2005" y="231"/>
                </a:lnTo>
                <a:lnTo>
                  <a:pt x="2005" y="231"/>
                </a:lnTo>
                <a:lnTo>
                  <a:pt x="2007" y="231"/>
                </a:lnTo>
                <a:lnTo>
                  <a:pt x="2007" y="231"/>
                </a:lnTo>
                <a:lnTo>
                  <a:pt x="2007" y="233"/>
                </a:lnTo>
                <a:lnTo>
                  <a:pt x="2007" y="233"/>
                </a:lnTo>
                <a:lnTo>
                  <a:pt x="2009" y="236"/>
                </a:lnTo>
                <a:lnTo>
                  <a:pt x="2009" y="236"/>
                </a:lnTo>
                <a:lnTo>
                  <a:pt x="2007" y="238"/>
                </a:lnTo>
                <a:lnTo>
                  <a:pt x="2007" y="238"/>
                </a:lnTo>
                <a:lnTo>
                  <a:pt x="2007" y="243"/>
                </a:lnTo>
                <a:lnTo>
                  <a:pt x="2007" y="243"/>
                </a:lnTo>
                <a:lnTo>
                  <a:pt x="2009" y="238"/>
                </a:lnTo>
                <a:lnTo>
                  <a:pt x="2009" y="238"/>
                </a:lnTo>
                <a:lnTo>
                  <a:pt x="2014" y="238"/>
                </a:lnTo>
                <a:lnTo>
                  <a:pt x="2014" y="238"/>
                </a:lnTo>
                <a:lnTo>
                  <a:pt x="2019" y="243"/>
                </a:lnTo>
                <a:lnTo>
                  <a:pt x="2019" y="243"/>
                </a:lnTo>
                <a:lnTo>
                  <a:pt x="2017" y="246"/>
                </a:lnTo>
                <a:lnTo>
                  <a:pt x="2017" y="246"/>
                </a:lnTo>
                <a:lnTo>
                  <a:pt x="2019" y="248"/>
                </a:lnTo>
                <a:lnTo>
                  <a:pt x="2019" y="248"/>
                </a:lnTo>
                <a:lnTo>
                  <a:pt x="2017" y="250"/>
                </a:lnTo>
                <a:lnTo>
                  <a:pt x="2017" y="250"/>
                </a:lnTo>
                <a:lnTo>
                  <a:pt x="2019" y="253"/>
                </a:lnTo>
                <a:lnTo>
                  <a:pt x="2019" y="253"/>
                </a:lnTo>
                <a:lnTo>
                  <a:pt x="2019" y="258"/>
                </a:lnTo>
                <a:lnTo>
                  <a:pt x="2019" y="258"/>
                </a:lnTo>
                <a:lnTo>
                  <a:pt x="2017" y="258"/>
                </a:lnTo>
                <a:lnTo>
                  <a:pt x="2017" y="258"/>
                </a:lnTo>
                <a:lnTo>
                  <a:pt x="2014" y="260"/>
                </a:lnTo>
                <a:lnTo>
                  <a:pt x="2014" y="260"/>
                </a:lnTo>
                <a:lnTo>
                  <a:pt x="2017" y="263"/>
                </a:lnTo>
                <a:lnTo>
                  <a:pt x="2017" y="263"/>
                </a:lnTo>
                <a:lnTo>
                  <a:pt x="2017" y="260"/>
                </a:lnTo>
                <a:lnTo>
                  <a:pt x="2017" y="260"/>
                </a:lnTo>
                <a:lnTo>
                  <a:pt x="2019" y="260"/>
                </a:lnTo>
                <a:lnTo>
                  <a:pt x="2019" y="260"/>
                </a:lnTo>
                <a:lnTo>
                  <a:pt x="2022" y="260"/>
                </a:lnTo>
                <a:lnTo>
                  <a:pt x="2022" y="260"/>
                </a:lnTo>
                <a:lnTo>
                  <a:pt x="2022" y="265"/>
                </a:lnTo>
                <a:lnTo>
                  <a:pt x="2022" y="265"/>
                </a:lnTo>
                <a:lnTo>
                  <a:pt x="2024" y="265"/>
                </a:lnTo>
                <a:lnTo>
                  <a:pt x="2024" y="265"/>
                </a:lnTo>
                <a:lnTo>
                  <a:pt x="2027" y="268"/>
                </a:lnTo>
                <a:lnTo>
                  <a:pt x="2027" y="268"/>
                </a:lnTo>
                <a:lnTo>
                  <a:pt x="2027" y="265"/>
                </a:lnTo>
                <a:lnTo>
                  <a:pt x="2027" y="265"/>
                </a:lnTo>
                <a:lnTo>
                  <a:pt x="2027" y="263"/>
                </a:lnTo>
                <a:lnTo>
                  <a:pt x="2027" y="263"/>
                </a:lnTo>
                <a:lnTo>
                  <a:pt x="2029" y="263"/>
                </a:lnTo>
                <a:lnTo>
                  <a:pt x="2029" y="263"/>
                </a:lnTo>
                <a:lnTo>
                  <a:pt x="2034" y="265"/>
                </a:lnTo>
                <a:lnTo>
                  <a:pt x="2034" y="265"/>
                </a:lnTo>
                <a:lnTo>
                  <a:pt x="2034" y="268"/>
                </a:lnTo>
                <a:lnTo>
                  <a:pt x="2034" y="268"/>
                </a:lnTo>
                <a:lnTo>
                  <a:pt x="2032" y="270"/>
                </a:lnTo>
                <a:lnTo>
                  <a:pt x="2032" y="270"/>
                </a:lnTo>
                <a:lnTo>
                  <a:pt x="2029" y="268"/>
                </a:lnTo>
                <a:lnTo>
                  <a:pt x="2029" y="268"/>
                </a:lnTo>
                <a:lnTo>
                  <a:pt x="2027" y="270"/>
                </a:lnTo>
                <a:lnTo>
                  <a:pt x="2027" y="270"/>
                </a:lnTo>
                <a:lnTo>
                  <a:pt x="2029" y="273"/>
                </a:lnTo>
                <a:lnTo>
                  <a:pt x="2029" y="273"/>
                </a:lnTo>
                <a:lnTo>
                  <a:pt x="2032" y="273"/>
                </a:lnTo>
                <a:lnTo>
                  <a:pt x="2032" y="273"/>
                </a:lnTo>
                <a:lnTo>
                  <a:pt x="2034" y="275"/>
                </a:lnTo>
                <a:lnTo>
                  <a:pt x="2034" y="275"/>
                </a:lnTo>
                <a:lnTo>
                  <a:pt x="2034" y="277"/>
                </a:lnTo>
                <a:lnTo>
                  <a:pt x="2034" y="277"/>
                </a:lnTo>
                <a:lnTo>
                  <a:pt x="2029" y="280"/>
                </a:lnTo>
                <a:lnTo>
                  <a:pt x="2029" y="280"/>
                </a:lnTo>
                <a:lnTo>
                  <a:pt x="2027" y="275"/>
                </a:lnTo>
                <a:lnTo>
                  <a:pt x="2027" y="275"/>
                </a:lnTo>
                <a:lnTo>
                  <a:pt x="2024" y="275"/>
                </a:lnTo>
                <a:lnTo>
                  <a:pt x="2024" y="275"/>
                </a:lnTo>
                <a:lnTo>
                  <a:pt x="2027" y="280"/>
                </a:lnTo>
                <a:lnTo>
                  <a:pt x="2027" y="280"/>
                </a:lnTo>
                <a:lnTo>
                  <a:pt x="2024" y="282"/>
                </a:lnTo>
                <a:lnTo>
                  <a:pt x="2024" y="282"/>
                </a:lnTo>
                <a:lnTo>
                  <a:pt x="2024" y="282"/>
                </a:lnTo>
                <a:lnTo>
                  <a:pt x="2022" y="280"/>
                </a:lnTo>
                <a:lnTo>
                  <a:pt x="2022" y="280"/>
                </a:lnTo>
                <a:lnTo>
                  <a:pt x="2019" y="280"/>
                </a:lnTo>
                <a:lnTo>
                  <a:pt x="2019" y="280"/>
                </a:lnTo>
                <a:lnTo>
                  <a:pt x="2017" y="280"/>
                </a:lnTo>
                <a:lnTo>
                  <a:pt x="2017" y="280"/>
                </a:lnTo>
                <a:lnTo>
                  <a:pt x="2012" y="280"/>
                </a:lnTo>
                <a:lnTo>
                  <a:pt x="2012" y="280"/>
                </a:lnTo>
                <a:lnTo>
                  <a:pt x="2007" y="280"/>
                </a:lnTo>
                <a:lnTo>
                  <a:pt x="2007" y="280"/>
                </a:lnTo>
                <a:lnTo>
                  <a:pt x="2005" y="280"/>
                </a:lnTo>
                <a:lnTo>
                  <a:pt x="2005" y="280"/>
                </a:lnTo>
                <a:lnTo>
                  <a:pt x="2007" y="277"/>
                </a:lnTo>
                <a:lnTo>
                  <a:pt x="2007" y="277"/>
                </a:lnTo>
                <a:lnTo>
                  <a:pt x="2005" y="277"/>
                </a:lnTo>
                <a:lnTo>
                  <a:pt x="2005" y="277"/>
                </a:lnTo>
                <a:lnTo>
                  <a:pt x="2002" y="275"/>
                </a:lnTo>
                <a:lnTo>
                  <a:pt x="2002" y="275"/>
                </a:lnTo>
                <a:lnTo>
                  <a:pt x="2002" y="280"/>
                </a:lnTo>
                <a:lnTo>
                  <a:pt x="2002" y="280"/>
                </a:lnTo>
                <a:lnTo>
                  <a:pt x="2002" y="280"/>
                </a:lnTo>
                <a:lnTo>
                  <a:pt x="2000" y="280"/>
                </a:lnTo>
                <a:lnTo>
                  <a:pt x="2000" y="280"/>
                </a:lnTo>
                <a:lnTo>
                  <a:pt x="2002" y="282"/>
                </a:lnTo>
                <a:lnTo>
                  <a:pt x="2002" y="282"/>
                </a:lnTo>
                <a:lnTo>
                  <a:pt x="2000" y="287"/>
                </a:lnTo>
                <a:lnTo>
                  <a:pt x="2000" y="287"/>
                </a:lnTo>
                <a:lnTo>
                  <a:pt x="2000" y="287"/>
                </a:lnTo>
                <a:lnTo>
                  <a:pt x="2000" y="285"/>
                </a:lnTo>
                <a:lnTo>
                  <a:pt x="2000" y="285"/>
                </a:lnTo>
                <a:lnTo>
                  <a:pt x="1997" y="285"/>
                </a:lnTo>
                <a:lnTo>
                  <a:pt x="1997" y="285"/>
                </a:lnTo>
                <a:lnTo>
                  <a:pt x="1992" y="285"/>
                </a:lnTo>
                <a:lnTo>
                  <a:pt x="1992" y="285"/>
                </a:lnTo>
                <a:lnTo>
                  <a:pt x="1990" y="285"/>
                </a:lnTo>
                <a:lnTo>
                  <a:pt x="1990" y="285"/>
                </a:lnTo>
                <a:lnTo>
                  <a:pt x="1990" y="282"/>
                </a:lnTo>
                <a:lnTo>
                  <a:pt x="1990" y="282"/>
                </a:lnTo>
                <a:lnTo>
                  <a:pt x="1987" y="280"/>
                </a:lnTo>
                <a:lnTo>
                  <a:pt x="1987" y="280"/>
                </a:lnTo>
                <a:lnTo>
                  <a:pt x="1987" y="277"/>
                </a:lnTo>
                <a:lnTo>
                  <a:pt x="1987" y="277"/>
                </a:lnTo>
                <a:lnTo>
                  <a:pt x="1980" y="273"/>
                </a:lnTo>
                <a:lnTo>
                  <a:pt x="1980" y="273"/>
                </a:lnTo>
                <a:lnTo>
                  <a:pt x="1980" y="273"/>
                </a:lnTo>
                <a:lnTo>
                  <a:pt x="1980" y="270"/>
                </a:lnTo>
                <a:lnTo>
                  <a:pt x="1980" y="270"/>
                </a:lnTo>
                <a:lnTo>
                  <a:pt x="1975" y="268"/>
                </a:lnTo>
                <a:lnTo>
                  <a:pt x="1975" y="268"/>
                </a:lnTo>
                <a:lnTo>
                  <a:pt x="1973" y="273"/>
                </a:lnTo>
                <a:lnTo>
                  <a:pt x="1973" y="273"/>
                </a:lnTo>
                <a:lnTo>
                  <a:pt x="1968" y="273"/>
                </a:lnTo>
                <a:lnTo>
                  <a:pt x="1968" y="273"/>
                </a:lnTo>
                <a:lnTo>
                  <a:pt x="1965" y="275"/>
                </a:lnTo>
                <a:lnTo>
                  <a:pt x="1965" y="275"/>
                </a:lnTo>
                <a:lnTo>
                  <a:pt x="1965" y="277"/>
                </a:lnTo>
                <a:lnTo>
                  <a:pt x="1965" y="277"/>
                </a:lnTo>
                <a:lnTo>
                  <a:pt x="1963" y="273"/>
                </a:lnTo>
                <a:lnTo>
                  <a:pt x="1963" y="273"/>
                </a:lnTo>
                <a:lnTo>
                  <a:pt x="1963" y="270"/>
                </a:lnTo>
                <a:lnTo>
                  <a:pt x="1963" y="270"/>
                </a:lnTo>
                <a:lnTo>
                  <a:pt x="1963" y="273"/>
                </a:lnTo>
                <a:lnTo>
                  <a:pt x="1963" y="273"/>
                </a:lnTo>
                <a:lnTo>
                  <a:pt x="1963" y="277"/>
                </a:lnTo>
                <a:lnTo>
                  <a:pt x="1963" y="277"/>
                </a:lnTo>
                <a:lnTo>
                  <a:pt x="1963" y="282"/>
                </a:lnTo>
                <a:lnTo>
                  <a:pt x="1963" y="282"/>
                </a:lnTo>
                <a:lnTo>
                  <a:pt x="1963" y="285"/>
                </a:lnTo>
                <a:lnTo>
                  <a:pt x="1963" y="285"/>
                </a:lnTo>
                <a:lnTo>
                  <a:pt x="1958" y="295"/>
                </a:lnTo>
                <a:lnTo>
                  <a:pt x="1958" y="295"/>
                </a:lnTo>
                <a:lnTo>
                  <a:pt x="1953" y="292"/>
                </a:lnTo>
                <a:lnTo>
                  <a:pt x="1953" y="292"/>
                </a:lnTo>
                <a:lnTo>
                  <a:pt x="1953" y="287"/>
                </a:lnTo>
                <a:lnTo>
                  <a:pt x="1953" y="287"/>
                </a:lnTo>
                <a:lnTo>
                  <a:pt x="1950" y="287"/>
                </a:lnTo>
                <a:lnTo>
                  <a:pt x="1950" y="287"/>
                </a:lnTo>
                <a:lnTo>
                  <a:pt x="1948" y="287"/>
                </a:lnTo>
                <a:lnTo>
                  <a:pt x="1948" y="287"/>
                </a:lnTo>
                <a:lnTo>
                  <a:pt x="1941" y="282"/>
                </a:lnTo>
                <a:lnTo>
                  <a:pt x="1941" y="282"/>
                </a:lnTo>
                <a:lnTo>
                  <a:pt x="1941" y="280"/>
                </a:lnTo>
                <a:lnTo>
                  <a:pt x="1941" y="280"/>
                </a:lnTo>
                <a:lnTo>
                  <a:pt x="1941" y="273"/>
                </a:lnTo>
                <a:lnTo>
                  <a:pt x="1941" y="273"/>
                </a:lnTo>
                <a:lnTo>
                  <a:pt x="1936" y="273"/>
                </a:lnTo>
                <a:lnTo>
                  <a:pt x="1936" y="273"/>
                </a:lnTo>
                <a:lnTo>
                  <a:pt x="1936" y="270"/>
                </a:lnTo>
                <a:lnTo>
                  <a:pt x="1936" y="270"/>
                </a:lnTo>
                <a:lnTo>
                  <a:pt x="1933" y="268"/>
                </a:lnTo>
                <a:lnTo>
                  <a:pt x="1933" y="268"/>
                </a:lnTo>
                <a:lnTo>
                  <a:pt x="1933" y="270"/>
                </a:lnTo>
                <a:lnTo>
                  <a:pt x="1933" y="270"/>
                </a:lnTo>
                <a:lnTo>
                  <a:pt x="1933" y="273"/>
                </a:lnTo>
                <a:lnTo>
                  <a:pt x="1933" y="273"/>
                </a:lnTo>
                <a:lnTo>
                  <a:pt x="1933" y="275"/>
                </a:lnTo>
                <a:lnTo>
                  <a:pt x="1933" y="275"/>
                </a:lnTo>
                <a:lnTo>
                  <a:pt x="1936" y="275"/>
                </a:lnTo>
                <a:lnTo>
                  <a:pt x="1936" y="275"/>
                </a:lnTo>
                <a:lnTo>
                  <a:pt x="1933" y="277"/>
                </a:lnTo>
                <a:lnTo>
                  <a:pt x="1933" y="277"/>
                </a:lnTo>
                <a:lnTo>
                  <a:pt x="1928" y="275"/>
                </a:lnTo>
                <a:lnTo>
                  <a:pt x="1928" y="275"/>
                </a:lnTo>
                <a:lnTo>
                  <a:pt x="1926" y="273"/>
                </a:lnTo>
                <a:lnTo>
                  <a:pt x="1926" y="273"/>
                </a:lnTo>
                <a:lnTo>
                  <a:pt x="1926" y="273"/>
                </a:lnTo>
                <a:lnTo>
                  <a:pt x="1926" y="275"/>
                </a:lnTo>
                <a:lnTo>
                  <a:pt x="1926" y="275"/>
                </a:lnTo>
                <a:lnTo>
                  <a:pt x="1926" y="277"/>
                </a:lnTo>
                <a:lnTo>
                  <a:pt x="1926" y="277"/>
                </a:lnTo>
                <a:lnTo>
                  <a:pt x="1926" y="277"/>
                </a:lnTo>
                <a:lnTo>
                  <a:pt x="1931" y="277"/>
                </a:lnTo>
                <a:lnTo>
                  <a:pt x="1931" y="277"/>
                </a:lnTo>
                <a:lnTo>
                  <a:pt x="1933" y="280"/>
                </a:lnTo>
                <a:lnTo>
                  <a:pt x="1933" y="280"/>
                </a:lnTo>
                <a:lnTo>
                  <a:pt x="1931" y="285"/>
                </a:lnTo>
                <a:lnTo>
                  <a:pt x="1931" y="285"/>
                </a:lnTo>
                <a:lnTo>
                  <a:pt x="1926" y="285"/>
                </a:lnTo>
                <a:lnTo>
                  <a:pt x="1926" y="285"/>
                </a:lnTo>
                <a:lnTo>
                  <a:pt x="1926" y="287"/>
                </a:lnTo>
                <a:lnTo>
                  <a:pt x="1926" y="287"/>
                </a:lnTo>
                <a:lnTo>
                  <a:pt x="1928" y="287"/>
                </a:lnTo>
                <a:lnTo>
                  <a:pt x="1928" y="287"/>
                </a:lnTo>
                <a:lnTo>
                  <a:pt x="1936" y="297"/>
                </a:lnTo>
                <a:lnTo>
                  <a:pt x="1936" y="297"/>
                </a:lnTo>
                <a:lnTo>
                  <a:pt x="1943" y="300"/>
                </a:lnTo>
                <a:lnTo>
                  <a:pt x="1943" y="300"/>
                </a:lnTo>
                <a:lnTo>
                  <a:pt x="1946" y="297"/>
                </a:lnTo>
                <a:lnTo>
                  <a:pt x="1946" y="297"/>
                </a:lnTo>
                <a:lnTo>
                  <a:pt x="1950" y="300"/>
                </a:lnTo>
                <a:lnTo>
                  <a:pt x="1950" y="300"/>
                </a:lnTo>
                <a:lnTo>
                  <a:pt x="1950" y="305"/>
                </a:lnTo>
                <a:lnTo>
                  <a:pt x="1950" y="305"/>
                </a:lnTo>
                <a:lnTo>
                  <a:pt x="1950" y="305"/>
                </a:lnTo>
                <a:lnTo>
                  <a:pt x="1948" y="300"/>
                </a:lnTo>
                <a:lnTo>
                  <a:pt x="1948" y="300"/>
                </a:lnTo>
                <a:lnTo>
                  <a:pt x="1946" y="300"/>
                </a:lnTo>
                <a:lnTo>
                  <a:pt x="1946" y="300"/>
                </a:lnTo>
                <a:lnTo>
                  <a:pt x="1948" y="305"/>
                </a:lnTo>
                <a:lnTo>
                  <a:pt x="1948" y="305"/>
                </a:lnTo>
                <a:lnTo>
                  <a:pt x="1953" y="309"/>
                </a:lnTo>
                <a:lnTo>
                  <a:pt x="1953" y="309"/>
                </a:lnTo>
                <a:lnTo>
                  <a:pt x="1953" y="312"/>
                </a:lnTo>
                <a:lnTo>
                  <a:pt x="1953" y="312"/>
                </a:lnTo>
                <a:lnTo>
                  <a:pt x="1958" y="317"/>
                </a:lnTo>
                <a:lnTo>
                  <a:pt x="1958" y="317"/>
                </a:lnTo>
                <a:lnTo>
                  <a:pt x="1958" y="322"/>
                </a:lnTo>
                <a:lnTo>
                  <a:pt x="1958" y="322"/>
                </a:lnTo>
                <a:lnTo>
                  <a:pt x="1955" y="332"/>
                </a:lnTo>
                <a:lnTo>
                  <a:pt x="1955" y="332"/>
                </a:lnTo>
                <a:lnTo>
                  <a:pt x="1955" y="339"/>
                </a:lnTo>
                <a:lnTo>
                  <a:pt x="1955" y="339"/>
                </a:lnTo>
                <a:lnTo>
                  <a:pt x="1955" y="344"/>
                </a:lnTo>
                <a:lnTo>
                  <a:pt x="1955" y="344"/>
                </a:lnTo>
                <a:lnTo>
                  <a:pt x="1958" y="344"/>
                </a:lnTo>
                <a:lnTo>
                  <a:pt x="1958" y="344"/>
                </a:lnTo>
                <a:lnTo>
                  <a:pt x="1953" y="351"/>
                </a:lnTo>
                <a:lnTo>
                  <a:pt x="1953" y="351"/>
                </a:lnTo>
                <a:lnTo>
                  <a:pt x="1953" y="354"/>
                </a:lnTo>
                <a:lnTo>
                  <a:pt x="1953" y="354"/>
                </a:lnTo>
                <a:lnTo>
                  <a:pt x="1950" y="356"/>
                </a:lnTo>
                <a:lnTo>
                  <a:pt x="1950" y="356"/>
                </a:lnTo>
                <a:lnTo>
                  <a:pt x="1950" y="354"/>
                </a:lnTo>
                <a:lnTo>
                  <a:pt x="1950" y="354"/>
                </a:lnTo>
                <a:lnTo>
                  <a:pt x="1950" y="351"/>
                </a:lnTo>
                <a:lnTo>
                  <a:pt x="1950" y="351"/>
                </a:lnTo>
                <a:lnTo>
                  <a:pt x="1943" y="359"/>
                </a:lnTo>
                <a:lnTo>
                  <a:pt x="1943" y="359"/>
                </a:lnTo>
                <a:lnTo>
                  <a:pt x="1941" y="356"/>
                </a:lnTo>
                <a:lnTo>
                  <a:pt x="1941" y="356"/>
                </a:lnTo>
                <a:lnTo>
                  <a:pt x="1938" y="359"/>
                </a:lnTo>
                <a:lnTo>
                  <a:pt x="1938" y="359"/>
                </a:lnTo>
                <a:lnTo>
                  <a:pt x="1936" y="356"/>
                </a:lnTo>
                <a:lnTo>
                  <a:pt x="1936" y="356"/>
                </a:lnTo>
                <a:lnTo>
                  <a:pt x="1933" y="354"/>
                </a:lnTo>
                <a:lnTo>
                  <a:pt x="1933" y="354"/>
                </a:lnTo>
                <a:lnTo>
                  <a:pt x="1931" y="354"/>
                </a:lnTo>
                <a:lnTo>
                  <a:pt x="1931" y="354"/>
                </a:lnTo>
                <a:lnTo>
                  <a:pt x="1926" y="349"/>
                </a:lnTo>
                <a:lnTo>
                  <a:pt x="1926" y="349"/>
                </a:lnTo>
                <a:lnTo>
                  <a:pt x="1923" y="346"/>
                </a:lnTo>
                <a:lnTo>
                  <a:pt x="1923" y="346"/>
                </a:lnTo>
                <a:lnTo>
                  <a:pt x="1918" y="346"/>
                </a:lnTo>
                <a:lnTo>
                  <a:pt x="1918" y="346"/>
                </a:lnTo>
                <a:lnTo>
                  <a:pt x="1916" y="344"/>
                </a:lnTo>
                <a:lnTo>
                  <a:pt x="1916" y="344"/>
                </a:lnTo>
                <a:lnTo>
                  <a:pt x="1914" y="346"/>
                </a:lnTo>
                <a:lnTo>
                  <a:pt x="1914" y="346"/>
                </a:lnTo>
                <a:lnTo>
                  <a:pt x="1911" y="349"/>
                </a:lnTo>
                <a:lnTo>
                  <a:pt x="1911" y="349"/>
                </a:lnTo>
                <a:lnTo>
                  <a:pt x="1909" y="349"/>
                </a:lnTo>
                <a:lnTo>
                  <a:pt x="1909" y="349"/>
                </a:lnTo>
                <a:lnTo>
                  <a:pt x="1911" y="351"/>
                </a:lnTo>
                <a:lnTo>
                  <a:pt x="1911" y="351"/>
                </a:lnTo>
                <a:lnTo>
                  <a:pt x="1916" y="351"/>
                </a:lnTo>
                <a:lnTo>
                  <a:pt x="1916" y="351"/>
                </a:lnTo>
                <a:lnTo>
                  <a:pt x="1916" y="346"/>
                </a:lnTo>
                <a:lnTo>
                  <a:pt x="1916" y="346"/>
                </a:lnTo>
                <a:lnTo>
                  <a:pt x="1926" y="351"/>
                </a:lnTo>
                <a:lnTo>
                  <a:pt x="1926" y="351"/>
                </a:lnTo>
                <a:lnTo>
                  <a:pt x="1926" y="354"/>
                </a:lnTo>
                <a:lnTo>
                  <a:pt x="1926" y="354"/>
                </a:lnTo>
                <a:lnTo>
                  <a:pt x="1923" y="356"/>
                </a:lnTo>
                <a:lnTo>
                  <a:pt x="1923" y="356"/>
                </a:lnTo>
                <a:lnTo>
                  <a:pt x="1921" y="354"/>
                </a:lnTo>
                <a:lnTo>
                  <a:pt x="1921" y="354"/>
                </a:lnTo>
                <a:lnTo>
                  <a:pt x="1916" y="354"/>
                </a:lnTo>
                <a:lnTo>
                  <a:pt x="1916" y="354"/>
                </a:lnTo>
                <a:lnTo>
                  <a:pt x="1916" y="359"/>
                </a:lnTo>
                <a:lnTo>
                  <a:pt x="1916" y="359"/>
                </a:lnTo>
                <a:lnTo>
                  <a:pt x="1914" y="354"/>
                </a:lnTo>
                <a:lnTo>
                  <a:pt x="1914" y="354"/>
                </a:lnTo>
                <a:lnTo>
                  <a:pt x="1911" y="356"/>
                </a:lnTo>
                <a:lnTo>
                  <a:pt x="1911" y="356"/>
                </a:lnTo>
                <a:lnTo>
                  <a:pt x="1911" y="356"/>
                </a:lnTo>
                <a:lnTo>
                  <a:pt x="1914" y="359"/>
                </a:lnTo>
                <a:lnTo>
                  <a:pt x="1914" y="359"/>
                </a:lnTo>
                <a:lnTo>
                  <a:pt x="1918" y="361"/>
                </a:lnTo>
                <a:lnTo>
                  <a:pt x="1918" y="361"/>
                </a:lnTo>
                <a:lnTo>
                  <a:pt x="1916" y="366"/>
                </a:lnTo>
                <a:lnTo>
                  <a:pt x="1916" y="366"/>
                </a:lnTo>
                <a:lnTo>
                  <a:pt x="1918" y="371"/>
                </a:lnTo>
                <a:lnTo>
                  <a:pt x="1918" y="371"/>
                </a:lnTo>
                <a:lnTo>
                  <a:pt x="1921" y="373"/>
                </a:lnTo>
                <a:lnTo>
                  <a:pt x="1921" y="373"/>
                </a:lnTo>
                <a:lnTo>
                  <a:pt x="1921" y="371"/>
                </a:lnTo>
                <a:lnTo>
                  <a:pt x="1921" y="371"/>
                </a:lnTo>
                <a:lnTo>
                  <a:pt x="1921" y="366"/>
                </a:lnTo>
                <a:lnTo>
                  <a:pt x="1921" y="366"/>
                </a:lnTo>
                <a:lnTo>
                  <a:pt x="1923" y="364"/>
                </a:lnTo>
                <a:lnTo>
                  <a:pt x="1923" y="364"/>
                </a:lnTo>
                <a:lnTo>
                  <a:pt x="1926" y="364"/>
                </a:lnTo>
                <a:lnTo>
                  <a:pt x="1926" y="364"/>
                </a:lnTo>
                <a:lnTo>
                  <a:pt x="1926" y="364"/>
                </a:lnTo>
                <a:lnTo>
                  <a:pt x="1931" y="359"/>
                </a:lnTo>
                <a:lnTo>
                  <a:pt x="1931" y="359"/>
                </a:lnTo>
                <a:lnTo>
                  <a:pt x="1933" y="359"/>
                </a:lnTo>
                <a:lnTo>
                  <a:pt x="1933" y="359"/>
                </a:lnTo>
                <a:lnTo>
                  <a:pt x="1936" y="359"/>
                </a:lnTo>
                <a:lnTo>
                  <a:pt x="1936" y="359"/>
                </a:lnTo>
                <a:lnTo>
                  <a:pt x="1936" y="361"/>
                </a:lnTo>
                <a:lnTo>
                  <a:pt x="1936" y="361"/>
                </a:lnTo>
                <a:lnTo>
                  <a:pt x="1938" y="366"/>
                </a:lnTo>
                <a:lnTo>
                  <a:pt x="1938" y="366"/>
                </a:lnTo>
                <a:lnTo>
                  <a:pt x="1943" y="368"/>
                </a:lnTo>
                <a:lnTo>
                  <a:pt x="1943" y="368"/>
                </a:lnTo>
                <a:lnTo>
                  <a:pt x="1946" y="371"/>
                </a:lnTo>
                <a:lnTo>
                  <a:pt x="1946" y="371"/>
                </a:lnTo>
                <a:lnTo>
                  <a:pt x="1950" y="371"/>
                </a:lnTo>
                <a:lnTo>
                  <a:pt x="1950" y="371"/>
                </a:lnTo>
                <a:lnTo>
                  <a:pt x="1953" y="368"/>
                </a:lnTo>
                <a:lnTo>
                  <a:pt x="1953" y="368"/>
                </a:lnTo>
                <a:lnTo>
                  <a:pt x="1950" y="366"/>
                </a:lnTo>
                <a:lnTo>
                  <a:pt x="1950" y="366"/>
                </a:lnTo>
                <a:lnTo>
                  <a:pt x="1953" y="366"/>
                </a:lnTo>
                <a:lnTo>
                  <a:pt x="1953" y="366"/>
                </a:lnTo>
                <a:lnTo>
                  <a:pt x="1960" y="373"/>
                </a:lnTo>
                <a:lnTo>
                  <a:pt x="1960" y="373"/>
                </a:lnTo>
                <a:lnTo>
                  <a:pt x="1963" y="376"/>
                </a:lnTo>
                <a:lnTo>
                  <a:pt x="1963" y="376"/>
                </a:lnTo>
                <a:lnTo>
                  <a:pt x="1958" y="376"/>
                </a:lnTo>
                <a:lnTo>
                  <a:pt x="1958" y="376"/>
                </a:lnTo>
                <a:lnTo>
                  <a:pt x="1958" y="378"/>
                </a:lnTo>
                <a:lnTo>
                  <a:pt x="1958" y="378"/>
                </a:lnTo>
                <a:lnTo>
                  <a:pt x="1965" y="383"/>
                </a:lnTo>
                <a:lnTo>
                  <a:pt x="1965" y="383"/>
                </a:lnTo>
                <a:lnTo>
                  <a:pt x="1965" y="383"/>
                </a:lnTo>
                <a:lnTo>
                  <a:pt x="1965" y="383"/>
                </a:lnTo>
                <a:lnTo>
                  <a:pt x="1965" y="378"/>
                </a:lnTo>
                <a:lnTo>
                  <a:pt x="1965" y="378"/>
                </a:lnTo>
                <a:lnTo>
                  <a:pt x="1970" y="381"/>
                </a:lnTo>
                <a:lnTo>
                  <a:pt x="1970" y="381"/>
                </a:lnTo>
                <a:lnTo>
                  <a:pt x="1978" y="391"/>
                </a:lnTo>
                <a:lnTo>
                  <a:pt x="1978" y="391"/>
                </a:lnTo>
                <a:lnTo>
                  <a:pt x="1975" y="388"/>
                </a:lnTo>
                <a:lnTo>
                  <a:pt x="1975" y="388"/>
                </a:lnTo>
                <a:lnTo>
                  <a:pt x="1973" y="388"/>
                </a:lnTo>
                <a:lnTo>
                  <a:pt x="1973" y="388"/>
                </a:lnTo>
                <a:lnTo>
                  <a:pt x="1973" y="391"/>
                </a:lnTo>
                <a:lnTo>
                  <a:pt x="1973" y="391"/>
                </a:lnTo>
                <a:lnTo>
                  <a:pt x="1975" y="393"/>
                </a:lnTo>
                <a:lnTo>
                  <a:pt x="1975" y="393"/>
                </a:lnTo>
                <a:lnTo>
                  <a:pt x="1970" y="396"/>
                </a:lnTo>
                <a:lnTo>
                  <a:pt x="1970" y="396"/>
                </a:lnTo>
                <a:lnTo>
                  <a:pt x="1970" y="398"/>
                </a:lnTo>
                <a:lnTo>
                  <a:pt x="1970" y="398"/>
                </a:lnTo>
                <a:lnTo>
                  <a:pt x="1973" y="400"/>
                </a:lnTo>
                <a:lnTo>
                  <a:pt x="1973" y="400"/>
                </a:lnTo>
                <a:lnTo>
                  <a:pt x="1975" y="400"/>
                </a:lnTo>
                <a:lnTo>
                  <a:pt x="1975" y="400"/>
                </a:lnTo>
                <a:lnTo>
                  <a:pt x="1975" y="396"/>
                </a:lnTo>
                <a:lnTo>
                  <a:pt x="1975" y="396"/>
                </a:lnTo>
                <a:lnTo>
                  <a:pt x="1978" y="396"/>
                </a:lnTo>
                <a:lnTo>
                  <a:pt x="1978" y="396"/>
                </a:lnTo>
                <a:lnTo>
                  <a:pt x="1980" y="396"/>
                </a:lnTo>
                <a:lnTo>
                  <a:pt x="1980" y="396"/>
                </a:lnTo>
                <a:lnTo>
                  <a:pt x="1980" y="393"/>
                </a:lnTo>
                <a:lnTo>
                  <a:pt x="1980" y="393"/>
                </a:lnTo>
                <a:lnTo>
                  <a:pt x="1982" y="398"/>
                </a:lnTo>
                <a:lnTo>
                  <a:pt x="1982" y="398"/>
                </a:lnTo>
                <a:lnTo>
                  <a:pt x="1990" y="403"/>
                </a:lnTo>
                <a:lnTo>
                  <a:pt x="1990" y="403"/>
                </a:lnTo>
                <a:lnTo>
                  <a:pt x="1997" y="403"/>
                </a:lnTo>
                <a:lnTo>
                  <a:pt x="1997" y="403"/>
                </a:lnTo>
                <a:lnTo>
                  <a:pt x="2000" y="408"/>
                </a:lnTo>
                <a:lnTo>
                  <a:pt x="2000" y="408"/>
                </a:lnTo>
                <a:lnTo>
                  <a:pt x="1997" y="410"/>
                </a:lnTo>
                <a:lnTo>
                  <a:pt x="1997" y="410"/>
                </a:lnTo>
                <a:lnTo>
                  <a:pt x="2002" y="415"/>
                </a:lnTo>
                <a:lnTo>
                  <a:pt x="2002" y="415"/>
                </a:lnTo>
                <a:lnTo>
                  <a:pt x="2005" y="415"/>
                </a:lnTo>
                <a:lnTo>
                  <a:pt x="2005" y="415"/>
                </a:lnTo>
                <a:lnTo>
                  <a:pt x="2009" y="423"/>
                </a:lnTo>
                <a:lnTo>
                  <a:pt x="2009" y="423"/>
                </a:lnTo>
                <a:lnTo>
                  <a:pt x="2009" y="432"/>
                </a:lnTo>
                <a:lnTo>
                  <a:pt x="2009" y="432"/>
                </a:lnTo>
                <a:lnTo>
                  <a:pt x="2007" y="432"/>
                </a:lnTo>
                <a:lnTo>
                  <a:pt x="2007" y="432"/>
                </a:lnTo>
                <a:lnTo>
                  <a:pt x="2007" y="435"/>
                </a:lnTo>
                <a:lnTo>
                  <a:pt x="2007" y="435"/>
                </a:lnTo>
                <a:lnTo>
                  <a:pt x="2012" y="435"/>
                </a:lnTo>
                <a:lnTo>
                  <a:pt x="2012" y="435"/>
                </a:lnTo>
                <a:lnTo>
                  <a:pt x="2012" y="440"/>
                </a:lnTo>
                <a:lnTo>
                  <a:pt x="2012" y="440"/>
                </a:lnTo>
                <a:lnTo>
                  <a:pt x="2012" y="440"/>
                </a:lnTo>
                <a:lnTo>
                  <a:pt x="2009" y="440"/>
                </a:lnTo>
                <a:lnTo>
                  <a:pt x="2009" y="440"/>
                </a:lnTo>
                <a:lnTo>
                  <a:pt x="1997" y="440"/>
                </a:lnTo>
                <a:lnTo>
                  <a:pt x="1997" y="440"/>
                </a:lnTo>
                <a:lnTo>
                  <a:pt x="1995" y="437"/>
                </a:lnTo>
                <a:lnTo>
                  <a:pt x="1995" y="437"/>
                </a:lnTo>
                <a:lnTo>
                  <a:pt x="1992" y="437"/>
                </a:lnTo>
                <a:lnTo>
                  <a:pt x="1992" y="437"/>
                </a:lnTo>
                <a:lnTo>
                  <a:pt x="1990" y="437"/>
                </a:lnTo>
                <a:lnTo>
                  <a:pt x="1990" y="437"/>
                </a:lnTo>
                <a:lnTo>
                  <a:pt x="1990" y="435"/>
                </a:lnTo>
                <a:lnTo>
                  <a:pt x="1990" y="435"/>
                </a:lnTo>
                <a:lnTo>
                  <a:pt x="1987" y="432"/>
                </a:lnTo>
                <a:lnTo>
                  <a:pt x="1987" y="432"/>
                </a:lnTo>
                <a:lnTo>
                  <a:pt x="1987" y="435"/>
                </a:lnTo>
                <a:lnTo>
                  <a:pt x="1987" y="435"/>
                </a:lnTo>
                <a:lnTo>
                  <a:pt x="1987" y="437"/>
                </a:lnTo>
                <a:lnTo>
                  <a:pt x="1987" y="437"/>
                </a:lnTo>
                <a:lnTo>
                  <a:pt x="1982" y="440"/>
                </a:lnTo>
                <a:lnTo>
                  <a:pt x="1982" y="440"/>
                </a:lnTo>
                <a:lnTo>
                  <a:pt x="1980" y="440"/>
                </a:lnTo>
                <a:lnTo>
                  <a:pt x="1980" y="440"/>
                </a:lnTo>
                <a:lnTo>
                  <a:pt x="1978" y="442"/>
                </a:lnTo>
                <a:lnTo>
                  <a:pt x="1978" y="442"/>
                </a:lnTo>
                <a:lnTo>
                  <a:pt x="1980" y="442"/>
                </a:lnTo>
                <a:lnTo>
                  <a:pt x="1980" y="442"/>
                </a:lnTo>
                <a:lnTo>
                  <a:pt x="1975" y="447"/>
                </a:lnTo>
                <a:lnTo>
                  <a:pt x="1975" y="447"/>
                </a:lnTo>
                <a:lnTo>
                  <a:pt x="1973" y="447"/>
                </a:lnTo>
                <a:lnTo>
                  <a:pt x="1973" y="447"/>
                </a:lnTo>
                <a:lnTo>
                  <a:pt x="1973" y="450"/>
                </a:lnTo>
                <a:lnTo>
                  <a:pt x="1973" y="450"/>
                </a:lnTo>
                <a:lnTo>
                  <a:pt x="1973" y="452"/>
                </a:lnTo>
                <a:lnTo>
                  <a:pt x="1973" y="452"/>
                </a:lnTo>
                <a:lnTo>
                  <a:pt x="1970" y="457"/>
                </a:lnTo>
                <a:lnTo>
                  <a:pt x="1970" y="457"/>
                </a:lnTo>
                <a:lnTo>
                  <a:pt x="1968" y="459"/>
                </a:lnTo>
                <a:lnTo>
                  <a:pt x="1968" y="459"/>
                </a:lnTo>
                <a:lnTo>
                  <a:pt x="1968" y="457"/>
                </a:lnTo>
                <a:lnTo>
                  <a:pt x="1968" y="457"/>
                </a:lnTo>
                <a:lnTo>
                  <a:pt x="1965" y="457"/>
                </a:lnTo>
                <a:lnTo>
                  <a:pt x="1965" y="457"/>
                </a:lnTo>
                <a:lnTo>
                  <a:pt x="1965" y="462"/>
                </a:lnTo>
                <a:lnTo>
                  <a:pt x="1965" y="462"/>
                </a:lnTo>
                <a:lnTo>
                  <a:pt x="1965" y="467"/>
                </a:lnTo>
                <a:lnTo>
                  <a:pt x="1965" y="467"/>
                </a:lnTo>
                <a:lnTo>
                  <a:pt x="1963" y="469"/>
                </a:lnTo>
                <a:lnTo>
                  <a:pt x="1963" y="469"/>
                </a:lnTo>
                <a:lnTo>
                  <a:pt x="1960" y="467"/>
                </a:lnTo>
                <a:lnTo>
                  <a:pt x="1960" y="467"/>
                </a:lnTo>
                <a:lnTo>
                  <a:pt x="1960" y="472"/>
                </a:lnTo>
                <a:lnTo>
                  <a:pt x="1960" y="472"/>
                </a:lnTo>
                <a:lnTo>
                  <a:pt x="1963" y="474"/>
                </a:lnTo>
                <a:lnTo>
                  <a:pt x="1963" y="474"/>
                </a:lnTo>
                <a:lnTo>
                  <a:pt x="1958" y="477"/>
                </a:lnTo>
                <a:lnTo>
                  <a:pt x="1958" y="477"/>
                </a:lnTo>
                <a:lnTo>
                  <a:pt x="1955" y="477"/>
                </a:lnTo>
                <a:lnTo>
                  <a:pt x="1955" y="477"/>
                </a:lnTo>
                <a:lnTo>
                  <a:pt x="1958" y="479"/>
                </a:lnTo>
                <a:lnTo>
                  <a:pt x="1958" y="479"/>
                </a:lnTo>
                <a:lnTo>
                  <a:pt x="1958" y="482"/>
                </a:lnTo>
                <a:lnTo>
                  <a:pt x="1958" y="482"/>
                </a:lnTo>
                <a:lnTo>
                  <a:pt x="1955" y="484"/>
                </a:lnTo>
                <a:lnTo>
                  <a:pt x="1955" y="484"/>
                </a:lnTo>
                <a:lnTo>
                  <a:pt x="1953" y="482"/>
                </a:lnTo>
                <a:lnTo>
                  <a:pt x="1953" y="482"/>
                </a:lnTo>
                <a:lnTo>
                  <a:pt x="1950" y="484"/>
                </a:lnTo>
                <a:lnTo>
                  <a:pt x="1950" y="484"/>
                </a:lnTo>
                <a:lnTo>
                  <a:pt x="1953" y="487"/>
                </a:lnTo>
                <a:lnTo>
                  <a:pt x="1953" y="487"/>
                </a:lnTo>
                <a:lnTo>
                  <a:pt x="1953" y="489"/>
                </a:lnTo>
                <a:lnTo>
                  <a:pt x="1953" y="489"/>
                </a:lnTo>
                <a:lnTo>
                  <a:pt x="1950" y="491"/>
                </a:lnTo>
                <a:lnTo>
                  <a:pt x="1950" y="491"/>
                </a:lnTo>
                <a:lnTo>
                  <a:pt x="1953" y="494"/>
                </a:lnTo>
                <a:lnTo>
                  <a:pt x="1953" y="494"/>
                </a:lnTo>
                <a:lnTo>
                  <a:pt x="1950" y="496"/>
                </a:lnTo>
                <a:lnTo>
                  <a:pt x="1950" y="496"/>
                </a:lnTo>
                <a:lnTo>
                  <a:pt x="1948" y="496"/>
                </a:lnTo>
                <a:lnTo>
                  <a:pt x="1948" y="496"/>
                </a:lnTo>
                <a:lnTo>
                  <a:pt x="1948" y="494"/>
                </a:lnTo>
                <a:lnTo>
                  <a:pt x="1948" y="494"/>
                </a:lnTo>
                <a:lnTo>
                  <a:pt x="1946" y="494"/>
                </a:lnTo>
                <a:lnTo>
                  <a:pt x="1946" y="494"/>
                </a:lnTo>
                <a:lnTo>
                  <a:pt x="1948" y="496"/>
                </a:lnTo>
                <a:lnTo>
                  <a:pt x="1948" y="496"/>
                </a:lnTo>
                <a:lnTo>
                  <a:pt x="1953" y="499"/>
                </a:lnTo>
                <a:lnTo>
                  <a:pt x="1953" y="499"/>
                </a:lnTo>
                <a:lnTo>
                  <a:pt x="1950" y="504"/>
                </a:lnTo>
                <a:lnTo>
                  <a:pt x="1950" y="504"/>
                </a:lnTo>
                <a:lnTo>
                  <a:pt x="1946" y="504"/>
                </a:lnTo>
                <a:lnTo>
                  <a:pt x="1946" y="504"/>
                </a:lnTo>
                <a:lnTo>
                  <a:pt x="1946" y="504"/>
                </a:lnTo>
                <a:lnTo>
                  <a:pt x="1948" y="506"/>
                </a:lnTo>
                <a:lnTo>
                  <a:pt x="1948" y="506"/>
                </a:lnTo>
                <a:lnTo>
                  <a:pt x="1950" y="511"/>
                </a:lnTo>
                <a:lnTo>
                  <a:pt x="1950" y="511"/>
                </a:lnTo>
                <a:lnTo>
                  <a:pt x="1948" y="514"/>
                </a:lnTo>
                <a:lnTo>
                  <a:pt x="1948" y="514"/>
                </a:lnTo>
                <a:lnTo>
                  <a:pt x="1950" y="514"/>
                </a:lnTo>
                <a:lnTo>
                  <a:pt x="1950" y="514"/>
                </a:lnTo>
                <a:lnTo>
                  <a:pt x="1946" y="519"/>
                </a:lnTo>
                <a:lnTo>
                  <a:pt x="1946" y="519"/>
                </a:lnTo>
                <a:lnTo>
                  <a:pt x="1948" y="521"/>
                </a:lnTo>
                <a:lnTo>
                  <a:pt x="1948" y="521"/>
                </a:lnTo>
                <a:lnTo>
                  <a:pt x="1946" y="528"/>
                </a:lnTo>
                <a:lnTo>
                  <a:pt x="1946" y="528"/>
                </a:lnTo>
                <a:lnTo>
                  <a:pt x="1943" y="533"/>
                </a:lnTo>
                <a:lnTo>
                  <a:pt x="1943" y="533"/>
                </a:lnTo>
                <a:lnTo>
                  <a:pt x="1943" y="538"/>
                </a:lnTo>
                <a:lnTo>
                  <a:pt x="1943" y="538"/>
                </a:lnTo>
                <a:lnTo>
                  <a:pt x="1941" y="541"/>
                </a:lnTo>
                <a:lnTo>
                  <a:pt x="1941" y="541"/>
                </a:lnTo>
                <a:lnTo>
                  <a:pt x="1943" y="541"/>
                </a:lnTo>
                <a:lnTo>
                  <a:pt x="1943" y="541"/>
                </a:lnTo>
                <a:lnTo>
                  <a:pt x="1946" y="543"/>
                </a:lnTo>
                <a:lnTo>
                  <a:pt x="1946" y="543"/>
                </a:lnTo>
                <a:lnTo>
                  <a:pt x="1943" y="543"/>
                </a:lnTo>
                <a:lnTo>
                  <a:pt x="1943" y="543"/>
                </a:lnTo>
                <a:lnTo>
                  <a:pt x="1948" y="550"/>
                </a:lnTo>
                <a:lnTo>
                  <a:pt x="1948" y="550"/>
                </a:lnTo>
                <a:lnTo>
                  <a:pt x="1948" y="553"/>
                </a:lnTo>
                <a:lnTo>
                  <a:pt x="1948" y="553"/>
                </a:lnTo>
                <a:lnTo>
                  <a:pt x="1946" y="553"/>
                </a:lnTo>
                <a:lnTo>
                  <a:pt x="1946" y="553"/>
                </a:lnTo>
                <a:lnTo>
                  <a:pt x="1943" y="553"/>
                </a:lnTo>
                <a:lnTo>
                  <a:pt x="1943" y="553"/>
                </a:lnTo>
                <a:lnTo>
                  <a:pt x="1938" y="550"/>
                </a:lnTo>
                <a:lnTo>
                  <a:pt x="1938" y="550"/>
                </a:lnTo>
                <a:lnTo>
                  <a:pt x="1938" y="550"/>
                </a:lnTo>
                <a:lnTo>
                  <a:pt x="1933" y="546"/>
                </a:lnTo>
                <a:lnTo>
                  <a:pt x="1933" y="546"/>
                </a:lnTo>
                <a:lnTo>
                  <a:pt x="1936" y="546"/>
                </a:lnTo>
                <a:lnTo>
                  <a:pt x="1936" y="546"/>
                </a:lnTo>
                <a:lnTo>
                  <a:pt x="1933" y="546"/>
                </a:lnTo>
                <a:lnTo>
                  <a:pt x="1933" y="546"/>
                </a:lnTo>
                <a:lnTo>
                  <a:pt x="1931" y="546"/>
                </a:lnTo>
                <a:lnTo>
                  <a:pt x="1931" y="546"/>
                </a:lnTo>
                <a:lnTo>
                  <a:pt x="1928" y="546"/>
                </a:lnTo>
                <a:lnTo>
                  <a:pt x="1928" y="546"/>
                </a:lnTo>
                <a:lnTo>
                  <a:pt x="1928" y="543"/>
                </a:lnTo>
                <a:lnTo>
                  <a:pt x="1928" y="543"/>
                </a:lnTo>
                <a:lnTo>
                  <a:pt x="1918" y="538"/>
                </a:lnTo>
                <a:lnTo>
                  <a:pt x="1918" y="538"/>
                </a:lnTo>
                <a:lnTo>
                  <a:pt x="1916" y="536"/>
                </a:lnTo>
                <a:lnTo>
                  <a:pt x="1916" y="536"/>
                </a:lnTo>
                <a:lnTo>
                  <a:pt x="1911" y="541"/>
                </a:lnTo>
                <a:lnTo>
                  <a:pt x="1911" y="541"/>
                </a:lnTo>
                <a:lnTo>
                  <a:pt x="1909" y="538"/>
                </a:lnTo>
                <a:lnTo>
                  <a:pt x="1909" y="538"/>
                </a:lnTo>
                <a:lnTo>
                  <a:pt x="1906" y="538"/>
                </a:lnTo>
                <a:lnTo>
                  <a:pt x="1906" y="538"/>
                </a:lnTo>
                <a:lnTo>
                  <a:pt x="1901" y="543"/>
                </a:lnTo>
                <a:lnTo>
                  <a:pt x="1901" y="543"/>
                </a:lnTo>
                <a:lnTo>
                  <a:pt x="1899" y="543"/>
                </a:lnTo>
                <a:lnTo>
                  <a:pt x="1899" y="543"/>
                </a:lnTo>
                <a:lnTo>
                  <a:pt x="1896" y="550"/>
                </a:lnTo>
                <a:lnTo>
                  <a:pt x="1896" y="550"/>
                </a:lnTo>
                <a:lnTo>
                  <a:pt x="1894" y="550"/>
                </a:lnTo>
                <a:lnTo>
                  <a:pt x="1894" y="550"/>
                </a:lnTo>
                <a:lnTo>
                  <a:pt x="1891" y="550"/>
                </a:lnTo>
                <a:lnTo>
                  <a:pt x="1891" y="550"/>
                </a:lnTo>
                <a:lnTo>
                  <a:pt x="1894" y="553"/>
                </a:lnTo>
                <a:lnTo>
                  <a:pt x="1894" y="553"/>
                </a:lnTo>
                <a:lnTo>
                  <a:pt x="1891" y="555"/>
                </a:lnTo>
                <a:lnTo>
                  <a:pt x="1891" y="555"/>
                </a:lnTo>
                <a:lnTo>
                  <a:pt x="1894" y="560"/>
                </a:lnTo>
                <a:lnTo>
                  <a:pt x="1894" y="560"/>
                </a:lnTo>
                <a:lnTo>
                  <a:pt x="1891" y="563"/>
                </a:lnTo>
                <a:lnTo>
                  <a:pt x="1891" y="563"/>
                </a:lnTo>
                <a:lnTo>
                  <a:pt x="1891" y="570"/>
                </a:lnTo>
                <a:lnTo>
                  <a:pt x="1891" y="570"/>
                </a:lnTo>
                <a:lnTo>
                  <a:pt x="1889" y="573"/>
                </a:lnTo>
                <a:lnTo>
                  <a:pt x="1889" y="573"/>
                </a:lnTo>
                <a:lnTo>
                  <a:pt x="1886" y="570"/>
                </a:lnTo>
                <a:lnTo>
                  <a:pt x="1886" y="570"/>
                </a:lnTo>
                <a:lnTo>
                  <a:pt x="1884" y="560"/>
                </a:lnTo>
                <a:lnTo>
                  <a:pt x="1884" y="560"/>
                </a:lnTo>
                <a:lnTo>
                  <a:pt x="1884" y="555"/>
                </a:lnTo>
                <a:lnTo>
                  <a:pt x="1884" y="555"/>
                </a:lnTo>
                <a:lnTo>
                  <a:pt x="1882" y="555"/>
                </a:lnTo>
                <a:lnTo>
                  <a:pt x="1882" y="555"/>
                </a:lnTo>
                <a:lnTo>
                  <a:pt x="1879" y="553"/>
                </a:lnTo>
                <a:lnTo>
                  <a:pt x="1879" y="553"/>
                </a:lnTo>
                <a:lnTo>
                  <a:pt x="1879" y="555"/>
                </a:lnTo>
                <a:lnTo>
                  <a:pt x="1879" y="555"/>
                </a:lnTo>
                <a:lnTo>
                  <a:pt x="1874" y="563"/>
                </a:lnTo>
                <a:lnTo>
                  <a:pt x="1874" y="563"/>
                </a:lnTo>
                <a:lnTo>
                  <a:pt x="1872" y="563"/>
                </a:lnTo>
                <a:lnTo>
                  <a:pt x="1872" y="563"/>
                </a:lnTo>
                <a:lnTo>
                  <a:pt x="1872" y="568"/>
                </a:lnTo>
                <a:lnTo>
                  <a:pt x="1872" y="568"/>
                </a:lnTo>
                <a:lnTo>
                  <a:pt x="1874" y="568"/>
                </a:lnTo>
                <a:lnTo>
                  <a:pt x="1874" y="568"/>
                </a:lnTo>
                <a:lnTo>
                  <a:pt x="1872" y="575"/>
                </a:lnTo>
                <a:lnTo>
                  <a:pt x="1872" y="575"/>
                </a:lnTo>
                <a:lnTo>
                  <a:pt x="1869" y="570"/>
                </a:lnTo>
                <a:lnTo>
                  <a:pt x="1869" y="570"/>
                </a:lnTo>
                <a:lnTo>
                  <a:pt x="1867" y="570"/>
                </a:lnTo>
                <a:lnTo>
                  <a:pt x="1867" y="570"/>
                </a:lnTo>
                <a:lnTo>
                  <a:pt x="1867" y="570"/>
                </a:lnTo>
                <a:lnTo>
                  <a:pt x="1864" y="570"/>
                </a:lnTo>
                <a:lnTo>
                  <a:pt x="1864" y="570"/>
                </a:lnTo>
                <a:lnTo>
                  <a:pt x="1862" y="573"/>
                </a:lnTo>
                <a:lnTo>
                  <a:pt x="1862" y="573"/>
                </a:lnTo>
                <a:lnTo>
                  <a:pt x="1862" y="575"/>
                </a:lnTo>
                <a:lnTo>
                  <a:pt x="1862" y="575"/>
                </a:lnTo>
                <a:lnTo>
                  <a:pt x="1857" y="573"/>
                </a:lnTo>
                <a:lnTo>
                  <a:pt x="1857" y="573"/>
                </a:lnTo>
                <a:lnTo>
                  <a:pt x="1855" y="573"/>
                </a:lnTo>
                <a:lnTo>
                  <a:pt x="1855" y="573"/>
                </a:lnTo>
                <a:lnTo>
                  <a:pt x="1855" y="575"/>
                </a:lnTo>
                <a:lnTo>
                  <a:pt x="1855" y="575"/>
                </a:lnTo>
                <a:lnTo>
                  <a:pt x="1857" y="578"/>
                </a:lnTo>
                <a:lnTo>
                  <a:pt x="1857" y="578"/>
                </a:lnTo>
                <a:lnTo>
                  <a:pt x="1855" y="578"/>
                </a:lnTo>
                <a:lnTo>
                  <a:pt x="1855" y="578"/>
                </a:lnTo>
                <a:lnTo>
                  <a:pt x="1855" y="582"/>
                </a:lnTo>
                <a:lnTo>
                  <a:pt x="1855" y="582"/>
                </a:lnTo>
                <a:lnTo>
                  <a:pt x="1855" y="585"/>
                </a:lnTo>
                <a:lnTo>
                  <a:pt x="1855" y="585"/>
                </a:lnTo>
                <a:lnTo>
                  <a:pt x="1857" y="587"/>
                </a:lnTo>
                <a:lnTo>
                  <a:pt x="1857" y="587"/>
                </a:lnTo>
                <a:lnTo>
                  <a:pt x="1857" y="590"/>
                </a:lnTo>
                <a:lnTo>
                  <a:pt x="1857" y="590"/>
                </a:lnTo>
                <a:lnTo>
                  <a:pt x="1857" y="592"/>
                </a:lnTo>
                <a:lnTo>
                  <a:pt x="1857" y="592"/>
                </a:lnTo>
                <a:lnTo>
                  <a:pt x="1857" y="595"/>
                </a:lnTo>
                <a:lnTo>
                  <a:pt x="1857" y="595"/>
                </a:lnTo>
                <a:lnTo>
                  <a:pt x="1859" y="595"/>
                </a:lnTo>
                <a:lnTo>
                  <a:pt x="1859" y="595"/>
                </a:lnTo>
                <a:lnTo>
                  <a:pt x="1862" y="597"/>
                </a:lnTo>
                <a:lnTo>
                  <a:pt x="1862" y="597"/>
                </a:lnTo>
                <a:lnTo>
                  <a:pt x="1862" y="600"/>
                </a:lnTo>
                <a:lnTo>
                  <a:pt x="1862" y="600"/>
                </a:lnTo>
                <a:lnTo>
                  <a:pt x="1862" y="600"/>
                </a:lnTo>
                <a:lnTo>
                  <a:pt x="1862" y="602"/>
                </a:lnTo>
                <a:lnTo>
                  <a:pt x="1862" y="602"/>
                </a:lnTo>
                <a:lnTo>
                  <a:pt x="1864" y="602"/>
                </a:lnTo>
                <a:lnTo>
                  <a:pt x="1864" y="602"/>
                </a:lnTo>
                <a:lnTo>
                  <a:pt x="1864" y="605"/>
                </a:lnTo>
                <a:lnTo>
                  <a:pt x="1864" y="605"/>
                </a:lnTo>
                <a:lnTo>
                  <a:pt x="1864" y="607"/>
                </a:lnTo>
                <a:lnTo>
                  <a:pt x="1864" y="607"/>
                </a:lnTo>
                <a:lnTo>
                  <a:pt x="1862" y="605"/>
                </a:lnTo>
                <a:lnTo>
                  <a:pt x="1862" y="605"/>
                </a:lnTo>
                <a:lnTo>
                  <a:pt x="1859" y="605"/>
                </a:lnTo>
                <a:lnTo>
                  <a:pt x="1859" y="605"/>
                </a:lnTo>
                <a:lnTo>
                  <a:pt x="1859" y="607"/>
                </a:lnTo>
                <a:lnTo>
                  <a:pt x="1859" y="607"/>
                </a:lnTo>
                <a:lnTo>
                  <a:pt x="1862" y="610"/>
                </a:lnTo>
                <a:lnTo>
                  <a:pt x="1862" y="610"/>
                </a:lnTo>
                <a:lnTo>
                  <a:pt x="1864" y="610"/>
                </a:lnTo>
                <a:lnTo>
                  <a:pt x="1864" y="610"/>
                </a:lnTo>
                <a:lnTo>
                  <a:pt x="1864" y="612"/>
                </a:lnTo>
                <a:lnTo>
                  <a:pt x="1864" y="612"/>
                </a:lnTo>
                <a:lnTo>
                  <a:pt x="1864" y="614"/>
                </a:lnTo>
                <a:lnTo>
                  <a:pt x="1864" y="614"/>
                </a:lnTo>
                <a:lnTo>
                  <a:pt x="1864" y="619"/>
                </a:lnTo>
                <a:lnTo>
                  <a:pt x="1864" y="619"/>
                </a:lnTo>
                <a:lnTo>
                  <a:pt x="1862" y="622"/>
                </a:lnTo>
                <a:lnTo>
                  <a:pt x="1862" y="622"/>
                </a:lnTo>
                <a:lnTo>
                  <a:pt x="1864" y="627"/>
                </a:lnTo>
                <a:lnTo>
                  <a:pt x="1864" y="627"/>
                </a:lnTo>
                <a:lnTo>
                  <a:pt x="1862" y="627"/>
                </a:lnTo>
                <a:lnTo>
                  <a:pt x="1862" y="627"/>
                </a:lnTo>
                <a:lnTo>
                  <a:pt x="1864" y="632"/>
                </a:lnTo>
                <a:lnTo>
                  <a:pt x="1864" y="632"/>
                </a:lnTo>
                <a:lnTo>
                  <a:pt x="1864" y="632"/>
                </a:lnTo>
                <a:lnTo>
                  <a:pt x="1864" y="637"/>
                </a:lnTo>
                <a:lnTo>
                  <a:pt x="1864" y="637"/>
                </a:lnTo>
                <a:lnTo>
                  <a:pt x="1867" y="641"/>
                </a:lnTo>
                <a:lnTo>
                  <a:pt x="1867" y="641"/>
                </a:lnTo>
                <a:lnTo>
                  <a:pt x="1864" y="644"/>
                </a:lnTo>
                <a:lnTo>
                  <a:pt x="1864" y="644"/>
                </a:lnTo>
                <a:lnTo>
                  <a:pt x="1867" y="644"/>
                </a:lnTo>
                <a:lnTo>
                  <a:pt x="1867" y="644"/>
                </a:lnTo>
                <a:lnTo>
                  <a:pt x="1872" y="646"/>
                </a:lnTo>
                <a:lnTo>
                  <a:pt x="1872" y="646"/>
                </a:lnTo>
                <a:lnTo>
                  <a:pt x="1874" y="654"/>
                </a:lnTo>
                <a:lnTo>
                  <a:pt x="1874" y="654"/>
                </a:lnTo>
                <a:lnTo>
                  <a:pt x="1879" y="654"/>
                </a:lnTo>
                <a:lnTo>
                  <a:pt x="1879" y="654"/>
                </a:lnTo>
                <a:lnTo>
                  <a:pt x="1879" y="654"/>
                </a:lnTo>
                <a:lnTo>
                  <a:pt x="1879" y="651"/>
                </a:lnTo>
                <a:lnTo>
                  <a:pt x="1879" y="651"/>
                </a:lnTo>
                <a:lnTo>
                  <a:pt x="1877" y="646"/>
                </a:lnTo>
                <a:lnTo>
                  <a:pt x="1877" y="646"/>
                </a:lnTo>
                <a:lnTo>
                  <a:pt x="1877" y="644"/>
                </a:lnTo>
                <a:lnTo>
                  <a:pt x="1877" y="644"/>
                </a:lnTo>
                <a:lnTo>
                  <a:pt x="1879" y="641"/>
                </a:lnTo>
                <a:lnTo>
                  <a:pt x="1879" y="641"/>
                </a:lnTo>
                <a:lnTo>
                  <a:pt x="1882" y="644"/>
                </a:lnTo>
                <a:lnTo>
                  <a:pt x="1882" y="644"/>
                </a:lnTo>
                <a:lnTo>
                  <a:pt x="1886" y="646"/>
                </a:lnTo>
                <a:lnTo>
                  <a:pt x="1886" y="646"/>
                </a:lnTo>
                <a:lnTo>
                  <a:pt x="1889" y="646"/>
                </a:lnTo>
                <a:lnTo>
                  <a:pt x="1889" y="646"/>
                </a:lnTo>
                <a:lnTo>
                  <a:pt x="1891" y="646"/>
                </a:lnTo>
                <a:lnTo>
                  <a:pt x="1891" y="646"/>
                </a:lnTo>
                <a:lnTo>
                  <a:pt x="1891" y="649"/>
                </a:lnTo>
                <a:lnTo>
                  <a:pt x="1891" y="649"/>
                </a:lnTo>
                <a:lnTo>
                  <a:pt x="1891" y="651"/>
                </a:lnTo>
                <a:lnTo>
                  <a:pt x="1891" y="651"/>
                </a:lnTo>
                <a:lnTo>
                  <a:pt x="1894" y="654"/>
                </a:lnTo>
                <a:lnTo>
                  <a:pt x="1894" y="654"/>
                </a:lnTo>
                <a:lnTo>
                  <a:pt x="1891" y="656"/>
                </a:lnTo>
                <a:lnTo>
                  <a:pt x="1891" y="656"/>
                </a:lnTo>
                <a:lnTo>
                  <a:pt x="1891" y="659"/>
                </a:lnTo>
                <a:lnTo>
                  <a:pt x="1891" y="659"/>
                </a:lnTo>
                <a:lnTo>
                  <a:pt x="1891" y="661"/>
                </a:lnTo>
                <a:lnTo>
                  <a:pt x="1891" y="661"/>
                </a:lnTo>
                <a:lnTo>
                  <a:pt x="1889" y="664"/>
                </a:lnTo>
                <a:lnTo>
                  <a:pt x="1889" y="664"/>
                </a:lnTo>
                <a:lnTo>
                  <a:pt x="1891" y="669"/>
                </a:lnTo>
                <a:lnTo>
                  <a:pt x="1891" y="669"/>
                </a:lnTo>
                <a:lnTo>
                  <a:pt x="1894" y="673"/>
                </a:lnTo>
                <a:lnTo>
                  <a:pt x="1894" y="673"/>
                </a:lnTo>
                <a:lnTo>
                  <a:pt x="1894" y="678"/>
                </a:lnTo>
                <a:lnTo>
                  <a:pt x="1894" y="678"/>
                </a:lnTo>
                <a:lnTo>
                  <a:pt x="1896" y="681"/>
                </a:lnTo>
                <a:lnTo>
                  <a:pt x="1896" y="681"/>
                </a:lnTo>
                <a:lnTo>
                  <a:pt x="1899" y="678"/>
                </a:lnTo>
                <a:lnTo>
                  <a:pt x="1899" y="678"/>
                </a:lnTo>
                <a:lnTo>
                  <a:pt x="1899" y="678"/>
                </a:lnTo>
                <a:lnTo>
                  <a:pt x="1901" y="676"/>
                </a:lnTo>
                <a:lnTo>
                  <a:pt x="1901" y="676"/>
                </a:lnTo>
                <a:lnTo>
                  <a:pt x="1901" y="673"/>
                </a:lnTo>
                <a:lnTo>
                  <a:pt x="1901" y="673"/>
                </a:lnTo>
                <a:lnTo>
                  <a:pt x="1901" y="676"/>
                </a:lnTo>
                <a:lnTo>
                  <a:pt x="1901" y="676"/>
                </a:lnTo>
                <a:lnTo>
                  <a:pt x="1906" y="676"/>
                </a:lnTo>
                <a:lnTo>
                  <a:pt x="1906" y="676"/>
                </a:lnTo>
                <a:lnTo>
                  <a:pt x="1906" y="683"/>
                </a:lnTo>
                <a:lnTo>
                  <a:pt x="1906" y="683"/>
                </a:lnTo>
                <a:lnTo>
                  <a:pt x="1914" y="691"/>
                </a:lnTo>
                <a:lnTo>
                  <a:pt x="1914" y="691"/>
                </a:lnTo>
                <a:lnTo>
                  <a:pt x="1916" y="696"/>
                </a:lnTo>
                <a:lnTo>
                  <a:pt x="1916" y="696"/>
                </a:lnTo>
                <a:lnTo>
                  <a:pt x="1914" y="696"/>
                </a:lnTo>
                <a:lnTo>
                  <a:pt x="1914" y="696"/>
                </a:lnTo>
                <a:lnTo>
                  <a:pt x="1914" y="701"/>
                </a:lnTo>
                <a:lnTo>
                  <a:pt x="1914" y="701"/>
                </a:lnTo>
                <a:lnTo>
                  <a:pt x="1911" y="703"/>
                </a:lnTo>
                <a:lnTo>
                  <a:pt x="1911" y="703"/>
                </a:lnTo>
                <a:lnTo>
                  <a:pt x="1906" y="698"/>
                </a:lnTo>
                <a:lnTo>
                  <a:pt x="1906" y="698"/>
                </a:lnTo>
                <a:lnTo>
                  <a:pt x="1904" y="698"/>
                </a:lnTo>
                <a:lnTo>
                  <a:pt x="1904" y="698"/>
                </a:lnTo>
                <a:lnTo>
                  <a:pt x="1901" y="693"/>
                </a:lnTo>
                <a:lnTo>
                  <a:pt x="1901" y="693"/>
                </a:lnTo>
                <a:lnTo>
                  <a:pt x="1904" y="691"/>
                </a:lnTo>
                <a:lnTo>
                  <a:pt x="1904" y="691"/>
                </a:lnTo>
                <a:lnTo>
                  <a:pt x="1904" y="686"/>
                </a:lnTo>
                <a:lnTo>
                  <a:pt x="1904" y="686"/>
                </a:lnTo>
                <a:lnTo>
                  <a:pt x="1904" y="683"/>
                </a:lnTo>
                <a:lnTo>
                  <a:pt x="1904" y="683"/>
                </a:lnTo>
                <a:lnTo>
                  <a:pt x="1901" y="686"/>
                </a:lnTo>
                <a:lnTo>
                  <a:pt x="1901" y="686"/>
                </a:lnTo>
                <a:lnTo>
                  <a:pt x="1901" y="686"/>
                </a:lnTo>
                <a:lnTo>
                  <a:pt x="1901" y="688"/>
                </a:lnTo>
                <a:lnTo>
                  <a:pt x="1901" y="688"/>
                </a:lnTo>
                <a:lnTo>
                  <a:pt x="1899" y="688"/>
                </a:lnTo>
                <a:lnTo>
                  <a:pt x="1899" y="688"/>
                </a:lnTo>
                <a:lnTo>
                  <a:pt x="1896" y="693"/>
                </a:lnTo>
                <a:lnTo>
                  <a:pt x="1896" y="693"/>
                </a:lnTo>
                <a:lnTo>
                  <a:pt x="1896" y="696"/>
                </a:lnTo>
                <a:lnTo>
                  <a:pt x="1896" y="696"/>
                </a:lnTo>
                <a:lnTo>
                  <a:pt x="1901" y="693"/>
                </a:lnTo>
                <a:lnTo>
                  <a:pt x="1901" y="693"/>
                </a:lnTo>
                <a:lnTo>
                  <a:pt x="1901" y="698"/>
                </a:lnTo>
                <a:lnTo>
                  <a:pt x="1901" y="698"/>
                </a:lnTo>
                <a:lnTo>
                  <a:pt x="1899" y="701"/>
                </a:lnTo>
                <a:lnTo>
                  <a:pt x="1899" y="701"/>
                </a:lnTo>
                <a:lnTo>
                  <a:pt x="1899" y="705"/>
                </a:lnTo>
                <a:lnTo>
                  <a:pt x="1899" y="705"/>
                </a:lnTo>
                <a:lnTo>
                  <a:pt x="1899" y="708"/>
                </a:lnTo>
                <a:lnTo>
                  <a:pt x="1899" y="708"/>
                </a:lnTo>
                <a:lnTo>
                  <a:pt x="1899" y="718"/>
                </a:lnTo>
                <a:lnTo>
                  <a:pt x="1899" y="718"/>
                </a:lnTo>
                <a:lnTo>
                  <a:pt x="1901" y="720"/>
                </a:lnTo>
                <a:lnTo>
                  <a:pt x="1901" y="720"/>
                </a:lnTo>
                <a:lnTo>
                  <a:pt x="1901" y="723"/>
                </a:lnTo>
                <a:lnTo>
                  <a:pt x="1901" y="723"/>
                </a:lnTo>
                <a:lnTo>
                  <a:pt x="1909" y="735"/>
                </a:lnTo>
                <a:lnTo>
                  <a:pt x="1909" y="735"/>
                </a:lnTo>
                <a:lnTo>
                  <a:pt x="1911" y="735"/>
                </a:lnTo>
                <a:lnTo>
                  <a:pt x="1911" y="735"/>
                </a:lnTo>
                <a:lnTo>
                  <a:pt x="1916" y="742"/>
                </a:lnTo>
                <a:lnTo>
                  <a:pt x="1916" y="742"/>
                </a:lnTo>
                <a:lnTo>
                  <a:pt x="1921" y="745"/>
                </a:lnTo>
                <a:lnTo>
                  <a:pt x="1921" y="745"/>
                </a:lnTo>
                <a:lnTo>
                  <a:pt x="1918" y="747"/>
                </a:lnTo>
                <a:lnTo>
                  <a:pt x="1918" y="747"/>
                </a:lnTo>
                <a:lnTo>
                  <a:pt x="1918" y="750"/>
                </a:lnTo>
                <a:lnTo>
                  <a:pt x="1918" y="750"/>
                </a:lnTo>
                <a:lnTo>
                  <a:pt x="1909" y="755"/>
                </a:lnTo>
                <a:lnTo>
                  <a:pt x="1909" y="755"/>
                </a:lnTo>
                <a:lnTo>
                  <a:pt x="1909" y="752"/>
                </a:lnTo>
                <a:lnTo>
                  <a:pt x="1909" y="752"/>
                </a:lnTo>
                <a:lnTo>
                  <a:pt x="1904" y="755"/>
                </a:lnTo>
                <a:lnTo>
                  <a:pt x="1904" y="755"/>
                </a:lnTo>
                <a:lnTo>
                  <a:pt x="1901" y="755"/>
                </a:lnTo>
                <a:lnTo>
                  <a:pt x="1901" y="755"/>
                </a:lnTo>
                <a:lnTo>
                  <a:pt x="1904" y="757"/>
                </a:lnTo>
                <a:lnTo>
                  <a:pt x="1904" y="757"/>
                </a:lnTo>
                <a:lnTo>
                  <a:pt x="1899" y="762"/>
                </a:lnTo>
                <a:lnTo>
                  <a:pt x="1899" y="762"/>
                </a:lnTo>
                <a:lnTo>
                  <a:pt x="1899" y="767"/>
                </a:lnTo>
                <a:lnTo>
                  <a:pt x="1899" y="767"/>
                </a:lnTo>
                <a:lnTo>
                  <a:pt x="1896" y="767"/>
                </a:lnTo>
                <a:lnTo>
                  <a:pt x="1896" y="767"/>
                </a:lnTo>
                <a:lnTo>
                  <a:pt x="1899" y="772"/>
                </a:lnTo>
                <a:lnTo>
                  <a:pt x="1899" y="772"/>
                </a:lnTo>
                <a:lnTo>
                  <a:pt x="1899" y="779"/>
                </a:lnTo>
                <a:lnTo>
                  <a:pt x="1899" y="779"/>
                </a:lnTo>
                <a:lnTo>
                  <a:pt x="1901" y="787"/>
                </a:lnTo>
                <a:lnTo>
                  <a:pt x="1901" y="787"/>
                </a:lnTo>
                <a:lnTo>
                  <a:pt x="1906" y="789"/>
                </a:lnTo>
                <a:lnTo>
                  <a:pt x="1906" y="789"/>
                </a:lnTo>
                <a:lnTo>
                  <a:pt x="1906" y="794"/>
                </a:lnTo>
                <a:lnTo>
                  <a:pt x="1906" y="794"/>
                </a:lnTo>
                <a:lnTo>
                  <a:pt x="1909" y="796"/>
                </a:lnTo>
                <a:lnTo>
                  <a:pt x="1909" y="796"/>
                </a:lnTo>
                <a:lnTo>
                  <a:pt x="1911" y="799"/>
                </a:lnTo>
                <a:lnTo>
                  <a:pt x="1911" y="799"/>
                </a:lnTo>
                <a:lnTo>
                  <a:pt x="1909" y="799"/>
                </a:lnTo>
                <a:lnTo>
                  <a:pt x="1909" y="799"/>
                </a:lnTo>
                <a:lnTo>
                  <a:pt x="1906" y="796"/>
                </a:lnTo>
                <a:lnTo>
                  <a:pt x="1906" y="796"/>
                </a:lnTo>
                <a:lnTo>
                  <a:pt x="1904" y="799"/>
                </a:lnTo>
                <a:lnTo>
                  <a:pt x="1904" y="799"/>
                </a:lnTo>
                <a:lnTo>
                  <a:pt x="1901" y="801"/>
                </a:lnTo>
                <a:lnTo>
                  <a:pt x="1901" y="801"/>
                </a:lnTo>
                <a:lnTo>
                  <a:pt x="1899" y="801"/>
                </a:lnTo>
                <a:lnTo>
                  <a:pt x="1899" y="801"/>
                </a:lnTo>
                <a:lnTo>
                  <a:pt x="1894" y="806"/>
                </a:lnTo>
                <a:lnTo>
                  <a:pt x="1894" y="806"/>
                </a:lnTo>
                <a:lnTo>
                  <a:pt x="1891" y="804"/>
                </a:lnTo>
                <a:lnTo>
                  <a:pt x="1891" y="804"/>
                </a:lnTo>
                <a:lnTo>
                  <a:pt x="1889" y="806"/>
                </a:lnTo>
                <a:lnTo>
                  <a:pt x="1889" y="806"/>
                </a:lnTo>
                <a:lnTo>
                  <a:pt x="1891" y="809"/>
                </a:lnTo>
                <a:lnTo>
                  <a:pt x="1891" y="809"/>
                </a:lnTo>
                <a:lnTo>
                  <a:pt x="1896" y="809"/>
                </a:lnTo>
                <a:lnTo>
                  <a:pt x="1896" y="809"/>
                </a:lnTo>
                <a:lnTo>
                  <a:pt x="1894" y="811"/>
                </a:lnTo>
                <a:lnTo>
                  <a:pt x="1894" y="811"/>
                </a:lnTo>
                <a:lnTo>
                  <a:pt x="1894" y="814"/>
                </a:lnTo>
                <a:lnTo>
                  <a:pt x="1894" y="814"/>
                </a:lnTo>
                <a:lnTo>
                  <a:pt x="1896" y="816"/>
                </a:lnTo>
                <a:lnTo>
                  <a:pt x="1896" y="816"/>
                </a:lnTo>
                <a:lnTo>
                  <a:pt x="1896" y="819"/>
                </a:lnTo>
                <a:lnTo>
                  <a:pt x="1896" y="819"/>
                </a:lnTo>
                <a:lnTo>
                  <a:pt x="1894" y="816"/>
                </a:lnTo>
                <a:lnTo>
                  <a:pt x="1894" y="816"/>
                </a:lnTo>
                <a:lnTo>
                  <a:pt x="1896" y="821"/>
                </a:lnTo>
                <a:lnTo>
                  <a:pt x="1896" y="821"/>
                </a:lnTo>
                <a:lnTo>
                  <a:pt x="1894" y="823"/>
                </a:lnTo>
                <a:lnTo>
                  <a:pt x="1894" y="823"/>
                </a:lnTo>
                <a:lnTo>
                  <a:pt x="1896" y="823"/>
                </a:lnTo>
                <a:lnTo>
                  <a:pt x="1896" y="823"/>
                </a:lnTo>
                <a:lnTo>
                  <a:pt x="1899" y="823"/>
                </a:lnTo>
                <a:lnTo>
                  <a:pt x="1899" y="823"/>
                </a:lnTo>
                <a:lnTo>
                  <a:pt x="1901" y="826"/>
                </a:lnTo>
                <a:lnTo>
                  <a:pt x="1901" y="826"/>
                </a:lnTo>
                <a:lnTo>
                  <a:pt x="1899" y="828"/>
                </a:lnTo>
                <a:lnTo>
                  <a:pt x="1899" y="828"/>
                </a:lnTo>
                <a:lnTo>
                  <a:pt x="1899" y="833"/>
                </a:lnTo>
                <a:lnTo>
                  <a:pt x="1899" y="833"/>
                </a:lnTo>
                <a:lnTo>
                  <a:pt x="1901" y="836"/>
                </a:lnTo>
                <a:lnTo>
                  <a:pt x="1901" y="836"/>
                </a:lnTo>
                <a:lnTo>
                  <a:pt x="1899" y="843"/>
                </a:lnTo>
                <a:lnTo>
                  <a:pt x="1899" y="843"/>
                </a:lnTo>
                <a:lnTo>
                  <a:pt x="1899" y="846"/>
                </a:lnTo>
                <a:lnTo>
                  <a:pt x="1899" y="846"/>
                </a:lnTo>
                <a:lnTo>
                  <a:pt x="1899" y="846"/>
                </a:lnTo>
                <a:lnTo>
                  <a:pt x="1899" y="848"/>
                </a:lnTo>
                <a:lnTo>
                  <a:pt x="1899" y="848"/>
                </a:lnTo>
                <a:lnTo>
                  <a:pt x="1894" y="853"/>
                </a:lnTo>
                <a:lnTo>
                  <a:pt x="1894" y="853"/>
                </a:lnTo>
                <a:lnTo>
                  <a:pt x="1894" y="855"/>
                </a:lnTo>
                <a:lnTo>
                  <a:pt x="1894" y="855"/>
                </a:lnTo>
                <a:lnTo>
                  <a:pt x="1894" y="855"/>
                </a:lnTo>
                <a:lnTo>
                  <a:pt x="1891" y="863"/>
                </a:lnTo>
                <a:lnTo>
                  <a:pt x="1891" y="863"/>
                </a:lnTo>
                <a:lnTo>
                  <a:pt x="1889" y="870"/>
                </a:lnTo>
                <a:lnTo>
                  <a:pt x="1889" y="870"/>
                </a:lnTo>
                <a:lnTo>
                  <a:pt x="1889" y="868"/>
                </a:lnTo>
                <a:lnTo>
                  <a:pt x="1889" y="868"/>
                </a:lnTo>
                <a:lnTo>
                  <a:pt x="1886" y="865"/>
                </a:lnTo>
                <a:lnTo>
                  <a:pt x="1886" y="865"/>
                </a:lnTo>
                <a:lnTo>
                  <a:pt x="1889" y="860"/>
                </a:lnTo>
                <a:lnTo>
                  <a:pt x="1889" y="860"/>
                </a:lnTo>
                <a:lnTo>
                  <a:pt x="1886" y="860"/>
                </a:lnTo>
                <a:lnTo>
                  <a:pt x="1886" y="860"/>
                </a:lnTo>
                <a:lnTo>
                  <a:pt x="1882" y="858"/>
                </a:lnTo>
                <a:lnTo>
                  <a:pt x="1882" y="858"/>
                </a:lnTo>
                <a:lnTo>
                  <a:pt x="1877" y="853"/>
                </a:lnTo>
                <a:lnTo>
                  <a:pt x="1877" y="853"/>
                </a:lnTo>
                <a:lnTo>
                  <a:pt x="1877" y="848"/>
                </a:lnTo>
                <a:lnTo>
                  <a:pt x="1877" y="848"/>
                </a:lnTo>
                <a:lnTo>
                  <a:pt x="1872" y="836"/>
                </a:lnTo>
                <a:lnTo>
                  <a:pt x="1872" y="836"/>
                </a:lnTo>
                <a:lnTo>
                  <a:pt x="1867" y="828"/>
                </a:lnTo>
                <a:lnTo>
                  <a:pt x="1867" y="828"/>
                </a:lnTo>
                <a:lnTo>
                  <a:pt x="1869" y="828"/>
                </a:lnTo>
                <a:lnTo>
                  <a:pt x="1869" y="828"/>
                </a:lnTo>
                <a:lnTo>
                  <a:pt x="1872" y="828"/>
                </a:lnTo>
                <a:lnTo>
                  <a:pt x="1872" y="828"/>
                </a:lnTo>
                <a:lnTo>
                  <a:pt x="1872" y="826"/>
                </a:lnTo>
                <a:lnTo>
                  <a:pt x="1872" y="826"/>
                </a:lnTo>
                <a:lnTo>
                  <a:pt x="1869" y="826"/>
                </a:lnTo>
                <a:lnTo>
                  <a:pt x="1869" y="826"/>
                </a:lnTo>
                <a:lnTo>
                  <a:pt x="1867" y="826"/>
                </a:lnTo>
                <a:lnTo>
                  <a:pt x="1867" y="826"/>
                </a:lnTo>
                <a:lnTo>
                  <a:pt x="1862" y="823"/>
                </a:lnTo>
                <a:lnTo>
                  <a:pt x="1862" y="823"/>
                </a:lnTo>
                <a:lnTo>
                  <a:pt x="1850" y="801"/>
                </a:lnTo>
                <a:lnTo>
                  <a:pt x="1850" y="801"/>
                </a:lnTo>
                <a:lnTo>
                  <a:pt x="1837" y="789"/>
                </a:lnTo>
                <a:lnTo>
                  <a:pt x="1837" y="789"/>
                </a:lnTo>
                <a:lnTo>
                  <a:pt x="1837" y="784"/>
                </a:lnTo>
                <a:lnTo>
                  <a:pt x="1837" y="784"/>
                </a:lnTo>
                <a:lnTo>
                  <a:pt x="1835" y="779"/>
                </a:lnTo>
                <a:lnTo>
                  <a:pt x="1835" y="779"/>
                </a:lnTo>
                <a:lnTo>
                  <a:pt x="1825" y="767"/>
                </a:lnTo>
                <a:lnTo>
                  <a:pt x="1825" y="767"/>
                </a:lnTo>
                <a:lnTo>
                  <a:pt x="1818" y="750"/>
                </a:lnTo>
                <a:lnTo>
                  <a:pt x="1818" y="750"/>
                </a:lnTo>
                <a:lnTo>
                  <a:pt x="1810" y="735"/>
                </a:lnTo>
                <a:lnTo>
                  <a:pt x="1810" y="735"/>
                </a:lnTo>
                <a:lnTo>
                  <a:pt x="1810" y="730"/>
                </a:lnTo>
                <a:lnTo>
                  <a:pt x="1810" y="730"/>
                </a:lnTo>
                <a:lnTo>
                  <a:pt x="1805" y="723"/>
                </a:lnTo>
                <a:lnTo>
                  <a:pt x="1805" y="723"/>
                </a:lnTo>
                <a:lnTo>
                  <a:pt x="1805" y="713"/>
                </a:lnTo>
                <a:lnTo>
                  <a:pt x="1805" y="713"/>
                </a:lnTo>
                <a:lnTo>
                  <a:pt x="1803" y="705"/>
                </a:lnTo>
                <a:lnTo>
                  <a:pt x="1803" y="705"/>
                </a:lnTo>
                <a:lnTo>
                  <a:pt x="1803" y="701"/>
                </a:lnTo>
                <a:lnTo>
                  <a:pt x="1803" y="701"/>
                </a:lnTo>
                <a:lnTo>
                  <a:pt x="1805" y="696"/>
                </a:lnTo>
                <a:lnTo>
                  <a:pt x="1805" y="696"/>
                </a:lnTo>
                <a:lnTo>
                  <a:pt x="1808" y="691"/>
                </a:lnTo>
                <a:lnTo>
                  <a:pt x="1808" y="691"/>
                </a:lnTo>
                <a:lnTo>
                  <a:pt x="1810" y="691"/>
                </a:lnTo>
                <a:lnTo>
                  <a:pt x="1810" y="691"/>
                </a:lnTo>
                <a:lnTo>
                  <a:pt x="1808" y="688"/>
                </a:lnTo>
                <a:lnTo>
                  <a:pt x="1808" y="688"/>
                </a:lnTo>
                <a:lnTo>
                  <a:pt x="1810" y="686"/>
                </a:lnTo>
                <a:lnTo>
                  <a:pt x="1810" y="686"/>
                </a:lnTo>
                <a:lnTo>
                  <a:pt x="1810" y="678"/>
                </a:lnTo>
                <a:lnTo>
                  <a:pt x="1810" y="678"/>
                </a:lnTo>
                <a:lnTo>
                  <a:pt x="1803" y="671"/>
                </a:lnTo>
                <a:lnTo>
                  <a:pt x="1803" y="671"/>
                </a:lnTo>
                <a:lnTo>
                  <a:pt x="1800" y="671"/>
                </a:lnTo>
                <a:lnTo>
                  <a:pt x="1800" y="671"/>
                </a:lnTo>
                <a:lnTo>
                  <a:pt x="1800" y="669"/>
                </a:lnTo>
                <a:lnTo>
                  <a:pt x="1800" y="669"/>
                </a:lnTo>
                <a:lnTo>
                  <a:pt x="1803" y="666"/>
                </a:lnTo>
                <a:lnTo>
                  <a:pt x="1803" y="666"/>
                </a:lnTo>
                <a:lnTo>
                  <a:pt x="1808" y="669"/>
                </a:lnTo>
                <a:lnTo>
                  <a:pt x="1808" y="669"/>
                </a:lnTo>
                <a:lnTo>
                  <a:pt x="1813" y="664"/>
                </a:lnTo>
                <a:lnTo>
                  <a:pt x="1813" y="664"/>
                </a:lnTo>
                <a:lnTo>
                  <a:pt x="1810" y="661"/>
                </a:lnTo>
                <a:lnTo>
                  <a:pt x="1810" y="661"/>
                </a:lnTo>
                <a:lnTo>
                  <a:pt x="1810" y="656"/>
                </a:lnTo>
                <a:lnTo>
                  <a:pt x="1810" y="656"/>
                </a:lnTo>
                <a:lnTo>
                  <a:pt x="1815" y="656"/>
                </a:lnTo>
                <a:lnTo>
                  <a:pt x="1815" y="656"/>
                </a:lnTo>
                <a:lnTo>
                  <a:pt x="1820" y="656"/>
                </a:lnTo>
                <a:lnTo>
                  <a:pt x="1820" y="656"/>
                </a:lnTo>
                <a:lnTo>
                  <a:pt x="1818" y="651"/>
                </a:lnTo>
                <a:lnTo>
                  <a:pt x="1818" y="651"/>
                </a:lnTo>
                <a:lnTo>
                  <a:pt x="1823" y="644"/>
                </a:lnTo>
                <a:lnTo>
                  <a:pt x="1823" y="644"/>
                </a:lnTo>
                <a:lnTo>
                  <a:pt x="1820" y="637"/>
                </a:lnTo>
                <a:lnTo>
                  <a:pt x="1820" y="637"/>
                </a:lnTo>
                <a:lnTo>
                  <a:pt x="1820" y="632"/>
                </a:lnTo>
                <a:lnTo>
                  <a:pt x="1820" y="632"/>
                </a:lnTo>
                <a:lnTo>
                  <a:pt x="1818" y="627"/>
                </a:lnTo>
                <a:lnTo>
                  <a:pt x="1818" y="627"/>
                </a:lnTo>
                <a:lnTo>
                  <a:pt x="1820" y="624"/>
                </a:lnTo>
                <a:lnTo>
                  <a:pt x="1820" y="624"/>
                </a:lnTo>
                <a:lnTo>
                  <a:pt x="1820" y="622"/>
                </a:lnTo>
                <a:lnTo>
                  <a:pt x="1820" y="622"/>
                </a:lnTo>
                <a:lnTo>
                  <a:pt x="1820" y="619"/>
                </a:lnTo>
                <a:lnTo>
                  <a:pt x="1820" y="619"/>
                </a:lnTo>
                <a:lnTo>
                  <a:pt x="1820" y="614"/>
                </a:lnTo>
                <a:lnTo>
                  <a:pt x="1820" y="614"/>
                </a:lnTo>
                <a:lnTo>
                  <a:pt x="1823" y="614"/>
                </a:lnTo>
                <a:lnTo>
                  <a:pt x="1823" y="614"/>
                </a:lnTo>
                <a:lnTo>
                  <a:pt x="1820" y="612"/>
                </a:lnTo>
                <a:lnTo>
                  <a:pt x="1820" y="612"/>
                </a:lnTo>
                <a:lnTo>
                  <a:pt x="1820" y="610"/>
                </a:lnTo>
                <a:lnTo>
                  <a:pt x="1820" y="610"/>
                </a:lnTo>
                <a:lnTo>
                  <a:pt x="1820" y="607"/>
                </a:lnTo>
                <a:lnTo>
                  <a:pt x="1820" y="607"/>
                </a:lnTo>
                <a:lnTo>
                  <a:pt x="1820" y="602"/>
                </a:lnTo>
                <a:lnTo>
                  <a:pt x="1820" y="602"/>
                </a:lnTo>
                <a:lnTo>
                  <a:pt x="1820" y="600"/>
                </a:lnTo>
                <a:lnTo>
                  <a:pt x="1820" y="600"/>
                </a:lnTo>
                <a:lnTo>
                  <a:pt x="1820" y="597"/>
                </a:lnTo>
                <a:lnTo>
                  <a:pt x="1820" y="597"/>
                </a:lnTo>
                <a:lnTo>
                  <a:pt x="1823" y="597"/>
                </a:lnTo>
                <a:lnTo>
                  <a:pt x="1823" y="597"/>
                </a:lnTo>
                <a:lnTo>
                  <a:pt x="1825" y="595"/>
                </a:lnTo>
                <a:lnTo>
                  <a:pt x="1825" y="595"/>
                </a:lnTo>
                <a:lnTo>
                  <a:pt x="1825" y="590"/>
                </a:lnTo>
                <a:lnTo>
                  <a:pt x="1825" y="590"/>
                </a:lnTo>
                <a:lnTo>
                  <a:pt x="1825" y="582"/>
                </a:lnTo>
                <a:lnTo>
                  <a:pt x="1825" y="582"/>
                </a:lnTo>
                <a:lnTo>
                  <a:pt x="1823" y="582"/>
                </a:lnTo>
                <a:lnTo>
                  <a:pt x="1823" y="582"/>
                </a:lnTo>
                <a:lnTo>
                  <a:pt x="1823" y="580"/>
                </a:lnTo>
                <a:lnTo>
                  <a:pt x="1823" y="580"/>
                </a:lnTo>
                <a:lnTo>
                  <a:pt x="1825" y="575"/>
                </a:lnTo>
                <a:lnTo>
                  <a:pt x="1825" y="575"/>
                </a:lnTo>
                <a:lnTo>
                  <a:pt x="1825" y="570"/>
                </a:lnTo>
                <a:lnTo>
                  <a:pt x="1825" y="570"/>
                </a:lnTo>
                <a:lnTo>
                  <a:pt x="1823" y="570"/>
                </a:lnTo>
                <a:lnTo>
                  <a:pt x="1823" y="570"/>
                </a:lnTo>
                <a:lnTo>
                  <a:pt x="1823" y="568"/>
                </a:lnTo>
                <a:lnTo>
                  <a:pt x="1823" y="568"/>
                </a:lnTo>
                <a:lnTo>
                  <a:pt x="1825" y="565"/>
                </a:lnTo>
                <a:lnTo>
                  <a:pt x="1825" y="565"/>
                </a:lnTo>
                <a:lnTo>
                  <a:pt x="1825" y="563"/>
                </a:lnTo>
                <a:lnTo>
                  <a:pt x="1825" y="563"/>
                </a:lnTo>
                <a:lnTo>
                  <a:pt x="1827" y="560"/>
                </a:lnTo>
                <a:lnTo>
                  <a:pt x="1827" y="560"/>
                </a:lnTo>
                <a:lnTo>
                  <a:pt x="1827" y="560"/>
                </a:lnTo>
                <a:lnTo>
                  <a:pt x="1830" y="558"/>
                </a:lnTo>
                <a:lnTo>
                  <a:pt x="1830" y="558"/>
                </a:lnTo>
                <a:lnTo>
                  <a:pt x="1832" y="555"/>
                </a:lnTo>
                <a:lnTo>
                  <a:pt x="1832" y="555"/>
                </a:lnTo>
                <a:lnTo>
                  <a:pt x="1835" y="550"/>
                </a:lnTo>
                <a:lnTo>
                  <a:pt x="1835" y="550"/>
                </a:lnTo>
                <a:lnTo>
                  <a:pt x="1835" y="550"/>
                </a:lnTo>
                <a:lnTo>
                  <a:pt x="1840" y="548"/>
                </a:lnTo>
                <a:lnTo>
                  <a:pt x="1840" y="548"/>
                </a:lnTo>
                <a:lnTo>
                  <a:pt x="1840" y="548"/>
                </a:lnTo>
                <a:lnTo>
                  <a:pt x="1842" y="546"/>
                </a:lnTo>
                <a:lnTo>
                  <a:pt x="1842" y="546"/>
                </a:lnTo>
                <a:lnTo>
                  <a:pt x="1840" y="546"/>
                </a:lnTo>
                <a:lnTo>
                  <a:pt x="1840" y="546"/>
                </a:lnTo>
                <a:lnTo>
                  <a:pt x="1837" y="546"/>
                </a:lnTo>
                <a:lnTo>
                  <a:pt x="1837" y="546"/>
                </a:lnTo>
                <a:lnTo>
                  <a:pt x="1835" y="546"/>
                </a:lnTo>
                <a:lnTo>
                  <a:pt x="1835" y="546"/>
                </a:lnTo>
                <a:lnTo>
                  <a:pt x="1832" y="546"/>
                </a:lnTo>
                <a:lnTo>
                  <a:pt x="1832" y="546"/>
                </a:lnTo>
                <a:lnTo>
                  <a:pt x="1832" y="538"/>
                </a:lnTo>
                <a:lnTo>
                  <a:pt x="1832" y="538"/>
                </a:lnTo>
                <a:lnTo>
                  <a:pt x="1835" y="533"/>
                </a:lnTo>
                <a:lnTo>
                  <a:pt x="1835" y="533"/>
                </a:lnTo>
                <a:lnTo>
                  <a:pt x="1835" y="531"/>
                </a:lnTo>
                <a:lnTo>
                  <a:pt x="1835" y="531"/>
                </a:lnTo>
                <a:lnTo>
                  <a:pt x="1832" y="528"/>
                </a:lnTo>
                <a:lnTo>
                  <a:pt x="1832" y="528"/>
                </a:lnTo>
                <a:lnTo>
                  <a:pt x="1832" y="528"/>
                </a:lnTo>
                <a:lnTo>
                  <a:pt x="1830" y="531"/>
                </a:lnTo>
                <a:lnTo>
                  <a:pt x="1830" y="531"/>
                </a:lnTo>
                <a:lnTo>
                  <a:pt x="1830" y="531"/>
                </a:lnTo>
                <a:lnTo>
                  <a:pt x="1827" y="523"/>
                </a:lnTo>
                <a:lnTo>
                  <a:pt x="1827" y="523"/>
                </a:lnTo>
                <a:lnTo>
                  <a:pt x="1830" y="521"/>
                </a:lnTo>
                <a:lnTo>
                  <a:pt x="1830" y="521"/>
                </a:lnTo>
                <a:lnTo>
                  <a:pt x="1830" y="519"/>
                </a:lnTo>
                <a:lnTo>
                  <a:pt x="1830" y="519"/>
                </a:lnTo>
                <a:lnTo>
                  <a:pt x="1830" y="516"/>
                </a:lnTo>
                <a:lnTo>
                  <a:pt x="1830" y="516"/>
                </a:lnTo>
                <a:lnTo>
                  <a:pt x="1825" y="514"/>
                </a:lnTo>
                <a:lnTo>
                  <a:pt x="1825" y="514"/>
                </a:lnTo>
                <a:lnTo>
                  <a:pt x="1827" y="514"/>
                </a:lnTo>
                <a:lnTo>
                  <a:pt x="1827" y="514"/>
                </a:lnTo>
                <a:lnTo>
                  <a:pt x="1825" y="514"/>
                </a:lnTo>
                <a:lnTo>
                  <a:pt x="1825" y="514"/>
                </a:lnTo>
                <a:lnTo>
                  <a:pt x="1825" y="511"/>
                </a:lnTo>
                <a:lnTo>
                  <a:pt x="1825" y="511"/>
                </a:lnTo>
                <a:lnTo>
                  <a:pt x="1823" y="506"/>
                </a:lnTo>
                <a:lnTo>
                  <a:pt x="1823" y="506"/>
                </a:lnTo>
                <a:lnTo>
                  <a:pt x="1823" y="506"/>
                </a:lnTo>
                <a:lnTo>
                  <a:pt x="1820" y="504"/>
                </a:lnTo>
                <a:lnTo>
                  <a:pt x="1820" y="504"/>
                </a:lnTo>
                <a:lnTo>
                  <a:pt x="1820" y="501"/>
                </a:lnTo>
                <a:lnTo>
                  <a:pt x="1820" y="501"/>
                </a:lnTo>
                <a:lnTo>
                  <a:pt x="1818" y="496"/>
                </a:lnTo>
                <a:lnTo>
                  <a:pt x="1818" y="496"/>
                </a:lnTo>
                <a:lnTo>
                  <a:pt x="1818" y="494"/>
                </a:lnTo>
                <a:lnTo>
                  <a:pt x="1818" y="494"/>
                </a:lnTo>
                <a:lnTo>
                  <a:pt x="1823" y="489"/>
                </a:lnTo>
                <a:lnTo>
                  <a:pt x="1823" y="489"/>
                </a:lnTo>
                <a:lnTo>
                  <a:pt x="1825" y="491"/>
                </a:lnTo>
                <a:lnTo>
                  <a:pt x="1825" y="491"/>
                </a:lnTo>
                <a:lnTo>
                  <a:pt x="1830" y="489"/>
                </a:lnTo>
                <a:lnTo>
                  <a:pt x="1830" y="489"/>
                </a:lnTo>
                <a:lnTo>
                  <a:pt x="1827" y="489"/>
                </a:lnTo>
                <a:lnTo>
                  <a:pt x="1827" y="489"/>
                </a:lnTo>
                <a:lnTo>
                  <a:pt x="1832" y="487"/>
                </a:lnTo>
                <a:lnTo>
                  <a:pt x="1832" y="487"/>
                </a:lnTo>
                <a:lnTo>
                  <a:pt x="1830" y="487"/>
                </a:lnTo>
                <a:lnTo>
                  <a:pt x="1830" y="487"/>
                </a:lnTo>
                <a:lnTo>
                  <a:pt x="1827" y="487"/>
                </a:lnTo>
                <a:lnTo>
                  <a:pt x="1827" y="487"/>
                </a:lnTo>
                <a:lnTo>
                  <a:pt x="1825" y="484"/>
                </a:lnTo>
                <a:lnTo>
                  <a:pt x="1825" y="484"/>
                </a:lnTo>
                <a:lnTo>
                  <a:pt x="1820" y="484"/>
                </a:lnTo>
                <a:lnTo>
                  <a:pt x="1820" y="484"/>
                </a:lnTo>
                <a:lnTo>
                  <a:pt x="1815" y="482"/>
                </a:lnTo>
                <a:lnTo>
                  <a:pt x="1815" y="482"/>
                </a:lnTo>
                <a:lnTo>
                  <a:pt x="1815" y="482"/>
                </a:lnTo>
                <a:lnTo>
                  <a:pt x="1810" y="482"/>
                </a:lnTo>
                <a:lnTo>
                  <a:pt x="1810" y="482"/>
                </a:lnTo>
                <a:lnTo>
                  <a:pt x="1808" y="487"/>
                </a:lnTo>
                <a:lnTo>
                  <a:pt x="1808" y="487"/>
                </a:lnTo>
                <a:lnTo>
                  <a:pt x="1805" y="487"/>
                </a:lnTo>
                <a:lnTo>
                  <a:pt x="1805" y="487"/>
                </a:lnTo>
                <a:lnTo>
                  <a:pt x="1800" y="489"/>
                </a:lnTo>
                <a:lnTo>
                  <a:pt x="1800" y="489"/>
                </a:lnTo>
                <a:lnTo>
                  <a:pt x="1803" y="491"/>
                </a:lnTo>
                <a:lnTo>
                  <a:pt x="1803" y="491"/>
                </a:lnTo>
                <a:lnTo>
                  <a:pt x="1800" y="494"/>
                </a:lnTo>
                <a:lnTo>
                  <a:pt x="1800" y="494"/>
                </a:lnTo>
                <a:lnTo>
                  <a:pt x="1805" y="496"/>
                </a:lnTo>
                <a:lnTo>
                  <a:pt x="1805" y="496"/>
                </a:lnTo>
                <a:lnTo>
                  <a:pt x="1805" y="499"/>
                </a:lnTo>
                <a:lnTo>
                  <a:pt x="1805" y="499"/>
                </a:lnTo>
                <a:lnTo>
                  <a:pt x="1805" y="501"/>
                </a:lnTo>
                <a:lnTo>
                  <a:pt x="1805" y="501"/>
                </a:lnTo>
                <a:lnTo>
                  <a:pt x="1805" y="506"/>
                </a:lnTo>
                <a:lnTo>
                  <a:pt x="1805" y="506"/>
                </a:lnTo>
                <a:lnTo>
                  <a:pt x="1808" y="509"/>
                </a:lnTo>
                <a:lnTo>
                  <a:pt x="1808" y="509"/>
                </a:lnTo>
                <a:lnTo>
                  <a:pt x="1808" y="509"/>
                </a:lnTo>
                <a:lnTo>
                  <a:pt x="1810" y="511"/>
                </a:lnTo>
                <a:lnTo>
                  <a:pt x="1810" y="511"/>
                </a:lnTo>
                <a:lnTo>
                  <a:pt x="1813" y="516"/>
                </a:lnTo>
                <a:lnTo>
                  <a:pt x="1813" y="516"/>
                </a:lnTo>
                <a:lnTo>
                  <a:pt x="1818" y="519"/>
                </a:lnTo>
                <a:lnTo>
                  <a:pt x="1818" y="519"/>
                </a:lnTo>
                <a:lnTo>
                  <a:pt x="1815" y="523"/>
                </a:lnTo>
                <a:lnTo>
                  <a:pt x="1815" y="523"/>
                </a:lnTo>
                <a:lnTo>
                  <a:pt x="1818" y="523"/>
                </a:lnTo>
                <a:lnTo>
                  <a:pt x="1818" y="523"/>
                </a:lnTo>
                <a:lnTo>
                  <a:pt x="1818" y="526"/>
                </a:lnTo>
                <a:lnTo>
                  <a:pt x="1818" y="526"/>
                </a:lnTo>
                <a:lnTo>
                  <a:pt x="1815" y="523"/>
                </a:lnTo>
                <a:lnTo>
                  <a:pt x="1815" y="523"/>
                </a:lnTo>
                <a:lnTo>
                  <a:pt x="1813" y="521"/>
                </a:lnTo>
                <a:lnTo>
                  <a:pt x="1813" y="521"/>
                </a:lnTo>
                <a:lnTo>
                  <a:pt x="1810" y="523"/>
                </a:lnTo>
                <a:lnTo>
                  <a:pt x="1810" y="523"/>
                </a:lnTo>
                <a:lnTo>
                  <a:pt x="1808" y="526"/>
                </a:lnTo>
                <a:lnTo>
                  <a:pt x="1808" y="526"/>
                </a:lnTo>
                <a:lnTo>
                  <a:pt x="1805" y="528"/>
                </a:lnTo>
                <a:lnTo>
                  <a:pt x="1805" y="528"/>
                </a:lnTo>
                <a:lnTo>
                  <a:pt x="1808" y="531"/>
                </a:lnTo>
                <a:lnTo>
                  <a:pt x="1808" y="531"/>
                </a:lnTo>
                <a:lnTo>
                  <a:pt x="1805" y="536"/>
                </a:lnTo>
                <a:lnTo>
                  <a:pt x="1805" y="536"/>
                </a:lnTo>
                <a:lnTo>
                  <a:pt x="1805" y="536"/>
                </a:lnTo>
                <a:lnTo>
                  <a:pt x="1805" y="538"/>
                </a:lnTo>
                <a:lnTo>
                  <a:pt x="1805" y="538"/>
                </a:lnTo>
                <a:lnTo>
                  <a:pt x="1805" y="538"/>
                </a:lnTo>
                <a:lnTo>
                  <a:pt x="1805" y="541"/>
                </a:lnTo>
                <a:lnTo>
                  <a:pt x="1805" y="541"/>
                </a:lnTo>
                <a:lnTo>
                  <a:pt x="1803" y="543"/>
                </a:lnTo>
                <a:lnTo>
                  <a:pt x="1803" y="543"/>
                </a:lnTo>
                <a:lnTo>
                  <a:pt x="1805" y="546"/>
                </a:lnTo>
                <a:lnTo>
                  <a:pt x="1805" y="546"/>
                </a:lnTo>
                <a:lnTo>
                  <a:pt x="1803" y="548"/>
                </a:lnTo>
                <a:lnTo>
                  <a:pt x="1803" y="548"/>
                </a:lnTo>
                <a:lnTo>
                  <a:pt x="1803" y="555"/>
                </a:lnTo>
                <a:lnTo>
                  <a:pt x="1803" y="555"/>
                </a:lnTo>
                <a:lnTo>
                  <a:pt x="1803" y="558"/>
                </a:lnTo>
                <a:lnTo>
                  <a:pt x="1803" y="558"/>
                </a:lnTo>
                <a:lnTo>
                  <a:pt x="1803" y="560"/>
                </a:lnTo>
                <a:lnTo>
                  <a:pt x="1803" y="560"/>
                </a:lnTo>
                <a:lnTo>
                  <a:pt x="1800" y="560"/>
                </a:lnTo>
                <a:lnTo>
                  <a:pt x="1800" y="560"/>
                </a:lnTo>
                <a:lnTo>
                  <a:pt x="1798" y="565"/>
                </a:lnTo>
                <a:lnTo>
                  <a:pt x="1798" y="565"/>
                </a:lnTo>
                <a:lnTo>
                  <a:pt x="1798" y="563"/>
                </a:lnTo>
                <a:lnTo>
                  <a:pt x="1798" y="563"/>
                </a:lnTo>
                <a:lnTo>
                  <a:pt x="1795" y="560"/>
                </a:lnTo>
                <a:lnTo>
                  <a:pt x="1795" y="560"/>
                </a:lnTo>
                <a:lnTo>
                  <a:pt x="1798" y="555"/>
                </a:lnTo>
                <a:lnTo>
                  <a:pt x="1798" y="555"/>
                </a:lnTo>
                <a:lnTo>
                  <a:pt x="1795" y="553"/>
                </a:lnTo>
                <a:lnTo>
                  <a:pt x="1795" y="553"/>
                </a:lnTo>
                <a:lnTo>
                  <a:pt x="1793" y="553"/>
                </a:lnTo>
                <a:lnTo>
                  <a:pt x="1793" y="553"/>
                </a:lnTo>
                <a:lnTo>
                  <a:pt x="1791" y="555"/>
                </a:lnTo>
                <a:lnTo>
                  <a:pt x="1791" y="555"/>
                </a:lnTo>
                <a:lnTo>
                  <a:pt x="1791" y="558"/>
                </a:lnTo>
                <a:lnTo>
                  <a:pt x="1791" y="558"/>
                </a:lnTo>
                <a:lnTo>
                  <a:pt x="1788" y="558"/>
                </a:lnTo>
                <a:lnTo>
                  <a:pt x="1788" y="558"/>
                </a:lnTo>
                <a:lnTo>
                  <a:pt x="1788" y="553"/>
                </a:lnTo>
                <a:lnTo>
                  <a:pt x="1788" y="553"/>
                </a:lnTo>
                <a:lnTo>
                  <a:pt x="1786" y="553"/>
                </a:lnTo>
                <a:lnTo>
                  <a:pt x="1786" y="553"/>
                </a:lnTo>
                <a:lnTo>
                  <a:pt x="1786" y="550"/>
                </a:lnTo>
                <a:lnTo>
                  <a:pt x="1786" y="550"/>
                </a:lnTo>
                <a:lnTo>
                  <a:pt x="1781" y="553"/>
                </a:lnTo>
                <a:lnTo>
                  <a:pt x="1781" y="553"/>
                </a:lnTo>
                <a:lnTo>
                  <a:pt x="1781" y="550"/>
                </a:lnTo>
                <a:lnTo>
                  <a:pt x="1781" y="550"/>
                </a:lnTo>
                <a:lnTo>
                  <a:pt x="1781" y="550"/>
                </a:lnTo>
                <a:lnTo>
                  <a:pt x="1783" y="548"/>
                </a:lnTo>
                <a:lnTo>
                  <a:pt x="1783" y="548"/>
                </a:lnTo>
                <a:lnTo>
                  <a:pt x="1783" y="548"/>
                </a:lnTo>
                <a:lnTo>
                  <a:pt x="1783" y="546"/>
                </a:lnTo>
                <a:lnTo>
                  <a:pt x="1783" y="546"/>
                </a:lnTo>
                <a:lnTo>
                  <a:pt x="1783" y="546"/>
                </a:lnTo>
                <a:lnTo>
                  <a:pt x="1783" y="541"/>
                </a:lnTo>
                <a:lnTo>
                  <a:pt x="1783" y="541"/>
                </a:lnTo>
                <a:lnTo>
                  <a:pt x="1781" y="541"/>
                </a:lnTo>
                <a:lnTo>
                  <a:pt x="1781" y="541"/>
                </a:lnTo>
                <a:lnTo>
                  <a:pt x="1783" y="538"/>
                </a:lnTo>
                <a:lnTo>
                  <a:pt x="1783" y="538"/>
                </a:lnTo>
                <a:lnTo>
                  <a:pt x="1781" y="536"/>
                </a:lnTo>
                <a:lnTo>
                  <a:pt x="1781" y="536"/>
                </a:lnTo>
                <a:lnTo>
                  <a:pt x="1781" y="533"/>
                </a:lnTo>
                <a:lnTo>
                  <a:pt x="1781" y="533"/>
                </a:lnTo>
                <a:lnTo>
                  <a:pt x="1781" y="533"/>
                </a:lnTo>
                <a:lnTo>
                  <a:pt x="1781" y="528"/>
                </a:lnTo>
                <a:lnTo>
                  <a:pt x="1781" y="528"/>
                </a:lnTo>
                <a:lnTo>
                  <a:pt x="1778" y="526"/>
                </a:lnTo>
                <a:lnTo>
                  <a:pt x="1778" y="526"/>
                </a:lnTo>
                <a:lnTo>
                  <a:pt x="1776" y="523"/>
                </a:lnTo>
                <a:lnTo>
                  <a:pt x="1776" y="523"/>
                </a:lnTo>
                <a:lnTo>
                  <a:pt x="1776" y="523"/>
                </a:lnTo>
                <a:lnTo>
                  <a:pt x="1776" y="528"/>
                </a:lnTo>
                <a:lnTo>
                  <a:pt x="1776" y="528"/>
                </a:lnTo>
                <a:lnTo>
                  <a:pt x="1773" y="528"/>
                </a:lnTo>
                <a:lnTo>
                  <a:pt x="1773" y="528"/>
                </a:lnTo>
                <a:lnTo>
                  <a:pt x="1773" y="533"/>
                </a:lnTo>
                <a:lnTo>
                  <a:pt x="1773" y="533"/>
                </a:lnTo>
                <a:lnTo>
                  <a:pt x="1771" y="536"/>
                </a:lnTo>
                <a:lnTo>
                  <a:pt x="1771" y="536"/>
                </a:lnTo>
                <a:lnTo>
                  <a:pt x="1768" y="536"/>
                </a:lnTo>
                <a:lnTo>
                  <a:pt x="1768" y="536"/>
                </a:lnTo>
                <a:lnTo>
                  <a:pt x="1768" y="531"/>
                </a:lnTo>
                <a:lnTo>
                  <a:pt x="1768" y="531"/>
                </a:lnTo>
                <a:lnTo>
                  <a:pt x="1766" y="531"/>
                </a:lnTo>
                <a:lnTo>
                  <a:pt x="1766" y="531"/>
                </a:lnTo>
                <a:lnTo>
                  <a:pt x="1766" y="533"/>
                </a:lnTo>
                <a:lnTo>
                  <a:pt x="1766" y="533"/>
                </a:lnTo>
                <a:lnTo>
                  <a:pt x="1763" y="528"/>
                </a:lnTo>
                <a:lnTo>
                  <a:pt x="1763" y="528"/>
                </a:lnTo>
                <a:lnTo>
                  <a:pt x="1761" y="528"/>
                </a:lnTo>
                <a:lnTo>
                  <a:pt x="1761" y="528"/>
                </a:lnTo>
                <a:lnTo>
                  <a:pt x="1761" y="531"/>
                </a:lnTo>
                <a:lnTo>
                  <a:pt x="1761" y="531"/>
                </a:lnTo>
                <a:lnTo>
                  <a:pt x="1759" y="531"/>
                </a:lnTo>
                <a:lnTo>
                  <a:pt x="1759" y="531"/>
                </a:lnTo>
                <a:lnTo>
                  <a:pt x="1759" y="533"/>
                </a:lnTo>
                <a:lnTo>
                  <a:pt x="1759" y="533"/>
                </a:lnTo>
                <a:lnTo>
                  <a:pt x="1756" y="533"/>
                </a:lnTo>
                <a:lnTo>
                  <a:pt x="1756" y="533"/>
                </a:lnTo>
                <a:lnTo>
                  <a:pt x="1756" y="536"/>
                </a:lnTo>
                <a:lnTo>
                  <a:pt x="1756" y="536"/>
                </a:lnTo>
                <a:lnTo>
                  <a:pt x="1749" y="536"/>
                </a:lnTo>
                <a:lnTo>
                  <a:pt x="1749" y="536"/>
                </a:lnTo>
                <a:lnTo>
                  <a:pt x="1749" y="538"/>
                </a:lnTo>
                <a:lnTo>
                  <a:pt x="1749" y="538"/>
                </a:lnTo>
                <a:lnTo>
                  <a:pt x="1746" y="538"/>
                </a:lnTo>
                <a:lnTo>
                  <a:pt x="1746" y="538"/>
                </a:lnTo>
                <a:lnTo>
                  <a:pt x="1744" y="538"/>
                </a:lnTo>
                <a:lnTo>
                  <a:pt x="1744" y="538"/>
                </a:lnTo>
                <a:lnTo>
                  <a:pt x="1741" y="538"/>
                </a:lnTo>
                <a:lnTo>
                  <a:pt x="1741" y="538"/>
                </a:lnTo>
                <a:lnTo>
                  <a:pt x="1736" y="543"/>
                </a:lnTo>
                <a:lnTo>
                  <a:pt x="1736" y="543"/>
                </a:lnTo>
                <a:lnTo>
                  <a:pt x="1734" y="546"/>
                </a:lnTo>
                <a:lnTo>
                  <a:pt x="1734" y="546"/>
                </a:lnTo>
                <a:lnTo>
                  <a:pt x="1736" y="548"/>
                </a:lnTo>
                <a:lnTo>
                  <a:pt x="1736" y="548"/>
                </a:lnTo>
                <a:lnTo>
                  <a:pt x="1732" y="550"/>
                </a:lnTo>
                <a:lnTo>
                  <a:pt x="1732" y="550"/>
                </a:lnTo>
                <a:lnTo>
                  <a:pt x="1732" y="553"/>
                </a:lnTo>
                <a:lnTo>
                  <a:pt x="1732" y="553"/>
                </a:lnTo>
                <a:lnTo>
                  <a:pt x="1734" y="553"/>
                </a:lnTo>
                <a:lnTo>
                  <a:pt x="1734" y="553"/>
                </a:lnTo>
                <a:lnTo>
                  <a:pt x="1734" y="558"/>
                </a:lnTo>
                <a:lnTo>
                  <a:pt x="1734" y="558"/>
                </a:lnTo>
                <a:lnTo>
                  <a:pt x="1739" y="563"/>
                </a:lnTo>
                <a:lnTo>
                  <a:pt x="1739" y="563"/>
                </a:lnTo>
                <a:lnTo>
                  <a:pt x="1736" y="565"/>
                </a:lnTo>
                <a:lnTo>
                  <a:pt x="1736" y="565"/>
                </a:lnTo>
                <a:lnTo>
                  <a:pt x="1734" y="575"/>
                </a:lnTo>
                <a:lnTo>
                  <a:pt x="1734" y="575"/>
                </a:lnTo>
                <a:lnTo>
                  <a:pt x="1739" y="580"/>
                </a:lnTo>
                <a:lnTo>
                  <a:pt x="1739" y="580"/>
                </a:lnTo>
                <a:lnTo>
                  <a:pt x="1734" y="580"/>
                </a:lnTo>
                <a:lnTo>
                  <a:pt x="1734" y="580"/>
                </a:lnTo>
                <a:lnTo>
                  <a:pt x="1736" y="582"/>
                </a:lnTo>
                <a:lnTo>
                  <a:pt x="1736" y="582"/>
                </a:lnTo>
                <a:lnTo>
                  <a:pt x="1736" y="585"/>
                </a:lnTo>
                <a:lnTo>
                  <a:pt x="1736" y="585"/>
                </a:lnTo>
                <a:lnTo>
                  <a:pt x="1734" y="587"/>
                </a:lnTo>
                <a:lnTo>
                  <a:pt x="1734" y="587"/>
                </a:lnTo>
                <a:lnTo>
                  <a:pt x="1732" y="592"/>
                </a:lnTo>
                <a:lnTo>
                  <a:pt x="1732" y="592"/>
                </a:lnTo>
                <a:lnTo>
                  <a:pt x="1729" y="595"/>
                </a:lnTo>
                <a:lnTo>
                  <a:pt x="1729" y="595"/>
                </a:lnTo>
                <a:lnTo>
                  <a:pt x="1729" y="600"/>
                </a:lnTo>
                <a:lnTo>
                  <a:pt x="1729" y="600"/>
                </a:lnTo>
                <a:lnTo>
                  <a:pt x="1729" y="605"/>
                </a:lnTo>
                <a:lnTo>
                  <a:pt x="1729" y="605"/>
                </a:lnTo>
                <a:lnTo>
                  <a:pt x="1732" y="610"/>
                </a:lnTo>
                <a:lnTo>
                  <a:pt x="1732" y="610"/>
                </a:lnTo>
                <a:lnTo>
                  <a:pt x="1729" y="610"/>
                </a:lnTo>
                <a:lnTo>
                  <a:pt x="1729" y="610"/>
                </a:lnTo>
                <a:lnTo>
                  <a:pt x="1734" y="617"/>
                </a:lnTo>
                <a:lnTo>
                  <a:pt x="1734" y="617"/>
                </a:lnTo>
                <a:lnTo>
                  <a:pt x="1732" y="617"/>
                </a:lnTo>
                <a:lnTo>
                  <a:pt x="1732" y="617"/>
                </a:lnTo>
                <a:lnTo>
                  <a:pt x="1732" y="619"/>
                </a:lnTo>
                <a:lnTo>
                  <a:pt x="1732" y="619"/>
                </a:lnTo>
                <a:lnTo>
                  <a:pt x="1734" y="622"/>
                </a:lnTo>
                <a:lnTo>
                  <a:pt x="1734" y="622"/>
                </a:lnTo>
                <a:lnTo>
                  <a:pt x="1734" y="619"/>
                </a:lnTo>
                <a:lnTo>
                  <a:pt x="1734" y="619"/>
                </a:lnTo>
                <a:lnTo>
                  <a:pt x="1736" y="619"/>
                </a:lnTo>
                <a:lnTo>
                  <a:pt x="1736" y="619"/>
                </a:lnTo>
                <a:lnTo>
                  <a:pt x="1736" y="619"/>
                </a:lnTo>
                <a:lnTo>
                  <a:pt x="1739" y="617"/>
                </a:lnTo>
                <a:lnTo>
                  <a:pt x="1739" y="617"/>
                </a:lnTo>
                <a:lnTo>
                  <a:pt x="1741" y="619"/>
                </a:lnTo>
                <a:lnTo>
                  <a:pt x="1741" y="619"/>
                </a:lnTo>
                <a:lnTo>
                  <a:pt x="1741" y="619"/>
                </a:lnTo>
                <a:lnTo>
                  <a:pt x="1741" y="617"/>
                </a:lnTo>
                <a:lnTo>
                  <a:pt x="1741" y="617"/>
                </a:lnTo>
                <a:lnTo>
                  <a:pt x="1744" y="617"/>
                </a:lnTo>
                <a:lnTo>
                  <a:pt x="1744" y="617"/>
                </a:lnTo>
                <a:lnTo>
                  <a:pt x="1744" y="619"/>
                </a:lnTo>
                <a:lnTo>
                  <a:pt x="1744" y="619"/>
                </a:lnTo>
                <a:lnTo>
                  <a:pt x="1746" y="619"/>
                </a:lnTo>
                <a:lnTo>
                  <a:pt x="1746" y="619"/>
                </a:lnTo>
                <a:lnTo>
                  <a:pt x="1749" y="622"/>
                </a:lnTo>
                <a:lnTo>
                  <a:pt x="1749" y="622"/>
                </a:lnTo>
                <a:lnTo>
                  <a:pt x="1746" y="622"/>
                </a:lnTo>
                <a:lnTo>
                  <a:pt x="1746" y="622"/>
                </a:lnTo>
                <a:lnTo>
                  <a:pt x="1749" y="624"/>
                </a:lnTo>
                <a:lnTo>
                  <a:pt x="1749" y="624"/>
                </a:lnTo>
                <a:lnTo>
                  <a:pt x="1749" y="627"/>
                </a:lnTo>
                <a:lnTo>
                  <a:pt x="1749" y="627"/>
                </a:lnTo>
                <a:lnTo>
                  <a:pt x="1746" y="627"/>
                </a:lnTo>
                <a:lnTo>
                  <a:pt x="1746" y="627"/>
                </a:lnTo>
                <a:lnTo>
                  <a:pt x="1746" y="627"/>
                </a:lnTo>
                <a:lnTo>
                  <a:pt x="1744" y="627"/>
                </a:lnTo>
                <a:lnTo>
                  <a:pt x="1744" y="627"/>
                </a:lnTo>
                <a:lnTo>
                  <a:pt x="1741" y="629"/>
                </a:lnTo>
                <a:lnTo>
                  <a:pt x="1741" y="629"/>
                </a:lnTo>
                <a:lnTo>
                  <a:pt x="1741" y="629"/>
                </a:lnTo>
                <a:lnTo>
                  <a:pt x="1741" y="632"/>
                </a:lnTo>
                <a:lnTo>
                  <a:pt x="1741" y="632"/>
                </a:lnTo>
                <a:lnTo>
                  <a:pt x="1739" y="634"/>
                </a:lnTo>
                <a:lnTo>
                  <a:pt x="1739" y="634"/>
                </a:lnTo>
                <a:lnTo>
                  <a:pt x="1736" y="634"/>
                </a:lnTo>
                <a:lnTo>
                  <a:pt x="1736" y="634"/>
                </a:lnTo>
                <a:lnTo>
                  <a:pt x="1736" y="632"/>
                </a:lnTo>
                <a:lnTo>
                  <a:pt x="1736" y="632"/>
                </a:lnTo>
                <a:lnTo>
                  <a:pt x="1734" y="629"/>
                </a:lnTo>
                <a:lnTo>
                  <a:pt x="1734" y="629"/>
                </a:lnTo>
                <a:lnTo>
                  <a:pt x="1732" y="632"/>
                </a:lnTo>
                <a:lnTo>
                  <a:pt x="1732" y="632"/>
                </a:lnTo>
                <a:lnTo>
                  <a:pt x="1729" y="629"/>
                </a:lnTo>
                <a:lnTo>
                  <a:pt x="1729" y="629"/>
                </a:lnTo>
                <a:lnTo>
                  <a:pt x="1729" y="632"/>
                </a:lnTo>
                <a:lnTo>
                  <a:pt x="1729" y="632"/>
                </a:lnTo>
                <a:lnTo>
                  <a:pt x="1729" y="634"/>
                </a:lnTo>
                <a:lnTo>
                  <a:pt x="1729" y="634"/>
                </a:lnTo>
                <a:lnTo>
                  <a:pt x="1729" y="637"/>
                </a:lnTo>
                <a:lnTo>
                  <a:pt x="1729" y="637"/>
                </a:lnTo>
                <a:lnTo>
                  <a:pt x="1727" y="637"/>
                </a:lnTo>
                <a:lnTo>
                  <a:pt x="1727" y="637"/>
                </a:lnTo>
                <a:lnTo>
                  <a:pt x="1727" y="637"/>
                </a:lnTo>
                <a:lnTo>
                  <a:pt x="1724" y="639"/>
                </a:lnTo>
                <a:lnTo>
                  <a:pt x="1724" y="639"/>
                </a:lnTo>
                <a:lnTo>
                  <a:pt x="1724" y="641"/>
                </a:lnTo>
                <a:lnTo>
                  <a:pt x="1724" y="641"/>
                </a:lnTo>
                <a:lnTo>
                  <a:pt x="1724" y="641"/>
                </a:lnTo>
                <a:lnTo>
                  <a:pt x="1722" y="641"/>
                </a:lnTo>
                <a:lnTo>
                  <a:pt x="1722" y="641"/>
                </a:lnTo>
                <a:lnTo>
                  <a:pt x="1717" y="639"/>
                </a:lnTo>
                <a:lnTo>
                  <a:pt x="1717" y="639"/>
                </a:lnTo>
                <a:lnTo>
                  <a:pt x="1717" y="639"/>
                </a:lnTo>
                <a:lnTo>
                  <a:pt x="1719" y="641"/>
                </a:lnTo>
                <a:lnTo>
                  <a:pt x="1719" y="641"/>
                </a:lnTo>
                <a:lnTo>
                  <a:pt x="1714" y="644"/>
                </a:lnTo>
                <a:lnTo>
                  <a:pt x="1714" y="644"/>
                </a:lnTo>
                <a:lnTo>
                  <a:pt x="1717" y="644"/>
                </a:lnTo>
                <a:lnTo>
                  <a:pt x="1717" y="644"/>
                </a:lnTo>
                <a:lnTo>
                  <a:pt x="1714" y="646"/>
                </a:lnTo>
                <a:lnTo>
                  <a:pt x="1714" y="646"/>
                </a:lnTo>
                <a:lnTo>
                  <a:pt x="1709" y="649"/>
                </a:lnTo>
                <a:lnTo>
                  <a:pt x="1709" y="649"/>
                </a:lnTo>
                <a:lnTo>
                  <a:pt x="1707" y="649"/>
                </a:lnTo>
                <a:lnTo>
                  <a:pt x="1707" y="649"/>
                </a:lnTo>
                <a:lnTo>
                  <a:pt x="1704" y="644"/>
                </a:lnTo>
                <a:lnTo>
                  <a:pt x="1704" y="644"/>
                </a:lnTo>
                <a:lnTo>
                  <a:pt x="1702" y="644"/>
                </a:lnTo>
                <a:lnTo>
                  <a:pt x="1702" y="644"/>
                </a:lnTo>
                <a:lnTo>
                  <a:pt x="1700" y="644"/>
                </a:lnTo>
                <a:lnTo>
                  <a:pt x="1700" y="644"/>
                </a:lnTo>
                <a:lnTo>
                  <a:pt x="1702" y="641"/>
                </a:lnTo>
                <a:lnTo>
                  <a:pt x="1702" y="641"/>
                </a:lnTo>
                <a:lnTo>
                  <a:pt x="1704" y="641"/>
                </a:lnTo>
                <a:lnTo>
                  <a:pt x="1704" y="641"/>
                </a:lnTo>
                <a:lnTo>
                  <a:pt x="1702" y="639"/>
                </a:lnTo>
                <a:lnTo>
                  <a:pt x="1702" y="639"/>
                </a:lnTo>
                <a:lnTo>
                  <a:pt x="1704" y="637"/>
                </a:lnTo>
                <a:lnTo>
                  <a:pt x="1704" y="637"/>
                </a:lnTo>
                <a:lnTo>
                  <a:pt x="1709" y="637"/>
                </a:lnTo>
                <a:lnTo>
                  <a:pt x="1709" y="637"/>
                </a:lnTo>
                <a:lnTo>
                  <a:pt x="1714" y="634"/>
                </a:lnTo>
                <a:lnTo>
                  <a:pt x="1714" y="634"/>
                </a:lnTo>
                <a:lnTo>
                  <a:pt x="1714" y="632"/>
                </a:lnTo>
                <a:lnTo>
                  <a:pt x="1714" y="632"/>
                </a:lnTo>
                <a:lnTo>
                  <a:pt x="1712" y="632"/>
                </a:lnTo>
                <a:lnTo>
                  <a:pt x="1712" y="632"/>
                </a:lnTo>
                <a:lnTo>
                  <a:pt x="1709" y="634"/>
                </a:lnTo>
                <a:lnTo>
                  <a:pt x="1709" y="634"/>
                </a:lnTo>
                <a:lnTo>
                  <a:pt x="1704" y="632"/>
                </a:lnTo>
                <a:lnTo>
                  <a:pt x="1704" y="632"/>
                </a:lnTo>
                <a:lnTo>
                  <a:pt x="1704" y="632"/>
                </a:lnTo>
                <a:lnTo>
                  <a:pt x="1702" y="629"/>
                </a:lnTo>
                <a:lnTo>
                  <a:pt x="1702" y="629"/>
                </a:lnTo>
                <a:lnTo>
                  <a:pt x="1700" y="629"/>
                </a:lnTo>
                <a:lnTo>
                  <a:pt x="1700" y="629"/>
                </a:lnTo>
                <a:lnTo>
                  <a:pt x="1695" y="627"/>
                </a:lnTo>
                <a:lnTo>
                  <a:pt x="1695" y="627"/>
                </a:lnTo>
                <a:lnTo>
                  <a:pt x="1690" y="627"/>
                </a:lnTo>
                <a:lnTo>
                  <a:pt x="1690" y="627"/>
                </a:lnTo>
                <a:lnTo>
                  <a:pt x="1692" y="629"/>
                </a:lnTo>
                <a:lnTo>
                  <a:pt x="1692" y="629"/>
                </a:lnTo>
                <a:lnTo>
                  <a:pt x="1690" y="632"/>
                </a:lnTo>
                <a:lnTo>
                  <a:pt x="1690" y="632"/>
                </a:lnTo>
                <a:lnTo>
                  <a:pt x="1687" y="629"/>
                </a:lnTo>
                <a:lnTo>
                  <a:pt x="1687" y="629"/>
                </a:lnTo>
                <a:lnTo>
                  <a:pt x="1687" y="627"/>
                </a:lnTo>
                <a:lnTo>
                  <a:pt x="1687" y="627"/>
                </a:lnTo>
                <a:lnTo>
                  <a:pt x="1682" y="629"/>
                </a:lnTo>
                <a:lnTo>
                  <a:pt x="1682" y="629"/>
                </a:lnTo>
                <a:lnTo>
                  <a:pt x="1677" y="627"/>
                </a:lnTo>
                <a:lnTo>
                  <a:pt x="1677" y="627"/>
                </a:lnTo>
                <a:lnTo>
                  <a:pt x="1675" y="629"/>
                </a:lnTo>
                <a:lnTo>
                  <a:pt x="1675" y="629"/>
                </a:lnTo>
                <a:lnTo>
                  <a:pt x="1672" y="627"/>
                </a:lnTo>
                <a:lnTo>
                  <a:pt x="1672" y="627"/>
                </a:lnTo>
                <a:lnTo>
                  <a:pt x="1668" y="627"/>
                </a:lnTo>
                <a:lnTo>
                  <a:pt x="1668" y="627"/>
                </a:lnTo>
                <a:lnTo>
                  <a:pt x="1665" y="632"/>
                </a:lnTo>
                <a:lnTo>
                  <a:pt x="1665" y="632"/>
                </a:lnTo>
                <a:lnTo>
                  <a:pt x="1663" y="632"/>
                </a:lnTo>
                <a:lnTo>
                  <a:pt x="1663" y="632"/>
                </a:lnTo>
                <a:lnTo>
                  <a:pt x="1663" y="634"/>
                </a:lnTo>
                <a:lnTo>
                  <a:pt x="1663" y="634"/>
                </a:lnTo>
                <a:lnTo>
                  <a:pt x="1668" y="637"/>
                </a:lnTo>
                <a:lnTo>
                  <a:pt x="1668" y="637"/>
                </a:lnTo>
                <a:lnTo>
                  <a:pt x="1663" y="637"/>
                </a:lnTo>
                <a:lnTo>
                  <a:pt x="1663" y="637"/>
                </a:lnTo>
                <a:lnTo>
                  <a:pt x="1660" y="634"/>
                </a:lnTo>
                <a:lnTo>
                  <a:pt x="1660" y="634"/>
                </a:lnTo>
                <a:lnTo>
                  <a:pt x="1658" y="639"/>
                </a:lnTo>
                <a:lnTo>
                  <a:pt x="1658" y="639"/>
                </a:lnTo>
                <a:lnTo>
                  <a:pt x="1663" y="641"/>
                </a:lnTo>
                <a:lnTo>
                  <a:pt x="1663" y="641"/>
                </a:lnTo>
                <a:lnTo>
                  <a:pt x="1665" y="639"/>
                </a:lnTo>
                <a:lnTo>
                  <a:pt x="1665" y="639"/>
                </a:lnTo>
                <a:lnTo>
                  <a:pt x="1665" y="641"/>
                </a:lnTo>
                <a:lnTo>
                  <a:pt x="1665" y="641"/>
                </a:lnTo>
                <a:lnTo>
                  <a:pt x="1665" y="644"/>
                </a:lnTo>
                <a:lnTo>
                  <a:pt x="1665" y="644"/>
                </a:lnTo>
                <a:lnTo>
                  <a:pt x="1660" y="646"/>
                </a:lnTo>
                <a:lnTo>
                  <a:pt x="1660" y="646"/>
                </a:lnTo>
                <a:lnTo>
                  <a:pt x="1658" y="644"/>
                </a:lnTo>
                <a:lnTo>
                  <a:pt x="1658" y="644"/>
                </a:lnTo>
                <a:lnTo>
                  <a:pt x="1653" y="641"/>
                </a:lnTo>
                <a:lnTo>
                  <a:pt x="1653" y="641"/>
                </a:lnTo>
                <a:lnTo>
                  <a:pt x="1650" y="644"/>
                </a:lnTo>
                <a:lnTo>
                  <a:pt x="1650" y="644"/>
                </a:lnTo>
                <a:lnTo>
                  <a:pt x="1653" y="646"/>
                </a:lnTo>
                <a:lnTo>
                  <a:pt x="1653" y="646"/>
                </a:lnTo>
                <a:lnTo>
                  <a:pt x="1650" y="646"/>
                </a:lnTo>
                <a:lnTo>
                  <a:pt x="1650" y="646"/>
                </a:lnTo>
                <a:lnTo>
                  <a:pt x="1648" y="649"/>
                </a:lnTo>
                <a:lnTo>
                  <a:pt x="1648" y="649"/>
                </a:lnTo>
                <a:lnTo>
                  <a:pt x="1645" y="649"/>
                </a:lnTo>
                <a:lnTo>
                  <a:pt x="1645" y="649"/>
                </a:lnTo>
                <a:lnTo>
                  <a:pt x="1645" y="646"/>
                </a:lnTo>
                <a:lnTo>
                  <a:pt x="1645" y="646"/>
                </a:lnTo>
                <a:lnTo>
                  <a:pt x="1638" y="646"/>
                </a:lnTo>
                <a:lnTo>
                  <a:pt x="1638" y="646"/>
                </a:lnTo>
                <a:lnTo>
                  <a:pt x="1636" y="646"/>
                </a:lnTo>
                <a:lnTo>
                  <a:pt x="1636" y="646"/>
                </a:lnTo>
                <a:lnTo>
                  <a:pt x="1631" y="646"/>
                </a:lnTo>
                <a:lnTo>
                  <a:pt x="1631" y="646"/>
                </a:lnTo>
                <a:lnTo>
                  <a:pt x="1626" y="649"/>
                </a:lnTo>
                <a:lnTo>
                  <a:pt x="1626" y="649"/>
                </a:lnTo>
                <a:lnTo>
                  <a:pt x="1626" y="649"/>
                </a:lnTo>
                <a:lnTo>
                  <a:pt x="1631" y="654"/>
                </a:lnTo>
                <a:lnTo>
                  <a:pt x="1631" y="654"/>
                </a:lnTo>
                <a:lnTo>
                  <a:pt x="1628" y="656"/>
                </a:lnTo>
                <a:lnTo>
                  <a:pt x="1628" y="656"/>
                </a:lnTo>
                <a:lnTo>
                  <a:pt x="1628" y="659"/>
                </a:lnTo>
                <a:lnTo>
                  <a:pt x="1628" y="659"/>
                </a:lnTo>
                <a:lnTo>
                  <a:pt x="1623" y="656"/>
                </a:lnTo>
                <a:lnTo>
                  <a:pt x="1623" y="656"/>
                </a:lnTo>
                <a:lnTo>
                  <a:pt x="1623" y="654"/>
                </a:lnTo>
                <a:lnTo>
                  <a:pt x="1623" y="654"/>
                </a:lnTo>
                <a:lnTo>
                  <a:pt x="1623" y="651"/>
                </a:lnTo>
                <a:lnTo>
                  <a:pt x="1623" y="651"/>
                </a:lnTo>
                <a:lnTo>
                  <a:pt x="1621" y="649"/>
                </a:lnTo>
                <a:lnTo>
                  <a:pt x="1621" y="649"/>
                </a:lnTo>
                <a:lnTo>
                  <a:pt x="1618" y="651"/>
                </a:lnTo>
                <a:lnTo>
                  <a:pt x="1618" y="651"/>
                </a:lnTo>
                <a:lnTo>
                  <a:pt x="1616" y="651"/>
                </a:lnTo>
                <a:lnTo>
                  <a:pt x="1616" y="651"/>
                </a:lnTo>
                <a:lnTo>
                  <a:pt x="1613" y="651"/>
                </a:lnTo>
                <a:lnTo>
                  <a:pt x="1613" y="651"/>
                </a:lnTo>
                <a:lnTo>
                  <a:pt x="1611" y="654"/>
                </a:lnTo>
                <a:lnTo>
                  <a:pt x="1611" y="654"/>
                </a:lnTo>
                <a:lnTo>
                  <a:pt x="1609" y="654"/>
                </a:lnTo>
                <a:lnTo>
                  <a:pt x="1609" y="654"/>
                </a:lnTo>
                <a:lnTo>
                  <a:pt x="1604" y="656"/>
                </a:lnTo>
                <a:lnTo>
                  <a:pt x="1604" y="656"/>
                </a:lnTo>
                <a:lnTo>
                  <a:pt x="1599" y="656"/>
                </a:lnTo>
                <a:lnTo>
                  <a:pt x="1599" y="656"/>
                </a:lnTo>
                <a:lnTo>
                  <a:pt x="1594" y="661"/>
                </a:lnTo>
                <a:lnTo>
                  <a:pt x="1594" y="661"/>
                </a:lnTo>
                <a:lnTo>
                  <a:pt x="1589" y="661"/>
                </a:lnTo>
                <a:lnTo>
                  <a:pt x="1589" y="661"/>
                </a:lnTo>
                <a:lnTo>
                  <a:pt x="1589" y="659"/>
                </a:lnTo>
                <a:lnTo>
                  <a:pt x="1589" y="659"/>
                </a:lnTo>
                <a:lnTo>
                  <a:pt x="1586" y="661"/>
                </a:lnTo>
                <a:lnTo>
                  <a:pt x="1586" y="661"/>
                </a:lnTo>
                <a:lnTo>
                  <a:pt x="1584" y="664"/>
                </a:lnTo>
                <a:lnTo>
                  <a:pt x="1584" y="664"/>
                </a:lnTo>
                <a:lnTo>
                  <a:pt x="1579" y="666"/>
                </a:lnTo>
                <a:lnTo>
                  <a:pt x="1579" y="666"/>
                </a:lnTo>
                <a:lnTo>
                  <a:pt x="1579" y="671"/>
                </a:lnTo>
                <a:lnTo>
                  <a:pt x="1579" y="671"/>
                </a:lnTo>
                <a:lnTo>
                  <a:pt x="1577" y="673"/>
                </a:lnTo>
                <a:lnTo>
                  <a:pt x="1577" y="673"/>
                </a:lnTo>
                <a:lnTo>
                  <a:pt x="1574" y="676"/>
                </a:lnTo>
                <a:lnTo>
                  <a:pt x="1574" y="676"/>
                </a:lnTo>
                <a:lnTo>
                  <a:pt x="1579" y="683"/>
                </a:lnTo>
                <a:lnTo>
                  <a:pt x="1579" y="683"/>
                </a:lnTo>
                <a:lnTo>
                  <a:pt x="1579" y="688"/>
                </a:lnTo>
                <a:lnTo>
                  <a:pt x="1579" y="688"/>
                </a:lnTo>
                <a:lnTo>
                  <a:pt x="1574" y="693"/>
                </a:lnTo>
                <a:lnTo>
                  <a:pt x="1574" y="693"/>
                </a:lnTo>
                <a:lnTo>
                  <a:pt x="1572" y="698"/>
                </a:lnTo>
                <a:lnTo>
                  <a:pt x="1572" y="698"/>
                </a:lnTo>
                <a:lnTo>
                  <a:pt x="1572" y="703"/>
                </a:lnTo>
                <a:lnTo>
                  <a:pt x="1572" y="703"/>
                </a:lnTo>
                <a:lnTo>
                  <a:pt x="1572" y="708"/>
                </a:lnTo>
                <a:lnTo>
                  <a:pt x="1572" y="708"/>
                </a:lnTo>
                <a:lnTo>
                  <a:pt x="1574" y="710"/>
                </a:lnTo>
                <a:lnTo>
                  <a:pt x="1574" y="710"/>
                </a:lnTo>
                <a:lnTo>
                  <a:pt x="1574" y="715"/>
                </a:lnTo>
                <a:lnTo>
                  <a:pt x="1574" y="715"/>
                </a:lnTo>
                <a:lnTo>
                  <a:pt x="1572" y="715"/>
                </a:lnTo>
                <a:lnTo>
                  <a:pt x="1572" y="715"/>
                </a:lnTo>
                <a:lnTo>
                  <a:pt x="1569" y="715"/>
                </a:lnTo>
                <a:lnTo>
                  <a:pt x="1569" y="715"/>
                </a:lnTo>
                <a:lnTo>
                  <a:pt x="1569" y="720"/>
                </a:lnTo>
                <a:lnTo>
                  <a:pt x="1569" y="720"/>
                </a:lnTo>
                <a:lnTo>
                  <a:pt x="1569" y="720"/>
                </a:lnTo>
                <a:lnTo>
                  <a:pt x="1569" y="725"/>
                </a:lnTo>
                <a:lnTo>
                  <a:pt x="1569" y="725"/>
                </a:lnTo>
                <a:lnTo>
                  <a:pt x="1567" y="728"/>
                </a:lnTo>
                <a:lnTo>
                  <a:pt x="1567" y="728"/>
                </a:lnTo>
                <a:lnTo>
                  <a:pt x="1567" y="732"/>
                </a:lnTo>
                <a:lnTo>
                  <a:pt x="1567" y="732"/>
                </a:lnTo>
                <a:lnTo>
                  <a:pt x="1562" y="737"/>
                </a:lnTo>
                <a:lnTo>
                  <a:pt x="1562" y="737"/>
                </a:lnTo>
                <a:lnTo>
                  <a:pt x="1564" y="740"/>
                </a:lnTo>
                <a:lnTo>
                  <a:pt x="1564" y="740"/>
                </a:lnTo>
                <a:lnTo>
                  <a:pt x="1562" y="742"/>
                </a:lnTo>
                <a:lnTo>
                  <a:pt x="1562" y="742"/>
                </a:lnTo>
                <a:lnTo>
                  <a:pt x="1559" y="747"/>
                </a:lnTo>
                <a:lnTo>
                  <a:pt x="1559" y="747"/>
                </a:lnTo>
                <a:lnTo>
                  <a:pt x="1559" y="747"/>
                </a:lnTo>
                <a:lnTo>
                  <a:pt x="1557" y="755"/>
                </a:lnTo>
                <a:lnTo>
                  <a:pt x="1557" y="755"/>
                </a:lnTo>
                <a:lnTo>
                  <a:pt x="1557" y="760"/>
                </a:lnTo>
                <a:lnTo>
                  <a:pt x="1557" y="760"/>
                </a:lnTo>
                <a:lnTo>
                  <a:pt x="1557" y="762"/>
                </a:lnTo>
                <a:lnTo>
                  <a:pt x="1557" y="762"/>
                </a:lnTo>
                <a:lnTo>
                  <a:pt x="1557" y="767"/>
                </a:lnTo>
                <a:lnTo>
                  <a:pt x="1557" y="767"/>
                </a:lnTo>
                <a:lnTo>
                  <a:pt x="1554" y="769"/>
                </a:lnTo>
                <a:lnTo>
                  <a:pt x="1554" y="769"/>
                </a:lnTo>
                <a:lnTo>
                  <a:pt x="1554" y="772"/>
                </a:lnTo>
                <a:lnTo>
                  <a:pt x="1554" y="772"/>
                </a:lnTo>
                <a:lnTo>
                  <a:pt x="1552" y="777"/>
                </a:lnTo>
                <a:lnTo>
                  <a:pt x="1552" y="777"/>
                </a:lnTo>
                <a:lnTo>
                  <a:pt x="1552" y="779"/>
                </a:lnTo>
                <a:lnTo>
                  <a:pt x="1552" y="779"/>
                </a:lnTo>
                <a:lnTo>
                  <a:pt x="1549" y="779"/>
                </a:lnTo>
                <a:lnTo>
                  <a:pt x="1549" y="779"/>
                </a:lnTo>
                <a:lnTo>
                  <a:pt x="1549" y="784"/>
                </a:lnTo>
                <a:lnTo>
                  <a:pt x="1549" y="784"/>
                </a:lnTo>
                <a:lnTo>
                  <a:pt x="1545" y="787"/>
                </a:lnTo>
                <a:lnTo>
                  <a:pt x="1545" y="787"/>
                </a:lnTo>
                <a:lnTo>
                  <a:pt x="1545" y="792"/>
                </a:lnTo>
                <a:lnTo>
                  <a:pt x="1545" y="792"/>
                </a:lnTo>
                <a:lnTo>
                  <a:pt x="1542" y="796"/>
                </a:lnTo>
                <a:lnTo>
                  <a:pt x="1542" y="796"/>
                </a:lnTo>
                <a:lnTo>
                  <a:pt x="1542" y="799"/>
                </a:lnTo>
                <a:lnTo>
                  <a:pt x="1542" y="799"/>
                </a:lnTo>
                <a:lnTo>
                  <a:pt x="1537" y="804"/>
                </a:lnTo>
                <a:lnTo>
                  <a:pt x="1537" y="804"/>
                </a:lnTo>
                <a:lnTo>
                  <a:pt x="1537" y="806"/>
                </a:lnTo>
                <a:lnTo>
                  <a:pt x="1537" y="806"/>
                </a:lnTo>
                <a:lnTo>
                  <a:pt x="1535" y="809"/>
                </a:lnTo>
                <a:lnTo>
                  <a:pt x="1535" y="809"/>
                </a:lnTo>
                <a:lnTo>
                  <a:pt x="1537" y="811"/>
                </a:lnTo>
                <a:lnTo>
                  <a:pt x="1537" y="811"/>
                </a:lnTo>
                <a:lnTo>
                  <a:pt x="1540" y="814"/>
                </a:lnTo>
                <a:lnTo>
                  <a:pt x="1540" y="814"/>
                </a:lnTo>
                <a:lnTo>
                  <a:pt x="1542" y="814"/>
                </a:lnTo>
                <a:lnTo>
                  <a:pt x="1542" y="814"/>
                </a:lnTo>
                <a:lnTo>
                  <a:pt x="1545" y="816"/>
                </a:lnTo>
                <a:lnTo>
                  <a:pt x="1545" y="816"/>
                </a:lnTo>
                <a:lnTo>
                  <a:pt x="1549" y="816"/>
                </a:lnTo>
                <a:lnTo>
                  <a:pt x="1549" y="816"/>
                </a:lnTo>
                <a:lnTo>
                  <a:pt x="1552" y="814"/>
                </a:lnTo>
                <a:lnTo>
                  <a:pt x="1552" y="814"/>
                </a:lnTo>
                <a:lnTo>
                  <a:pt x="1554" y="811"/>
                </a:lnTo>
                <a:lnTo>
                  <a:pt x="1554" y="811"/>
                </a:lnTo>
                <a:lnTo>
                  <a:pt x="1557" y="811"/>
                </a:lnTo>
                <a:lnTo>
                  <a:pt x="1557" y="811"/>
                </a:lnTo>
                <a:lnTo>
                  <a:pt x="1559" y="811"/>
                </a:lnTo>
                <a:lnTo>
                  <a:pt x="1559" y="811"/>
                </a:lnTo>
                <a:lnTo>
                  <a:pt x="1562" y="809"/>
                </a:lnTo>
                <a:lnTo>
                  <a:pt x="1562" y="809"/>
                </a:lnTo>
                <a:lnTo>
                  <a:pt x="1562" y="819"/>
                </a:lnTo>
                <a:lnTo>
                  <a:pt x="1562" y="819"/>
                </a:lnTo>
                <a:lnTo>
                  <a:pt x="1567" y="823"/>
                </a:lnTo>
                <a:lnTo>
                  <a:pt x="1567" y="823"/>
                </a:lnTo>
                <a:lnTo>
                  <a:pt x="1567" y="828"/>
                </a:lnTo>
                <a:lnTo>
                  <a:pt x="1567" y="828"/>
                </a:lnTo>
                <a:lnTo>
                  <a:pt x="1567" y="831"/>
                </a:lnTo>
                <a:lnTo>
                  <a:pt x="1567" y="831"/>
                </a:lnTo>
                <a:lnTo>
                  <a:pt x="1572" y="833"/>
                </a:lnTo>
                <a:lnTo>
                  <a:pt x="1572" y="833"/>
                </a:lnTo>
                <a:lnTo>
                  <a:pt x="1572" y="831"/>
                </a:lnTo>
                <a:lnTo>
                  <a:pt x="1572" y="831"/>
                </a:lnTo>
                <a:lnTo>
                  <a:pt x="1574" y="833"/>
                </a:lnTo>
                <a:lnTo>
                  <a:pt x="1574" y="833"/>
                </a:lnTo>
                <a:lnTo>
                  <a:pt x="1574" y="831"/>
                </a:lnTo>
                <a:lnTo>
                  <a:pt x="1574" y="831"/>
                </a:lnTo>
                <a:lnTo>
                  <a:pt x="1577" y="828"/>
                </a:lnTo>
                <a:lnTo>
                  <a:pt x="1577" y="828"/>
                </a:lnTo>
                <a:lnTo>
                  <a:pt x="1579" y="826"/>
                </a:lnTo>
                <a:lnTo>
                  <a:pt x="1579" y="826"/>
                </a:lnTo>
                <a:lnTo>
                  <a:pt x="1579" y="828"/>
                </a:lnTo>
                <a:lnTo>
                  <a:pt x="1579" y="828"/>
                </a:lnTo>
                <a:lnTo>
                  <a:pt x="1581" y="828"/>
                </a:lnTo>
                <a:lnTo>
                  <a:pt x="1581" y="828"/>
                </a:lnTo>
                <a:lnTo>
                  <a:pt x="1584" y="828"/>
                </a:lnTo>
                <a:lnTo>
                  <a:pt x="1584" y="828"/>
                </a:lnTo>
                <a:lnTo>
                  <a:pt x="1584" y="828"/>
                </a:lnTo>
                <a:lnTo>
                  <a:pt x="1581" y="831"/>
                </a:lnTo>
                <a:lnTo>
                  <a:pt x="1581" y="831"/>
                </a:lnTo>
                <a:lnTo>
                  <a:pt x="1584" y="836"/>
                </a:lnTo>
                <a:lnTo>
                  <a:pt x="1584" y="836"/>
                </a:lnTo>
                <a:lnTo>
                  <a:pt x="1581" y="836"/>
                </a:lnTo>
                <a:lnTo>
                  <a:pt x="1581" y="836"/>
                </a:lnTo>
                <a:lnTo>
                  <a:pt x="1579" y="838"/>
                </a:lnTo>
                <a:lnTo>
                  <a:pt x="1579" y="838"/>
                </a:lnTo>
                <a:lnTo>
                  <a:pt x="1579" y="838"/>
                </a:lnTo>
                <a:lnTo>
                  <a:pt x="1586" y="838"/>
                </a:lnTo>
                <a:lnTo>
                  <a:pt x="1586" y="838"/>
                </a:lnTo>
                <a:lnTo>
                  <a:pt x="1589" y="836"/>
                </a:lnTo>
                <a:lnTo>
                  <a:pt x="1589" y="836"/>
                </a:lnTo>
                <a:lnTo>
                  <a:pt x="1591" y="831"/>
                </a:lnTo>
                <a:lnTo>
                  <a:pt x="1591" y="831"/>
                </a:lnTo>
                <a:lnTo>
                  <a:pt x="1591" y="828"/>
                </a:lnTo>
                <a:lnTo>
                  <a:pt x="1591" y="828"/>
                </a:lnTo>
                <a:lnTo>
                  <a:pt x="1591" y="826"/>
                </a:lnTo>
                <a:lnTo>
                  <a:pt x="1591" y="826"/>
                </a:lnTo>
                <a:lnTo>
                  <a:pt x="1594" y="831"/>
                </a:lnTo>
                <a:lnTo>
                  <a:pt x="1594" y="831"/>
                </a:lnTo>
                <a:lnTo>
                  <a:pt x="1594" y="833"/>
                </a:lnTo>
                <a:lnTo>
                  <a:pt x="1594" y="833"/>
                </a:lnTo>
                <a:lnTo>
                  <a:pt x="1594" y="838"/>
                </a:lnTo>
                <a:lnTo>
                  <a:pt x="1594" y="838"/>
                </a:lnTo>
                <a:lnTo>
                  <a:pt x="1596" y="836"/>
                </a:lnTo>
                <a:lnTo>
                  <a:pt x="1596" y="836"/>
                </a:lnTo>
                <a:lnTo>
                  <a:pt x="1596" y="833"/>
                </a:lnTo>
                <a:lnTo>
                  <a:pt x="1596" y="833"/>
                </a:lnTo>
                <a:lnTo>
                  <a:pt x="1594" y="828"/>
                </a:lnTo>
                <a:lnTo>
                  <a:pt x="1594" y="828"/>
                </a:lnTo>
                <a:lnTo>
                  <a:pt x="1596" y="823"/>
                </a:lnTo>
                <a:lnTo>
                  <a:pt x="1596" y="823"/>
                </a:lnTo>
                <a:lnTo>
                  <a:pt x="1594" y="821"/>
                </a:lnTo>
                <a:lnTo>
                  <a:pt x="1594" y="821"/>
                </a:lnTo>
                <a:lnTo>
                  <a:pt x="1591" y="816"/>
                </a:lnTo>
                <a:lnTo>
                  <a:pt x="1591" y="816"/>
                </a:lnTo>
                <a:lnTo>
                  <a:pt x="1596" y="816"/>
                </a:lnTo>
                <a:lnTo>
                  <a:pt x="1596" y="816"/>
                </a:lnTo>
                <a:lnTo>
                  <a:pt x="1599" y="819"/>
                </a:lnTo>
                <a:lnTo>
                  <a:pt x="1599" y="819"/>
                </a:lnTo>
                <a:lnTo>
                  <a:pt x="1599" y="819"/>
                </a:lnTo>
                <a:lnTo>
                  <a:pt x="1599" y="821"/>
                </a:lnTo>
                <a:lnTo>
                  <a:pt x="1599" y="821"/>
                </a:lnTo>
                <a:lnTo>
                  <a:pt x="1601" y="821"/>
                </a:lnTo>
                <a:lnTo>
                  <a:pt x="1601" y="821"/>
                </a:lnTo>
                <a:lnTo>
                  <a:pt x="1601" y="819"/>
                </a:lnTo>
                <a:lnTo>
                  <a:pt x="1601" y="819"/>
                </a:lnTo>
                <a:lnTo>
                  <a:pt x="1606" y="819"/>
                </a:lnTo>
                <a:lnTo>
                  <a:pt x="1606" y="819"/>
                </a:lnTo>
                <a:lnTo>
                  <a:pt x="1609" y="816"/>
                </a:lnTo>
                <a:lnTo>
                  <a:pt x="1609" y="816"/>
                </a:lnTo>
                <a:lnTo>
                  <a:pt x="1611" y="819"/>
                </a:lnTo>
                <a:lnTo>
                  <a:pt x="1611" y="819"/>
                </a:lnTo>
                <a:lnTo>
                  <a:pt x="1616" y="819"/>
                </a:lnTo>
                <a:lnTo>
                  <a:pt x="1616" y="819"/>
                </a:lnTo>
                <a:lnTo>
                  <a:pt x="1618" y="821"/>
                </a:lnTo>
                <a:lnTo>
                  <a:pt x="1618" y="821"/>
                </a:lnTo>
                <a:lnTo>
                  <a:pt x="1618" y="826"/>
                </a:lnTo>
                <a:lnTo>
                  <a:pt x="1618" y="826"/>
                </a:lnTo>
                <a:lnTo>
                  <a:pt x="1621" y="826"/>
                </a:lnTo>
                <a:lnTo>
                  <a:pt x="1621" y="826"/>
                </a:lnTo>
                <a:lnTo>
                  <a:pt x="1626" y="826"/>
                </a:lnTo>
                <a:lnTo>
                  <a:pt x="1626" y="826"/>
                </a:lnTo>
                <a:lnTo>
                  <a:pt x="1628" y="828"/>
                </a:lnTo>
                <a:lnTo>
                  <a:pt x="1628" y="828"/>
                </a:lnTo>
                <a:lnTo>
                  <a:pt x="1633" y="831"/>
                </a:lnTo>
                <a:lnTo>
                  <a:pt x="1633" y="831"/>
                </a:lnTo>
                <a:lnTo>
                  <a:pt x="1636" y="833"/>
                </a:lnTo>
                <a:lnTo>
                  <a:pt x="1636" y="833"/>
                </a:lnTo>
                <a:lnTo>
                  <a:pt x="1638" y="833"/>
                </a:lnTo>
                <a:lnTo>
                  <a:pt x="1638" y="833"/>
                </a:lnTo>
                <a:lnTo>
                  <a:pt x="1638" y="836"/>
                </a:lnTo>
                <a:lnTo>
                  <a:pt x="1638" y="836"/>
                </a:lnTo>
                <a:lnTo>
                  <a:pt x="1640" y="836"/>
                </a:lnTo>
                <a:lnTo>
                  <a:pt x="1640" y="836"/>
                </a:lnTo>
                <a:lnTo>
                  <a:pt x="1643" y="841"/>
                </a:lnTo>
                <a:lnTo>
                  <a:pt x="1643" y="841"/>
                </a:lnTo>
                <a:lnTo>
                  <a:pt x="1643" y="843"/>
                </a:lnTo>
                <a:lnTo>
                  <a:pt x="1643" y="843"/>
                </a:lnTo>
                <a:lnTo>
                  <a:pt x="1643" y="846"/>
                </a:lnTo>
                <a:lnTo>
                  <a:pt x="1643" y="846"/>
                </a:lnTo>
                <a:lnTo>
                  <a:pt x="1640" y="848"/>
                </a:lnTo>
                <a:lnTo>
                  <a:pt x="1640" y="848"/>
                </a:lnTo>
                <a:lnTo>
                  <a:pt x="1643" y="851"/>
                </a:lnTo>
                <a:lnTo>
                  <a:pt x="1643" y="851"/>
                </a:lnTo>
                <a:lnTo>
                  <a:pt x="1645" y="851"/>
                </a:lnTo>
                <a:lnTo>
                  <a:pt x="1645" y="851"/>
                </a:lnTo>
                <a:lnTo>
                  <a:pt x="1648" y="855"/>
                </a:lnTo>
                <a:lnTo>
                  <a:pt x="1648" y="855"/>
                </a:lnTo>
                <a:lnTo>
                  <a:pt x="1650" y="858"/>
                </a:lnTo>
                <a:lnTo>
                  <a:pt x="1650" y="858"/>
                </a:lnTo>
                <a:lnTo>
                  <a:pt x="1648" y="860"/>
                </a:lnTo>
                <a:lnTo>
                  <a:pt x="1648" y="860"/>
                </a:lnTo>
                <a:lnTo>
                  <a:pt x="1648" y="865"/>
                </a:lnTo>
                <a:lnTo>
                  <a:pt x="1648" y="865"/>
                </a:lnTo>
                <a:lnTo>
                  <a:pt x="1650" y="868"/>
                </a:lnTo>
                <a:lnTo>
                  <a:pt x="1650" y="868"/>
                </a:lnTo>
                <a:lnTo>
                  <a:pt x="1653" y="868"/>
                </a:lnTo>
                <a:lnTo>
                  <a:pt x="1653" y="868"/>
                </a:lnTo>
                <a:lnTo>
                  <a:pt x="1655" y="865"/>
                </a:lnTo>
                <a:lnTo>
                  <a:pt x="1655" y="865"/>
                </a:lnTo>
                <a:lnTo>
                  <a:pt x="1655" y="868"/>
                </a:lnTo>
                <a:lnTo>
                  <a:pt x="1655" y="868"/>
                </a:lnTo>
                <a:lnTo>
                  <a:pt x="1655" y="870"/>
                </a:lnTo>
                <a:lnTo>
                  <a:pt x="1655" y="870"/>
                </a:lnTo>
                <a:lnTo>
                  <a:pt x="1655" y="875"/>
                </a:lnTo>
                <a:lnTo>
                  <a:pt x="1655" y="875"/>
                </a:lnTo>
                <a:lnTo>
                  <a:pt x="1658" y="875"/>
                </a:lnTo>
                <a:lnTo>
                  <a:pt x="1658" y="875"/>
                </a:lnTo>
                <a:lnTo>
                  <a:pt x="1655" y="878"/>
                </a:lnTo>
                <a:lnTo>
                  <a:pt x="1655" y="878"/>
                </a:lnTo>
                <a:lnTo>
                  <a:pt x="1655" y="880"/>
                </a:lnTo>
                <a:lnTo>
                  <a:pt x="1655" y="880"/>
                </a:lnTo>
                <a:lnTo>
                  <a:pt x="1655" y="883"/>
                </a:lnTo>
                <a:lnTo>
                  <a:pt x="1655" y="883"/>
                </a:lnTo>
                <a:lnTo>
                  <a:pt x="1655" y="885"/>
                </a:lnTo>
                <a:lnTo>
                  <a:pt x="1655" y="885"/>
                </a:lnTo>
                <a:lnTo>
                  <a:pt x="1655" y="887"/>
                </a:lnTo>
                <a:lnTo>
                  <a:pt x="1655" y="887"/>
                </a:lnTo>
                <a:lnTo>
                  <a:pt x="1655" y="890"/>
                </a:lnTo>
                <a:lnTo>
                  <a:pt x="1655" y="890"/>
                </a:lnTo>
                <a:lnTo>
                  <a:pt x="1655" y="890"/>
                </a:lnTo>
                <a:lnTo>
                  <a:pt x="1658" y="892"/>
                </a:lnTo>
                <a:lnTo>
                  <a:pt x="1658" y="892"/>
                </a:lnTo>
                <a:lnTo>
                  <a:pt x="1655" y="895"/>
                </a:lnTo>
                <a:lnTo>
                  <a:pt x="1655" y="895"/>
                </a:lnTo>
                <a:lnTo>
                  <a:pt x="1658" y="902"/>
                </a:lnTo>
                <a:lnTo>
                  <a:pt x="1658" y="902"/>
                </a:lnTo>
                <a:lnTo>
                  <a:pt x="1655" y="902"/>
                </a:lnTo>
                <a:lnTo>
                  <a:pt x="1655" y="902"/>
                </a:lnTo>
                <a:lnTo>
                  <a:pt x="1658" y="910"/>
                </a:lnTo>
                <a:lnTo>
                  <a:pt x="1658" y="910"/>
                </a:lnTo>
                <a:lnTo>
                  <a:pt x="1658" y="912"/>
                </a:lnTo>
                <a:lnTo>
                  <a:pt x="1658" y="912"/>
                </a:lnTo>
                <a:lnTo>
                  <a:pt x="1658" y="914"/>
                </a:lnTo>
                <a:lnTo>
                  <a:pt x="1658" y="914"/>
                </a:lnTo>
                <a:lnTo>
                  <a:pt x="1660" y="924"/>
                </a:lnTo>
                <a:lnTo>
                  <a:pt x="1660" y="924"/>
                </a:lnTo>
                <a:lnTo>
                  <a:pt x="1663" y="924"/>
                </a:lnTo>
                <a:lnTo>
                  <a:pt x="1663" y="924"/>
                </a:lnTo>
                <a:lnTo>
                  <a:pt x="1665" y="922"/>
                </a:lnTo>
                <a:lnTo>
                  <a:pt x="1665" y="922"/>
                </a:lnTo>
                <a:lnTo>
                  <a:pt x="1665" y="924"/>
                </a:lnTo>
                <a:lnTo>
                  <a:pt x="1665" y="924"/>
                </a:lnTo>
                <a:lnTo>
                  <a:pt x="1663" y="927"/>
                </a:lnTo>
                <a:lnTo>
                  <a:pt x="1663" y="927"/>
                </a:lnTo>
                <a:lnTo>
                  <a:pt x="1663" y="929"/>
                </a:lnTo>
                <a:lnTo>
                  <a:pt x="1663" y="929"/>
                </a:lnTo>
                <a:lnTo>
                  <a:pt x="1663" y="932"/>
                </a:lnTo>
                <a:lnTo>
                  <a:pt x="1663" y="932"/>
                </a:lnTo>
                <a:lnTo>
                  <a:pt x="1665" y="932"/>
                </a:lnTo>
                <a:lnTo>
                  <a:pt x="1665" y="932"/>
                </a:lnTo>
                <a:lnTo>
                  <a:pt x="1670" y="937"/>
                </a:lnTo>
                <a:lnTo>
                  <a:pt x="1670" y="937"/>
                </a:lnTo>
                <a:lnTo>
                  <a:pt x="1670" y="942"/>
                </a:lnTo>
                <a:lnTo>
                  <a:pt x="1670" y="942"/>
                </a:lnTo>
                <a:lnTo>
                  <a:pt x="1670" y="944"/>
                </a:lnTo>
                <a:lnTo>
                  <a:pt x="1670" y="944"/>
                </a:lnTo>
                <a:lnTo>
                  <a:pt x="1670" y="946"/>
                </a:lnTo>
                <a:lnTo>
                  <a:pt x="1670" y="946"/>
                </a:lnTo>
                <a:lnTo>
                  <a:pt x="1670" y="954"/>
                </a:lnTo>
                <a:lnTo>
                  <a:pt x="1670" y="954"/>
                </a:lnTo>
                <a:lnTo>
                  <a:pt x="1672" y="954"/>
                </a:lnTo>
                <a:lnTo>
                  <a:pt x="1672" y="954"/>
                </a:lnTo>
                <a:lnTo>
                  <a:pt x="1672" y="959"/>
                </a:lnTo>
                <a:lnTo>
                  <a:pt x="1672" y="959"/>
                </a:lnTo>
                <a:lnTo>
                  <a:pt x="1672" y="959"/>
                </a:lnTo>
                <a:lnTo>
                  <a:pt x="1672" y="964"/>
                </a:lnTo>
                <a:lnTo>
                  <a:pt x="1672" y="964"/>
                </a:lnTo>
                <a:lnTo>
                  <a:pt x="1675" y="966"/>
                </a:lnTo>
                <a:lnTo>
                  <a:pt x="1675" y="966"/>
                </a:lnTo>
                <a:lnTo>
                  <a:pt x="1675" y="971"/>
                </a:lnTo>
                <a:lnTo>
                  <a:pt x="1675" y="971"/>
                </a:lnTo>
                <a:lnTo>
                  <a:pt x="1670" y="976"/>
                </a:lnTo>
                <a:lnTo>
                  <a:pt x="1670" y="976"/>
                </a:lnTo>
                <a:lnTo>
                  <a:pt x="1670" y="978"/>
                </a:lnTo>
                <a:lnTo>
                  <a:pt x="1670" y="978"/>
                </a:lnTo>
                <a:lnTo>
                  <a:pt x="1668" y="983"/>
                </a:lnTo>
                <a:lnTo>
                  <a:pt x="1668" y="983"/>
                </a:lnTo>
                <a:lnTo>
                  <a:pt x="1668" y="991"/>
                </a:lnTo>
                <a:lnTo>
                  <a:pt x="1668" y="991"/>
                </a:lnTo>
                <a:lnTo>
                  <a:pt x="1668" y="991"/>
                </a:lnTo>
                <a:lnTo>
                  <a:pt x="1668" y="996"/>
                </a:lnTo>
                <a:lnTo>
                  <a:pt x="1668" y="996"/>
                </a:lnTo>
                <a:lnTo>
                  <a:pt x="1665" y="998"/>
                </a:lnTo>
                <a:lnTo>
                  <a:pt x="1665" y="998"/>
                </a:lnTo>
                <a:lnTo>
                  <a:pt x="1665" y="1001"/>
                </a:lnTo>
                <a:lnTo>
                  <a:pt x="1665" y="1001"/>
                </a:lnTo>
                <a:lnTo>
                  <a:pt x="1663" y="1005"/>
                </a:lnTo>
                <a:lnTo>
                  <a:pt x="1663" y="1005"/>
                </a:lnTo>
                <a:lnTo>
                  <a:pt x="1665" y="1005"/>
                </a:lnTo>
                <a:lnTo>
                  <a:pt x="1665" y="1005"/>
                </a:lnTo>
                <a:lnTo>
                  <a:pt x="1665" y="1008"/>
                </a:lnTo>
                <a:lnTo>
                  <a:pt x="1665" y="1008"/>
                </a:lnTo>
                <a:lnTo>
                  <a:pt x="1663" y="1013"/>
                </a:lnTo>
                <a:lnTo>
                  <a:pt x="1663" y="1013"/>
                </a:lnTo>
                <a:lnTo>
                  <a:pt x="1663" y="1020"/>
                </a:lnTo>
                <a:lnTo>
                  <a:pt x="1663" y="1020"/>
                </a:lnTo>
                <a:lnTo>
                  <a:pt x="1660" y="1023"/>
                </a:lnTo>
                <a:lnTo>
                  <a:pt x="1660" y="1023"/>
                </a:lnTo>
                <a:lnTo>
                  <a:pt x="1663" y="1028"/>
                </a:lnTo>
                <a:lnTo>
                  <a:pt x="1663" y="1028"/>
                </a:lnTo>
                <a:lnTo>
                  <a:pt x="1663" y="1028"/>
                </a:lnTo>
                <a:lnTo>
                  <a:pt x="1663" y="1030"/>
                </a:lnTo>
                <a:lnTo>
                  <a:pt x="1663" y="1030"/>
                </a:lnTo>
                <a:lnTo>
                  <a:pt x="1660" y="1035"/>
                </a:lnTo>
                <a:lnTo>
                  <a:pt x="1660" y="1035"/>
                </a:lnTo>
                <a:lnTo>
                  <a:pt x="1658" y="1037"/>
                </a:lnTo>
                <a:lnTo>
                  <a:pt x="1658" y="1037"/>
                </a:lnTo>
                <a:lnTo>
                  <a:pt x="1655" y="1040"/>
                </a:lnTo>
                <a:lnTo>
                  <a:pt x="1655" y="1040"/>
                </a:lnTo>
                <a:lnTo>
                  <a:pt x="1655" y="1045"/>
                </a:lnTo>
                <a:lnTo>
                  <a:pt x="1655" y="1045"/>
                </a:lnTo>
                <a:lnTo>
                  <a:pt x="1653" y="1047"/>
                </a:lnTo>
                <a:lnTo>
                  <a:pt x="1653" y="1047"/>
                </a:lnTo>
                <a:lnTo>
                  <a:pt x="1648" y="1062"/>
                </a:lnTo>
                <a:lnTo>
                  <a:pt x="1648" y="1062"/>
                </a:lnTo>
                <a:lnTo>
                  <a:pt x="1648" y="1062"/>
                </a:lnTo>
                <a:lnTo>
                  <a:pt x="1648" y="1067"/>
                </a:lnTo>
                <a:lnTo>
                  <a:pt x="1648" y="1067"/>
                </a:lnTo>
                <a:lnTo>
                  <a:pt x="1648" y="1067"/>
                </a:lnTo>
                <a:lnTo>
                  <a:pt x="1648" y="1069"/>
                </a:lnTo>
                <a:lnTo>
                  <a:pt x="1648" y="1069"/>
                </a:lnTo>
                <a:lnTo>
                  <a:pt x="1643" y="1072"/>
                </a:lnTo>
                <a:lnTo>
                  <a:pt x="1643" y="1072"/>
                </a:lnTo>
                <a:lnTo>
                  <a:pt x="1643" y="1074"/>
                </a:lnTo>
                <a:lnTo>
                  <a:pt x="1643" y="1074"/>
                </a:lnTo>
                <a:lnTo>
                  <a:pt x="1640" y="1077"/>
                </a:lnTo>
                <a:lnTo>
                  <a:pt x="1640" y="1077"/>
                </a:lnTo>
                <a:lnTo>
                  <a:pt x="1640" y="1082"/>
                </a:lnTo>
                <a:lnTo>
                  <a:pt x="1640" y="1082"/>
                </a:lnTo>
                <a:lnTo>
                  <a:pt x="1638" y="1082"/>
                </a:lnTo>
                <a:lnTo>
                  <a:pt x="1638" y="1082"/>
                </a:lnTo>
                <a:lnTo>
                  <a:pt x="1640" y="1084"/>
                </a:lnTo>
                <a:lnTo>
                  <a:pt x="1640" y="1084"/>
                </a:lnTo>
                <a:lnTo>
                  <a:pt x="1638" y="1089"/>
                </a:lnTo>
                <a:lnTo>
                  <a:pt x="1638" y="1089"/>
                </a:lnTo>
                <a:lnTo>
                  <a:pt x="1636" y="1089"/>
                </a:lnTo>
                <a:lnTo>
                  <a:pt x="1636" y="1089"/>
                </a:lnTo>
                <a:lnTo>
                  <a:pt x="1633" y="1087"/>
                </a:lnTo>
                <a:lnTo>
                  <a:pt x="1633" y="1087"/>
                </a:lnTo>
                <a:lnTo>
                  <a:pt x="1636" y="1092"/>
                </a:lnTo>
                <a:lnTo>
                  <a:pt x="1636" y="1092"/>
                </a:lnTo>
                <a:lnTo>
                  <a:pt x="1636" y="1094"/>
                </a:lnTo>
                <a:lnTo>
                  <a:pt x="1636" y="1094"/>
                </a:lnTo>
                <a:lnTo>
                  <a:pt x="1631" y="1096"/>
                </a:lnTo>
                <a:lnTo>
                  <a:pt x="1631" y="1096"/>
                </a:lnTo>
                <a:lnTo>
                  <a:pt x="1633" y="1099"/>
                </a:lnTo>
                <a:lnTo>
                  <a:pt x="1633" y="1099"/>
                </a:lnTo>
                <a:lnTo>
                  <a:pt x="1628" y="1104"/>
                </a:lnTo>
                <a:lnTo>
                  <a:pt x="1628" y="1104"/>
                </a:lnTo>
                <a:lnTo>
                  <a:pt x="1626" y="1109"/>
                </a:lnTo>
                <a:lnTo>
                  <a:pt x="1626" y="1109"/>
                </a:lnTo>
                <a:lnTo>
                  <a:pt x="1623" y="1109"/>
                </a:lnTo>
                <a:lnTo>
                  <a:pt x="1623" y="1109"/>
                </a:lnTo>
                <a:lnTo>
                  <a:pt x="1623" y="1111"/>
                </a:lnTo>
                <a:lnTo>
                  <a:pt x="1623" y="1111"/>
                </a:lnTo>
                <a:lnTo>
                  <a:pt x="1618" y="1111"/>
                </a:lnTo>
                <a:lnTo>
                  <a:pt x="1618" y="1111"/>
                </a:lnTo>
                <a:lnTo>
                  <a:pt x="1613" y="1114"/>
                </a:lnTo>
                <a:lnTo>
                  <a:pt x="1613" y="1114"/>
                </a:lnTo>
                <a:lnTo>
                  <a:pt x="1613" y="1114"/>
                </a:lnTo>
                <a:lnTo>
                  <a:pt x="1611" y="1114"/>
                </a:lnTo>
                <a:lnTo>
                  <a:pt x="1611" y="1114"/>
                </a:lnTo>
                <a:lnTo>
                  <a:pt x="1606" y="1111"/>
                </a:lnTo>
                <a:lnTo>
                  <a:pt x="1606" y="1111"/>
                </a:lnTo>
                <a:lnTo>
                  <a:pt x="1601" y="1111"/>
                </a:lnTo>
                <a:lnTo>
                  <a:pt x="1601" y="1111"/>
                </a:lnTo>
                <a:lnTo>
                  <a:pt x="1601" y="1104"/>
                </a:lnTo>
                <a:lnTo>
                  <a:pt x="1601" y="1104"/>
                </a:lnTo>
                <a:lnTo>
                  <a:pt x="1599" y="1104"/>
                </a:lnTo>
                <a:lnTo>
                  <a:pt x="1599" y="1104"/>
                </a:lnTo>
                <a:lnTo>
                  <a:pt x="1596" y="1104"/>
                </a:lnTo>
                <a:lnTo>
                  <a:pt x="1596" y="1104"/>
                </a:lnTo>
                <a:lnTo>
                  <a:pt x="1591" y="1104"/>
                </a:lnTo>
                <a:lnTo>
                  <a:pt x="1591" y="1104"/>
                </a:lnTo>
                <a:lnTo>
                  <a:pt x="1591" y="1104"/>
                </a:lnTo>
                <a:lnTo>
                  <a:pt x="1591" y="1106"/>
                </a:lnTo>
                <a:lnTo>
                  <a:pt x="1591" y="1106"/>
                </a:lnTo>
                <a:lnTo>
                  <a:pt x="1589" y="1109"/>
                </a:lnTo>
                <a:lnTo>
                  <a:pt x="1589" y="1109"/>
                </a:lnTo>
                <a:lnTo>
                  <a:pt x="1589" y="1116"/>
                </a:lnTo>
                <a:lnTo>
                  <a:pt x="1589" y="1116"/>
                </a:lnTo>
                <a:lnTo>
                  <a:pt x="1586" y="1116"/>
                </a:lnTo>
                <a:lnTo>
                  <a:pt x="1586" y="1116"/>
                </a:lnTo>
                <a:lnTo>
                  <a:pt x="1584" y="1121"/>
                </a:lnTo>
                <a:lnTo>
                  <a:pt x="1584" y="1121"/>
                </a:lnTo>
                <a:lnTo>
                  <a:pt x="1584" y="1121"/>
                </a:lnTo>
                <a:lnTo>
                  <a:pt x="1579" y="1121"/>
                </a:lnTo>
                <a:lnTo>
                  <a:pt x="1579" y="1121"/>
                </a:lnTo>
                <a:lnTo>
                  <a:pt x="1579" y="1126"/>
                </a:lnTo>
                <a:lnTo>
                  <a:pt x="1579" y="1126"/>
                </a:lnTo>
                <a:lnTo>
                  <a:pt x="1579" y="1126"/>
                </a:lnTo>
                <a:close/>
                <a:moveTo>
                  <a:pt x="511" y="1136"/>
                </a:moveTo>
                <a:lnTo>
                  <a:pt x="511" y="1136"/>
                </a:lnTo>
                <a:lnTo>
                  <a:pt x="506" y="1133"/>
                </a:lnTo>
                <a:lnTo>
                  <a:pt x="506" y="1133"/>
                </a:lnTo>
                <a:lnTo>
                  <a:pt x="489" y="1136"/>
                </a:lnTo>
                <a:lnTo>
                  <a:pt x="489" y="1136"/>
                </a:lnTo>
                <a:lnTo>
                  <a:pt x="511" y="1136"/>
                </a:lnTo>
                <a:lnTo>
                  <a:pt x="511" y="1136"/>
                </a:lnTo>
                <a:close/>
                <a:moveTo>
                  <a:pt x="1805" y="1072"/>
                </a:moveTo>
                <a:lnTo>
                  <a:pt x="1805" y="1072"/>
                </a:lnTo>
                <a:lnTo>
                  <a:pt x="1808" y="1072"/>
                </a:lnTo>
                <a:lnTo>
                  <a:pt x="1808" y="1072"/>
                </a:lnTo>
                <a:lnTo>
                  <a:pt x="1810" y="1069"/>
                </a:lnTo>
                <a:lnTo>
                  <a:pt x="1810" y="1069"/>
                </a:lnTo>
                <a:lnTo>
                  <a:pt x="1810" y="1067"/>
                </a:lnTo>
                <a:lnTo>
                  <a:pt x="1810" y="1067"/>
                </a:lnTo>
                <a:lnTo>
                  <a:pt x="1808" y="1067"/>
                </a:lnTo>
                <a:lnTo>
                  <a:pt x="1808" y="1067"/>
                </a:lnTo>
                <a:lnTo>
                  <a:pt x="1805" y="1072"/>
                </a:lnTo>
                <a:lnTo>
                  <a:pt x="1805" y="1072"/>
                </a:lnTo>
                <a:close/>
                <a:moveTo>
                  <a:pt x="100" y="157"/>
                </a:moveTo>
                <a:lnTo>
                  <a:pt x="100" y="157"/>
                </a:lnTo>
                <a:lnTo>
                  <a:pt x="98" y="152"/>
                </a:lnTo>
                <a:lnTo>
                  <a:pt x="98" y="152"/>
                </a:lnTo>
                <a:lnTo>
                  <a:pt x="98" y="147"/>
                </a:lnTo>
                <a:lnTo>
                  <a:pt x="98" y="147"/>
                </a:lnTo>
                <a:lnTo>
                  <a:pt x="96" y="147"/>
                </a:lnTo>
                <a:lnTo>
                  <a:pt x="96" y="147"/>
                </a:lnTo>
                <a:lnTo>
                  <a:pt x="96" y="145"/>
                </a:lnTo>
                <a:lnTo>
                  <a:pt x="96" y="145"/>
                </a:lnTo>
                <a:lnTo>
                  <a:pt x="93" y="142"/>
                </a:lnTo>
                <a:lnTo>
                  <a:pt x="93" y="142"/>
                </a:lnTo>
                <a:lnTo>
                  <a:pt x="96" y="140"/>
                </a:lnTo>
                <a:lnTo>
                  <a:pt x="96" y="140"/>
                </a:lnTo>
                <a:lnTo>
                  <a:pt x="98" y="137"/>
                </a:lnTo>
                <a:lnTo>
                  <a:pt x="98" y="137"/>
                </a:lnTo>
                <a:lnTo>
                  <a:pt x="103" y="135"/>
                </a:lnTo>
                <a:lnTo>
                  <a:pt x="103" y="135"/>
                </a:lnTo>
                <a:lnTo>
                  <a:pt x="105" y="135"/>
                </a:lnTo>
                <a:lnTo>
                  <a:pt x="105" y="135"/>
                </a:lnTo>
                <a:lnTo>
                  <a:pt x="108" y="135"/>
                </a:lnTo>
                <a:lnTo>
                  <a:pt x="108" y="135"/>
                </a:lnTo>
                <a:lnTo>
                  <a:pt x="108" y="137"/>
                </a:lnTo>
                <a:lnTo>
                  <a:pt x="108" y="137"/>
                </a:lnTo>
                <a:lnTo>
                  <a:pt x="113" y="140"/>
                </a:lnTo>
                <a:lnTo>
                  <a:pt x="113" y="140"/>
                </a:lnTo>
                <a:lnTo>
                  <a:pt x="115" y="140"/>
                </a:lnTo>
                <a:lnTo>
                  <a:pt x="115" y="140"/>
                </a:lnTo>
                <a:lnTo>
                  <a:pt x="115" y="137"/>
                </a:lnTo>
                <a:lnTo>
                  <a:pt x="115" y="137"/>
                </a:lnTo>
                <a:lnTo>
                  <a:pt x="118" y="137"/>
                </a:lnTo>
                <a:lnTo>
                  <a:pt x="118" y="137"/>
                </a:lnTo>
                <a:lnTo>
                  <a:pt x="115" y="135"/>
                </a:lnTo>
                <a:lnTo>
                  <a:pt x="115" y="135"/>
                </a:lnTo>
                <a:lnTo>
                  <a:pt x="113" y="135"/>
                </a:lnTo>
                <a:lnTo>
                  <a:pt x="113" y="135"/>
                </a:lnTo>
                <a:lnTo>
                  <a:pt x="105" y="130"/>
                </a:lnTo>
                <a:lnTo>
                  <a:pt x="105" y="130"/>
                </a:lnTo>
                <a:lnTo>
                  <a:pt x="98" y="127"/>
                </a:lnTo>
                <a:lnTo>
                  <a:pt x="98" y="127"/>
                </a:lnTo>
                <a:lnTo>
                  <a:pt x="93" y="130"/>
                </a:lnTo>
                <a:lnTo>
                  <a:pt x="93" y="130"/>
                </a:lnTo>
                <a:lnTo>
                  <a:pt x="88" y="135"/>
                </a:lnTo>
                <a:lnTo>
                  <a:pt x="88" y="135"/>
                </a:lnTo>
                <a:lnTo>
                  <a:pt x="86" y="137"/>
                </a:lnTo>
                <a:lnTo>
                  <a:pt x="86" y="137"/>
                </a:lnTo>
                <a:lnTo>
                  <a:pt x="81" y="140"/>
                </a:lnTo>
                <a:lnTo>
                  <a:pt x="81" y="140"/>
                </a:lnTo>
                <a:lnTo>
                  <a:pt x="78" y="142"/>
                </a:lnTo>
                <a:lnTo>
                  <a:pt x="78" y="142"/>
                </a:lnTo>
                <a:lnTo>
                  <a:pt x="78" y="150"/>
                </a:lnTo>
                <a:lnTo>
                  <a:pt x="78" y="150"/>
                </a:lnTo>
                <a:lnTo>
                  <a:pt x="81" y="152"/>
                </a:lnTo>
                <a:lnTo>
                  <a:pt x="81" y="152"/>
                </a:lnTo>
                <a:lnTo>
                  <a:pt x="83" y="150"/>
                </a:lnTo>
                <a:lnTo>
                  <a:pt x="83" y="150"/>
                </a:lnTo>
                <a:lnTo>
                  <a:pt x="88" y="152"/>
                </a:lnTo>
                <a:lnTo>
                  <a:pt x="88" y="152"/>
                </a:lnTo>
                <a:lnTo>
                  <a:pt x="88" y="155"/>
                </a:lnTo>
                <a:lnTo>
                  <a:pt x="88" y="155"/>
                </a:lnTo>
                <a:lnTo>
                  <a:pt x="91" y="155"/>
                </a:lnTo>
                <a:lnTo>
                  <a:pt x="91" y="155"/>
                </a:lnTo>
                <a:lnTo>
                  <a:pt x="91" y="152"/>
                </a:lnTo>
                <a:lnTo>
                  <a:pt x="91" y="152"/>
                </a:lnTo>
                <a:lnTo>
                  <a:pt x="91" y="152"/>
                </a:lnTo>
                <a:lnTo>
                  <a:pt x="93" y="150"/>
                </a:lnTo>
                <a:lnTo>
                  <a:pt x="93" y="150"/>
                </a:lnTo>
                <a:lnTo>
                  <a:pt x="96" y="152"/>
                </a:lnTo>
                <a:lnTo>
                  <a:pt x="96" y="152"/>
                </a:lnTo>
                <a:lnTo>
                  <a:pt x="98" y="157"/>
                </a:lnTo>
                <a:lnTo>
                  <a:pt x="98" y="157"/>
                </a:lnTo>
                <a:lnTo>
                  <a:pt x="100" y="157"/>
                </a:lnTo>
                <a:lnTo>
                  <a:pt x="100" y="157"/>
                </a:lnTo>
                <a:lnTo>
                  <a:pt x="100" y="157"/>
                </a:lnTo>
                <a:close/>
                <a:moveTo>
                  <a:pt x="125" y="110"/>
                </a:moveTo>
                <a:lnTo>
                  <a:pt x="125" y="110"/>
                </a:lnTo>
                <a:lnTo>
                  <a:pt x="125" y="108"/>
                </a:lnTo>
                <a:lnTo>
                  <a:pt x="125" y="108"/>
                </a:lnTo>
                <a:lnTo>
                  <a:pt x="128" y="105"/>
                </a:lnTo>
                <a:lnTo>
                  <a:pt x="128" y="105"/>
                </a:lnTo>
                <a:lnTo>
                  <a:pt x="128" y="105"/>
                </a:lnTo>
                <a:lnTo>
                  <a:pt x="130" y="108"/>
                </a:lnTo>
                <a:lnTo>
                  <a:pt x="130" y="108"/>
                </a:lnTo>
                <a:lnTo>
                  <a:pt x="130" y="110"/>
                </a:lnTo>
                <a:lnTo>
                  <a:pt x="130" y="110"/>
                </a:lnTo>
                <a:lnTo>
                  <a:pt x="130" y="110"/>
                </a:lnTo>
                <a:lnTo>
                  <a:pt x="125" y="110"/>
                </a:lnTo>
                <a:lnTo>
                  <a:pt x="125" y="110"/>
                </a:lnTo>
                <a:lnTo>
                  <a:pt x="125" y="110"/>
                </a:lnTo>
                <a:close/>
                <a:moveTo>
                  <a:pt x="118" y="172"/>
                </a:moveTo>
                <a:lnTo>
                  <a:pt x="118" y="172"/>
                </a:lnTo>
                <a:lnTo>
                  <a:pt x="120" y="172"/>
                </a:lnTo>
                <a:lnTo>
                  <a:pt x="120" y="172"/>
                </a:lnTo>
                <a:lnTo>
                  <a:pt x="120" y="172"/>
                </a:lnTo>
                <a:lnTo>
                  <a:pt x="123" y="169"/>
                </a:lnTo>
                <a:lnTo>
                  <a:pt x="123" y="169"/>
                </a:lnTo>
                <a:lnTo>
                  <a:pt x="123" y="167"/>
                </a:lnTo>
                <a:lnTo>
                  <a:pt x="123" y="167"/>
                </a:lnTo>
                <a:lnTo>
                  <a:pt x="123" y="164"/>
                </a:lnTo>
                <a:lnTo>
                  <a:pt x="123" y="164"/>
                </a:lnTo>
                <a:lnTo>
                  <a:pt x="125" y="167"/>
                </a:lnTo>
                <a:lnTo>
                  <a:pt x="125" y="167"/>
                </a:lnTo>
                <a:lnTo>
                  <a:pt x="128" y="164"/>
                </a:lnTo>
                <a:lnTo>
                  <a:pt x="128" y="164"/>
                </a:lnTo>
                <a:lnTo>
                  <a:pt x="128" y="159"/>
                </a:lnTo>
                <a:lnTo>
                  <a:pt x="128" y="159"/>
                </a:lnTo>
                <a:lnTo>
                  <a:pt x="128" y="157"/>
                </a:lnTo>
                <a:lnTo>
                  <a:pt x="128" y="157"/>
                </a:lnTo>
                <a:lnTo>
                  <a:pt x="125" y="155"/>
                </a:lnTo>
                <a:lnTo>
                  <a:pt x="125" y="155"/>
                </a:lnTo>
                <a:lnTo>
                  <a:pt x="123" y="152"/>
                </a:lnTo>
                <a:lnTo>
                  <a:pt x="123" y="152"/>
                </a:lnTo>
                <a:lnTo>
                  <a:pt x="128" y="152"/>
                </a:lnTo>
                <a:lnTo>
                  <a:pt x="128" y="152"/>
                </a:lnTo>
                <a:lnTo>
                  <a:pt x="130" y="152"/>
                </a:lnTo>
                <a:lnTo>
                  <a:pt x="130" y="152"/>
                </a:lnTo>
                <a:lnTo>
                  <a:pt x="135" y="150"/>
                </a:lnTo>
                <a:lnTo>
                  <a:pt x="135" y="150"/>
                </a:lnTo>
                <a:lnTo>
                  <a:pt x="135" y="150"/>
                </a:lnTo>
                <a:lnTo>
                  <a:pt x="135" y="150"/>
                </a:lnTo>
                <a:lnTo>
                  <a:pt x="135" y="147"/>
                </a:lnTo>
                <a:lnTo>
                  <a:pt x="135" y="147"/>
                </a:lnTo>
                <a:lnTo>
                  <a:pt x="132" y="145"/>
                </a:lnTo>
                <a:lnTo>
                  <a:pt x="132" y="145"/>
                </a:lnTo>
                <a:lnTo>
                  <a:pt x="132" y="145"/>
                </a:lnTo>
                <a:lnTo>
                  <a:pt x="130" y="145"/>
                </a:lnTo>
                <a:lnTo>
                  <a:pt x="130" y="145"/>
                </a:lnTo>
                <a:lnTo>
                  <a:pt x="130" y="142"/>
                </a:lnTo>
                <a:lnTo>
                  <a:pt x="130" y="142"/>
                </a:lnTo>
                <a:lnTo>
                  <a:pt x="132" y="140"/>
                </a:lnTo>
                <a:lnTo>
                  <a:pt x="132" y="140"/>
                </a:lnTo>
                <a:lnTo>
                  <a:pt x="135" y="140"/>
                </a:lnTo>
                <a:lnTo>
                  <a:pt x="135" y="140"/>
                </a:lnTo>
                <a:lnTo>
                  <a:pt x="135" y="142"/>
                </a:lnTo>
                <a:lnTo>
                  <a:pt x="135" y="142"/>
                </a:lnTo>
                <a:lnTo>
                  <a:pt x="137" y="142"/>
                </a:lnTo>
                <a:lnTo>
                  <a:pt x="137" y="142"/>
                </a:lnTo>
                <a:lnTo>
                  <a:pt x="137" y="142"/>
                </a:lnTo>
                <a:lnTo>
                  <a:pt x="140" y="137"/>
                </a:lnTo>
                <a:lnTo>
                  <a:pt x="140" y="137"/>
                </a:lnTo>
                <a:lnTo>
                  <a:pt x="142" y="137"/>
                </a:lnTo>
                <a:lnTo>
                  <a:pt x="142" y="137"/>
                </a:lnTo>
                <a:lnTo>
                  <a:pt x="142" y="135"/>
                </a:lnTo>
                <a:lnTo>
                  <a:pt x="142" y="135"/>
                </a:lnTo>
                <a:lnTo>
                  <a:pt x="142" y="132"/>
                </a:lnTo>
                <a:lnTo>
                  <a:pt x="142" y="132"/>
                </a:lnTo>
                <a:lnTo>
                  <a:pt x="142" y="132"/>
                </a:lnTo>
                <a:lnTo>
                  <a:pt x="137" y="130"/>
                </a:lnTo>
                <a:lnTo>
                  <a:pt x="137" y="130"/>
                </a:lnTo>
                <a:lnTo>
                  <a:pt x="137" y="127"/>
                </a:lnTo>
                <a:lnTo>
                  <a:pt x="137" y="127"/>
                </a:lnTo>
                <a:lnTo>
                  <a:pt x="137" y="125"/>
                </a:lnTo>
                <a:lnTo>
                  <a:pt x="137" y="125"/>
                </a:lnTo>
                <a:lnTo>
                  <a:pt x="132" y="127"/>
                </a:lnTo>
                <a:lnTo>
                  <a:pt x="132" y="127"/>
                </a:lnTo>
                <a:lnTo>
                  <a:pt x="130" y="130"/>
                </a:lnTo>
                <a:lnTo>
                  <a:pt x="130" y="130"/>
                </a:lnTo>
                <a:lnTo>
                  <a:pt x="130" y="132"/>
                </a:lnTo>
                <a:lnTo>
                  <a:pt x="130" y="132"/>
                </a:lnTo>
                <a:lnTo>
                  <a:pt x="130" y="130"/>
                </a:lnTo>
                <a:lnTo>
                  <a:pt x="130" y="130"/>
                </a:lnTo>
                <a:lnTo>
                  <a:pt x="130" y="127"/>
                </a:lnTo>
                <a:lnTo>
                  <a:pt x="130" y="127"/>
                </a:lnTo>
                <a:lnTo>
                  <a:pt x="132" y="125"/>
                </a:lnTo>
                <a:lnTo>
                  <a:pt x="132" y="125"/>
                </a:lnTo>
                <a:lnTo>
                  <a:pt x="132" y="123"/>
                </a:lnTo>
                <a:lnTo>
                  <a:pt x="132" y="123"/>
                </a:lnTo>
                <a:lnTo>
                  <a:pt x="135" y="118"/>
                </a:lnTo>
                <a:lnTo>
                  <a:pt x="135" y="118"/>
                </a:lnTo>
                <a:lnTo>
                  <a:pt x="132" y="118"/>
                </a:lnTo>
                <a:lnTo>
                  <a:pt x="132" y="118"/>
                </a:lnTo>
                <a:lnTo>
                  <a:pt x="130" y="120"/>
                </a:lnTo>
                <a:lnTo>
                  <a:pt x="130" y="120"/>
                </a:lnTo>
                <a:lnTo>
                  <a:pt x="128" y="125"/>
                </a:lnTo>
                <a:lnTo>
                  <a:pt x="128" y="125"/>
                </a:lnTo>
                <a:lnTo>
                  <a:pt x="128" y="125"/>
                </a:lnTo>
                <a:lnTo>
                  <a:pt x="128" y="125"/>
                </a:lnTo>
                <a:lnTo>
                  <a:pt x="128" y="120"/>
                </a:lnTo>
                <a:lnTo>
                  <a:pt x="128" y="120"/>
                </a:lnTo>
                <a:lnTo>
                  <a:pt x="128" y="120"/>
                </a:lnTo>
                <a:lnTo>
                  <a:pt x="125" y="120"/>
                </a:lnTo>
                <a:lnTo>
                  <a:pt x="125" y="120"/>
                </a:lnTo>
                <a:lnTo>
                  <a:pt x="125" y="125"/>
                </a:lnTo>
                <a:lnTo>
                  <a:pt x="125" y="125"/>
                </a:lnTo>
                <a:lnTo>
                  <a:pt x="123" y="125"/>
                </a:lnTo>
                <a:lnTo>
                  <a:pt x="123" y="125"/>
                </a:lnTo>
                <a:lnTo>
                  <a:pt x="123" y="127"/>
                </a:lnTo>
                <a:lnTo>
                  <a:pt x="123" y="127"/>
                </a:lnTo>
                <a:lnTo>
                  <a:pt x="123" y="130"/>
                </a:lnTo>
                <a:lnTo>
                  <a:pt x="123" y="130"/>
                </a:lnTo>
                <a:lnTo>
                  <a:pt x="125" y="127"/>
                </a:lnTo>
                <a:lnTo>
                  <a:pt x="125" y="127"/>
                </a:lnTo>
                <a:lnTo>
                  <a:pt x="128" y="130"/>
                </a:lnTo>
                <a:lnTo>
                  <a:pt x="128" y="130"/>
                </a:lnTo>
                <a:lnTo>
                  <a:pt x="128" y="130"/>
                </a:lnTo>
                <a:lnTo>
                  <a:pt x="125" y="132"/>
                </a:lnTo>
                <a:lnTo>
                  <a:pt x="125" y="132"/>
                </a:lnTo>
                <a:lnTo>
                  <a:pt x="123" y="135"/>
                </a:lnTo>
                <a:lnTo>
                  <a:pt x="123" y="135"/>
                </a:lnTo>
                <a:lnTo>
                  <a:pt x="123" y="137"/>
                </a:lnTo>
                <a:lnTo>
                  <a:pt x="123" y="137"/>
                </a:lnTo>
                <a:lnTo>
                  <a:pt x="120" y="140"/>
                </a:lnTo>
                <a:lnTo>
                  <a:pt x="120" y="140"/>
                </a:lnTo>
                <a:lnTo>
                  <a:pt x="120" y="140"/>
                </a:lnTo>
                <a:lnTo>
                  <a:pt x="118" y="142"/>
                </a:lnTo>
                <a:lnTo>
                  <a:pt x="118" y="142"/>
                </a:lnTo>
                <a:lnTo>
                  <a:pt x="115" y="145"/>
                </a:lnTo>
                <a:lnTo>
                  <a:pt x="115" y="145"/>
                </a:lnTo>
                <a:lnTo>
                  <a:pt x="110" y="142"/>
                </a:lnTo>
                <a:lnTo>
                  <a:pt x="110" y="142"/>
                </a:lnTo>
                <a:lnTo>
                  <a:pt x="108" y="145"/>
                </a:lnTo>
                <a:lnTo>
                  <a:pt x="108" y="145"/>
                </a:lnTo>
                <a:lnTo>
                  <a:pt x="105" y="142"/>
                </a:lnTo>
                <a:lnTo>
                  <a:pt x="105" y="142"/>
                </a:lnTo>
                <a:lnTo>
                  <a:pt x="103" y="140"/>
                </a:lnTo>
                <a:lnTo>
                  <a:pt x="103" y="140"/>
                </a:lnTo>
                <a:lnTo>
                  <a:pt x="103" y="142"/>
                </a:lnTo>
                <a:lnTo>
                  <a:pt x="103" y="142"/>
                </a:lnTo>
                <a:lnTo>
                  <a:pt x="103" y="145"/>
                </a:lnTo>
                <a:lnTo>
                  <a:pt x="103" y="145"/>
                </a:lnTo>
                <a:lnTo>
                  <a:pt x="103" y="145"/>
                </a:lnTo>
                <a:lnTo>
                  <a:pt x="100" y="147"/>
                </a:lnTo>
                <a:lnTo>
                  <a:pt x="100" y="147"/>
                </a:lnTo>
                <a:lnTo>
                  <a:pt x="103" y="150"/>
                </a:lnTo>
                <a:lnTo>
                  <a:pt x="103" y="150"/>
                </a:lnTo>
                <a:lnTo>
                  <a:pt x="105" y="147"/>
                </a:lnTo>
                <a:lnTo>
                  <a:pt x="105" y="147"/>
                </a:lnTo>
                <a:lnTo>
                  <a:pt x="108" y="147"/>
                </a:lnTo>
                <a:lnTo>
                  <a:pt x="108" y="147"/>
                </a:lnTo>
                <a:lnTo>
                  <a:pt x="110" y="152"/>
                </a:lnTo>
                <a:lnTo>
                  <a:pt x="110" y="152"/>
                </a:lnTo>
                <a:lnTo>
                  <a:pt x="113" y="152"/>
                </a:lnTo>
                <a:lnTo>
                  <a:pt x="113" y="152"/>
                </a:lnTo>
                <a:lnTo>
                  <a:pt x="113" y="155"/>
                </a:lnTo>
                <a:lnTo>
                  <a:pt x="113" y="155"/>
                </a:lnTo>
                <a:lnTo>
                  <a:pt x="110" y="155"/>
                </a:lnTo>
                <a:lnTo>
                  <a:pt x="110" y="155"/>
                </a:lnTo>
                <a:lnTo>
                  <a:pt x="108" y="155"/>
                </a:lnTo>
                <a:lnTo>
                  <a:pt x="108" y="155"/>
                </a:lnTo>
                <a:lnTo>
                  <a:pt x="105" y="157"/>
                </a:lnTo>
                <a:lnTo>
                  <a:pt x="105" y="157"/>
                </a:lnTo>
                <a:lnTo>
                  <a:pt x="105" y="164"/>
                </a:lnTo>
                <a:lnTo>
                  <a:pt x="105" y="164"/>
                </a:lnTo>
                <a:lnTo>
                  <a:pt x="108" y="167"/>
                </a:lnTo>
                <a:lnTo>
                  <a:pt x="108" y="167"/>
                </a:lnTo>
                <a:lnTo>
                  <a:pt x="108" y="169"/>
                </a:lnTo>
                <a:lnTo>
                  <a:pt x="108" y="169"/>
                </a:lnTo>
                <a:lnTo>
                  <a:pt x="108" y="169"/>
                </a:lnTo>
                <a:lnTo>
                  <a:pt x="110" y="169"/>
                </a:lnTo>
                <a:lnTo>
                  <a:pt x="110" y="169"/>
                </a:lnTo>
                <a:lnTo>
                  <a:pt x="113" y="169"/>
                </a:lnTo>
                <a:lnTo>
                  <a:pt x="113" y="169"/>
                </a:lnTo>
                <a:lnTo>
                  <a:pt x="113" y="167"/>
                </a:lnTo>
                <a:lnTo>
                  <a:pt x="113" y="167"/>
                </a:lnTo>
                <a:lnTo>
                  <a:pt x="113" y="164"/>
                </a:lnTo>
                <a:lnTo>
                  <a:pt x="113" y="164"/>
                </a:lnTo>
                <a:lnTo>
                  <a:pt x="115" y="164"/>
                </a:lnTo>
                <a:lnTo>
                  <a:pt x="115" y="164"/>
                </a:lnTo>
                <a:lnTo>
                  <a:pt x="118" y="167"/>
                </a:lnTo>
                <a:lnTo>
                  <a:pt x="118" y="167"/>
                </a:lnTo>
                <a:lnTo>
                  <a:pt x="118" y="172"/>
                </a:lnTo>
                <a:lnTo>
                  <a:pt x="118" y="172"/>
                </a:lnTo>
                <a:close/>
                <a:moveTo>
                  <a:pt x="137" y="167"/>
                </a:moveTo>
                <a:lnTo>
                  <a:pt x="137" y="167"/>
                </a:lnTo>
                <a:lnTo>
                  <a:pt x="140" y="164"/>
                </a:lnTo>
                <a:lnTo>
                  <a:pt x="140" y="164"/>
                </a:lnTo>
                <a:lnTo>
                  <a:pt x="140" y="162"/>
                </a:lnTo>
                <a:lnTo>
                  <a:pt x="140" y="162"/>
                </a:lnTo>
                <a:lnTo>
                  <a:pt x="140" y="159"/>
                </a:lnTo>
                <a:lnTo>
                  <a:pt x="140" y="159"/>
                </a:lnTo>
                <a:lnTo>
                  <a:pt x="137" y="157"/>
                </a:lnTo>
                <a:lnTo>
                  <a:pt x="137" y="157"/>
                </a:lnTo>
                <a:lnTo>
                  <a:pt x="135" y="157"/>
                </a:lnTo>
                <a:lnTo>
                  <a:pt x="135" y="157"/>
                </a:lnTo>
                <a:lnTo>
                  <a:pt x="132" y="159"/>
                </a:lnTo>
                <a:lnTo>
                  <a:pt x="132" y="159"/>
                </a:lnTo>
                <a:lnTo>
                  <a:pt x="132" y="162"/>
                </a:lnTo>
                <a:lnTo>
                  <a:pt x="132" y="162"/>
                </a:lnTo>
                <a:lnTo>
                  <a:pt x="135" y="164"/>
                </a:lnTo>
                <a:lnTo>
                  <a:pt x="135" y="164"/>
                </a:lnTo>
                <a:lnTo>
                  <a:pt x="137" y="167"/>
                </a:lnTo>
                <a:lnTo>
                  <a:pt x="137" y="167"/>
                </a:lnTo>
                <a:close/>
                <a:moveTo>
                  <a:pt x="142" y="174"/>
                </a:moveTo>
                <a:lnTo>
                  <a:pt x="145" y="174"/>
                </a:lnTo>
                <a:lnTo>
                  <a:pt x="145" y="174"/>
                </a:lnTo>
                <a:lnTo>
                  <a:pt x="147" y="172"/>
                </a:lnTo>
                <a:lnTo>
                  <a:pt x="147" y="172"/>
                </a:lnTo>
                <a:lnTo>
                  <a:pt x="152" y="174"/>
                </a:lnTo>
                <a:lnTo>
                  <a:pt x="152" y="174"/>
                </a:lnTo>
                <a:lnTo>
                  <a:pt x="155" y="172"/>
                </a:lnTo>
                <a:lnTo>
                  <a:pt x="155" y="172"/>
                </a:lnTo>
                <a:lnTo>
                  <a:pt x="152" y="169"/>
                </a:lnTo>
                <a:lnTo>
                  <a:pt x="152" y="169"/>
                </a:lnTo>
                <a:lnTo>
                  <a:pt x="150" y="169"/>
                </a:lnTo>
                <a:lnTo>
                  <a:pt x="150" y="169"/>
                </a:lnTo>
                <a:lnTo>
                  <a:pt x="150" y="164"/>
                </a:lnTo>
                <a:lnTo>
                  <a:pt x="150" y="164"/>
                </a:lnTo>
                <a:lnTo>
                  <a:pt x="145" y="159"/>
                </a:lnTo>
                <a:lnTo>
                  <a:pt x="145" y="159"/>
                </a:lnTo>
                <a:lnTo>
                  <a:pt x="145" y="162"/>
                </a:lnTo>
                <a:lnTo>
                  <a:pt x="145" y="162"/>
                </a:lnTo>
                <a:lnTo>
                  <a:pt x="145" y="167"/>
                </a:lnTo>
                <a:lnTo>
                  <a:pt x="145" y="167"/>
                </a:lnTo>
                <a:lnTo>
                  <a:pt x="145" y="169"/>
                </a:lnTo>
                <a:lnTo>
                  <a:pt x="145" y="169"/>
                </a:lnTo>
                <a:lnTo>
                  <a:pt x="140" y="169"/>
                </a:lnTo>
                <a:lnTo>
                  <a:pt x="140" y="169"/>
                </a:lnTo>
                <a:lnTo>
                  <a:pt x="140" y="169"/>
                </a:lnTo>
                <a:lnTo>
                  <a:pt x="142" y="172"/>
                </a:lnTo>
                <a:lnTo>
                  <a:pt x="142" y="172"/>
                </a:lnTo>
                <a:lnTo>
                  <a:pt x="142" y="174"/>
                </a:lnTo>
                <a:lnTo>
                  <a:pt x="142" y="174"/>
                </a:lnTo>
                <a:close/>
                <a:moveTo>
                  <a:pt x="182" y="66"/>
                </a:moveTo>
                <a:lnTo>
                  <a:pt x="182" y="66"/>
                </a:lnTo>
                <a:lnTo>
                  <a:pt x="187" y="64"/>
                </a:lnTo>
                <a:lnTo>
                  <a:pt x="187" y="64"/>
                </a:lnTo>
                <a:lnTo>
                  <a:pt x="189" y="64"/>
                </a:lnTo>
                <a:lnTo>
                  <a:pt x="189" y="64"/>
                </a:lnTo>
                <a:lnTo>
                  <a:pt x="189" y="61"/>
                </a:lnTo>
                <a:lnTo>
                  <a:pt x="189" y="61"/>
                </a:lnTo>
                <a:lnTo>
                  <a:pt x="192" y="61"/>
                </a:lnTo>
                <a:lnTo>
                  <a:pt x="192" y="61"/>
                </a:lnTo>
                <a:lnTo>
                  <a:pt x="189" y="59"/>
                </a:lnTo>
                <a:lnTo>
                  <a:pt x="189" y="59"/>
                </a:lnTo>
                <a:lnTo>
                  <a:pt x="189" y="56"/>
                </a:lnTo>
                <a:lnTo>
                  <a:pt x="189" y="56"/>
                </a:lnTo>
                <a:lnTo>
                  <a:pt x="187" y="54"/>
                </a:lnTo>
                <a:lnTo>
                  <a:pt x="187" y="54"/>
                </a:lnTo>
                <a:lnTo>
                  <a:pt x="184" y="56"/>
                </a:lnTo>
                <a:lnTo>
                  <a:pt x="184" y="56"/>
                </a:lnTo>
                <a:lnTo>
                  <a:pt x="182" y="56"/>
                </a:lnTo>
                <a:lnTo>
                  <a:pt x="182" y="56"/>
                </a:lnTo>
                <a:lnTo>
                  <a:pt x="179" y="59"/>
                </a:lnTo>
                <a:lnTo>
                  <a:pt x="179" y="59"/>
                </a:lnTo>
                <a:lnTo>
                  <a:pt x="179" y="59"/>
                </a:lnTo>
                <a:lnTo>
                  <a:pt x="179" y="61"/>
                </a:lnTo>
                <a:lnTo>
                  <a:pt x="179" y="61"/>
                </a:lnTo>
                <a:lnTo>
                  <a:pt x="182" y="64"/>
                </a:lnTo>
                <a:lnTo>
                  <a:pt x="182" y="66"/>
                </a:lnTo>
                <a:lnTo>
                  <a:pt x="182" y="66"/>
                </a:lnTo>
                <a:close/>
                <a:moveTo>
                  <a:pt x="187" y="71"/>
                </a:moveTo>
                <a:lnTo>
                  <a:pt x="187" y="71"/>
                </a:lnTo>
                <a:lnTo>
                  <a:pt x="187" y="68"/>
                </a:lnTo>
                <a:lnTo>
                  <a:pt x="187" y="68"/>
                </a:lnTo>
                <a:lnTo>
                  <a:pt x="187" y="68"/>
                </a:lnTo>
                <a:lnTo>
                  <a:pt x="187" y="68"/>
                </a:lnTo>
                <a:lnTo>
                  <a:pt x="187" y="71"/>
                </a:lnTo>
                <a:lnTo>
                  <a:pt x="187" y="71"/>
                </a:lnTo>
                <a:close/>
                <a:moveTo>
                  <a:pt x="187" y="81"/>
                </a:moveTo>
                <a:lnTo>
                  <a:pt x="187" y="81"/>
                </a:lnTo>
                <a:lnTo>
                  <a:pt x="189" y="78"/>
                </a:lnTo>
                <a:lnTo>
                  <a:pt x="189" y="78"/>
                </a:lnTo>
                <a:lnTo>
                  <a:pt x="189" y="76"/>
                </a:lnTo>
                <a:lnTo>
                  <a:pt x="189" y="76"/>
                </a:lnTo>
                <a:lnTo>
                  <a:pt x="192" y="76"/>
                </a:lnTo>
                <a:lnTo>
                  <a:pt x="192" y="76"/>
                </a:lnTo>
                <a:lnTo>
                  <a:pt x="189" y="73"/>
                </a:lnTo>
                <a:lnTo>
                  <a:pt x="189" y="73"/>
                </a:lnTo>
                <a:lnTo>
                  <a:pt x="189" y="76"/>
                </a:lnTo>
                <a:lnTo>
                  <a:pt x="189" y="76"/>
                </a:lnTo>
                <a:lnTo>
                  <a:pt x="184" y="76"/>
                </a:lnTo>
                <a:lnTo>
                  <a:pt x="184" y="76"/>
                </a:lnTo>
                <a:lnTo>
                  <a:pt x="184" y="73"/>
                </a:lnTo>
                <a:lnTo>
                  <a:pt x="184" y="73"/>
                </a:lnTo>
                <a:lnTo>
                  <a:pt x="182" y="73"/>
                </a:lnTo>
                <a:lnTo>
                  <a:pt x="182" y="73"/>
                </a:lnTo>
                <a:lnTo>
                  <a:pt x="179" y="73"/>
                </a:lnTo>
                <a:lnTo>
                  <a:pt x="179" y="73"/>
                </a:lnTo>
                <a:lnTo>
                  <a:pt x="174" y="76"/>
                </a:lnTo>
                <a:lnTo>
                  <a:pt x="174" y="76"/>
                </a:lnTo>
                <a:lnTo>
                  <a:pt x="174" y="78"/>
                </a:lnTo>
                <a:lnTo>
                  <a:pt x="174" y="78"/>
                </a:lnTo>
                <a:lnTo>
                  <a:pt x="177" y="81"/>
                </a:lnTo>
                <a:lnTo>
                  <a:pt x="177" y="81"/>
                </a:lnTo>
                <a:lnTo>
                  <a:pt x="179" y="81"/>
                </a:lnTo>
                <a:lnTo>
                  <a:pt x="179" y="81"/>
                </a:lnTo>
                <a:lnTo>
                  <a:pt x="182" y="81"/>
                </a:lnTo>
                <a:lnTo>
                  <a:pt x="182" y="81"/>
                </a:lnTo>
                <a:lnTo>
                  <a:pt x="184" y="81"/>
                </a:lnTo>
                <a:lnTo>
                  <a:pt x="184" y="81"/>
                </a:lnTo>
                <a:lnTo>
                  <a:pt x="184" y="83"/>
                </a:lnTo>
                <a:lnTo>
                  <a:pt x="184" y="83"/>
                </a:lnTo>
                <a:lnTo>
                  <a:pt x="187" y="81"/>
                </a:lnTo>
                <a:lnTo>
                  <a:pt x="187" y="81"/>
                </a:lnTo>
                <a:close/>
                <a:moveTo>
                  <a:pt x="194" y="81"/>
                </a:moveTo>
                <a:lnTo>
                  <a:pt x="194" y="81"/>
                </a:lnTo>
                <a:lnTo>
                  <a:pt x="194" y="78"/>
                </a:lnTo>
                <a:lnTo>
                  <a:pt x="194" y="78"/>
                </a:lnTo>
                <a:lnTo>
                  <a:pt x="194" y="76"/>
                </a:lnTo>
                <a:lnTo>
                  <a:pt x="194" y="76"/>
                </a:lnTo>
                <a:lnTo>
                  <a:pt x="196" y="76"/>
                </a:lnTo>
                <a:lnTo>
                  <a:pt x="196" y="76"/>
                </a:lnTo>
                <a:lnTo>
                  <a:pt x="199" y="76"/>
                </a:lnTo>
                <a:lnTo>
                  <a:pt x="199" y="76"/>
                </a:lnTo>
                <a:lnTo>
                  <a:pt x="199" y="78"/>
                </a:lnTo>
                <a:lnTo>
                  <a:pt x="199" y="78"/>
                </a:lnTo>
                <a:lnTo>
                  <a:pt x="199" y="81"/>
                </a:lnTo>
                <a:lnTo>
                  <a:pt x="199" y="81"/>
                </a:lnTo>
                <a:lnTo>
                  <a:pt x="196" y="81"/>
                </a:lnTo>
                <a:lnTo>
                  <a:pt x="196" y="81"/>
                </a:lnTo>
                <a:lnTo>
                  <a:pt x="194" y="81"/>
                </a:lnTo>
                <a:lnTo>
                  <a:pt x="194" y="81"/>
                </a:lnTo>
                <a:close/>
                <a:moveTo>
                  <a:pt x="182" y="98"/>
                </a:moveTo>
                <a:lnTo>
                  <a:pt x="182" y="98"/>
                </a:lnTo>
                <a:lnTo>
                  <a:pt x="184" y="93"/>
                </a:lnTo>
                <a:lnTo>
                  <a:pt x="184" y="93"/>
                </a:lnTo>
                <a:lnTo>
                  <a:pt x="187" y="88"/>
                </a:lnTo>
                <a:lnTo>
                  <a:pt x="187" y="88"/>
                </a:lnTo>
                <a:lnTo>
                  <a:pt x="189" y="86"/>
                </a:lnTo>
                <a:lnTo>
                  <a:pt x="189" y="86"/>
                </a:lnTo>
                <a:lnTo>
                  <a:pt x="189" y="86"/>
                </a:lnTo>
                <a:lnTo>
                  <a:pt x="187" y="83"/>
                </a:lnTo>
                <a:lnTo>
                  <a:pt x="187" y="83"/>
                </a:lnTo>
                <a:lnTo>
                  <a:pt x="184" y="86"/>
                </a:lnTo>
                <a:lnTo>
                  <a:pt x="184" y="86"/>
                </a:lnTo>
                <a:lnTo>
                  <a:pt x="179" y="86"/>
                </a:lnTo>
                <a:lnTo>
                  <a:pt x="179" y="86"/>
                </a:lnTo>
                <a:lnTo>
                  <a:pt x="177" y="83"/>
                </a:lnTo>
                <a:lnTo>
                  <a:pt x="177" y="83"/>
                </a:lnTo>
                <a:lnTo>
                  <a:pt x="174" y="86"/>
                </a:lnTo>
                <a:lnTo>
                  <a:pt x="174" y="86"/>
                </a:lnTo>
                <a:lnTo>
                  <a:pt x="174" y="88"/>
                </a:lnTo>
                <a:lnTo>
                  <a:pt x="174" y="88"/>
                </a:lnTo>
                <a:lnTo>
                  <a:pt x="174" y="91"/>
                </a:lnTo>
                <a:lnTo>
                  <a:pt x="174" y="91"/>
                </a:lnTo>
                <a:lnTo>
                  <a:pt x="177" y="91"/>
                </a:lnTo>
                <a:lnTo>
                  <a:pt x="177" y="91"/>
                </a:lnTo>
                <a:lnTo>
                  <a:pt x="179" y="93"/>
                </a:lnTo>
                <a:lnTo>
                  <a:pt x="179" y="93"/>
                </a:lnTo>
                <a:lnTo>
                  <a:pt x="179" y="95"/>
                </a:lnTo>
                <a:lnTo>
                  <a:pt x="179" y="95"/>
                </a:lnTo>
                <a:lnTo>
                  <a:pt x="177" y="95"/>
                </a:lnTo>
                <a:lnTo>
                  <a:pt x="177" y="95"/>
                </a:lnTo>
                <a:lnTo>
                  <a:pt x="169" y="98"/>
                </a:lnTo>
                <a:lnTo>
                  <a:pt x="169" y="98"/>
                </a:lnTo>
                <a:lnTo>
                  <a:pt x="169" y="98"/>
                </a:lnTo>
                <a:lnTo>
                  <a:pt x="172" y="100"/>
                </a:lnTo>
                <a:lnTo>
                  <a:pt x="172" y="100"/>
                </a:lnTo>
                <a:lnTo>
                  <a:pt x="174" y="100"/>
                </a:lnTo>
                <a:lnTo>
                  <a:pt x="174" y="100"/>
                </a:lnTo>
                <a:lnTo>
                  <a:pt x="177" y="98"/>
                </a:lnTo>
                <a:lnTo>
                  <a:pt x="182" y="98"/>
                </a:lnTo>
                <a:lnTo>
                  <a:pt x="182" y="98"/>
                </a:lnTo>
                <a:close/>
                <a:moveTo>
                  <a:pt x="189" y="98"/>
                </a:moveTo>
                <a:lnTo>
                  <a:pt x="189" y="98"/>
                </a:lnTo>
                <a:lnTo>
                  <a:pt x="187" y="98"/>
                </a:lnTo>
                <a:lnTo>
                  <a:pt x="187" y="98"/>
                </a:lnTo>
                <a:lnTo>
                  <a:pt x="187" y="98"/>
                </a:lnTo>
                <a:lnTo>
                  <a:pt x="184" y="98"/>
                </a:lnTo>
                <a:lnTo>
                  <a:pt x="184" y="98"/>
                </a:lnTo>
                <a:lnTo>
                  <a:pt x="184" y="95"/>
                </a:lnTo>
                <a:lnTo>
                  <a:pt x="184" y="95"/>
                </a:lnTo>
                <a:lnTo>
                  <a:pt x="189" y="93"/>
                </a:lnTo>
                <a:lnTo>
                  <a:pt x="189" y="93"/>
                </a:lnTo>
                <a:lnTo>
                  <a:pt x="189" y="91"/>
                </a:lnTo>
                <a:lnTo>
                  <a:pt x="189" y="91"/>
                </a:lnTo>
                <a:lnTo>
                  <a:pt x="192" y="93"/>
                </a:lnTo>
                <a:lnTo>
                  <a:pt x="192" y="93"/>
                </a:lnTo>
                <a:lnTo>
                  <a:pt x="192" y="95"/>
                </a:lnTo>
                <a:lnTo>
                  <a:pt x="192" y="95"/>
                </a:lnTo>
                <a:lnTo>
                  <a:pt x="189" y="98"/>
                </a:lnTo>
                <a:lnTo>
                  <a:pt x="189" y="98"/>
                </a:lnTo>
                <a:close/>
                <a:moveTo>
                  <a:pt x="199" y="103"/>
                </a:moveTo>
                <a:lnTo>
                  <a:pt x="199" y="103"/>
                </a:lnTo>
                <a:lnTo>
                  <a:pt x="194" y="100"/>
                </a:lnTo>
                <a:lnTo>
                  <a:pt x="194" y="100"/>
                </a:lnTo>
                <a:lnTo>
                  <a:pt x="194" y="98"/>
                </a:lnTo>
                <a:lnTo>
                  <a:pt x="194" y="98"/>
                </a:lnTo>
                <a:lnTo>
                  <a:pt x="194" y="95"/>
                </a:lnTo>
                <a:lnTo>
                  <a:pt x="194" y="95"/>
                </a:lnTo>
                <a:lnTo>
                  <a:pt x="196" y="95"/>
                </a:lnTo>
                <a:lnTo>
                  <a:pt x="196" y="95"/>
                </a:lnTo>
                <a:lnTo>
                  <a:pt x="196" y="98"/>
                </a:lnTo>
                <a:lnTo>
                  <a:pt x="196" y="98"/>
                </a:lnTo>
                <a:lnTo>
                  <a:pt x="201" y="98"/>
                </a:lnTo>
                <a:lnTo>
                  <a:pt x="201" y="98"/>
                </a:lnTo>
                <a:lnTo>
                  <a:pt x="201" y="100"/>
                </a:lnTo>
                <a:lnTo>
                  <a:pt x="201" y="100"/>
                </a:lnTo>
                <a:lnTo>
                  <a:pt x="201" y="103"/>
                </a:lnTo>
                <a:lnTo>
                  <a:pt x="201" y="103"/>
                </a:lnTo>
                <a:lnTo>
                  <a:pt x="199" y="103"/>
                </a:lnTo>
                <a:lnTo>
                  <a:pt x="199" y="103"/>
                </a:lnTo>
                <a:close/>
                <a:moveTo>
                  <a:pt x="194" y="113"/>
                </a:moveTo>
                <a:lnTo>
                  <a:pt x="194" y="113"/>
                </a:lnTo>
                <a:lnTo>
                  <a:pt x="192" y="110"/>
                </a:lnTo>
                <a:lnTo>
                  <a:pt x="192" y="110"/>
                </a:lnTo>
                <a:lnTo>
                  <a:pt x="187" y="105"/>
                </a:lnTo>
                <a:lnTo>
                  <a:pt x="187" y="105"/>
                </a:lnTo>
                <a:lnTo>
                  <a:pt x="182" y="103"/>
                </a:lnTo>
                <a:lnTo>
                  <a:pt x="182" y="103"/>
                </a:lnTo>
                <a:lnTo>
                  <a:pt x="179" y="103"/>
                </a:lnTo>
                <a:lnTo>
                  <a:pt x="179" y="103"/>
                </a:lnTo>
                <a:lnTo>
                  <a:pt x="177" y="103"/>
                </a:lnTo>
                <a:lnTo>
                  <a:pt x="177" y="103"/>
                </a:lnTo>
                <a:lnTo>
                  <a:pt x="177" y="100"/>
                </a:lnTo>
                <a:lnTo>
                  <a:pt x="177" y="100"/>
                </a:lnTo>
                <a:lnTo>
                  <a:pt x="182" y="100"/>
                </a:lnTo>
                <a:lnTo>
                  <a:pt x="182" y="100"/>
                </a:lnTo>
                <a:lnTo>
                  <a:pt x="184" y="100"/>
                </a:lnTo>
                <a:lnTo>
                  <a:pt x="184" y="100"/>
                </a:lnTo>
                <a:lnTo>
                  <a:pt x="189" y="103"/>
                </a:lnTo>
                <a:lnTo>
                  <a:pt x="189" y="103"/>
                </a:lnTo>
                <a:lnTo>
                  <a:pt x="194" y="105"/>
                </a:lnTo>
                <a:lnTo>
                  <a:pt x="194" y="105"/>
                </a:lnTo>
                <a:lnTo>
                  <a:pt x="196" y="105"/>
                </a:lnTo>
                <a:lnTo>
                  <a:pt x="196" y="105"/>
                </a:lnTo>
                <a:lnTo>
                  <a:pt x="199" y="105"/>
                </a:lnTo>
                <a:lnTo>
                  <a:pt x="199" y="105"/>
                </a:lnTo>
                <a:lnTo>
                  <a:pt x="199" y="105"/>
                </a:lnTo>
                <a:lnTo>
                  <a:pt x="199" y="108"/>
                </a:lnTo>
                <a:lnTo>
                  <a:pt x="199" y="108"/>
                </a:lnTo>
                <a:lnTo>
                  <a:pt x="196" y="113"/>
                </a:lnTo>
                <a:lnTo>
                  <a:pt x="196" y="113"/>
                </a:lnTo>
                <a:lnTo>
                  <a:pt x="194" y="113"/>
                </a:lnTo>
                <a:lnTo>
                  <a:pt x="194" y="113"/>
                </a:lnTo>
                <a:close/>
                <a:moveTo>
                  <a:pt x="196" y="120"/>
                </a:moveTo>
                <a:lnTo>
                  <a:pt x="196" y="120"/>
                </a:lnTo>
                <a:lnTo>
                  <a:pt x="199" y="118"/>
                </a:lnTo>
                <a:lnTo>
                  <a:pt x="199" y="118"/>
                </a:lnTo>
                <a:lnTo>
                  <a:pt x="196" y="113"/>
                </a:lnTo>
                <a:lnTo>
                  <a:pt x="196" y="113"/>
                </a:lnTo>
                <a:lnTo>
                  <a:pt x="194" y="113"/>
                </a:lnTo>
                <a:lnTo>
                  <a:pt x="194" y="113"/>
                </a:lnTo>
                <a:lnTo>
                  <a:pt x="189" y="113"/>
                </a:lnTo>
                <a:lnTo>
                  <a:pt x="189" y="113"/>
                </a:lnTo>
                <a:lnTo>
                  <a:pt x="184" y="108"/>
                </a:lnTo>
                <a:lnTo>
                  <a:pt x="184" y="108"/>
                </a:lnTo>
                <a:lnTo>
                  <a:pt x="182" y="108"/>
                </a:lnTo>
                <a:lnTo>
                  <a:pt x="182" y="108"/>
                </a:lnTo>
                <a:lnTo>
                  <a:pt x="179" y="108"/>
                </a:lnTo>
                <a:lnTo>
                  <a:pt x="179" y="108"/>
                </a:lnTo>
                <a:lnTo>
                  <a:pt x="177" y="108"/>
                </a:lnTo>
                <a:lnTo>
                  <a:pt x="177" y="108"/>
                </a:lnTo>
                <a:lnTo>
                  <a:pt x="174" y="105"/>
                </a:lnTo>
                <a:lnTo>
                  <a:pt x="174" y="105"/>
                </a:lnTo>
                <a:lnTo>
                  <a:pt x="167" y="105"/>
                </a:lnTo>
                <a:lnTo>
                  <a:pt x="167" y="105"/>
                </a:lnTo>
                <a:lnTo>
                  <a:pt x="162" y="105"/>
                </a:lnTo>
                <a:lnTo>
                  <a:pt x="162" y="105"/>
                </a:lnTo>
                <a:lnTo>
                  <a:pt x="164" y="110"/>
                </a:lnTo>
                <a:lnTo>
                  <a:pt x="164" y="110"/>
                </a:lnTo>
                <a:lnTo>
                  <a:pt x="164" y="110"/>
                </a:lnTo>
                <a:lnTo>
                  <a:pt x="164" y="113"/>
                </a:lnTo>
                <a:lnTo>
                  <a:pt x="164" y="113"/>
                </a:lnTo>
                <a:lnTo>
                  <a:pt x="169" y="113"/>
                </a:lnTo>
                <a:lnTo>
                  <a:pt x="169" y="113"/>
                </a:lnTo>
                <a:lnTo>
                  <a:pt x="172" y="110"/>
                </a:lnTo>
                <a:lnTo>
                  <a:pt x="172" y="110"/>
                </a:lnTo>
                <a:lnTo>
                  <a:pt x="172" y="110"/>
                </a:lnTo>
                <a:lnTo>
                  <a:pt x="174" y="113"/>
                </a:lnTo>
                <a:lnTo>
                  <a:pt x="174" y="113"/>
                </a:lnTo>
                <a:lnTo>
                  <a:pt x="177" y="115"/>
                </a:lnTo>
                <a:lnTo>
                  <a:pt x="177" y="115"/>
                </a:lnTo>
                <a:lnTo>
                  <a:pt x="179" y="115"/>
                </a:lnTo>
                <a:lnTo>
                  <a:pt x="179" y="115"/>
                </a:lnTo>
                <a:lnTo>
                  <a:pt x="179" y="115"/>
                </a:lnTo>
                <a:lnTo>
                  <a:pt x="182" y="118"/>
                </a:lnTo>
                <a:lnTo>
                  <a:pt x="182" y="118"/>
                </a:lnTo>
                <a:lnTo>
                  <a:pt x="184" y="120"/>
                </a:lnTo>
                <a:lnTo>
                  <a:pt x="184" y="120"/>
                </a:lnTo>
                <a:lnTo>
                  <a:pt x="189" y="118"/>
                </a:lnTo>
                <a:lnTo>
                  <a:pt x="189" y="118"/>
                </a:lnTo>
                <a:lnTo>
                  <a:pt x="192" y="120"/>
                </a:lnTo>
                <a:lnTo>
                  <a:pt x="192" y="120"/>
                </a:lnTo>
                <a:lnTo>
                  <a:pt x="196" y="123"/>
                </a:lnTo>
                <a:lnTo>
                  <a:pt x="196" y="123"/>
                </a:lnTo>
                <a:lnTo>
                  <a:pt x="196" y="120"/>
                </a:lnTo>
                <a:lnTo>
                  <a:pt x="196" y="120"/>
                </a:lnTo>
                <a:close/>
                <a:moveTo>
                  <a:pt x="174" y="125"/>
                </a:moveTo>
                <a:lnTo>
                  <a:pt x="172" y="125"/>
                </a:lnTo>
                <a:lnTo>
                  <a:pt x="172" y="125"/>
                </a:lnTo>
                <a:lnTo>
                  <a:pt x="172" y="125"/>
                </a:lnTo>
                <a:lnTo>
                  <a:pt x="167" y="125"/>
                </a:lnTo>
                <a:lnTo>
                  <a:pt x="167" y="125"/>
                </a:lnTo>
                <a:lnTo>
                  <a:pt x="164" y="123"/>
                </a:lnTo>
                <a:lnTo>
                  <a:pt x="164" y="123"/>
                </a:lnTo>
                <a:lnTo>
                  <a:pt x="164" y="120"/>
                </a:lnTo>
                <a:lnTo>
                  <a:pt x="164" y="120"/>
                </a:lnTo>
                <a:lnTo>
                  <a:pt x="167" y="120"/>
                </a:lnTo>
                <a:lnTo>
                  <a:pt x="167" y="120"/>
                </a:lnTo>
                <a:lnTo>
                  <a:pt x="169" y="118"/>
                </a:lnTo>
                <a:lnTo>
                  <a:pt x="169" y="118"/>
                </a:lnTo>
                <a:lnTo>
                  <a:pt x="174" y="118"/>
                </a:lnTo>
                <a:lnTo>
                  <a:pt x="174" y="118"/>
                </a:lnTo>
                <a:lnTo>
                  <a:pt x="174" y="118"/>
                </a:lnTo>
                <a:lnTo>
                  <a:pt x="177" y="120"/>
                </a:lnTo>
                <a:lnTo>
                  <a:pt x="177" y="120"/>
                </a:lnTo>
                <a:lnTo>
                  <a:pt x="179" y="120"/>
                </a:lnTo>
                <a:lnTo>
                  <a:pt x="179" y="120"/>
                </a:lnTo>
                <a:lnTo>
                  <a:pt x="179" y="120"/>
                </a:lnTo>
                <a:lnTo>
                  <a:pt x="182" y="120"/>
                </a:lnTo>
                <a:lnTo>
                  <a:pt x="182" y="120"/>
                </a:lnTo>
                <a:lnTo>
                  <a:pt x="182" y="123"/>
                </a:lnTo>
                <a:lnTo>
                  <a:pt x="182" y="123"/>
                </a:lnTo>
                <a:lnTo>
                  <a:pt x="182" y="123"/>
                </a:lnTo>
                <a:lnTo>
                  <a:pt x="174" y="125"/>
                </a:lnTo>
                <a:lnTo>
                  <a:pt x="174" y="125"/>
                </a:lnTo>
                <a:close/>
                <a:moveTo>
                  <a:pt x="167" y="142"/>
                </a:moveTo>
                <a:lnTo>
                  <a:pt x="167" y="142"/>
                </a:lnTo>
                <a:lnTo>
                  <a:pt x="167" y="140"/>
                </a:lnTo>
                <a:lnTo>
                  <a:pt x="167" y="140"/>
                </a:lnTo>
                <a:lnTo>
                  <a:pt x="167" y="135"/>
                </a:lnTo>
                <a:lnTo>
                  <a:pt x="167" y="135"/>
                </a:lnTo>
                <a:lnTo>
                  <a:pt x="164" y="135"/>
                </a:lnTo>
                <a:lnTo>
                  <a:pt x="164" y="135"/>
                </a:lnTo>
                <a:lnTo>
                  <a:pt x="164" y="140"/>
                </a:lnTo>
                <a:lnTo>
                  <a:pt x="164" y="140"/>
                </a:lnTo>
                <a:lnTo>
                  <a:pt x="162" y="140"/>
                </a:lnTo>
                <a:lnTo>
                  <a:pt x="162" y="140"/>
                </a:lnTo>
                <a:lnTo>
                  <a:pt x="164" y="142"/>
                </a:lnTo>
                <a:lnTo>
                  <a:pt x="164" y="142"/>
                </a:lnTo>
                <a:lnTo>
                  <a:pt x="167" y="145"/>
                </a:lnTo>
                <a:lnTo>
                  <a:pt x="167" y="145"/>
                </a:lnTo>
                <a:lnTo>
                  <a:pt x="167" y="142"/>
                </a:lnTo>
                <a:lnTo>
                  <a:pt x="167" y="142"/>
                </a:lnTo>
                <a:close/>
                <a:moveTo>
                  <a:pt x="172" y="142"/>
                </a:moveTo>
                <a:lnTo>
                  <a:pt x="172" y="142"/>
                </a:lnTo>
                <a:lnTo>
                  <a:pt x="172" y="142"/>
                </a:lnTo>
                <a:lnTo>
                  <a:pt x="174" y="140"/>
                </a:lnTo>
                <a:lnTo>
                  <a:pt x="174" y="140"/>
                </a:lnTo>
                <a:lnTo>
                  <a:pt x="172" y="137"/>
                </a:lnTo>
                <a:lnTo>
                  <a:pt x="172" y="137"/>
                </a:lnTo>
                <a:lnTo>
                  <a:pt x="169" y="135"/>
                </a:lnTo>
                <a:lnTo>
                  <a:pt x="169" y="135"/>
                </a:lnTo>
                <a:lnTo>
                  <a:pt x="167" y="135"/>
                </a:lnTo>
                <a:lnTo>
                  <a:pt x="167" y="135"/>
                </a:lnTo>
                <a:lnTo>
                  <a:pt x="167" y="137"/>
                </a:lnTo>
                <a:lnTo>
                  <a:pt x="167" y="137"/>
                </a:lnTo>
                <a:lnTo>
                  <a:pt x="172" y="142"/>
                </a:lnTo>
                <a:lnTo>
                  <a:pt x="172" y="142"/>
                </a:lnTo>
                <a:close/>
                <a:moveTo>
                  <a:pt x="177" y="137"/>
                </a:moveTo>
                <a:lnTo>
                  <a:pt x="179" y="140"/>
                </a:lnTo>
                <a:lnTo>
                  <a:pt x="179" y="140"/>
                </a:lnTo>
                <a:lnTo>
                  <a:pt x="179" y="137"/>
                </a:lnTo>
                <a:lnTo>
                  <a:pt x="179" y="137"/>
                </a:lnTo>
                <a:lnTo>
                  <a:pt x="179" y="135"/>
                </a:lnTo>
                <a:lnTo>
                  <a:pt x="179" y="135"/>
                </a:lnTo>
                <a:lnTo>
                  <a:pt x="177" y="135"/>
                </a:lnTo>
                <a:lnTo>
                  <a:pt x="177" y="135"/>
                </a:lnTo>
                <a:lnTo>
                  <a:pt x="174" y="135"/>
                </a:lnTo>
                <a:lnTo>
                  <a:pt x="174" y="135"/>
                </a:lnTo>
                <a:lnTo>
                  <a:pt x="177" y="137"/>
                </a:lnTo>
                <a:lnTo>
                  <a:pt x="177" y="137"/>
                </a:lnTo>
                <a:close/>
                <a:moveTo>
                  <a:pt x="177" y="147"/>
                </a:moveTo>
                <a:lnTo>
                  <a:pt x="177" y="147"/>
                </a:lnTo>
                <a:lnTo>
                  <a:pt x="177" y="145"/>
                </a:lnTo>
                <a:lnTo>
                  <a:pt x="177" y="145"/>
                </a:lnTo>
                <a:lnTo>
                  <a:pt x="179" y="142"/>
                </a:lnTo>
                <a:lnTo>
                  <a:pt x="179" y="142"/>
                </a:lnTo>
                <a:lnTo>
                  <a:pt x="177" y="140"/>
                </a:lnTo>
                <a:lnTo>
                  <a:pt x="177" y="140"/>
                </a:lnTo>
                <a:lnTo>
                  <a:pt x="174" y="140"/>
                </a:lnTo>
                <a:lnTo>
                  <a:pt x="174" y="140"/>
                </a:lnTo>
                <a:lnTo>
                  <a:pt x="174" y="140"/>
                </a:lnTo>
                <a:lnTo>
                  <a:pt x="174" y="142"/>
                </a:lnTo>
                <a:lnTo>
                  <a:pt x="174" y="142"/>
                </a:lnTo>
                <a:lnTo>
                  <a:pt x="174" y="145"/>
                </a:lnTo>
                <a:lnTo>
                  <a:pt x="174" y="145"/>
                </a:lnTo>
                <a:lnTo>
                  <a:pt x="177" y="147"/>
                </a:lnTo>
                <a:lnTo>
                  <a:pt x="177" y="147"/>
                </a:lnTo>
                <a:close/>
                <a:moveTo>
                  <a:pt x="172" y="155"/>
                </a:moveTo>
                <a:lnTo>
                  <a:pt x="172" y="155"/>
                </a:lnTo>
                <a:lnTo>
                  <a:pt x="172" y="152"/>
                </a:lnTo>
                <a:lnTo>
                  <a:pt x="172" y="152"/>
                </a:lnTo>
                <a:lnTo>
                  <a:pt x="169" y="152"/>
                </a:lnTo>
                <a:lnTo>
                  <a:pt x="169" y="152"/>
                </a:lnTo>
                <a:lnTo>
                  <a:pt x="167" y="150"/>
                </a:lnTo>
                <a:lnTo>
                  <a:pt x="167" y="150"/>
                </a:lnTo>
                <a:lnTo>
                  <a:pt x="164" y="150"/>
                </a:lnTo>
                <a:lnTo>
                  <a:pt x="164" y="150"/>
                </a:lnTo>
                <a:lnTo>
                  <a:pt x="162" y="150"/>
                </a:lnTo>
                <a:lnTo>
                  <a:pt x="162" y="150"/>
                </a:lnTo>
                <a:lnTo>
                  <a:pt x="164" y="152"/>
                </a:lnTo>
                <a:lnTo>
                  <a:pt x="164" y="152"/>
                </a:lnTo>
                <a:lnTo>
                  <a:pt x="164" y="155"/>
                </a:lnTo>
                <a:lnTo>
                  <a:pt x="164" y="155"/>
                </a:lnTo>
                <a:lnTo>
                  <a:pt x="162" y="157"/>
                </a:lnTo>
                <a:lnTo>
                  <a:pt x="162" y="157"/>
                </a:lnTo>
                <a:lnTo>
                  <a:pt x="162" y="159"/>
                </a:lnTo>
                <a:lnTo>
                  <a:pt x="162" y="159"/>
                </a:lnTo>
                <a:lnTo>
                  <a:pt x="167" y="159"/>
                </a:lnTo>
                <a:lnTo>
                  <a:pt x="167" y="159"/>
                </a:lnTo>
                <a:lnTo>
                  <a:pt x="172" y="157"/>
                </a:lnTo>
                <a:lnTo>
                  <a:pt x="172" y="157"/>
                </a:lnTo>
                <a:lnTo>
                  <a:pt x="172" y="155"/>
                </a:lnTo>
                <a:lnTo>
                  <a:pt x="172" y="155"/>
                </a:lnTo>
                <a:close/>
                <a:moveTo>
                  <a:pt x="174" y="150"/>
                </a:moveTo>
                <a:lnTo>
                  <a:pt x="174" y="150"/>
                </a:lnTo>
                <a:lnTo>
                  <a:pt x="174" y="152"/>
                </a:lnTo>
                <a:lnTo>
                  <a:pt x="174" y="152"/>
                </a:lnTo>
                <a:lnTo>
                  <a:pt x="177" y="155"/>
                </a:lnTo>
                <a:lnTo>
                  <a:pt x="177" y="155"/>
                </a:lnTo>
                <a:lnTo>
                  <a:pt x="177" y="155"/>
                </a:lnTo>
                <a:lnTo>
                  <a:pt x="177" y="152"/>
                </a:lnTo>
                <a:lnTo>
                  <a:pt x="177" y="152"/>
                </a:lnTo>
                <a:lnTo>
                  <a:pt x="177" y="150"/>
                </a:lnTo>
                <a:lnTo>
                  <a:pt x="177" y="150"/>
                </a:lnTo>
                <a:lnTo>
                  <a:pt x="174" y="150"/>
                </a:lnTo>
                <a:lnTo>
                  <a:pt x="174" y="150"/>
                </a:lnTo>
                <a:close/>
                <a:moveTo>
                  <a:pt x="199" y="115"/>
                </a:moveTo>
                <a:lnTo>
                  <a:pt x="199" y="115"/>
                </a:lnTo>
                <a:lnTo>
                  <a:pt x="199" y="113"/>
                </a:lnTo>
                <a:lnTo>
                  <a:pt x="199" y="113"/>
                </a:lnTo>
                <a:lnTo>
                  <a:pt x="201" y="110"/>
                </a:lnTo>
                <a:lnTo>
                  <a:pt x="201" y="110"/>
                </a:lnTo>
                <a:lnTo>
                  <a:pt x="201" y="108"/>
                </a:lnTo>
                <a:lnTo>
                  <a:pt x="201" y="108"/>
                </a:lnTo>
                <a:lnTo>
                  <a:pt x="204" y="105"/>
                </a:lnTo>
                <a:lnTo>
                  <a:pt x="204" y="105"/>
                </a:lnTo>
                <a:lnTo>
                  <a:pt x="204" y="105"/>
                </a:lnTo>
                <a:lnTo>
                  <a:pt x="206" y="110"/>
                </a:lnTo>
                <a:lnTo>
                  <a:pt x="206" y="110"/>
                </a:lnTo>
                <a:lnTo>
                  <a:pt x="206" y="110"/>
                </a:lnTo>
                <a:lnTo>
                  <a:pt x="206" y="113"/>
                </a:lnTo>
                <a:lnTo>
                  <a:pt x="206" y="113"/>
                </a:lnTo>
                <a:lnTo>
                  <a:pt x="204" y="115"/>
                </a:lnTo>
                <a:lnTo>
                  <a:pt x="204" y="115"/>
                </a:lnTo>
                <a:lnTo>
                  <a:pt x="204" y="115"/>
                </a:lnTo>
                <a:lnTo>
                  <a:pt x="201" y="115"/>
                </a:lnTo>
                <a:lnTo>
                  <a:pt x="201" y="115"/>
                </a:lnTo>
                <a:lnTo>
                  <a:pt x="199" y="115"/>
                </a:lnTo>
                <a:lnTo>
                  <a:pt x="199" y="115"/>
                </a:lnTo>
                <a:close/>
                <a:moveTo>
                  <a:pt x="182" y="147"/>
                </a:moveTo>
                <a:lnTo>
                  <a:pt x="182" y="147"/>
                </a:lnTo>
                <a:lnTo>
                  <a:pt x="182" y="150"/>
                </a:lnTo>
                <a:lnTo>
                  <a:pt x="182" y="150"/>
                </a:lnTo>
                <a:lnTo>
                  <a:pt x="184" y="150"/>
                </a:lnTo>
                <a:lnTo>
                  <a:pt x="184" y="150"/>
                </a:lnTo>
                <a:lnTo>
                  <a:pt x="187" y="150"/>
                </a:lnTo>
                <a:lnTo>
                  <a:pt x="187" y="150"/>
                </a:lnTo>
                <a:lnTo>
                  <a:pt x="189" y="150"/>
                </a:lnTo>
                <a:lnTo>
                  <a:pt x="189" y="150"/>
                </a:lnTo>
                <a:lnTo>
                  <a:pt x="187" y="147"/>
                </a:lnTo>
                <a:lnTo>
                  <a:pt x="187" y="147"/>
                </a:lnTo>
                <a:lnTo>
                  <a:pt x="187" y="145"/>
                </a:lnTo>
                <a:lnTo>
                  <a:pt x="187" y="145"/>
                </a:lnTo>
                <a:lnTo>
                  <a:pt x="184" y="145"/>
                </a:lnTo>
                <a:lnTo>
                  <a:pt x="184" y="145"/>
                </a:lnTo>
                <a:lnTo>
                  <a:pt x="182" y="147"/>
                </a:lnTo>
                <a:lnTo>
                  <a:pt x="182" y="147"/>
                </a:lnTo>
                <a:lnTo>
                  <a:pt x="182" y="147"/>
                </a:lnTo>
                <a:close/>
                <a:moveTo>
                  <a:pt x="182" y="142"/>
                </a:moveTo>
                <a:lnTo>
                  <a:pt x="182" y="142"/>
                </a:lnTo>
                <a:lnTo>
                  <a:pt x="184" y="142"/>
                </a:lnTo>
                <a:lnTo>
                  <a:pt x="184" y="142"/>
                </a:lnTo>
                <a:lnTo>
                  <a:pt x="184" y="140"/>
                </a:lnTo>
                <a:lnTo>
                  <a:pt x="184" y="140"/>
                </a:lnTo>
                <a:lnTo>
                  <a:pt x="184" y="137"/>
                </a:lnTo>
                <a:lnTo>
                  <a:pt x="184" y="137"/>
                </a:lnTo>
                <a:lnTo>
                  <a:pt x="184" y="140"/>
                </a:lnTo>
                <a:lnTo>
                  <a:pt x="184" y="140"/>
                </a:lnTo>
                <a:lnTo>
                  <a:pt x="182" y="142"/>
                </a:lnTo>
                <a:lnTo>
                  <a:pt x="182" y="142"/>
                </a:lnTo>
                <a:close/>
                <a:moveTo>
                  <a:pt x="187" y="140"/>
                </a:moveTo>
                <a:lnTo>
                  <a:pt x="187" y="140"/>
                </a:lnTo>
                <a:lnTo>
                  <a:pt x="187" y="140"/>
                </a:lnTo>
                <a:lnTo>
                  <a:pt x="189" y="142"/>
                </a:lnTo>
                <a:lnTo>
                  <a:pt x="189" y="142"/>
                </a:lnTo>
                <a:lnTo>
                  <a:pt x="192" y="140"/>
                </a:lnTo>
                <a:lnTo>
                  <a:pt x="192" y="140"/>
                </a:lnTo>
                <a:lnTo>
                  <a:pt x="192" y="140"/>
                </a:lnTo>
                <a:lnTo>
                  <a:pt x="192" y="137"/>
                </a:lnTo>
                <a:lnTo>
                  <a:pt x="192" y="137"/>
                </a:lnTo>
                <a:lnTo>
                  <a:pt x="189" y="137"/>
                </a:lnTo>
                <a:lnTo>
                  <a:pt x="189" y="137"/>
                </a:lnTo>
                <a:lnTo>
                  <a:pt x="189" y="140"/>
                </a:lnTo>
                <a:lnTo>
                  <a:pt x="189" y="140"/>
                </a:lnTo>
                <a:lnTo>
                  <a:pt x="187" y="140"/>
                </a:lnTo>
                <a:lnTo>
                  <a:pt x="187" y="140"/>
                </a:lnTo>
                <a:close/>
                <a:moveTo>
                  <a:pt x="187" y="127"/>
                </a:moveTo>
                <a:lnTo>
                  <a:pt x="187" y="127"/>
                </a:lnTo>
                <a:lnTo>
                  <a:pt x="187" y="130"/>
                </a:lnTo>
                <a:lnTo>
                  <a:pt x="187" y="130"/>
                </a:lnTo>
                <a:lnTo>
                  <a:pt x="184" y="130"/>
                </a:lnTo>
                <a:lnTo>
                  <a:pt x="184" y="130"/>
                </a:lnTo>
                <a:lnTo>
                  <a:pt x="182" y="127"/>
                </a:lnTo>
                <a:lnTo>
                  <a:pt x="182" y="127"/>
                </a:lnTo>
                <a:lnTo>
                  <a:pt x="182" y="125"/>
                </a:lnTo>
                <a:lnTo>
                  <a:pt x="182" y="125"/>
                </a:lnTo>
                <a:lnTo>
                  <a:pt x="184" y="123"/>
                </a:lnTo>
                <a:lnTo>
                  <a:pt x="184" y="123"/>
                </a:lnTo>
                <a:lnTo>
                  <a:pt x="187" y="120"/>
                </a:lnTo>
                <a:lnTo>
                  <a:pt x="187" y="120"/>
                </a:lnTo>
                <a:lnTo>
                  <a:pt x="189" y="123"/>
                </a:lnTo>
                <a:lnTo>
                  <a:pt x="189" y="123"/>
                </a:lnTo>
                <a:lnTo>
                  <a:pt x="192" y="123"/>
                </a:lnTo>
                <a:lnTo>
                  <a:pt x="192" y="123"/>
                </a:lnTo>
                <a:lnTo>
                  <a:pt x="194" y="125"/>
                </a:lnTo>
                <a:lnTo>
                  <a:pt x="194" y="125"/>
                </a:lnTo>
                <a:lnTo>
                  <a:pt x="194" y="127"/>
                </a:lnTo>
                <a:lnTo>
                  <a:pt x="194" y="127"/>
                </a:lnTo>
                <a:lnTo>
                  <a:pt x="192" y="127"/>
                </a:lnTo>
                <a:lnTo>
                  <a:pt x="192" y="127"/>
                </a:lnTo>
                <a:lnTo>
                  <a:pt x="189" y="127"/>
                </a:lnTo>
                <a:lnTo>
                  <a:pt x="189" y="127"/>
                </a:lnTo>
                <a:lnTo>
                  <a:pt x="187" y="127"/>
                </a:lnTo>
                <a:lnTo>
                  <a:pt x="187" y="127"/>
                </a:lnTo>
                <a:close/>
                <a:moveTo>
                  <a:pt x="199" y="125"/>
                </a:moveTo>
                <a:lnTo>
                  <a:pt x="199" y="125"/>
                </a:lnTo>
                <a:lnTo>
                  <a:pt x="201" y="127"/>
                </a:lnTo>
                <a:lnTo>
                  <a:pt x="201" y="127"/>
                </a:lnTo>
                <a:lnTo>
                  <a:pt x="204" y="127"/>
                </a:lnTo>
                <a:lnTo>
                  <a:pt x="204" y="127"/>
                </a:lnTo>
                <a:lnTo>
                  <a:pt x="206" y="127"/>
                </a:lnTo>
                <a:lnTo>
                  <a:pt x="206" y="127"/>
                </a:lnTo>
                <a:lnTo>
                  <a:pt x="206" y="125"/>
                </a:lnTo>
                <a:lnTo>
                  <a:pt x="206" y="125"/>
                </a:lnTo>
                <a:lnTo>
                  <a:pt x="204" y="123"/>
                </a:lnTo>
                <a:lnTo>
                  <a:pt x="204" y="123"/>
                </a:lnTo>
                <a:lnTo>
                  <a:pt x="204" y="125"/>
                </a:lnTo>
                <a:lnTo>
                  <a:pt x="204" y="125"/>
                </a:lnTo>
                <a:lnTo>
                  <a:pt x="201" y="125"/>
                </a:lnTo>
                <a:lnTo>
                  <a:pt x="201" y="125"/>
                </a:lnTo>
                <a:lnTo>
                  <a:pt x="199" y="125"/>
                </a:lnTo>
                <a:lnTo>
                  <a:pt x="199" y="125"/>
                </a:lnTo>
                <a:close/>
                <a:moveTo>
                  <a:pt x="206" y="155"/>
                </a:moveTo>
                <a:lnTo>
                  <a:pt x="206" y="155"/>
                </a:lnTo>
                <a:lnTo>
                  <a:pt x="206" y="152"/>
                </a:lnTo>
                <a:lnTo>
                  <a:pt x="206" y="152"/>
                </a:lnTo>
                <a:lnTo>
                  <a:pt x="204" y="150"/>
                </a:lnTo>
                <a:lnTo>
                  <a:pt x="204" y="150"/>
                </a:lnTo>
                <a:lnTo>
                  <a:pt x="204" y="147"/>
                </a:lnTo>
                <a:lnTo>
                  <a:pt x="204" y="147"/>
                </a:lnTo>
                <a:lnTo>
                  <a:pt x="204" y="145"/>
                </a:lnTo>
                <a:lnTo>
                  <a:pt x="204" y="145"/>
                </a:lnTo>
                <a:lnTo>
                  <a:pt x="201" y="140"/>
                </a:lnTo>
                <a:lnTo>
                  <a:pt x="201" y="140"/>
                </a:lnTo>
                <a:lnTo>
                  <a:pt x="199" y="140"/>
                </a:lnTo>
                <a:lnTo>
                  <a:pt x="199" y="140"/>
                </a:lnTo>
                <a:lnTo>
                  <a:pt x="199" y="140"/>
                </a:lnTo>
                <a:lnTo>
                  <a:pt x="194" y="140"/>
                </a:lnTo>
                <a:lnTo>
                  <a:pt x="194" y="140"/>
                </a:lnTo>
                <a:lnTo>
                  <a:pt x="192" y="142"/>
                </a:lnTo>
                <a:lnTo>
                  <a:pt x="192" y="142"/>
                </a:lnTo>
                <a:lnTo>
                  <a:pt x="192" y="145"/>
                </a:lnTo>
                <a:lnTo>
                  <a:pt x="192" y="145"/>
                </a:lnTo>
                <a:lnTo>
                  <a:pt x="194" y="150"/>
                </a:lnTo>
                <a:lnTo>
                  <a:pt x="194" y="150"/>
                </a:lnTo>
                <a:lnTo>
                  <a:pt x="194" y="155"/>
                </a:lnTo>
                <a:lnTo>
                  <a:pt x="194" y="155"/>
                </a:lnTo>
                <a:lnTo>
                  <a:pt x="196" y="157"/>
                </a:lnTo>
                <a:lnTo>
                  <a:pt x="196" y="157"/>
                </a:lnTo>
                <a:lnTo>
                  <a:pt x="199" y="157"/>
                </a:lnTo>
                <a:lnTo>
                  <a:pt x="199" y="157"/>
                </a:lnTo>
                <a:lnTo>
                  <a:pt x="201" y="155"/>
                </a:lnTo>
                <a:lnTo>
                  <a:pt x="201" y="155"/>
                </a:lnTo>
                <a:lnTo>
                  <a:pt x="206" y="155"/>
                </a:lnTo>
                <a:lnTo>
                  <a:pt x="206" y="155"/>
                </a:lnTo>
                <a:close/>
                <a:moveTo>
                  <a:pt x="214" y="152"/>
                </a:moveTo>
                <a:lnTo>
                  <a:pt x="214" y="152"/>
                </a:lnTo>
                <a:lnTo>
                  <a:pt x="214" y="152"/>
                </a:lnTo>
                <a:lnTo>
                  <a:pt x="211" y="150"/>
                </a:lnTo>
                <a:lnTo>
                  <a:pt x="211" y="150"/>
                </a:lnTo>
                <a:lnTo>
                  <a:pt x="211" y="147"/>
                </a:lnTo>
                <a:lnTo>
                  <a:pt x="211" y="147"/>
                </a:lnTo>
                <a:lnTo>
                  <a:pt x="214" y="147"/>
                </a:lnTo>
                <a:lnTo>
                  <a:pt x="214" y="147"/>
                </a:lnTo>
                <a:lnTo>
                  <a:pt x="216" y="142"/>
                </a:lnTo>
                <a:lnTo>
                  <a:pt x="216" y="142"/>
                </a:lnTo>
                <a:lnTo>
                  <a:pt x="216" y="142"/>
                </a:lnTo>
                <a:lnTo>
                  <a:pt x="221" y="140"/>
                </a:lnTo>
                <a:lnTo>
                  <a:pt x="221" y="140"/>
                </a:lnTo>
                <a:lnTo>
                  <a:pt x="221" y="140"/>
                </a:lnTo>
                <a:lnTo>
                  <a:pt x="223" y="137"/>
                </a:lnTo>
                <a:lnTo>
                  <a:pt x="223" y="137"/>
                </a:lnTo>
                <a:lnTo>
                  <a:pt x="221" y="137"/>
                </a:lnTo>
                <a:lnTo>
                  <a:pt x="221" y="137"/>
                </a:lnTo>
                <a:lnTo>
                  <a:pt x="219" y="137"/>
                </a:lnTo>
                <a:lnTo>
                  <a:pt x="219" y="137"/>
                </a:lnTo>
                <a:lnTo>
                  <a:pt x="211" y="135"/>
                </a:lnTo>
                <a:lnTo>
                  <a:pt x="211" y="135"/>
                </a:lnTo>
                <a:lnTo>
                  <a:pt x="209" y="130"/>
                </a:lnTo>
                <a:lnTo>
                  <a:pt x="209" y="130"/>
                </a:lnTo>
                <a:lnTo>
                  <a:pt x="206" y="132"/>
                </a:lnTo>
                <a:lnTo>
                  <a:pt x="206" y="132"/>
                </a:lnTo>
                <a:lnTo>
                  <a:pt x="204" y="132"/>
                </a:lnTo>
                <a:lnTo>
                  <a:pt x="204" y="132"/>
                </a:lnTo>
                <a:lnTo>
                  <a:pt x="204" y="132"/>
                </a:lnTo>
                <a:lnTo>
                  <a:pt x="204" y="135"/>
                </a:lnTo>
                <a:lnTo>
                  <a:pt x="204" y="135"/>
                </a:lnTo>
                <a:lnTo>
                  <a:pt x="206" y="142"/>
                </a:lnTo>
                <a:lnTo>
                  <a:pt x="206" y="142"/>
                </a:lnTo>
                <a:lnTo>
                  <a:pt x="206" y="147"/>
                </a:lnTo>
                <a:lnTo>
                  <a:pt x="206" y="147"/>
                </a:lnTo>
                <a:lnTo>
                  <a:pt x="209" y="152"/>
                </a:lnTo>
                <a:lnTo>
                  <a:pt x="209" y="152"/>
                </a:lnTo>
                <a:lnTo>
                  <a:pt x="211" y="152"/>
                </a:lnTo>
                <a:lnTo>
                  <a:pt x="211" y="152"/>
                </a:lnTo>
                <a:lnTo>
                  <a:pt x="214" y="152"/>
                </a:lnTo>
                <a:lnTo>
                  <a:pt x="214" y="152"/>
                </a:lnTo>
                <a:close/>
                <a:moveTo>
                  <a:pt x="223" y="152"/>
                </a:moveTo>
                <a:lnTo>
                  <a:pt x="223" y="152"/>
                </a:lnTo>
                <a:lnTo>
                  <a:pt x="223" y="155"/>
                </a:lnTo>
                <a:lnTo>
                  <a:pt x="223" y="155"/>
                </a:lnTo>
                <a:lnTo>
                  <a:pt x="226" y="157"/>
                </a:lnTo>
                <a:lnTo>
                  <a:pt x="226" y="157"/>
                </a:lnTo>
                <a:lnTo>
                  <a:pt x="228" y="159"/>
                </a:lnTo>
                <a:lnTo>
                  <a:pt x="228" y="159"/>
                </a:lnTo>
                <a:lnTo>
                  <a:pt x="233" y="159"/>
                </a:lnTo>
                <a:lnTo>
                  <a:pt x="233" y="159"/>
                </a:lnTo>
                <a:lnTo>
                  <a:pt x="236" y="155"/>
                </a:lnTo>
                <a:lnTo>
                  <a:pt x="236" y="155"/>
                </a:lnTo>
                <a:lnTo>
                  <a:pt x="236" y="150"/>
                </a:lnTo>
                <a:lnTo>
                  <a:pt x="236" y="150"/>
                </a:lnTo>
                <a:lnTo>
                  <a:pt x="231" y="150"/>
                </a:lnTo>
                <a:lnTo>
                  <a:pt x="231" y="150"/>
                </a:lnTo>
                <a:lnTo>
                  <a:pt x="228" y="150"/>
                </a:lnTo>
                <a:lnTo>
                  <a:pt x="228" y="150"/>
                </a:lnTo>
                <a:lnTo>
                  <a:pt x="223" y="152"/>
                </a:lnTo>
                <a:lnTo>
                  <a:pt x="223" y="152"/>
                </a:lnTo>
                <a:close/>
                <a:moveTo>
                  <a:pt x="223" y="159"/>
                </a:moveTo>
                <a:lnTo>
                  <a:pt x="223" y="159"/>
                </a:lnTo>
                <a:lnTo>
                  <a:pt x="223" y="162"/>
                </a:lnTo>
                <a:lnTo>
                  <a:pt x="223" y="162"/>
                </a:lnTo>
                <a:lnTo>
                  <a:pt x="226" y="162"/>
                </a:lnTo>
                <a:lnTo>
                  <a:pt x="226" y="162"/>
                </a:lnTo>
                <a:lnTo>
                  <a:pt x="226" y="164"/>
                </a:lnTo>
                <a:lnTo>
                  <a:pt x="226" y="164"/>
                </a:lnTo>
                <a:lnTo>
                  <a:pt x="228" y="162"/>
                </a:lnTo>
                <a:lnTo>
                  <a:pt x="228" y="162"/>
                </a:lnTo>
                <a:lnTo>
                  <a:pt x="226" y="159"/>
                </a:lnTo>
                <a:lnTo>
                  <a:pt x="226" y="159"/>
                </a:lnTo>
                <a:lnTo>
                  <a:pt x="223" y="159"/>
                </a:lnTo>
                <a:lnTo>
                  <a:pt x="223" y="159"/>
                </a:lnTo>
                <a:close/>
                <a:moveTo>
                  <a:pt x="223" y="61"/>
                </a:moveTo>
                <a:lnTo>
                  <a:pt x="223" y="61"/>
                </a:lnTo>
                <a:lnTo>
                  <a:pt x="226" y="59"/>
                </a:lnTo>
                <a:lnTo>
                  <a:pt x="226" y="59"/>
                </a:lnTo>
                <a:lnTo>
                  <a:pt x="226" y="59"/>
                </a:lnTo>
                <a:lnTo>
                  <a:pt x="228" y="56"/>
                </a:lnTo>
                <a:lnTo>
                  <a:pt x="228" y="56"/>
                </a:lnTo>
                <a:lnTo>
                  <a:pt x="231" y="56"/>
                </a:lnTo>
                <a:lnTo>
                  <a:pt x="231" y="56"/>
                </a:lnTo>
                <a:lnTo>
                  <a:pt x="233" y="59"/>
                </a:lnTo>
                <a:lnTo>
                  <a:pt x="233" y="59"/>
                </a:lnTo>
                <a:lnTo>
                  <a:pt x="236" y="59"/>
                </a:lnTo>
                <a:lnTo>
                  <a:pt x="236" y="59"/>
                </a:lnTo>
                <a:lnTo>
                  <a:pt x="236" y="61"/>
                </a:lnTo>
                <a:lnTo>
                  <a:pt x="236" y="61"/>
                </a:lnTo>
                <a:lnTo>
                  <a:pt x="233" y="64"/>
                </a:lnTo>
                <a:lnTo>
                  <a:pt x="233" y="64"/>
                </a:lnTo>
                <a:lnTo>
                  <a:pt x="231" y="64"/>
                </a:lnTo>
                <a:lnTo>
                  <a:pt x="231" y="64"/>
                </a:lnTo>
                <a:lnTo>
                  <a:pt x="228" y="61"/>
                </a:lnTo>
                <a:lnTo>
                  <a:pt x="228" y="61"/>
                </a:lnTo>
                <a:lnTo>
                  <a:pt x="223" y="61"/>
                </a:lnTo>
                <a:lnTo>
                  <a:pt x="223" y="61"/>
                </a:lnTo>
                <a:lnTo>
                  <a:pt x="223" y="61"/>
                </a:lnTo>
                <a:close/>
                <a:moveTo>
                  <a:pt x="228" y="103"/>
                </a:moveTo>
                <a:lnTo>
                  <a:pt x="228" y="103"/>
                </a:lnTo>
                <a:lnTo>
                  <a:pt x="231" y="100"/>
                </a:lnTo>
                <a:lnTo>
                  <a:pt x="231" y="100"/>
                </a:lnTo>
                <a:lnTo>
                  <a:pt x="233" y="98"/>
                </a:lnTo>
                <a:lnTo>
                  <a:pt x="233" y="98"/>
                </a:lnTo>
                <a:lnTo>
                  <a:pt x="233" y="98"/>
                </a:lnTo>
                <a:lnTo>
                  <a:pt x="231" y="95"/>
                </a:lnTo>
                <a:lnTo>
                  <a:pt x="231" y="95"/>
                </a:lnTo>
                <a:lnTo>
                  <a:pt x="228" y="93"/>
                </a:lnTo>
                <a:lnTo>
                  <a:pt x="228" y="93"/>
                </a:lnTo>
                <a:lnTo>
                  <a:pt x="226" y="93"/>
                </a:lnTo>
                <a:lnTo>
                  <a:pt x="226" y="93"/>
                </a:lnTo>
                <a:lnTo>
                  <a:pt x="221" y="93"/>
                </a:lnTo>
                <a:lnTo>
                  <a:pt x="221" y="93"/>
                </a:lnTo>
                <a:lnTo>
                  <a:pt x="219" y="95"/>
                </a:lnTo>
                <a:lnTo>
                  <a:pt x="219" y="95"/>
                </a:lnTo>
                <a:lnTo>
                  <a:pt x="216" y="98"/>
                </a:lnTo>
                <a:lnTo>
                  <a:pt x="216" y="98"/>
                </a:lnTo>
                <a:lnTo>
                  <a:pt x="219" y="100"/>
                </a:lnTo>
                <a:lnTo>
                  <a:pt x="219" y="100"/>
                </a:lnTo>
                <a:lnTo>
                  <a:pt x="223" y="103"/>
                </a:lnTo>
                <a:lnTo>
                  <a:pt x="223" y="103"/>
                </a:lnTo>
                <a:lnTo>
                  <a:pt x="226" y="105"/>
                </a:lnTo>
                <a:lnTo>
                  <a:pt x="226" y="105"/>
                </a:lnTo>
                <a:lnTo>
                  <a:pt x="228" y="103"/>
                </a:lnTo>
                <a:lnTo>
                  <a:pt x="228" y="103"/>
                </a:lnTo>
                <a:close/>
                <a:moveTo>
                  <a:pt x="236" y="98"/>
                </a:moveTo>
                <a:lnTo>
                  <a:pt x="236" y="98"/>
                </a:lnTo>
                <a:lnTo>
                  <a:pt x="236" y="100"/>
                </a:lnTo>
                <a:lnTo>
                  <a:pt x="236" y="100"/>
                </a:lnTo>
                <a:lnTo>
                  <a:pt x="236" y="103"/>
                </a:lnTo>
                <a:lnTo>
                  <a:pt x="236" y="103"/>
                </a:lnTo>
                <a:lnTo>
                  <a:pt x="233" y="105"/>
                </a:lnTo>
                <a:lnTo>
                  <a:pt x="233" y="105"/>
                </a:lnTo>
                <a:lnTo>
                  <a:pt x="233" y="105"/>
                </a:lnTo>
                <a:lnTo>
                  <a:pt x="231" y="105"/>
                </a:lnTo>
                <a:lnTo>
                  <a:pt x="231" y="105"/>
                </a:lnTo>
                <a:lnTo>
                  <a:pt x="226" y="108"/>
                </a:lnTo>
                <a:lnTo>
                  <a:pt x="226" y="108"/>
                </a:lnTo>
                <a:lnTo>
                  <a:pt x="223" y="110"/>
                </a:lnTo>
                <a:lnTo>
                  <a:pt x="223" y="110"/>
                </a:lnTo>
                <a:lnTo>
                  <a:pt x="221" y="108"/>
                </a:lnTo>
                <a:lnTo>
                  <a:pt x="221" y="108"/>
                </a:lnTo>
                <a:lnTo>
                  <a:pt x="219" y="108"/>
                </a:lnTo>
                <a:lnTo>
                  <a:pt x="219" y="108"/>
                </a:lnTo>
                <a:lnTo>
                  <a:pt x="219" y="110"/>
                </a:lnTo>
                <a:lnTo>
                  <a:pt x="219" y="110"/>
                </a:lnTo>
                <a:lnTo>
                  <a:pt x="221" y="115"/>
                </a:lnTo>
                <a:lnTo>
                  <a:pt x="221" y="115"/>
                </a:lnTo>
                <a:lnTo>
                  <a:pt x="221" y="123"/>
                </a:lnTo>
                <a:lnTo>
                  <a:pt x="221" y="123"/>
                </a:lnTo>
                <a:lnTo>
                  <a:pt x="221" y="127"/>
                </a:lnTo>
                <a:lnTo>
                  <a:pt x="221" y="127"/>
                </a:lnTo>
                <a:lnTo>
                  <a:pt x="226" y="132"/>
                </a:lnTo>
                <a:lnTo>
                  <a:pt x="226" y="132"/>
                </a:lnTo>
                <a:lnTo>
                  <a:pt x="228" y="132"/>
                </a:lnTo>
                <a:lnTo>
                  <a:pt x="228" y="132"/>
                </a:lnTo>
                <a:lnTo>
                  <a:pt x="233" y="130"/>
                </a:lnTo>
                <a:lnTo>
                  <a:pt x="233" y="130"/>
                </a:lnTo>
                <a:lnTo>
                  <a:pt x="238" y="130"/>
                </a:lnTo>
                <a:lnTo>
                  <a:pt x="238" y="130"/>
                </a:lnTo>
                <a:lnTo>
                  <a:pt x="241" y="127"/>
                </a:lnTo>
                <a:lnTo>
                  <a:pt x="241" y="127"/>
                </a:lnTo>
                <a:lnTo>
                  <a:pt x="246" y="127"/>
                </a:lnTo>
                <a:lnTo>
                  <a:pt x="246" y="127"/>
                </a:lnTo>
                <a:lnTo>
                  <a:pt x="246" y="125"/>
                </a:lnTo>
                <a:lnTo>
                  <a:pt x="246" y="125"/>
                </a:lnTo>
                <a:lnTo>
                  <a:pt x="243" y="123"/>
                </a:lnTo>
                <a:lnTo>
                  <a:pt x="243" y="123"/>
                </a:lnTo>
                <a:lnTo>
                  <a:pt x="241" y="120"/>
                </a:lnTo>
                <a:lnTo>
                  <a:pt x="241" y="120"/>
                </a:lnTo>
                <a:lnTo>
                  <a:pt x="236" y="118"/>
                </a:lnTo>
                <a:lnTo>
                  <a:pt x="236" y="118"/>
                </a:lnTo>
                <a:lnTo>
                  <a:pt x="236" y="115"/>
                </a:lnTo>
                <a:lnTo>
                  <a:pt x="236" y="115"/>
                </a:lnTo>
                <a:lnTo>
                  <a:pt x="236" y="113"/>
                </a:lnTo>
                <a:lnTo>
                  <a:pt x="236" y="113"/>
                </a:lnTo>
                <a:lnTo>
                  <a:pt x="238" y="110"/>
                </a:lnTo>
                <a:lnTo>
                  <a:pt x="238" y="110"/>
                </a:lnTo>
                <a:lnTo>
                  <a:pt x="241" y="110"/>
                </a:lnTo>
                <a:lnTo>
                  <a:pt x="241" y="110"/>
                </a:lnTo>
                <a:lnTo>
                  <a:pt x="243" y="110"/>
                </a:lnTo>
                <a:lnTo>
                  <a:pt x="243" y="110"/>
                </a:lnTo>
                <a:lnTo>
                  <a:pt x="243" y="108"/>
                </a:lnTo>
                <a:lnTo>
                  <a:pt x="243" y="108"/>
                </a:lnTo>
                <a:lnTo>
                  <a:pt x="241" y="103"/>
                </a:lnTo>
                <a:lnTo>
                  <a:pt x="241" y="103"/>
                </a:lnTo>
                <a:lnTo>
                  <a:pt x="238" y="103"/>
                </a:lnTo>
                <a:lnTo>
                  <a:pt x="238" y="103"/>
                </a:lnTo>
                <a:lnTo>
                  <a:pt x="236" y="98"/>
                </a:lnTo>
                <a:lnTo>
                  <a:pt x="236" y="98"/>
                </a:lnTo>
                <a:close/>
                <a:moveTo>
                  <a:pt x="251" y="105"/>
                </a:moveTo>
                <a:lnTo>
                  <a:pt x="251" y="105"/>
                </a:lnTo>
                <a:lnTo>
                  <a:pt x="248" y="103"/>
                </a:lnTo>
                <a:lnTo>
                  <a:pt x="248" y="103"/>
                </a:lnTo>
                <a:lnTo>
                  <a:pt x="248" y="100"/>
                </a:lnTo>
                <a:lnTo>
                  <a:pt x="248" y="100"/>
                </a:lnTo>
                <a:lnTo>
                  <a:pt x="246" y="98"/>
                </a:lnTo>
                <a:lnTo>
                  <a:pt x="246" y="98"/>
                </a:lnTo>
                <a:lnTo>
                  <a:pt x="243" y="98"/>
                </a:lnTo>
                <a:lnTo>
                  <a:pt x="243" y="98"/>
                </a:lnTo>
                <a:lnTo>
                  <a:pt x="241" y="95"/>
                </a:lnTo>
                <a:lnTo>
                  <a:pt x="241" y="95"/>
                </a:lnTo>
                <a:lnTo>
                  <a:pt x="241" y="93"/>
                </a:lnTo>
                <a:lnTo>
                  <a:pt x="241" y="93"/>
                </a:lnTo>
                <a:lnTo>
                  <a:pt x="241" y="91"/>
                </a:lnTo>
                <a:lnTo>
                  <a:pt x="241" y="91"/>
                </a:lnTo>
                <a:lnTo>
                  <a:pt x="241" y="88"/>
                </a:lnTo>
                <a:lnTo>
                  <a:pt x="241" y="88"/>
                </a:lnTo>
                <a:lnTo>
                  <a:pt x="238" y="83"/>
                </a:lnTo>
                <a:lnTo>
                  <a:pt x="238" y="83"/>
                </a:lnTo>
                <a:lnTo>
                  <a:pt x="241" y="81"/>
                </a:lnTo>
                <a:lnTo>
                  <a:pt x="241" y="81"/>
                </a:lnTo>
                <a:lnTo>
                  <a:pt x="243" y="78"/>
                </a:lnTo>
                <a:lnTo>
                  <a:pt x="243" y="78"/>
                </a:lnTo>
                <a:lnTo>
                  <a:pt x="246" y="73"/>
                </a:lnTo>
                <a:lnTo>
                  <a:pt x="246" y="73"/>
                </a:lnTo>
                <a:lnTo>
                  <a:pt x="246" y="73"/>
                </a:lnTo>
                <a:lnTo>
                  <a:pt x="246" y="71"/>
                </a:lnTo>
                <a:lnTo>
                  <a:pt x="246" y="71"/>
                </a:lnTo>
                <a:lnTo>
                  <a:pt x="248" y="71"/>
                </a:lnTo>
                <a:lnTo>
                  <a:pt x="248" y="71"/>
                </a:lnTo>
                <a:lnTo>
                  <a:pt x="251" y="71"/>
                </a:lnTo>
                <a:lnTo>
                  <a:pt x="251" y="71"/>
                </a:lnTo>
                <a:lnTo>
                  <a:pt x="253" y="71"/>
                </a:lnTo>
                <a:lnTo>
                  <a:pt x="253" y="71"/>
                </a:lnTo>
                <a:lnTo>
                  <a:pt x="255" y="76"/>
                </a:lnTo>
                <a:lnTo>
                  <a:pt x="255" y="76"/>
                </a:lnTo>
                <a:lnTo>
                  <a:pt x="255" y="81"/>
                </a:lnTo>
                <a:lnTo>
                  <a:pt x="255" y="81"/>
                </a:lnTo>
                <a:lnTo>
                  <a:pt x="255" y="81"/>
                </a:lnTo>
                <a:lnTo>
                  <a:pt x="258" y="83"/>
                </a:lnTo>
                <a:lnTo>
                  <a:pt x="258" y="83"/>
                </a:lnTo>
                <a:lnTo>
                  <a:pt x="263" y="86"/>
                </a:lnTo>
                <a:lnTo>
                  <a:pt x="263" y="86"/>
                </a:lnTo>
                <a:lnTo>
                  <a:pt x="263" y="86"/>
                </a:lnTo>
                <a:lnTo>
                  <a:pt x="263" y="88"/>
                </a:lnTo>
                <a:lnTo>
                  <a:pt x="263" y="88"/>
                </a:lnTo>
                <a:lnTo>
                  <a:pt x="258" y="91"/>
                </a:lnTo>
                <a:lnTo>
                  <a:pt x="258" y="91"/>
                </a:lnTo>
                <a:lnTo>
                  <a:pt x="253" y="93"/>
                </a:lnTo>
                <a:lnTo>
                  <a:pt x="253" y="93"/>
                </a:lnTo>
                <a:lnTo>
                  <a:pt x="253" y="95"/>
                </a:lnTo>
                <a:lnTo>
                  <a:pt x="253" y="95"/>
                </a:lnTo>
                <a:lnTo>
                  <a:pt x="253" y="98"/>
                </a:lnTo>
                <a:lnTo>
                  <a:pt x="253" y="98"/>
                </a:lnTo>
                <a:lnTo>
                  <a:pt x="253" y="100"/>
                </a:lnTo>
                <a:lnTo>
                  <a:pt x="253" y="100"/>
                </a:lnTo>
                <a:lnTo>
                  <a:pt x="251" y="105"/>
                </a:lnTo>
                <a:lnTo>
                  <a:pt x="251" y="105"/>
                </a:lnTo>
                <a:close/>
                <a:moveTo>
                  <a:pt x="1577" y="191"/>
                </a:moveTo>
                <a:lnTo>
                  <a:pt x="1577" y="191"/>
                </a:lnTo>
                <a:lnTo>
                  <a:pt x="1579" y="191"/>
                </a:lnTo>
                <a:lnTo>
                  <a:pt x="1579" y="191"/>
                </a:lnTo>
                <a:lnTo>
                  <a:pt x="1579" y="189"/>
                </a:lnTo>
                <a:lnTo>
                  <a:pt x="1579" y="189"/>
                </a:lnTo>
                <a:lnTo>
                  <a:pt x="1577" y="189"/>
                </a:lnTo>
                <a:lnTo>
                  <a:pt x="1577" y="189"/>
                </a:lnTo>
                <a:lnTo>
                  <a:pt x="1577" y="189"/>
                </a:lnTo>
                <a:lnTo>
                  <a:pt x="1577" y="191"/>
                </a:lnTo>
                <a:lnTo>
                  <a:pt x="1577" y="191"/>
                </a:lnTo>
                <a:close/>
                <a:moveTo>
                  <a:pt x="1564" y="189"/>
                </a:moveTo>
                <a:lnTo>
                  <a:pt x="1564" y="189"/>
                </a:lnTo>
                <a:lnTo>
                  <a:pt x="1567" y="189"/>
                </a:lnTo>
                <a:lnTo>
                  <a:pt x="1567" y="189"/>
                </a:lnTo>
                <a:lnTo>
                  <a:pt x="1567" y="186"/>
                </a:lnTo>
                <a:lnTo>
                  <a:pt x="1567" y="186"/>
                </a:lnTo>
                <a:lnTo>
                  <a:pt x="1564" y="186"/>
                </a:lnTo>
                <a:lnTo>
                  <a:pt x="1564" y="186"/>
                </a:lnTo>
                <a:lnTo>
                  <a:pt x="1564" y="186"/>
                </a:lnTo>
                <a:lnTo>
                  <a:pt x="1564" y="189"/>
                </a:lnTo>
                <a:lnTo>
                  <a:pt x="1564" y="189"/>
                </a:lnTo>
                <a:close/>
                <a:moveTo>
                  <a:pt x="1554" y="194"/>
                </a:moveTo>
                <a:lnTo>
                  <a:pt x="1554" y="194"/>
                </a:lnTo>
                <a:lnTo>
                  <a:pt x="1554" y="194"/>
                </a:lnTo>
                <a:lnTo>
                  <a:pt x="1557" y="191"/>
                </a:lnTo>
                <a:lnTo>
                  <a:pt x="1557" y="191"/>
                </a:lnTo>
                <a:lnTo>
                  <a:pt x="1554" y="189"/>
                </a:lnTo>
                <a:lnTo>
                  <a:pt x="1554" y="189"/>
                </a:lnTo>
                <a:lnTo>
                  <a:pt x="1552" y="189"/>
                </a:lnTo>
                <a:lnTo>
                  <a:pt x="1552" y="189"/>
                </a:lnTo>
                <a:lnTo>
                  <a:pt x="1552" y="191"/>
                </a:lnTo>
                <a:lnTo>
                  <a:pt x="1552" y="191"/>
                </a:lnTo>
                <a:lnTo>
                  <a:pt x="1554" y="194"/>
                </a:lnTo>
                <a:lnTo>
                  <a:pt x="1554" y="194"/>
                </a:lnTo>
                <a:close/>
                <a:moveTo>
                  <a:pt x="1823" y="521"/>
                </a:moveTo>
                <a:lnTo>
                  <a:pt x="1823" y="521"/>
                </a:lnTo>
                <a:lnTo>
                  <a:pt x="1820" y="521"/>
                </a:lnTo>
                <a:lnTo>
                  <a:pt x="1820" y="521"/>
                </a:lnTo>
                <a:lnTo>
                  <a:pt x="1823" y="526"/>
                </a:lnTo>
                <a:lnTo>
                  <a:pt x="1823" y="526"/>
                </a:lnTo>
                <a:lnTo>
                  <a:pt x="1823" y="523"/>
                </a:lnTo>
                <a:lnTo>
                  <a:pt x="1823" y="523"/>
                </a:lnTo>
                <a:lnTo>
                  <a:pt x="1823" y="521"/>
                </a:lnTo>
                <a:lnTo>
                  <a:pt x="1823" y="521"/>
                </a:lnTo>
                <a:lnTo>
                  <a:pt x="1823" y="521"/>
                </a:lnTo>
                <a:lnTo>
                  <a:pt x="1823" y="521"/>
                </a:lnTo>
                <a:close/>
                <a:moveTo>
                  <a:pt x="1818" y="516"/>
                </a:moveTo>
                <a:lnTo>
                  <a:pt x="1818" y="516"/>
                </a:lnTo>
                <a:lnTo>
                  <a:pt x="1820" y="519"/>
                </a:lnTo>
                <a:lnTo>
                  <a:pt x="1820" y="519"/>
                </a:lnTo>
                <a:lnTo>
                  <a:pt x="1823" y="519"/>
                </a:lnTo>
                <a:lnTo>
                  <a:pt x="1823" y="519"/>
                </a:lnTo>
                <a:lnTo>
                  <a:pt x="1823" y="516"/>
                </a:lnTo>
                <a:lnTo>
                  <a:pt x="1823" y="516"/>
                </a:lnTo>
                <a:lnTo>
                  <a:pt x="1820" y="514"/>
                </a:lnTo>
                <a:lnTo>
                  <a:pt x="1820" y="514"/>
                </a:lnTo>
                <a:lnTo>
                  <a:pt x="1818" y="514"/>
                </a:lnTo>
                <a:lnTo>
                  <a:pt x="1818" y="514"/>
                </a:lnTo>
                <a:lnTo>
                  <a:pt x="1818" y="516"/>
                </a:lnTo>
                <a:lnTo>
                  <a:pt x="1818" y="516"/>
                </a:lnTo>
                <a:close/>
                <a:moveTo>
                  <a:pt x="287" y="327"/>
                </a:moveTo>
                <a:lnTo>
                  <a:pt x="287" y="327"/>
                </a:lnTo>
                <a:lnTo>
                  <a:pt x="290" y="327"/>
                </a:lnTo>
                <a:lnTo>
                  <a:pt x="290" y="327"/>
                </a:lnTo>
                <a:lnTo>
                  <a:pt x="290" y="327"/>
                </a:lnTo>
                <a:lnTo>
                  <a:pt x="295" y="322"/>
                </a:lnTo>
                <a:lnTo>
                  <a:pt x="295" y="322"/>
                </a:lnTo>
                <a:lnTo>
                  <a:pt x="295" y="322"/>
                </a:lnTo>
                <a:lnTo>
                  <a:pt x="295" y="322"/>
                </a:lnTo>
                <a:lnTo>
                  <a:pt x="290" y="324"/>
                </a:lnTo>
                <a:lnTo>
                  <a:pt x="290" y="324"/>
                </a:lnTo>
                <a:lnTo>
                  <a:pt x="290" y="324"/>
                </a:lnTo>
                <a:lnTo>
                  <a:pt x="287" y="327"/>
                </a:lnTo>
                <a:lnTo>
                  <a:pt x="287" y="327"/>
                </a:lnTo>
                <a:lnTo>
                  <a:pt x="287" y="327"/>
                </a:lnTo>
                <a:close/>
                <a:moveTo>
                  <a:pt x="270" y="428"/>
                </a:moveTo>
                <a:lnTo>
                  <a:pt x="270" y="428"/>
                </a:lnTo>
                <a:lnTo>
                  <a:pt x="275" y="428"/>
                </a:lnTo>
                <a:lnTo>
                  <a:pt x="275" y="428"/>
                </a:lnTo>
                <a:lnTo>
                  <a:pt x="278" y="425"/>
                </a:lnTo>
                <a:lnTo>
                  <a:pt x="278" y="425"/>
                </a:lnTo>
                <a:lnTo>
                  <a:pt x="283" y="423"/>
                </a:lnTo>
                <a:lnTo>
                  <a:pt x="283" y="423"/>
                </a:lnTo>
                <a:lnTo>
                  <a:pt x="285" y="423"/>
                </a:lnTo>
                <a:lnTo>
                  <a:pt x="285" y="423"/>
                </a:lnTo>
                <a:lnTo>
                  <a:pt x="287" y="425"/>
                </a:lnTo>
                <a:lnTo>
                  <a:pt x="287" y="425"/>
                </a:lnTo>
                <a:lnTo>
                  <a:pt x="290" y="425"/>
                </a:lnTo>
                <a:lnTo>
                  <a:pt x="290" y="425"/>
                </a:lnTo>
                <a:lnTo>
                  <a:pt x="292" y="425"/>
                </a:lnTo>
                <a:lnTo>
                  <a:pt x="292" y="425"/>
                </a:lnTo>
                <a:lnTo>
                  <a:pt x="290" y="423"/>
                </a:lnTo>
                <a:lnTo>
                  <a:pt x="290" y="423"/>
                </a:lnTo>
                <a:lnTo>
                  <a:pt x="292" y="420"/>
                </a:lnTo>
                <a:lnTo>
                  <a:pt x="292" y="420"/>
                </a:lnTo>
                <a:lnTo>
                  <a:pt x="292" y="423"/>
                </a:lnTo>
                <a:lnTo>
                  <a:pt x="292" y="423"/>
                </a:lnTo>
                <a:lnTo>
                  <a:pt x="295" y="425"/>
                </a:lnTo>
                <a:lnTo>
                  <a:pt x="295" y="425"/>
                </a:lnTo>
                <a:lnTo>
                  <a:pt x="297" y="425"/>
                </a:lnTo>
                <a:lnTo>
                  <a:pt x="297" y="425"/>
                </a:lnTo>
                <a:lnTo>
                  <a:pt x="302" y="425"/>
                </a:lnTo>
                <a:lnTo>
                  <a:pt x="302" y="425"/>
                </a:lnTo>
                <a:lnTo>
                  <a:pt x="302" y="425"/>
                </a:lnTo>
                <a:lnTo>
                  <a:pt x="305" y="423"/>
                </a:lnTo>
                <a:lnTo>
                  <a:pt x="305" y="423"/>
                </a:lnTo>
                <a:lnTo>
                  <a:pt x="305" y="420"/>
                </a:lnTo>
                <a:lnTo>
                  <a:pt x="305" y="420"/>
                </a:lnTo>
                <a:lnTo>
                  <a:pt x="305" y="415"/>
                </a:lnTo>
                <a:lnTo>
                  <a:pt x="305" y="415"/>
                </a:lnTo>
                <a:lnTo>
                  <a:pt x="307" y="413"/>
                </a:lnTo>
                <a:lnTo>
                  <a:pt x="307" y="413"/>
                </a:lnTo>
                <a:lnTo>
                  <a:pt x="307" y="410"/>
                </a:lnTo>
                <a:lnTo>
                  <a:pt x="307" y="410"/>
                </a:lnTo>
                <a:lnTo>
                  <a:pt x="305" y="408"/>
                </a:lnTo>
                <a:lnTo>
                  <a:pt x="305" y="408"/>
                </a:lnTo>
                <a:lnTo>
                  <a:pt x="305" y="405"/>
                </a:lnTo>
                <a:lnTo>
                  <a:pt x="305" y="405"/>
                </a:lnTo>
                <a:lnTo>
                  <a:pt x="302" y="403"/>
                </a:lnTo>
                <a:lnTo>
                  <a:pt x="302" y="403"/>
                </a:lnTo>
                <a:lnTo>
                  <a:pt x="300" y="403"/>
                </a:lnTo>
                <a:lnTo>
                  <a:pt x="300" y="403"/>
                </a:lnTo>
                <a:lnTo>
                  <a:pt x="297" y="403"/>
                </a:lnTo>
                <a:lnTo>
                  <a:pt x="297" y="403"/>
                </a:lnTo>
                <a:lnTo>
                  <a:pt x="300" y="400"/>
                </a:lnTo>
                <a:lnTo>
                  <a:pt x="300" y="400"/>
                </a:lnTo>
                <a:lnTo>
                  <a:pt x="302" y="403"/>
                </a:lnTo>
                <a:lnTo>
                  <a:pt x="302" y="403"/>
                </a:lnTo>
                <a:lnTo>
                  <a:pt x="305" y="400"/>
                </a:lnTo>
                <a:lnTo>
                  <a:pt x="305" y="400"/>
                </a:lnTo>
                <a:lnTo>
                  <a:pt x="307" y="403"/>
                </a:lnTo>
                <a:lnTo>
                  <a:pt x="307" y="403"/>
                </a:lnTo>
                <a:lnTo>
                  <a:pt x="307" y="405"/>
                </a:lnTo>
                <a:lnTo>
                  <a:pt x="307" y="405"/>
                </a:lnTo>
                <a:lnTo>
                  <a:pt x="307" y="408"/>
                </a:lnTo>
                <a:lnTo>
                  <a:pt x="307" y="408"/>
                </a:lnTo>
                <a:lnTo>
                  <a:pt x="310" y="405"/>
                </a:lnTo>
                <a:lnTo>
                  <a:pt x="310" y="405"/>
                </a:lnTo>
                <a:lnTo>
                  <a:pt x="307" y="400"/>
                </a:lnTo>
                <a:lnTo>
                  <a:pt x="307" y="400"/>
                </a:lnTo>
                <a:lnTo>
                  <a:pt x="305" y="396"/>
                </a:lnTo>
                <a:lnTo>
                  <a:pt x="305" y="396"/>
                </a:lnTo>
                <a:lnTo>
                  <a:pt x="302" y="391"/>
                </a:lnTo>
                <a:lnTo>
                  <a:pt x="302" y="391"/>
                </a:lnTo>
                <a:lnTo>
                  <a:pt x="302" y="391"/>
                </a:lnTo>
                <a:lnTo>
                  <a:pt x="305" y="393"/>
                </a:lnTo>
                <a:lnTo>
                  <a:pt x="305" y="393"/>
                </a:lnTo>
                <a:lnTo>
                  <a:pt x="305" y="396"/>
                </a:lnTo>
                <a:lnTo>
                  <a:pt x="305" y="396"/>
                </a:lnTo>
                <a:lnTo>
                  <a:pt x="307" y="396"/>
                </a:lnTo>
                <a:lnTo>
                  <a:pt x="307" y="396"/>
                </a:lnTo>
                <a:lnTo>
                  <a:pt x="310" y="398"/>
                </a:lnTo>
                <a:lnTo>
                  <a:pt x="310" y="398"/>
                </a:lnTo>
                <a:lnTo>
                  <a:pt x="312" y="396"/>
                </a:lnTo>
                <a:lnTo>
                  <a:pt x="312" y="396"/>
                </a:lnTo>
                <a:lnTo>
                  <a:pt x="312" y="393"/>
                </a:lnTo>
                <a:lnTo>
                  <a:pt x="312" y="393"/>
                </a:lnTo>
                <a:lnTo>
                  <a:pt x="310" y="391"/>
                </a:lnTo>
                <a:lnTo>
                  <a:pt x="310" y="391"/>
                </a:lnTo>
                <a:lnTo>
                  <a:pt x="310" y="391"/>
                </a:lnTo>
                <a:lnTo>
                  <a:pt x="312" y="386"/>
                </a:lnTo>
                <a:lnTo>
                  <a:pt x="312" y="386"/>
                </a:lnTo>
                <a:lnTo>
                  <a:pt x="312" y="383"/>
                </a:lnTo>
                <a:lnTo>
                  <a:pt x="312" y="383"/>
                </a:lnTo>
                <a:lnTo>
                  <a:pt x="310" y="381"/>
                </a:lnTo>
                <a:lnTo>
                  <a:pt x="310" y="381"/>
                </a:lnTo>
                <a:lnTo>
                  <a:pt x="305" y="376"/>
                </a:lnTo>
                <a:lnTo>
                  <a:pt x="305" y="376"/>
                </a:lnTo>
                <a:lnTo>
                  <a:pt x="307" y="376"/>
                </a:lnTo>
                <a:lnTo>
                  <a:pt x="307" y="376"/>
                </a:lnTo>
                <a:lnTo>
                  <a:pt x="310" y="378"/>
                </a:lnTo>
                <a:lnTo>
                  <a:pt x="310" y="378"/>
                </a:lnTo>
                <a:lnTo>
                  <a:pt x="312" y="378"/>
                </a:lnTo>
                <a:lnTo>
                  <a:pt x="312" y="378"/>
                </a:lnTo>
                <a:lnTo>
                  <a:pt x="315" y="376"/>
                </a:lnTo>
                <a:lnTo>
                  <a:pt x="315" y="376"/>
                </a:lnTo>
                <a:lnTo>
                  <a:pt x="312" y="373"/>
                </a:lnTo>
                <a:lnTo>
                  <a:pt x="312" y="373"/>
                </a:lnTo>
                <a:lnTo>
                  <a:pt x="312" y="373"/>
                </a:lnTo>
                <a:lnTo>
                  <a:pt x="312" y="371"/>
                </a:lnTo>
                <a:lnTo>
                  <a:pt x="312" y="371"/>
                </a:lnTo>
                <a:lnTo>
                  <a:pt x="312" y="368"/>
                </a:lnTo>
                <a:lnTo>
                  <a:pt x="312" y="368"/>
                </a:lnTo>
                <a:lnTo>
                  <a:pt x="317" y="371"/>
                </a:lnTo>
                <a:lnTo>
                  <a:pt x="317" y="371"/>
                </a:lnTo>
                <a:lnTo>
                  <a:pt x="319" y="373"/>
                </a:lnTo>
                <a:lnTo>
                  <a:pt x="319" y="373"/>
                </a:lnTo>
                <a:lnTo>
                  <a:pt x="322" y="371"/>
                </a:lnTo>
                <a:lnTo>
                  <a:pt x="322" y="371"/>
                </a:lnTo>
                <a:lnTo>
                  <a:pt x="319" y="371"/>
                </a:lnTo>
                <a:lnTo>
                  <a:pt x="319" y="371"/>
                </a:lnTo>
                <a:lnTo>
                  <a:pt x="319" y="368"/>
                </a:lnTo>
                <a:lnTo>
                  <a:pt x="319" y="368"/>
                </a:lnTo>
                <a:lnTo>
                  <a:pt x="322" y="368"/>
                </a:lnTo>
                <a:lnTo>
                  <a:pt x="322" y="368"/>
                </a:lnTo>
                <a:lnTo>
                  <a:pt x="322" y="368"/>
                </a:lnTo>
                <a:lnTo>
                  <a:pt x="324" y="366"/>
                </a:lnTo>
                <a:lnTo>
                  <a:pt x="324" y="366"/>
                </a:lnTo>
                <a:lnTo>
                  <a:pt x="324" y="364"/>
                </a:lnTo>
                <a:lnTo>
                  <a:pt x="324" y="364"/>
                </a:lnTo>
                <a:lnTo>
                  <a:pt x="324" y="364"/>
                </a:lnTo>
                <a:lnTo>
                  <a:pt x="324" y="361"/>
                </a:lnTo>
                <a:lnTo>
                  <a:pt x="324" y="361"/>
                </a:lnTo>
                <a:lnTo>
                  <a:pt x="329" y="359"/>
                </a:lnTo>
                <a:lnTo>
                  <a:pt x="329" y="359"/>
                </a:lnTo>
                <a:lnTo>
                  <a:pt x="329" y="359"/>
                </a:lnTo>
                <a:lnTo>
                  <a:pt x="327" y="356"/>
                </a:lnTo>
                <a:lnTo>
                  <a:pt x="327" y="356"/>
                </a:lnTo>
                <a:lnTo>
                  <a:pt x="327" y="354"/>
                </a:lnTo>
                <a:lnTo>
                  <a:pt x="327" y="354"/>
                </a:lnTo>
                <a:lnTo>
                  <a:pt x="327" y="351"/>
                </a:lnTo>
                <a:lnTo>
                  <a:pt x="327" y="351"/>
                </a:lnTo>
                <a:lnTo>
                  <a:pt x="329" y="354"/>
                </a:lnTo>
                <a:lnTo>
                  <a:pt x="329" y="354"/>
                </a:lnTo>
                <a:lnTo>
                  <a:pt x="332" y="351"/>
                </a:lnTo>
                <a:lnTo>
                  <a:pt x="332" y="351"/>
                </a:lnTo>
                <a:lnTo>
                  <a:pt x="334" y="346"/>
                </a:lnTo>
                <a:lnTo>
                  <a:pt x="334" y="346"/>
                </a:lnTo>
                <a:lnTo>
                  <a:pt x="337" y="344"/>
                </a:lnTo>
                <a:lnTo>
                  <a:pt x="337" y="344"/>
                </a:lnTo>
                <a:lnTo>
                  <a:pt x="339" y="341"/>
                </a:lnTo>
                <a:lnTo>
                  <a:pt x="339" y="341"/>
                </a:lnTo>
                <a:lnTo>
                  <a:pt x="339" y="337"/>
                </a:lnTo>
                <a:lnTo>
                  <a:pt x="339" y="337"/>
                </a:lnTo>
                <a:lnTo>
                  <a:pt x="342" y="334"/>
                </a:lnTo>
                <a:lnTo>
                  <a:pt x="342" y="334"/>
                </a:lnTo>
                <a:lnTo>
                  <a:pt x="344" y="332"/>
                </a:lnTo>
                <a:lnTo>
                  <a:pt x="344" y="332"/>
                </a:lnTo>
                <a:lnTo>
                  <a:pt x="347" y="324"/>
                </a:lnTo>
                <a:lnTo>
                  <a:pt x="347" y="324"/>
                </a:lnTo>
                <a:lnTo>
                  <a:pt x="349" y="324"/>
                </a:lnTo>
                <a:lnTo>
                  <a:pt x="349" y="324"/>
                </a:lnTo>
                <a:lnTo>
                  <a:pt x="356" y="319"/>
                </a:lnTo>
                <a:lnTo>
                  <a:pt x="356" y="319"/>
                </a:lnTo>
                <a:lnTo>
                  <a:pt x="361" y="314"/>
                </a:lnTo>
                <a:lnTo>
                  <a:pt x="361" y="314"/>
                </a:lnTo>
                <a:lnTo>
                  <a:pt x="366" y="309"/>
                </a:lnTo>
                <a:lnTo>
                  <a:pt x="366" y="309"/>
                </a:lnTo>
                <a:lnTo>
                  <a:pt x="369" y="309"/>
                </a:lnTo>
                <a:lnTo>
                  <a:pt x="369" y="309"/>
                </a:lnTo>
                <a:lnTo>
                  <a:pt x="371" y="305"/>
                </a:lnTo>
                <a:lnTo>
                  <a:pt x="371" y="305"/>
                </a:lnTo>
                <a:lnTo>
                  <a:pt x="376" y="305"/>
                </a:lnTo>
                <a:lnTo>
                  <a:pt x="376" y="305"/>
                </a:lnTo>
                <a:lnTo>
                  <a:pt x="381" y="302"/>
                </a:lnTo>
                <a:lnTo>
                  <a:pt x="381" y="302"/>
                </a:lnTo>
                <a:lnTo>
                  <a:pt x="383" y="297"/>
                </a:lnTo>
                <a:lnTo>
                  <a:pt x="383" y="297"/>
                </a:lnTo>
                <a:lnTo>
                  <a:pt x="386" y="295"/>
                </a:lnTo>
                <a:lnTo>
                  <a:pt x="386" y="295"/>
                </a:lnTo>
                <a:lnTo>
                  <a:pt x="388" y="295"/>
                </a:lnTo>
                <a:lnTo>
                  <a:pt x="388" y="295"/>
                </a:lnTo>
                <a:lnTo>
                  <a:pt x="391" y="295"/>
                </a:lnTo>
                <a:lnTo>
                  <a:pt x="391" y="295"/>
                </a:lnTo>
                <a:lnTo>
                  <a:pt x="391" y="292"/>
                </a:lnTo>
                <a:lnTo>
                  <a:pt x="391" y="292"/>
                </a:lnTo>
                <a:lnTo>
                  <a:pt x="391" y="290"/>
                </a:lnTo>
                <a:lnTo>
                  <a:pt x="391" y="290"/>
                </a:lnTo>
                <a:lnTo>
                  <a:pt x="391" y="287"/>
                </a:lnTo>
                <a:lnTo>
                  <a:pt x="391" y="287"/>
                </a:lnTo>
                <a:lnTo>
                  <a:pt x="391" y="285"/>
                </a:lnTo>
                <a:lnTo>
                  <a:pt x="391" y="285"/>
                </a:lnTo>
                <a:lnTo>
                  <a:pt x="391" y="280"/>
                </a:lnTo>
                <a:lnTo>
                  <a:pt x="391" y="280"/>
                </a:lnTo>
                <a:lnTo>
                  <a:pt x="391" y="280"/>
                </a:lnTo>
                <a:lnTo>
                  <a:pt x="388" y="280"/>
                </a:lnTo>
                <a:lnTo>
                  <a:pt x="388" y="280"/>
                </a:lnTo>
                <a:lnTo>
                  <a:pt x="388" y="275"/>
                </a:lnTo>
                <a:lnTo>
                  <a:pt x="388" y="275"/>
                </a:lnTo>
                <a:lnTo>
                  <a:pt x="388" y="273"/>
                </a:lnTo>
                <a:lnTo>
                  <a:pt x="388" y="273"/>
                </a:lnTo>
                <a:lnTo>
                  <a:pt x="388" y="270"/>
                </a:lnTo>
                <a:lnTo>
                  <a:pt x="388" y="270"/>
                </a:lnTo>
                <a:lnTo>
                  <a:pt x="386" y="270"/>
                </a:lnTo>
                <a:lnTo>
                  <a:pt x="386" y="270"/>
                </a:lnTo>
                <a:lnTo>
                  <a:pt x="383" y="268"/>
                </a:lnTo>
                <a:lnTo>
                  <a:pt x="383" y="268"/>
                </a:lnTo>
                <a:lnTo>
                  <a:pt x="381" y="268"/>
                </a:lnTo>
                <a:lnTo>
                  <a:pt x="381" y="268"/>
                </a:lnTo>
                <a:lnTo>
                  <a:pt x="378" y="265"/>
                </a:lnTo>
                <a:lnTo>
                  <a:pt x="378" y="265"/>
                </a:lnTo>
                <a:lnTo>
                  <a:pt x="378" y="263"/>
                </a:lnTo>
                <a:lnTo>
                  <a:pt x="378" y="263"/>
                </a:lnTo>
                <a:lnTo>
                  <a:pt x="378" y="263"/>
                </a:lnTo>
                <a:lnTo>
                  <a:pt x="374" y="265"/>
                </a:lnTo>
                <a:lnTo>
                  <a:pt x="374" y="265"/>
                </a:lnTo>
                <a:lnTo>
                  <a:pt x="374" y="265"/>
                </a:lnTo>
                <a:lnTo>
                  <a:pt x="371" y="265"/>
                </a:lnTo>
                <a:lnTo>
                  <a:pt x="371" y="265"/>
                </a:lnTo>
                <a:lnTo>
                  <a:pt x="369" y="263"/>
                </a:lnTo>
                <a:lnTo>
                  <a:pt x="369" y="263"/>
                </a:lnTo>
                <a:lnTo>
                  <a:pt x="366" y="265"/>
                </a:lnTo>
                <a:lnTo>
                  <a:pt x="366" y="265"/>
                </a:lnTo>
                <a:lnTo>
                  <a:pt x="364" y="268"/>
                </a:lnTo>
                <a:lnTo>
                  <a:pt x="364" y="268"/>
                </a:lnTo>
                <a:lnTo>
                  <a:pt x="361" y="270"/>
                </a:lnTo>
                <a:lnTo>
                  <a:pt x="361" y="270"/>
                </a:lnTo>
                <a:lnTo>
                  <a:pt x="361" y="270"/>
                </a:lnTo>
                <a:lnTo>
                  <a:pt x="359" y="273"/>
                </a:lnTo>
                <a:lnTo>
                  <a:pt x="359" y="273"/>
                </a:lnTo>
                <a:lnTo>
                  <a:pt x="356" y="273"/>
                </a:lnTo>
                <a:lnTo>
                  <a:pt x="356" y="273"/>
                </a:lnTo>
                <a:lnTo>
                  <a:pt x="356" y="275"/>
                </a:lnTo>
                <a:lnTo>
                  <a:pt x="356" y="275"/>
                </a:lnTo>
                <a:lnTo>
                  <a:pt x="354" y="277"/>
                </a:lnTo>
                <a:lnTo>
                  <a:pt x="354" y="277"/>
                </a:lnTo>
                <a:lnTo>
                  <a:pt x="354" y="280"/>
                </a:lnTo>
                <a:lnTo>
                  <a:pt x="354" y="280"/>
                </a:lnTo>
                <a:lnTo>
                  <a:pt x="356" y="282"/>
                </a:lnTo>
                <a:lnTo>
                  <a:pt x="356" y="282"/>
                </a:lnTo>
                <a:lnTo>
                  <a:pt x="356" y="285"/>
                </a:lnTo>
                <a:lnTo>
                  <a:pt x="356" y="285"/>
                </a:lnTo>
                <a:lnTo>
                  <a:pt x="354" y="285"/>
                </a:lnTo>
                <a:lnTo>
                  <a:pt x="354" y="285"/>
                </a:lnTo>
                <a:lnTo>
                  <a:pt x="351" y="287"/>
                </a:lnTo>
                <a:lnTo>
                  <a:pt x="351" y="287"/>
                </a:lnTo>
                <a:lnTo>
                  <a:pt x="351" y="290"/>
                </a:lnTo>
                <a:lnTo>
                  <a:pt x="351" y="290"/>
                </a:lnTo>
                <a:lnTo>
                  <a:pt x="349" y="290"/>
                </a:lnTo>
                <a:lnTo>
                  <a:pt x="349" y="290"/>
                </a:lnTo>
                <a:lnTo>
                  <a:pt x="349" y="292"/>
                </a:lnTo>
                <a:lnTo>
                  <a:pt x="349" y="292"/>
                </a:lnTo>
                <a:lnTo>
                  <a:pt x="344" y="295"/>
                </a:lnTo>
                <a:lnTo>
                  <a:pt x="344" y="295"/>
                </a:lnTo>
                <a:lnTo>
                  <a:pt x="342" y="297"/>
                </a:lnTo>
                <a:lnTo>
                  <a:pt x="342" y="297"/>
                </a:lnTo>
                <a:lnTo>
                  <a:pt x="339" y="297"/>
                </a:lnTo>
                <a:lnTo>
                  <a:pt x="339" y="297"/>
                </a:lnTo>
                <a:lnTo>
                  <a:pt x="337" y="297"/>
                </a:lnTo>
                <a:lnTo>
                  <a:pt x="337" y="297"/>
                </a:lnTo>
                <a:lnTo>
                  <a:pt x="334" y="297"/>
                </a:lnTo>
                <a:lnTo>
                  <a:pt x="334" y="297"/>
                </a:lnTo>
                <a:lnTo>
                  <a:pt x="332" y="302"/>
                </a:lnTo>
                <a:lnTo>
                  <a:pt x="332" y="302"/>
                </a:lnTo>
                <a:lnTo>
                  <a:pt x="329" y="305"/>
                </a:lnTo>
                <a:lnTo>
                  <a:pt x="329" y="305"/>
                </a:lnTo>
                <a:lnTo>
                  <a:pt x="329" y="302"/>
                </a:lnTo>
                <a:lnTo>
                  <a:pt x="329" y="302"/>
                </a:lnTo>
                <a:lnTo>
                  <a:pt x="327" y="300"/>
                </a:lnTo>
                <a:lnTo>
                  <a:pt x="327" y="300"/>
                </a:lnTo>
                <a:lnTo>
                  <a:pt x="327" y="300"/>
                </a:lnTo>
                <a:lnTo>
                  <a:pt x="327" y="302"/>
                </a:lnTo>
                <a:lnTo>
                  <a:pt x="327" y="302"/>
                </a:lnTo>
                <a:lnTo>
                  <a:pt x="327" y="307"/>
                </a:lnTo>
                <a:lnTo>
                  <a:pt x="327" y="307"/>
                </a:lnTo>
                <a:lnTo>
                  <a:pt x="327" y="307"/>
                </a:lnTo>
                <a:lnTo>
                  <a:pt x="324" y="305"/>
                </a:lnTo>
                <a:lnTo>
                  <a:pt x="324" y="305"/>
                </a:lnTo>
                <a:lnTo>
                  <a:pt x="324" y="302"/>
                </a:lnTo>
                <a:lnTo>
                  <a:pt x="324" y="302"/>
                </a:lnTo>
                <a:lnTo>
                  <a:pt x="319" y="302"/>
                </a:lnTo>
                <a:lnTo>
                  <a:pt x="319" y="302"/>
                </a:lnTo>
                <a:lnTo>
                  <a:pt x="312" y="305"/>
                </a:lnTo>
                <a:lnTo>
                  <a:pt x="312" y="305"/>
                </a:lnTo>
                <a:lnTo>
                  <a:pt x="312" y="305"/>
                </a:lnTo>
                <a:lnTo>
                  <a:pt x="310" y="305"/>
                </a:lnTo>
                <a:lnTo>
                  <a:pt x="310" y="305"/>
                </a:lnTo>
                <a:lnTo>
                  <a:pt x="310" y="307"/>
                </a:lnTo>
                <a:lnTo>
                  <a:pt x="310" y="307"/>
                </a:lnTo>
                <a:lnTo>
                  <a:pt x="310" y="312"/>
                </a:lnTo>
                <a:lnTo>
                  <a:pt x="310" y="312"/>
                </a:lnTo>
                <a:lnTo>
                  <a:pt x="312" y="312"/>
                </a:lnTo>
                <a:lnTo>
                  <a:pt x="312" y="312"/>
                </a:lnTo>
                <a:lnTo>
                  <a:pt x="312" y="314"/>
                </a:lnTo>
                <a:lnTo>
                  <a:pt x="312" y="314"/>
                </a:lnTo>
                <a:lnTo>
                  <a:pt x="310" y="314"/>
                </a:lnTo>
                <a:lnTo>
                  <a:pt x="310" y="314"/>
                </a:lnTo>
                <a:lnTo>
                  <a:pt x="307" y="317"/>
                </a:lnTo>
                <a:lnTo>
                  <a:pt x="307" y="317"/>
                </a:lnTo>
                <a:lnTo>
                  <a:pt x="307" y="317"/>
                </a:lnTo>
                <a:lnTo>
                  <a:pt x="307" y="314"/>
                </a:lnTo>
                <a:lnTo>
                  <a:pt x="307" y="314"/>
                </a:lnTo>
                <a:lnTo>
                  <a:pt x="307" y="314"/>
                </a:lnTo>
                <a:lnTo>
                  <a:pt x="307" y="312"/>
                </a:lnTo>
                <a:lnTo>
                  <a:pt x="307" y="312"/>
                </a:lnTo>
                <a:lnTo>
                  <a:pt x="307" y="312"/>
                </a:lnTo>
                <a:lnTo>
                  <a:pt x="305" y="314"/>
                </a:lnTo>
                <a:lnTo>
                  <a:pt x="305" y="314"/>
                </a:lnTo>
                <a:lnTo>
                  <a:pt x="302" y="317"/>
                </a:lnTo>
                <a:lnTo>
                  <a:pt x="302" y="317"/>
                </a:lnTo>
                <a:lnTo>
                  <a:pt x="302" y="319"/>
                </a:lnTo>
                <a:lnTo>
                  <a:pt x="302" y="319"/>
                </a:lnTo>
                <a:lnTo>
                  <a:pt x="302" y="319"/>
                </a:lnTo>
                <a:lnTo>
                  <a:pt x="302" y="322"/>
                </a:lnTo>
                <a:lnTo>
                  <a:pt x="302" y="322"/>
                </a:lnTo>
                <a:lnTo>
                  <a:pt x="300" y="324"/>
                </a:lnTo>
                <a:lnTo>
                  <a:pt x="300" y="324"/>
                </a:lnTo>
                <a:lnTo>
                  <a:pt x="297" y="324"/>
                </a:lnTo>
                <a:lnTo>
                  <a:pt x="297" y="324"/>
                </a:lnTo>
                <a:lnTo>
                  <a:pt x="295" y="324"/>
                </a:lnTo>
                <a:lnTo>
                  <a:pt x="295" y="324"/>
                </a:lnTo>
                <a:lnTo>
                  <a:pt x="295" y="327"/>
                </a:lnTo>
                <a:lnTo>
                  <a:pt x="295" y="327"/>
                </a:lnTo>
                <a:lnTo>
                  <a:pt x="292" y="327"/>
                </a:lnTo>
                <a:lnTo>
                  <a:pt x="292" y="327"/>
                </a:lnTo>
                <a:lnTo>
                  <a:pt x="290" y="329"/>
                </a:lnTo>
                <a:lnTo>
                  <a:pt x="290" y="329"/>
                </a:lnTo>
                <a:lnTo>
                  <a:pt x="290" y="334"/>
                </a:lnTo>
                <a:lnTo>
                  <a:pt x="290" y="334"/>
                </a:lnTo>
                <a:lnTo>
                  <a:pt x="290" y="334"/>
                </a:lnTo>
                <a:lnTo>
                  <a:pt x="292" y="334"/>
                </a:lnTo>
                <a:lnTo>
                  <a:pt x="292" y="334"/>
                </a:lnTo>
                <a:lnTo>
                  <a:pt x="290" y="337"/>
                </a:lnTo>
                <a:lnTo>
                  <a:pt x="290" y="337"/>
                </a:lnTo>
                <a:lnTo>
                  <a:pt x="285" y="337"/>
                </a:lnTo>
                <a:lnTo>
                  <a:pt x="285" y="337"/>
                </a:lnTo>
                <a:lnTo>
                  <a:pt x="285" y="339"/>
                </a:lnTo>
                <a:lnTo>
                  <a:pt x="285" y="339"/>
                </a:lnTo>
                <a:lnTo>
                  <a:pt x="283" y="341"/>
                </a:lnTo>
                <a:lnTo>
                  <a:pt x="283" y="341"/>
                </a:lnTo>
                <a:lnTo>
                  <a:pt x="283" y="344"/>
                </a:lnTo>
                <a:lnTo>
                  <a:pt x="283" y="344"/>
                </a:lnTo>
                <a:lnTo>
                  <a:pt x="285" y="344"/>
                </a:lnTo>
                <a:lnTo>
                  <a:pt x="285" y="344"/>
                </a:lnTo>
                <a:lnTo>
                  <a:pt x="287" y="344"/>
                </a:lnTo>
                <a:lnTo>
                  <a:pt x="287" y="344"/>
                </a:lnTo>
                <a:lnTo>
                  <a:pt x="287" y="346"/>
                </a:lnTo>
                <a:lnTo>
                  <a:pt x="287" y="346"/>
                </a:lnTo>
                <a:lnTo>
                  <a:pt x="287" y="346"/>
                </a:lnTo>
                <a:lnTo>
                  <a:pt x="287" y="349"/>
                </a:lnTo>
                <a:lnTo>
                  <a:pt x="287" y="349"/>
                </a:lnTo>
                <a:lnTo>
                  <a:pt x="285" y="351"/>
                </a:lnTo>
                <a:lnTo>
                  <a:pt x="285" y="351"/>
                </a:lnTo>
                <a:lnTo>
                  <a:pt x="285" y="351"/>
                </a:lnTo>
                <a:lnTo>
                  <a:pt x="280" y="351"/>
                </a:lnTo>
                <a:lnTo>
                  <a:pt x="280" y="351"/>
                </a:lnTo>
                <a:lnTo>
                  <a:pt x="278" y="351"/>
                </a:lnTo>
                <a:lnTo>
                  <a:pt x="278" y="351"/>
                </a:lnTo>
                <a:lnTo>
                  <a:pt x="275" y="354"/>
                </a:lnTo>
                <a:lnTo>
                  <a:pt x="275" y="354"/>
                </a:lnTo>
                <a:lnTo>
                  <a:pt x="278" y="356"/>
                </a:lnTo>
                <a:lnTo>
                  <a:pt x="278" y="356"/>
                </a:lnTo>
                <a:lnTo>
                  <a:pt x="275" y="359"/>
                </a:lnTo>
                <a:lnTo>
                  <a:pt x="275" y="359"/>
                </a:lnTo>
                <a:lnTo>
                  <a:pt x="273" y="361"/>
                </a:lnTo>
                <a:lnTo>
                  <a:pt x="273" y="361"/>
                </a:lnTo>
                <a:lnTo>
                  <a:pt x="270" y="361"/>
                </a:lnTo>
                <a:lnTo>
                  <a:pt x="270" y="361"/>
                </a:lnTo>
                <a:lnTo>
                  <a:pt x="268" y="359"/>
                </a:lnTo>
                <a:lnTo>
                  <a:pt x="268" y="359"/>
                </a:lnTo>
                <a:lnTo>
                  <a:pt x="268" y="356"/>
                </a:lnTo>
                <a:lnTo>
                  <a:pt x="268" y="356"/>
                </a:lnTo>
                <a:lnTo>
                  <a:pt x="268" y="356"/>
                </a:lnTo>
                <a:lnTo>
                  <a:pt x="265" y="361"/>
                </a:lnTo>
                <a:lnTo>
                  <a:pt x="265" y="361"/>
                </a:lnTo>
                <a:lnTo>
                  <a:pt x="265" y="364"/>
                </a:lnTo>
                <a:lnTo>
                  <a:pt x="265" y="364"/>
                </a:lnTo>
                <a:lnTo>
                  <a:pt x="270" y="366"/>
                </a:lnTo>
                <a:lnTo>
                  <a:pt x="270" y="366"/>
                </a:lnTo>
                <a:lnTo>
                  <a:pt x="270" y="366"/>
                </a:lnTo>
                <a:lnTo>
                  <a:pt x="273" y="366"/>
                </a:lnTo>
                <a:lnTo>
                  <a:pt x="273" y="366"/>
                </a:lnTo>
                <a:lnTo>
                  <a:pt x="273" y="368"/>
                </a:lnTo>
                <a:lnTo>
                  <a:pt x="273" y="368"/>
                </a:lnTo>
                <a:lnTo>
                  <a:pt x="270" y="371"/>
                </a:lnTo>
                <a:lnTo>
                  <a:pt x="270" y="371"/>
                </a:lnTo>
                <a:lnTo>
                  <a:pt x="270" y="373"/>
                </a:lnTo>
                <a:lnTo>
                  <a:pt x="270" y="373"/>
                </a:lnTo>
                <a:lnTo>
                  <a:pt x="273" y="373"/>
                </a:lnTo>
                <a:lnTo>
                  <a:pt x="273" y="373"/>
                </a:lnTo>
                <a:lnTo>
                  <a:pt x="275" y="371"/>
                </a:lnTo>
                <a:lnTo>
                  <a:pt x="275" y="371"/>
                </a:lnTo>
                <a:lnTo>
                  <a:pt x="275" y="371"/>
                </a:lnTo>
                <a:lnTo>
                  <a:pt x="278" y="373"/>
                </a:lnTo>
                <a:lnTo>
                  <a:pt x="278" y="373"/>
                </a:lnTo>
                <a:lnTo>
                  <a:pt x="280" y="373"/>
                </a:lnTo>
                <a:lnTo>
                  <a:pt x="280" y="373"/>
                </a:lnTo>
                <a:lnTo>
                  <a:pt x="283" y="371"/>
                </a:lnTo>
                <a:lnTo>
                  <a:pt x="283" y="371"/>
                </a:lnTo>
                <a:lnTo>
                  <a:pt x="283" y="371"/>
                </a:lnTo>
                <a:lnTo>
                  <a:pt x="283" y="373"/>
                </a:lnTo>
                <a:lnTo>
                  <a:pt x="283" y="373"/>
                </a:lnTo>
                <a:lnTo>
                  <a:pt x="280" y="376"/>
                </a:lnTo>
                <a:lnTo>
                  <a:pt x="280" y="376"/>
                </a:lnTo>
                <a:lnTo>
                  <a:pt x="275" y="373"/>
                </a:lnTo>
                <a:lnTo>
                  <a:pt x="275" y="373"/>
                </a:lnTo>
                <a:lnTo>
                  <a:pt x="275" y="376"/>
                </a:lnTo>
                <a:lnTo>
                  <a:pt x="275" y="376"/>
                </a:lnTo>
                <a:lnTo>
                  <a:pt x="273" y="376"/>
                </a:lnTo>
                <a:lnTo>
                  <a:pt x="273" y="376"/>
                </a:lnTo>
                <a:lnTo>
                  <a:pt x="273" y="378"/>
                </a:lnTo>
                <a:lnTo>
                  <a:pt x="273" y="378"/>
                </a:lnTo>
                <a:lnTo>
                  <a:pt x="273" y="381"/>
                </a:lnTo>
                <a:lnTo>
                  <a:pt x="273" y="381"/>
                </a:lnTo>
                <a:lnTo>
                  <a:pt x="275" y="383"/>
                </a:lnTo>
                <a:lnTo>
                  <a:pt x="275" y="383"/>
                </a:lnTo>
                <a:lnTo>
                  <a:pt x="278" y="383"/>
                </a:lnTo>
                <a:lnTo>
                  <a:pt x="278" y="383"/>
                </a:lnTo>
                <a:lnTo>
                  <a:pt x="280" y="381"/>
                </a:lnTo>
                <a:lnTo>
                  <a:pt x="280" y="381"/>
                </a:lnTo>
                <a:lnTo>
                  <a:pt x="280" y="383"/>
                </a:lnTo>
                <a:lnTo>
                  <a:pt x="280" y="383"/>
                </a:lnTo>
                <a:lnTo>
                  <a:pt x="280" y="383"/>
                </a:lnTo>
                <a:lnTo>
                  <a:pt x="275" y="386"/>
                </a:lnTo>
                <a:lnTo>
                  <a:pt x="275" y="386"/>
                </a:lnTo>
                <a:lnTo>
                  <a:pt x="273" y="386"/>
                </a:lnTo>
                <a:lnTo>
                  <a:pt x="273" y="386"/>
                </a:lnTo>
                <a:lnTo>
                  <a:pt x="270" y="386"/>
                </a:lnTo>
                <a:lnTo>
                  <a:pt x="270" y="386"/>
                </a:lnTo>
                <a:lnTo>
                  <a:pt x="270" y="388"/>
                </a:lnTo>
                <a:lnTo>
                  <a:pt x="270" y="388"/>
                </a:lnTo>
                <a:lnTo>
                  <a:pt x="273" y="388"/>
                </a:lnTo>
                <a:lnTo>
                  <a:pt x="273" y="388"/>
                </a:lnTo>
                <a:lnTo>
                  <a:pt x="275" y="388"/>
                </a:lnTo>
                <a:lnTo>
                  <a:pt x="275" y="388"/>
                </a:lnTo>
                <a:lnTo>
                  <a:pt x="278" y="388"/>
                </a:lnTo>
                <a:lnTo>
                  <a:pt x="278" y="388"/>
                </a:lnTo>
                <a:lnTo>
                  <a:pt x="278" y="391"/>
                </a:lnTo>
                <a:lnTo>
                  <a:pt x="278" y="391"/>
                </a:lnTo>
                <a:lnTo>
                  <a:pt x="275" y="391"/>
                </a:lnTo>
                <a:lnTo>
                  <a:pt x="275" y="391"/>
                </a:lnTo>
                <a:lnTo>
                  <a:pt x="273" y="391"/>
                </a:lnTo>
                <a:lnTo>
                  <a:pt x="273" y="391"/>
                </a:lnTo>
                <a:lnTo>
                  <a:pt x="273" y="393"/>
                </a:lnTo>
                <a:lnTo>
                  <a:pt x="273" y="393"/>
                </a:lnTo>
                <a:lnTo>
                  <a:pt x="273" y="393"/>
                </a:lnTo>
                <a:lnTo>
                  <a:pt x="278" y="393"/>
                </a:lnTo>
                <a:lnTo>
                  <a:pt x="278" y="393"/>
                </a:lnTo>
                <a:lnTo>
                  <a:pt x="283" y="398"/>
                </a:lnTo>
                <a:lnTo>
                  <a:pt x="283" y="398"/>
                </a:lnTo>
                <a:lnTo>
                  <a:pt x="285" y="398"/>
                </a:lnTo>
                <a:lnTo>
                  <a:pt x="285" y="398"/>
                </a:lnTo>
                <a:lnTo>
                  <a:pt x="285" y="398"/>
                </a:lnTo>
                <a:lnTo>
                  <a:pt x="285" y="400"/>
                </a:lnTo>
                <a:lnTo>
                  <a:pt x="285" y="400"/>
                </a:lnTo>
                <a:lnTo>
                  <a:pt x="283" y="398"/>
                </a:lnTo>
                <a:lnTo>
                  <a:pt x="283" y="398"/>
                </a:lnTo>
                <a:lnTo>
                  <a:pt x="280" y="398"/>
                </a:lnTo>
                <a:lnTo>
                  <a:pt x="280" y="398"/>
                </a:lnTo>
                <a:lnTo>
                  <a:pt x="278" y="398"/>
                </a:lnTo>
                <a:lnTo>
                  <a:pt x="278" y="398"/>
                </a:lnTo>
                <a:lnTo>
                  <a:pt x="275" y="396"/>
                </a:lnTo>
                <a:lnTo>
                  <a:pt x="275" y="396"/>
                </a:lnTo>
                <a:lnTo>
                  <a:pt x="273" y="396"/>
                </a:lnTo>
                <a:lnTo>
                  <a:pt x="273" y="396"/>
                </a:lnTo>
                <a:lnTo>
                  <a:pt x="270" y="398"/>
                </a:lnTo>
                <a:lnTo>
                  <a:pt x="270" y="398"/>
                </a:lnTo>
                <a:lnTo>
                  <a:pt x="270" y="398"/>
                </a:lnTo>
                <a:lnTo>
                  <a:pt x="268" y="400"/>
                </a:lnTo>
                <a:lnTo>
                  <a:pt x="268" y="400"/>
                </a:lnTo>
                <a:lnTo>
                  <a:pt x="268" y="403"/>
                </a:lnTo>
                <a:lnTo>
                  <a:pt x="268" y="403"/>
                </a:lnTo>
                <a:lnTo>
                  <a:pt x="270" y="403"/>
                </a:lnTo>
                <a:lnTo>
                  <a:pt x="270" y="403"/>
                </a:lnTo>
                <a:lnTo>
                  <a:pt x="268" y="405"/>
                </a:lnTo>
                <a:lnTo>
                  <a:pt x="268" y="405"/>
                </a:lnTo>
                <a:lnTo>
                  <a:pt x="268" y="405"/>
                </a:lnTo>
                <a:lnTo>
                  <a:pt x="265" y="405"/>
                </a:lnTo>
                <a:lnTo>
                  <a:pt x="265" y="405"/>
                </a:lnTo>
                <a:lnTo>
                  <a:pt x="265" y="408"/>
                </a:lnTo>
                <a:lnTo>
                  <a:pt x="265" y="408"/>
                </a:lnTo>
                <a:lnTo>
                  <a:pt x="263" y="410"/>
                </a:lnTo>
                <a:lnTo>
                  <a:pt x="263" y="410"/>
                </a:lnTo>
                <a:lnTo>
                  <a:pt x="263" y="410"/>
                </a:lnTo>
                <a:lnTo>
                  <a:pt x="263" y="413"/>
                </a:lnTo>
                <a:lnTo>
                  <a:pt x="263" y="413"/>
                </a:lnTo>
                <a:lnTo>
                  <a:pt x="260" y="413"/>
                </a:lnTo>
                <a:lnTo>
                  <a:pt x="260" y="413"/>
                </a:lnTo>
                <a:lnTo>
                  <a:pt x="260" y="413"/>
                </a:lnTo>
                <a:lnTo>
                  <a:pt x="263" y="418"/>
                </a:lnTo>
                <a:lnTo>
                  <a:pt x="263" y="418"/>
                </a:lnTo>
                <a:lnTo>
                  <a:pt x="265" y="418"/>
                </a:lnTo>
                <a:lnTo>
                  <a:pt x="265" y="418"/>
                </a:lnTo>
                <a:lnTo>
                  <a:pt x="268" y="418"/>
                </a:lnTo>
                <a:lnTo>
                  <a:pt x="268" y="418"/>
                </a:lnTo>
                <a:lnTo>
                  <a:pt x="268" y="415"/>
                </a:lnTo>
                <a:lnTo>
                  <a:pt x="268" y="415"/>
                </a:lnTo>
                <a:lnTo>
                  <a:pt x="270" y="415"/>
                </a:lnTo>
                <a:lnTo>
                  <a:pt x="270" y="415"/>
                </a:lnTo>
                <a:lnTo>
                  <a:pt x="275" y="410"/>
                </a:lnTo>
                <a:lnTo>
                  <a:pt x="275" y="410"/>
                </a:lnTo>
                <a:lnTo>
                  <a:pt x="278" y="410"/>
                </a:lnTo>
                <a:lnTo>
                  <a:pt x="278" y="410"/>
                </a:lnTo>
                <a:lnTo>
                  <a:pt x="280" y="410"/>
                </a:lnTo>
                <a:lnTo>
                  <a:pt x="280" y="410"/>
                </a:lnTo>
                <a:lnTo>
                  <a:pt x="283" y="413"/>
                </a:lnTo>
                <a:lnTo>
                  <a:pt x="283" y="413"/>
                </a:lnTo>
                <a:lnTo>
                  <a:pt x="283" y="413"/>
                </a:lnTo>
                <a:lnTo>
                  <a:pt x="280" y="413"/>
                </a:lnTo>
                <a:lnTo>
                  <a:pt x="280" y="413"/>
                </a:lnTo>
                <a:lnTo>
                  <a:pt x="278" y="413"/>
                </a:lnTo>
                <a:lnTo>
                  <a:pt x="278" y="413"/>
                </a:lnTo>
                <a:lnTo>
                  <a:pt x="278" y="413"/>
                </a:lnTo>
                <a:lnTo>
                  <a:pt x="275" y="413"/>
                </a:lnTo>
                <a:lnTo>
                  <a:pt x="275" y="413"/>
                </a:lnTo>
                <a:lnTo>
                  <a:pt x="273" y="415"/>
                </a:lnTo>
                <a:lnTo>
                  <a:pt x="273" y="415"/>
                </a:lnTo>
                <a:lnTo>
                  <a:pt x="270" y="418"/>
                </a:lnTo>
                <a:lnTo>
                  <a:pt x="270" y="418"/>
                </a:lnTo>
                <a:lnTo>
                  <a:pt x="270" y="423"/>
                </a:lnTo>
                <a:lnTo>
                  <a:pt x="270" y="423"/>
                </a:lnTo>
                <a:lnTo>
                  <a:pt x="270" y="425"/>
                </a:lnTo>
                <a:lnTo>
                  <a:pt x="270" y="425"/>
                </a:lnTo>
                <a:lnTo>
                  <a:pt x="270" y="428"/>
                </a:lnTo>
                <a:lnTo>
                  <a:pt x="270" y="428"/>
                </a:lnTo>
                <a:close/>
                <a:moveTo>
                  <a:pt x="283" y="511"/>
                </a:moveTo>
                <a:lnTo>
                  <a:pt x="283" y="511"/>
                </a:lnTo>
                <a:lnTo>
                  <a:pt x="285" y="511"/>
                </a:lnTo>
                <a:lnTo>
                  <a:pt x="285" y="511"/>
                </a:lnTo>
                <a:lnTo>
                  <a:pt x="285" y="509"/>
                </a:lnTo>
                <a:lnTo>
                  <a:pt x="285" y="509"/>
                </a:lnTo>
                <a:lnTo>
                  <a:pt x="283" y="506"/>
                </a:lnTo>
                <a:lnTo>
                  <a:pt x="283" y="506"/>
                </a:lnTo>
                <a:lnTo>
                  <a:pt x="285" y="504"/>
                </a:lnTo>
                <a:lnTo>
                  <a:pt x="285" y="504"/>
                </a:lnTo>
                <a:lnTo>
                  <a:pt x="285" y="501"/>
                </a:lnTo>
                <a:lnTo>
                  <a:pt x="285" y="501"/>
                </a:lnTo>
                <a:lnTo>
                  <a:pt x="280" y="501"/>
                </a:lnTo>
                <a:lnTo>
                  <a:pt x="280" y="501"/>
                </a:lnTo>
                <a:lnTo>
                  <a:pt x="280" y="499"/>
                </a:lnTo>
                <a:lnTo>
                  <a:pt x="280" y="499"/>
                </a:lnTo>
                <a:lnTo>
                  <a:pt x="278" y="499"/>
                </a:lnTo>
                <a:lnTo>
                  <a:pt x="278" y="499"/>
                </a:lnTo>
                <a:lnTo>
                  <a:pt x="275" y="499"/>
                </a:lnTo>
                <a:lnTo>
                  <a:pt x="275" y="499"/>
                </a:lnTo>
                <a:lnTo>
                  <a:pt x="273" y="501"/>
                </a:lnTo>
                <a:lnTo>
                  <a:pt x="273" y="501"/>
                </a:lnTo>
                <a:lnTo>
                  <a:pt x="273" y="501"/>
                </a:lnTo>
                <a:lnTo>
                  <a:pt x="275" y="504"/>
                </a:lnTo>
                <a:lnTo>
                  <a:pt x="275" y="504"/>
                </a:lnTo>
                <a:lnTo>
                  <a:pt x="275" y="504"/>
                </a:lnTo>
                <a:lnTo>
                  <a:pt x="278" y="504"/>
                </a:lnTo>
                <a:lnTo>
                  <a:pt x="278" y="504"/>
                </a:lnTo>
                <a:lnTo>
                  <a:pt x="278" y="506"/>
                </a:lnTo>
                <a:lnTo>
                  <a:pt x="278" y="506"/>
                </a:lnTo>
                <a:lnTo>
                  <a:pt x="280" y="506"/>
                </a:lnTo>
                <a:lnTo>
                  <a:pt x="280" y="506"/>
                </a:lnTo>
                <a:lnTo>
                  <a:pt x="283" y="511"/>
                </a:lnTo>
                <a:lnTo>
                  <a:pt x="283" y="511"/>
                </a:lnTo>
                <a:close/>
                <a:moveTo>
                  <a:pt x="339" y="511"/>
                </a:moveTo>
                <a:lnTo>
                  <a:pt x="339" y="511"/>
                </a:lnTo>
                <a:lnTo>
                  <a:pt x="337" y="509"/>
                </a:lnTo>
                <a:lnTo>
                  <a:pt x="337" y="509"/>
                </a:lnTo>
                <a:lnTo>
                  <a:pt x="334" y="509"/>
                </a:lnTo>
                <a:lnTo>
                  <a:pt x="334" y="509"/>
                </a:lnTo>
                <a:lnTo>
                  <a:pt x="332" y="509"/>
                </a:lnTo>
                <a:lnTo>
                  <a:pt x="332" y="509"/>
                </a:lnTo>
                <a:lnTo>
                  <a:pt x="329" y="504"/>
                </a:lnTo>
                <a:lnTo>
                  <a:pt x="329" y="504"/>
                </a:lnTo>
                <a:lnTo>
                  <a:pt x="327" y="504"/>
                </a:lnTo>
                <a:lnTo>
                  <a:pt x="327" y="504"/>
                </a:lnTo>
                <a:lnTo>
                  <a:pt x="322" y="499"/>
                </a:lnTo>
                <a:lnTo>
                  <a:pt x="322" y="499"/>
                </a:lnTo>
                <a:lnTo>
                  <a:pt x="319" y="496"/>
                </a:lnTo>
                <a:lnTo>
                  <a:pt x="319" y="496"/>
                </a:lnTo>
                <a:lnTo>
                  <a:pt x="315" y="496"/>
                </a:lnTo>
                <a:lnTo>
                  <a:pt x="315" y="496"/>
                </a:lnTo>
                <a:lnTo>
                  <a:pt x="312" y="489"/>
                </a:lnTo>
                <a:lnTo>
                  <a:pt x="312" y="489"/>
                </a:lnTo>
                <a:lnTo>
                  <a:pt x="307" y="484"/>
                </a:lnTo>
                <a:lnTo>
                  <a:pt x="307" y="484"/>
                </a:lnTo>
                <a:lnTo>
                  <a:pt x="305" y="477"/>
                </a:lnTo>
                <a:lnTo>
                  <a:pt x="305" y="477"/>
                </a:lnTo>
                <a:lnTo>
                  <a:pt x="302" y="472"/>
                </a:lnTo>
                <a:lnTo>
                  <a:pt x="302" y="472"/>
                </a:lnTo>
                <a:lnTo>
                  <a:pt x="302" y="464"/>
                </a:lnTo>
                <a:lnTo>
                  <a:pt x="302" y="464"/>
                </a:lnTo>
                <a:lnTo>
                  <a:pt x="300" y="459"/>
                </a:lnTo>
                <a:lnTo>
                  <a:pt x="300" y="459"/>
                </a:lnTo>
                <a:lnTo>
                  <a:pt x="297" y="452"/>
                </a:lnTo>
                <a:lnTo>
                  <a:pt x="297" y="452"/>
                </a:lnTo>
                <a:lnTo>
                  <a:pt x="297" y="450"/>
                </a:lnTo>
                <a:lnTo>
                  <a:pt x="297" y="450"/>
                </a:lnTo>
                <a:lnTo>
                  <a:pt x="300" y="447"/>
                </a:lnTo>
                <a:lnTo>
                  <a:pt x="300" y="447"/>
                </a:lnTo>
                <a:lnTo>
                  <a:pt x="297" y="445"/>
                </a:lnTo>
                <a:lnTo>
                  <a:pt x="297" y="445"/>
                </a:lnTo>
                <a:lnTo>
                  <a:pt x="295" y="445"/>
                </a:lnTo>
                <a:lnTo>
                  <a:pt x="295" y="445"/>
                </a:lnTo>
                <a:lnTo>
                  <a:pt x="292" y="445"/>
                </a:lnTo>
                <a:lnTo>
                  <a:pt x="292" y="445"/>
                </a:lnTo>
                <a:lnTo>
                  <a:pt x="292" y="445"/>
                </a:lnTo>
                <a:lnTo>
                  <a:pt x="292" y="442"/>
                </a:lnTo>
                <a:lnTo>
                  <a:pt x="292" y="442"/>
                </a:lnTo>
                <a:lnTo>
                  <a:pt x="297" y="442"/>
                </a:lnTo>
                <a:lnTo>
                  <a:pt x="297" y="442"/>
                </a:lnTo>
                <a:lnTo>
                  <a:pt x="300" y="442"/>
                </a:lnTo>
                <a:lnTo>
                  <a:pt x="300" y="442"/>
                </a:lnTo>
                <a:lnTo>
                  <a:pt x="300" y="435"/>
                </a:lnTo>
                <a:lnTo>
                  <a:pt x="300" y="435"/>
                </a:lnTo>
                <a:lnTo>
                  <a:pt x="300" y="432"/>
                </a:lnTo>
                <a:lnTo>
                  <a:pt x="300" y="432"/>
                </a:lnTo>
                <a:lnTo>
                  <a:pt x="297" y="432"/>
                </a:lnTo>
                <a:lnTo>
                  <a:pt x="297" y="432"/>
                </a:lnTo>
                <a:lnTo>
                  <a:pt x="295" y="435"/>
                </a:lnTo>
                <a:lnTo>
                  <a:pt x="295" y="435"/>
                </a:lnTo>
                <a:lnTo>
                  <a:pt x="295" y="432"/>
                </a:lnTo>
                <a:lnTo>
                  <a:pt x="295" y="432"/>
                </a:lnTo>
                <a:lnTo>
                  <a:pt x="300" y="430"/>
                </a:lnTo>
                <a:lnTo>
                  <a:pt x="300" y="430"/>
                </a:lnTo>
                <a:lnTo>
                  <a:pt x="300" y="430"/>
                </a:lnTo>
                <a:lnTo>
                  <a:pt x="300" y="428"/>
                </a:lnTo>
                <a:lnTo>
                  <a:pt x="300" y="428"/>
                </a:lnTo>
                <a:lnTo>
                  <a:pt x="292" y="428"/>
                </a:lnTo>
                <a:lnTo>
                  <a:pt x="292" y="428"/>
                </a:lnTo>
                <a:lnTo>
                  <a:pt x="285" y="428"/>
                </a:lnTo>
                <a:lnTo>
                  <a:pt x="285" y="428"/>
                </a:lnTo>
                <a:lnTo>
                  <a:pt x="283" y="425"/>
                </a:lnTo>
                <a:lnTo>
                  <a:pt x="283" y="425"/>
                </a:lnTo>
                <a:lnTo>
                  <a:pt x="280" y="425"/>
                </a:lnTo>
                <a:lnTo>
                  <a:pt x="280" y="425"/>
                </a:lnTo>
                <a:lnTo>
                  <a:pt x="275" y="428"/>
                </a:lnTo>
                <a:lnTo>
                  <a:pt x="275" y="428"/>
                </a:lnTo>
                <a:lnTo>
                  <a:pt x="270" y="428"/>
                </a:lnTo>
                <a:lnTo>
                  <a:pt x="270" y="428"/>
                </a:lnTo>
                <a:lnTo>
                  <a:pt x="268" y="430"/>
                </a:lnTo>
                <a:lnTo>
                  <a:pt x="268" y="430"/>
                </a:lnTo>
                <a:lnTo>
                  <a:pt x="263" y="432"/>
                </a:lnTo>
                <a:lnTo>
                  <a:pt x="263" y="432"/>
                </a:lnTo>
                <a:lnTo>
                  <a:pt x="263" y="437"/>
                </a:lnTo>
                <a:lnTo>
                  <a:pt x="263" y="437"/>
                </a:lnTo>
                <a:lnTo>
                  <a:pt x="263" y="437"/>
                </a:lnTo>
                <a:lnTo>
                  <a:pt x="263" y="442"/>
                </a:lnTo>
                <a:lnTo>
                  <a:pt x="263" y="442"/>
                </a:lnTo>
                <a:lnTo>
                  <a:pt x="265" y="442"/>
                </a:lnTo>
                <a:lnTo>
                  <a:pt x="265" y="442"/>
                </a:lnTo>
                <a:lnTo>
                  <a:pt x="268" y="442"/>
                </a:lnTo>
                <a:lnTo>
                  <a:pt x="268" y="442"/>
                </a:lnTo>
                <a:lnTo>
                  <a:pt x="265" y="445"/>
                </a:lnTo>
                <a:lnTo>
                  <a:pt x="265" y="445"/>
                </a:lnTo>
                <a:lnTo>
                  <a:pt x="263" y="445"/>
                </a:lnTo>
                <a:lnTo>
                  <a:pt x="263" y="445"/>
                </a:lnTo>
                <a:lnTo>
                  <a:pt x="260" y="445"/>
                </a:lnTo>
                <a:lnTo>
                  <a:pt x="260" y="445"/>
                </a:lnTo>
                <a:lnTo>
                  <a:pt x="258" y="450"/>
                </a:lnTo>
                <a:lnTo>
                  <a:pt x="258" y="450"/>
                </a:lnTo>
                <a:lnTo>
                  <a:pt x="258" y="452"/>
                </a:lnTo>
                <a:lnTo>
                  <a:pt x="258" y="452"/>
                </a:lnTo>
                <a:lnTo>
                  <a:pt x="258" y="455"/>
                </a:lnTo>
                <a:lnTo>
                  <a:pt x="258" y="455"/>
                </a:lnTo>
                <a:lnTo>
                  <a:pt x="260" y="455"/>
                </a:lnTo>
                <a:lnTo>
                  <a:pt x="260" y="455"/>
                </a:lnTo>
                <a:lnTo>
                  <a:pt x="265" y="452"/>
                </a:lnTo>
                <a:lnTo>
                  <a:pt x="265" y="452"/>
                </a:lnTo>
                <a:lnTo>
                  <a:pt x="265" y="452"/>
                </a:lnTo>
                <a:lnTo>
                  <a:pt x="263" y="455"/>
                </a:lnTo>
                <a:lnTo>
                  <a:pt x="263" y="455"/>
                </a:lnTo>
                <a:lnTo>
                  <a:pt x="263" y="459"/>
                </a:lnTo>
                <a:lnTo>
                  <a:pt x="263" y="459"/>
                </a:lnTo>
                <a:lnTo>
                  <a:pt x="265" y="459"/>
                </a:lnTo>
                <a:lnTo>
                  <a:pt x="265" y="459"/>
                </a:lnTo>
                <a:lnTo>
                  <a:pt x="265" y="457"/>
                </a:lnTo>
                <a:lnTo>
                  <a:pt x="265" y="457"/>
                </a:lnTo>
                <a:lnTo>
                  <a:pt x="268" y="455"/>
                </a:lnTo>
                <a:lnTo>
                  <a:pt x="268" y="455"/>
                </a:lnTo>
                <a:lnTo>
                  <a:pt x="270" y="457"/>
                </a:lnTo>
                <a:lnTo>
                  <a:pt x="270" y="457"/>
                </a:lnTo>
                <a:lnTo>
                  <a:pt x="268" y="459"/>
                </a:lnTo>
                <a:lnTo>
                  <a:pt x="268" y="459"/>
                </a:lnTo>
                <a:lnTo>
                  <a:pt x="265" y="462"/>
                </a:lnTo>
                <a:lnTo>
                  <a:pt x="265" y="462"/>
                </a:lnTo>
                <a:lnTo>
                  <a:pt x="268" y="464"/>
                </a:lnTo>
                <a:lnTo>
                  <a:pt x="268" y="464"/>
                </a:lnTo>
                <a:lnTo>
                  <a:pt x="270" y="464"/>
                </a:lnTo>
                <a:lnTo>
                  <a:pt x="270" y="464"/>
                </a:lnTo>
                <a:lnTo>
                  <a:pt x="270" y="464"/>
                </a:lnTo>
                <a:lnTo>
                  <a:pt x="268" y="464"/>
                </a:lnTo>
                <a:lnTo>
                  <a:pt x="268" y="464"/>
                </a:lnTo>
                <a:lnTo>
                  <a:pt x="265" y="467"/>
                </a:lnTo>
                <a:lnTo>
                  <a:pt x="265" y="467"/>
                </a:lnTo>
                <a:lnTo>
                  <a:pt x="265" y="469"/>
                </a:lnTo>
                <a:lnTo>
                  <a:pt x="265" y="469"/>
                </a:lnTo>
                <a:lnTo>
                  <a:pt x="268" y="472"/>
                </a:lnTo>
                <a:lnTo>
                  <a:pt x="268" y="472"/>
                </a:lnTo>
                <a:lnTo>
                  <a:pt x="265" y="472"/>
                </a:lnTo>
                <a:lnTo>
                  <a:pt x="265" y="472"/>
                </a:lnTo>
                <a:lnTo>
                  <a:pt x="265" y="472"/>
                </a:lnTo>
                <a:lnTo>
                  <a:pt x="263" y="472"/>
                </a:lnTo>
                <a:lnTo>
                  <a:pt x="263" y="472"/>
                </a:lnTo>
                <a:lnTo>
                  <a:pt x="260" y="472"/>
                </a:lnTo>
                <a:lnTo>
                  <a:pt x="260" y="472"/>
                </a:lnTo>
                <a:lnTo>
                  <a:pt x="258" y="472"/>
                </a:lnTo>
                <a:lnTo>
                  <a:pt x="258" y="472"/>
                </a:lnTo>
                <a:lnTo>
                  <a:pt x="255" y="474"/>
                </a:lnTo>
                <a:lnTo>
                  <a:pt x="255" y="474"/>
                </a:lnTo>
                <a:lnTo>
                  <a:pt x="255" y="479"/>
                </a:lnTo>
                <a:lnTo>
                  <a:pt x="255" y="479"/>
                </a:lnTo>
                <a:lnTo>
                  <a:pt x="255" y="482"/>
                </a:lnTo>
                <a:lnTo>
                  <a:pt x="255" y="482"/>
                </a:lnTo>
                <a:lnTo>
                  <a:pt x="255" y="487"/>
                </a:lnTo>
                <a:lnTo>
                  <a:pt x="255" y="487"/>
                </a:lnTo>
                <a:lnTo>
                  <a:pt x="255" y="489"/>
                </a:lnTo>
                <a:lnTo>
                  <a:pt x="255" y="489"/>
                </a:lnTo>
                <a:lnTo>
                  <a:pt x="260" y="491"/>
                </a:lnTo>
                <a:lnTo>
                  <a:pt x="260" y="491"/>
                </a:lnTo>
                <a:lnTo>
                  <a:pt x="260" y="494"/>
                </a:lnTo>
                <a:lnTo>
                  <a:pt x="260" y="494"/>
                </a:lnTo>
                <a:lnTo>
                  <a:pt x="265" y="496"/>
                </a:lnTo>
                <a:lnTo>
                  <a:pt x="265" y="496"/>
                </a:lnTo>
                <a:lnTo>
                  <a:pt x="268" y="499"/>
                </a:lnTo>
                <a:lnTo>
                  <a:pt x="268" y="499"/>
                </a:lnTo>
                <a:lnTo>
                  <a:pt x="268" y="496"/>
                </a:lnTo>
                <a:lnTo>
                  <a:pt x="268" y="496"/>
                </a:lnTo>
                <a:lnTo>
                  <a:pt x="270" y="496"/>
                </a:lnTo>
                <a:lnTo>
                  <a:pt x="270" y="496"/>
                </a:lnTo>
                <a:lnTo>
                  <a:pt x="273" y="494"/>
                </a:lnTo>
                <a:lnTo>
                  <a:pt x="273" y="494"/>
                </a:lnTo>
                <a:lnTo>
                  <a:pt x="273" y="489"/>
                </a:lnTo>
                <a:lnTo>
                  <a:pt x="273" y="489"/>
                </a:lnTo>
                <a:lnTo>
                  <a:pt x="273" y="487"/>
                </a:lnTo>
                <a:lnTo>
                  <a:pt x="273" y="487"/>
                </a:lnTo>
                <a:lnTo>
                  <a:pt x="275" y="482"/>
                </a:lnTo>
                <a:lnTo>
                  <a:pt x="275" y="482"/>
                </a:lnTo>
                <a:lnTo>
                  <a:pt x="273" y="487"/>
                </a:lnTo>
                <a:lnTo>
                  <a:pt x="273" y="487"/>
                </a:lnTo>
                <a:lnTo>
                  <a:pt x="273" y="489"/>
                </a:lnTo>
                <a:lnTo>
                  <a:pt x="273" y="489"/>
                </a:lnTo>
                <a:lnTo>
                  <a:pt x="275" y="491"/>
                </a:lnTo>
                <a:lnTo>
                  <a:pt x="275" y="491"/>
                </a:lnTo>
                <a:lnTo>
                  <a:pt x="275" y="494"/>
                </a:lnTo>
                <a:lnTo>
                  <a:pt x="275" y="494"/>
                </a:lnTo>
                <a:lnTo>
                  <a:pt x="278" y="496"/>
                </a:lnTo>
                <a:lnTo>
                  <a:pt x="278" y="496"/>
                </a:lnTo>
                <a:lnTo>
                  <a:pt x="280" y="494"/>
                </a:lnTo>
                <a:lnTo>
                  <a:pt x="280" y="494"/>
                </a:lnTo>
                <a:lnTo>
                  <a:pt x="280" y="491"/>
                </a:lnTo>
                <a:lnTo>
                  <a:pt x="280" y="491"/>
                </a:lnTo>
                <a:lnTo>
                  <a:pt x="283" y="489"/>
                </a:lnTo>
                <a:lnTo>
                  <a:pt x="283" y="489"/>
                </a:lnTo>
                <a:lnTo>
                  <a:pt x="283" y="489"/>
                </a:lnTo>
                <a:lnTo>
                  <a:pt x="283" y="491"/>
                </a:lnTo>
                <a:lnTo>
                  <a:pt x="283" y="491"/>
                </a:lnTo>
                <a:lnTo>
                  <a:pt x="283" y="494"/>
                </a:lnTo>
                <a:lnTo>
                  <a:pt x="283" y="494"/>
                </a:lnTo>
                <a:lnTo>
                  <a:pt x="285" y="499"/>
                </a:lnTo>
                <a:lnTo>
                  <a:pt x="285" y="499"/>
                </a:lnTo>
                <a:lnTo>
                  <a:pt x="287" y="501"/>
                </a:lnTo>
                <a:lnTo>
                  <a:pt x="287" y="501"/>
                </a:lnTo>
                <a:lnTo>
                  <a:pt x="290" y="501"/>
                </a:lnTo>
                <a:lnTo>
                  <a:pt x="290" y="501"/>
                </a:lnTo>
                <a:lnTo>
                  <a:pt x="292" y="499"/>
                </a:lnTo>
                <a:lnTo>
                  <a:pt x="292" y="499"/>
                </a:lnTo>
                <a:lnTo>
                  <a:pt x="295" y="501"/>
                </a:lnTo>
                <a:lnTo>
                  <a:pt x="295" y="501"/>
                </a:lnTo>
                <a:lnTo>
                  <a:pt x="295" y="501"/>
                </a:lnTo>
                <a:lnTo>
                  <a:pt x="292" y="501"/>
                </a:lnTo>
                <a:lnTo>
                  <a:pt x="292" y="501"/>
                </a:lnTo>
                <a:lnTo>
                  <a:pt x="292" y="504"/>
                </a:lnTo>
                <a:lnTo>
                  <a:pt x="292" y="504"/>
                </a:lnTo>
                <a:lnTo>
                  <a:pt x="290" y="504"/>
                </a:lnTo>
                <a:lnTo>
                  <a:pt x="290" y="504"/>
                </a:lnTo>
                <a:lnTo>
                  <a:pt x="287" y="506"/>
                </a:lnTo>
                <a:lnTo>
                  <a:pt x="287" y="506"/>
                </a:lnTo>
                <a:lnTo>
                  <a:pt x="292" y="509"/>
                </a:lnTo>
                <a:lnTo>
                  <a:pt x="292" y="509"/>
                </a:lnTo>
                <a:lnTo>
                  <a:pt x="292" y="511"/>
                </a:lnTo>
                <a:lnTo>
                  <a:pt x="292" y="511"/>
                </a:lnTo>
                <a:lnTo>
                  <a:pt x="290" y="511"/>
                </a:lnTo>
                <a:lnTo>
                  <a:pt x="290" y="511"/>
                </a:lnTo>
                <a:lnTo>
                  <a:pt x="287" y="511"/>
                </a:lnTo>
                <a:lnTo>
                  <a:pt x="287" y="511"/>
                </a:lnTo>
                <a:lnTo>
                  <a:pt x="287" y="514"/>
                </a:lnTo>
                <a:lnTo>
                  <a:pt x="287" y="514"/>
                </a:lnTo>
                <a:lnTo>
                  <a:pt x="290" y="514"/>
                </a:lnTo>
                <a:lnTo>
                  <a:pt x="290" y="514"/>
                </a:lnTo>
                <a:lnTo>
                  <a:pt x="295" y="514"/>
                </a:lnTo>
                <a:lnTo>
                  <a:pt x="295" y="514"/>
                </a:lnTo>
                <a:lnTo>
                  <a:pt x="297" y="516"/>
                </a:lnTo>
                <a:lnTo>
                  <a:pt x="297" y="516"/>
                </a:lnTo>
                <a:lnTo>
                  <a:pt x="300" y="516"/>
                </a:lnTo>
                <a:lnTo>
                  <a:pt x="300" y="516"/>
                </a:lnTo>
                <a:lnTo>
                  <a:pt x="305" y="516"/>
                </a:lnTo>
                <a:lnTo>
                  <a:pt x="305" y="516"/>
                </a:lnTo>
                <a:lnTo>
                  <a:pt x="305" y="514"/>
                </a:lnTo>
                <a:lnTo>
                  <a:pt x="305" y="514"/>
                </a:lnTo>
                <a:lnTo>
                  <a:pt x="307" y="514"/>
                </a:lnTo>
                <a:lnTo>
                  <a:pt x="307" y="514"/>
                </a:lnTo>
                <a:lnTo>
                  <a:pt x="307" y="516"/>
                </a:lnTo>
                <a:lnTo>
                  <a:pt x="307" y="516"/>
                </a:lnTo>
                <a:lnTo>
                  <a:pt x="307" y="521"/>
                </a:lnTo>
                <a:lnTo>
                  <a:pt x="307" y="521"/>
                </a:lnTo>
                <a:lnTo>
                  <a:pt x="310" y="523"/>
                </a:lnTo>
                <a:lnTo>
                  <a:pt x="310" y="523"/>
                </a:lnTo>
                <a:lnTo>
                  <a:pt x="312" y="523"/>
                </a:lnTo>
                <a:lnTo>
                  <a:pt x="312" y="523"/>
                </a:lnTo>
                <a:lnTo>
                  <a:pt x="315" y="521"/>
                </a:lnTo>
                <a:lnTo>
                  <a:pt x="315" y="521"/>
                </a:lnTo>
                <a:lnTo>
                  <a:pt x="315" y="516"/>
                </a:lnTo>
                <a:lnTo>
                  <a:pt x="315" y="516"/>
                </a:lnTo>
                <a:lnTo>
                  <a:pt x="310" y="516"/>
                </a:lnTo>
                <a:lnTo>
                  <a:pt x="310" y="516"/>
                </a:lnTo>
                <a:lnTo>
                  <a:pt x="310" y="514"/>
                </a:lnTo>
                <a:lnTo>
                  <a:pt x="310" y="514"/>
                </a:lnTo>
                <a:lnTo>
                  <a:pt x="310" y="514"/>
                </a:lnTo>
                <a:lnTo>
                  <a:pt x="312" y="514"/>
                </a:lnTo>
                <a:lnTo>
                  <a:pt x="312" y="514"/>
                </a:lnTo>
                <a:lnTo>
                  <a:pt x="315" y="516"/>
                </a:lnTo>
                <a:lnTo>
                  <a:pt x="315" y="516"/>
                </a:lnTo>
                <a:lnTo>
                  <a:pt x="317" y="519"/>
                </a:lnTo>
                <a:lnTo>
                  <a:pt x="317" y="519"/>
                </a:lnTo>
                <a:lnTo>
                  <a:pt x="317" y="521"/>
                </a:lnTo>
                <a:lnTo>
                  <a:pt x="317" y="521"/>
                </a:lnTo>
                <a:lnTo>
                  <a:pt x="319" y="521"/>
                </a:lnTo>
                <a:lnTo>
                  <a:pt x="319" y="521"/>
                </a:lnTo>
                <a:lnTo>
                  <a:pt x="319" y="519"/>
                </a:lnTo>
                <a:lnTo>
                  <a:pt x="319" y="519"/>
                </a:lnTo>
                <a:lnTo>
                  <a:pt x="322" y="519"/>
                </a:lnTo>
                <a:lnTo>
                  <a:pt x="322" y="519"/>
                </a:lnTo>
                <a:lnTo>
                  <a:pt x="322" y="521"/>
                </a:lnTo>
                <a:lnTo>
                  <a:pt x="322" y="521"/>
                </a:lnTo>
                <a:lnTo>
                  <a:pt x="327" y="521"/>
                </a:lnTo>
                <a:lnTo>
                  <a:pt x="327" y="521"/>
                </a:lnTo>
                <a:lnTo>
                  <a:pt x="329" y="521"/>
                </a:lnTo>
                <a:lnTo>
                  <a:pt x="329" y="521"/>
                </a:lnTo>
                <a:lnTo>
                  <a:pt x="329" y="521"/>
                </a:lnTo>
                <a:lnTo>
                  <a:pt x="327" y="519"/>
                </a:lnTo>
                <a:lnTo>
                  <a:pt x="327" y="519"/>
                </a:lnTo>
                <a:lnTo>
                  <a:pt x="327" y="516"/>
                </a:lnTo>
                <a:lnTo>
                  <a:pt x="327" y="516"/>
                </a:lnTo>
                <a:lnTo>
                  <a:pt x="327" y="516"/>
                </a:lnTo>
                <a:lnTo>
                  <a:pt x="329" y="519"/>
                </a:lnTo>
                <a:lnTo>
                  <a:pt x="329" y="519"/>
                </a:lnTo>
                <a:lnTo>
                  <a:pt x="332" y="519"/>
                </a:lnTo>
                <a:lnTo>
                  <a:pt x="332" y="519"/>
                </a:lnTo>
                <a:lnTo>
                  <a:pt x="332" y="519"/>
                </a:lnTo>
                <a:lnTo>
                  <a:pt x="334" y="521"/>
                </a:lnTo>
                <a:lnTo>
                  <a:pt x="334" y="521"/>
                </a:lnTo>
                <a:lnTo>
                  <a:pt x="334" y="523"/>
                </a:lnTo>
                <a:lnTo>
                  <a:pt x="334" y="523"/>
                </a:lnTo>
                <a:lnTo>
                  <a:pt x="337" y="523"/>
                </a:lnTo>
                <a:lnTo>
                  <a:pt x="337" y="523"/>
                </a:lnTo>
                <a:lnTo>
                  <a:pt x="337" y="521"/>
                </a:lnTo>
                <a:lnTo>
                  <a:pt x="337" y="521"/>
                </a:lnTo>
                <a:lnTo>
                  <a:pt x="337" y="519"/>
                </a:lnTo>
                <a:lnTo>
                  <a:pt x="337" y="519"/>
                </a:lnTo>
                <a:lnTo>
                  <a:pt x="334" y="519"/>
                </a:lnTo>
                <a:lnTo>
                  <a:pt x="334" y="519"/>
                </a:lnTo>
                <a:lnTo>
                  <a:pt x="332" y="516"/>
                </a:lnTo>
                <a:lnTo>
                  <a:pt x="332" y="516"/>
                </a:lnTo>
                <a:lnTo>
                  <a:pt x="334" y="516"/>
                </a:lnTo>
                <a:lnTo>
                  <a:pt x="334" y="516"/>
                </a:lnTo>
                <a:lnTo>
                  <a:pt x="334" y="516"/>
                </a:lnTo>
                <a:lnTo>
                  <a:pt x="337" y="516"/>
                </a:lnTo>
                <a:lnTo>
                  <a:pt x="337" y="516"/>
                </a:lnTo>
                <a:lnTo>
                  <a:pt x="339" y="514"/>
                </a:lnTo>
                <a:lnTo>
                  <a:pt x="339" y="514"/>
                </a:lnTo>
                <a:lnTo>
                  <a:pt x="339" y="511"/>
                </a:lnTo>
                <a:lnTo>
                  <a:pt x="339" y="511"/>
                </a:lnTo>
                <a:lnTo>
                  <a:pt x="339" y="511"/>
                </a:lnTo>
                <a:close/>
                <a:moveTo>
                  <a:pt x="108" y="703"/>
                </a:moveTo>
                <a:lnTo>
                  <a:pt x="108" y="703"/>
                </a:lnTo>
                <a:lnTo>
                  <a:pt x="105" y="701"/>
                </a:lnTo>
                <a:lnTo>
                  <a:pt x="105" y="701"/>
                </a:lnTo>
                <a:lnTo>
                  <a:pt x="105" y="698"/>
                </a:lnTo>
                <a:lnTo>
                  <a:pt x="105" y="698"/>
                </a:lnTo>
                <a:lnTo>
                  <a:pt x="105" y="698"/>
                </a:lnTo>
                <a:lnTo>
                  <a:pt x="103" y="698"/>
                </a:lnTo>
                <a:lnTo>
                  <a:pt x="103" y="698"/>
                </a:lnTo>
                <a:lnTo>
                  <a:pt x="103" y="698"/>
                </a:lnTo>
                <a:lnTo>
                  <a:pt x="103" y="701"/>
                </a:lnTo>
                <a:lnTo>
                  <a:pt x="103" y="701"/>
                </a:lnTo>
                <a:lnTo>
                  <a:pt x="105" y="703"/>
                </a:lnTo>
                <a:lnTo>
                  <a:pt x="105" y="703"/>
                </a:lnTo>
                <a:lnTo>
                  <a:pt x="105" y="705"/>
                </a:lnTo>
                <a:lnTo>
                  <a:pt x="105" y="705"/>
                </a:lnTo>
                <a:lnTo>
                  <a:pt x="105" y="705"/>
                </a:lnTo>
                <a:lnTo>
                  <a:pt x="108" y="703"/>
                </a:lnTo>
                <a:lnTo>
                  <a:pt x="108" y="703"/>
                </a:lnTo>
                <a:close/>
                <a:moveTo>
                  <a:pt x="187" y="651"/>
                </a:moveTo>
                <a:lnTo>
                  <a:pt x="187" y="651"/>
                </a:lnTo>
                <a:lnTo>
                  <a:pt x="189" y="651"/>
                </a:lnTo>
                <a:lnTo>
                  <a:pt x="189" y="651"/>
                </a:lnTo>
                <a:lnTo>
                  <a:pt x="189" y="651"/>
                </a:lnTo>
                <a:lnTo>
                  <a:pt x="187" y="649"/>
                </a:lnTo>
                <a:lnTo>
                  <a:pt x="187" y="649"/>
                </a:lnTo>
                <a:lnTo>
                  <a:pt x="184" y="649"/>
                </a:lnTo>
                <a:lnTo>
                  <a:pt x="184" y="649"/>
                </a:lnTo>
                <a:lnTo>
                  <a:pt x="184" y="651"/>
                </a:lnTo>
                <a:lnTo>
                  <a:pt x="184" y="651"/>
                </a:lnTo>
                <a:lnTo>
                  <a:pt x="187" y="651"/>
                </a:lnTo>
                <a:lnTo>
                  <a:pt x="187" y="651"/>
                </a:lnTo>
                <a:close/>
                <a:moveTo>
                  <a:pt x="248" y="585"/>
                </a:moveTo>
                <a:lnTo>
                  <a:pt x="248" y="585"/>
                </a:lnTo>
                <a:lnTo>
                  <a:pt x="253" y="585"/>
                </a:lnTo>
                <a:lnTo>
                  <a:pt x="253" y="585"/>
                </a:lnTo>
                <a:lnTo>
                  <a:pt x="255" y="582"/>
                </a:lnTo>
                <a:lnTo>
                  <a:pt x="255" y="582"/>
                </a:lnTo>
                <a:lnTo>
                  <a:pt x="258" y="578"/>
                </a:lnTo>
                <a:lnTo>
                  <a:pt x="258" y="578"/>
                </a:lnTo>
                <a:lnTo>
                  <a:pt x="258" y="573"/>
                </a:lnTo>
                <a:lnTo>
                  <a:pt x="258" y="573"/>
                </a:lnTo>
                <a:lnTo>
                  <a:pt x="260" y="570"/>
                </a:lnTo>
                <a:lnTo>
                  <a:pt x="260" y="570"/>
                </a:lnTo>
                <a:lnTo>
                  <a:pt x="263" y="573"/>
                </a:lnTo>
                <a:lnTo>
                  <a:pt x="263" y="573"/>
                </a:lnTo>
                <a:lnTo>
                  <a:pt x="260" y="578"/>
                </a:lnTo>
                <a:lnTo>
                  <a:pt x="260" y="578"/>
                </a:lnTo>
                <a:lnTo>
                  <a:pt x="263" y="573"/>
                </a:lnTo>
                <a:lnTo>
                  <a:pt x="263" y="573"/>
                </a:lnTo>
                <a:lnTo>
                  <a:pt x="263" y="570"/>
                </a:lnTo>
                <a:lnTo>
                  <a:pt x="263" y="570"/>
                </a:lnTo>
                <a:lnTo>
                  <a:pt x="260" y="568"/>
                </a:lnTo>
                <a:lnTo>
                  <a:pt x="260" y="568"/>
                </a:lnTo>
                <a:lnTo>
                  <a:pt x="248" y="563"/>
                </a:lnTo>
                <a:lnTo>
                  <a:pt x="248" y="563"/>
                </a:lnTo>
                <a:lnTo>
                  <a:pt x="243" y="560"/>
                </a:lnTo>
                <a:lnTo>
                  <a:pt x="243" y="560"/>
                </a:lnTo>
                <a:lnTo>
                  <a:pt x="241" y="563"/>
                </a:lnTo>
                <a:lnTo>
                  <a:pt x="241" y="563"/>
                </a:lnTo>
                <a:lnTo>
                  <a:pt x="238" y="570"/>
                </a:lnTo>
                <a:lnTo>
                  <a:pt x="238" y="570"/>
                </a:lnTo>
                <a:lnTo>
                  <a:pt x="238" y="578"/>
                </a:lnTo>
                <a:lnTo>
                  <a:pt x="238" y="578"/>
                </a:lnTo>
                <a:lnTo>
                  <a:pt x="241" y="580"/>
                </a:lnTo>
                <a:lnTo>
                  <a:pt x="241" y="580"/>
                </a:lnTo>
                <a:lnTo>
                  <a:pt x="241" y="585"/>
                </a:lnTo>
                <a:lnTo>
                  <a:pt x="241" y="585"/>
                </a:lnTo>
                <a:lnTo>
                  <a:pt x="243" y="585"/>
                </a:lnTo>
                <a:lnTo>
                  <a:pt x="243" y="585"/>
                </a:lnTo>
                <a:lnTo>
                  <a:pt x="246" y="585"/>
                </a:lnTo>
                <a:lnTo>
                  <a:pt x="246" y="585"/>
                </a:lnTo>
                <a:lnTo>
                  <a:pt x="243" y="587"/>
                </a:lnTo>
                <a:lnTo>
                  <a:pt x="243" y="587"/>
                </a:lnTo>
                <a:lnTo>
                  <a:pt x="246" y="587"/>
                </a:lnTo>
                <a:lnTo>
                  <a:pt x="246" y="587"/>
                </a:lnTo>
                <a:lnTo>
                  <a:pt x="248" y="585"/>
                </a:lnTo>
                <a:lnTo>
                  <a:pt x="248" y="585"/>
                </a:lnTo>
                <a:close/>
                <a:moveTo>
                  <a:pt x="278" y="590"/>
                </a:moveTo>
                <a:lnTo>
                  <a:pt x="278" y="590"/>
                </a:lnTo>
                <a:lnTo>
                  <a:pt x="278" y="590"/>
                </a:lnTo>
                <a:lnTo>
                  <a:pt x="278" y="590"/>
                </a:lnTo>
                <a:lnTo>
                  <a:pt x="283" y="590"/>
                </a:lnTo>
                <a:lnTo>
                  <a:pt x="283" y="590"/>
                </a:lnTo>
                <a:lnTo>
                  <a:pt x="283" y="587"/>
                </a:lnTo>
                <a:lnTo>
                  <a:pt x="283" y="587"/>
                </a:lnTo>
                <a:lnTo>
                  <a:pt x="280" y="587"/>
                </a:lnTo>
                <a:lnTo>
                  <a:pt x="280" y="587"/>
                </a:lnTo>
                <a:lnTo>
                  <a:pt x="278" y="590"/>
                </a:lnTo>
                <a:lnTo>
                  <a:pt x="278" y="590"/>
                </a:lnTo>
                <a:lnTo>
                  <a:pt x="278" y="590"/>
                </a:lnTo>
                <a:close/>
                <a:moveTo>
                  <a:pt x="322" y="590"/>
                </a:moveTo>
                <a:lnTo>
                  <a:pt x="322" y="590"/>
                </a:lnTo>
                <a:lnTo>
                  <a:pt x="322" y="592"/>
                </a:lnTo>
                <a:lnTo>
                  <a:pt x="322" y="592"/>
                </a:lnTo>
                <a:lnTo>
                  <a:pt x="324" y="587"/>
                </a:lnTo>
                <a:lnTo>
                  <a:pt x="324" y="587"/>
                </a:lnTo>
                <a:lnTo>
                  <a:pt x="324" y="587"/>
                </a:lnTo>
                <a:lnTo>
                  <a:pt x="322" y="587"/>
                </a:lnTo>
                <a:lnTo>
                  <a:pt x="322" y="587"/>
                </a:lnTo>
                <a:lnTo>
                  <a:pt x="322" y="590"/>
                </a:lnTo>
                <a:lnTo>
                  <a:pt x="322" y="590"/>
                </a:lnTo>
                <a:lnTo>
                  <a:pt x="322" y="590"/>
                </a:lnTo>
                <a:close/>
                <a:moveTo>
                  <a:pt x="315" y="590"/>
                </a:moveTo>
                <a:lnTo>
                  <a:pt x="315" y="590"/>
                </a:lnTo>
                <a:lnTo>
                  <a:pt x="317" y="590"/>
                </a:lnTo>
                <a:lnTo>
                  <a:pt x="317" y="590"/>
                </a:lnTo>
                <a:lnTo>
                  <a:pt x="319" y="590"/>
                </a:lnTo>
                <a:lnTo>
                  <a:pt x="319" y="590"/>
                </a:lnTo>
                <a:lnTo>
                  <a:pt x="317" y="587"/>
                </a:lnTo>
                <a:lnTo>
                  <a:pt x="317" y="587"/>
                </a:lnTo>
                <a:lnTo>
                  <a:pt x="317" y="587"/>
                </a:lnTo>
                <a:lnTo>
                  <a:pt x="315" y="590"/>
                </a:lnTo>
                <a:lnTo>
                  <a:pt x="315" y="590"/>
                </a:lnTo>
                <a:close/>
                <a:moveTo>
                  <a:pt x="351" y="575"/>
                </a:moveTo>
                <a:lnTo>
                  <a:pt x="351" y="575"/>
                </a:lnTo>
                <a:lnTo>
                  <a:pt x="354" y="575"/>
                </a:lnTo>
                <a:lnTo>
                  <a:pt x="354" y="575"/>
                </a:lnTo>
                <a:lnTo>
                  <a:pt x="354" y="575"/>
                </a:lnTo>
                <a:lnTo>
                  <a:pt x="359" y="573"/>
                </a:lnTo>
                <a:lnTo>
                  <a:pt x="359" y="573"/>
                </a:lnTo>
                <a:lnTo>
                  <a:pt x="361" y="573"/>
                </a:lnTo>
                <a:lnTo>
                  <a:pt x="361" y="573"/>
                </a:lnTo>
                <a:lnTo>
                  <a:pt x="359" y="570"/>
                </a:lnTo>
                <a:lnTo>
                  <a:pt x="359" y="570"/>
                </a:lnTo>
                <a:lnTo>
                  <a:pt x="354" y="573"/>
                </a:lnTo>
                <a:lnTo>
                  <a:pt x="354" y="573"/>
                </a:lnTo>
                <a:lnTo>
                  <a:pt x="351" y="575"/>
                </a:lnTo>
                <a:lnTo>
                  <a:pt x="351" y="575"/>
                </a:lnTo>
                <a:close/>
                <a:moveTo>
                  <a:pt x="337" y="573"/>
                </a:moveTo>
                <a:lnTo>
                  <a:pt x="337" y="573"/>
                </a:lnTo>
                <a:lnTo>
                  <a:pt x="339" y="573"/>
                </a:lnTo>
                <a:lnTo>
                  <a:pt x="339" y="573"/>
                </a:lnTo>
                <a:lnTo>
                  <a:pt x="342" y="573"/>
                </a:lnTo>
                <a:lnTo>
                  <a:pt x="342" y="573"/>
                </a:lnTo>
                <a:lnTo>
                  <a:pt x="342" y="573"/>
                </a:lnTo>
                <a:lnTo>
                  <a:pt x="339" y="570"/>
                </a:lnTo>
                <a:lnTo>
                  <a:pt x="339" y="570"/>
                </a:lnTo>
                <a:lnTo>
                  <a:pt x="337" y="573"/>
                </a:lnTo>
                <a:lnTo>
                  <a:pt x="337" y="573"/>
                </a:lnTo>
                <a:close/>
                <a:moveTo>
                  <a:pt x="327" y="570"/>
                </a:moveTo>
                <a:lnTo>
                  <a:pt x="327" y="570"/>
                </a:lnTo>
                <a:lnTo>
                  <a:pt x="329" y="573"/>
                </a:lnTo>
                <a:lnTo>
                  <a:pt x="329" y="573"/>
                </a:lnTo>
                <a:lnTo>
                  <a:pt x="332" y="573"/>
                </a:lnTo>
                <a:lnTo>
                  <a:pt x="332" y="573"/>
                </a:lnTo>
                <a:lnTo>
                  <a:pt x="334" y="575"/>
                </a:lnTo>
                <a:lnTo>
                  <a:pt x="334" y="575"/>
                </a:lnTo>
                <a:lnTo>
                  <a:pt x="332" y="570"/>
                </a:lnTo>
                <a:lnTo>
                  <a:pt x="332" y="570"/>
                </a:lnTo>
                <a:lnTo>
                  <a:pt x="329" y="570"/>
                </a:lnTo>
                <a:lnTo>
                  <a:pt x="329" y="570"/>
                </a:lnTo>
                <a:lnTo>
                  <a:pt x="327" y="570"/>
                </a:lnTo>
                <a:lnTo>
                  <a:pt x="327" y="570"/>
                </a:lnTo>
                <a:close/>
                <a:moveTo>
                  <a:pt x="322" y="573"/>
                </a:moveTo>
                <a:lnTo>
                  <a:pt x="322" y="573"/>
                </a:lnTo>
                <a:lnTo>
                  <a:pt x="324" y="573"/>
                </a:lnTo>
                <a:lnTo>
                  <a:pt x="324" y="573"/>
                </a:lnTo>
                <a:lnTo>
                  <a:pt x="324" y="573"/>
                </a:lnTo>
                <a:lnTo>
                  <a:pt x="327" y="570"/>
                </a:lnTo>
                <a:lnTo>
                  <a:pt x="327" y="570"/>
                </a:lnTo>
                <a:lnTo>
                  <a:pt x="324" y="570"/>
                </a:lnTo>
                <a:lnTo>
                  <a:pt x="324" y="570"/>
                </a:lnTo>
                <a:lnTo>
                  <a:pt x="322" y="573"/>
                </a:lnTo>
                <a:lnTo>
                  <a:pt x="322" y="573"/>
                </a:lnTo>
                <a:close/>
                <a:moveTo>
                  <a:pt x="654" y="472"/>
                </a:moveTo>
                <a:lnTo>
                  <a:pt x="654" y="472"/>
                </a:lnTo>
                <a:lnTo>
                  <a:pt x="654" y="474"/>
                </a:lnTo>
                <a:lnTo>
                  <a:pt x="654" y="474"/>
                </a:lnTo>
                <a:lnTo>
                  <a:pt x="654" y="477"/>
                </a:lnTo>
                <a:lnTo>
                  <a:pt x="654" y="477"/>
                </a:lnTo>
                <a:lnTo>
                  <a:pt x="656" y="474"/>
                </a:lnTo>
                <a:lnTo>
                  <a:pt x="656" y="474"/>
                </a:lnTo>
                <a:lnTo>
                  <a:pt x="654" y="472"/>
                </a:lnTo>
                <a:lnTo>
                  <a:pt x="654" y="472"/>
                </a:lnTo>
                <a:lnTo>
                  <a:pt x="654" y="472"/>
                </a:lnTo>
                <a:close/>
                <a:moveTo>
                  <a:pt x="647" y="462"/>
                </a:moveTo>
                <a:lnTo>
                  <a:pt x="647" y="462"/>
                </a:lnTo>
                <a:lnTo>
                  <a:pt x="647" y="467"/>
                </a:lnTo>
                <a:lnTo>
                  <a:pt x="647" y="467"/>
                </a:lnTo>
                <a:lnTo>
                  <a:pt x="649" y="472"/>
                </a:lnTo>
                <a:lnTo>
                  <a:pt x="649" y="472"/>
                </a:lnTo>
                <a:lnTo>
                  <a:pt x="649" y="477"/>
                </a:lnTo>
                <a:lnTo>
                  <a:pt x="649" y="477"/>
                </a:lnTo>
                <a:lnTo>
                  <a:pt x="649" y="477"/>
                </a:lnTo>
                <a:lnTo>
                  <a:pt x="652" y="474"/>
                </a:lnTo>
                <a:lnTo>
                  <a:pt x="652" y="474"/>
                </a:lnTo>
                <a:lnTo>
                  <a:pt x="652" y="464"/>
                </a:lnTo>
                <a:lnTo>
                  <a:pt x="652" y="464"/>
                </a:lnTo>
                <a:lnTo>
                  <a:pt x="649" y="462"/>
                </a:lnTo>
                <a:lnTo>
                  <a:pt x="649" y="462"/>
                </a:lnTo>
                <a:lnTo>
                  <a:pt x="647" y="462"/>
                </a:lnTo>
                <a:lnTo>
                  <a:pt x="647" y="462"/>
                </a:lnTo>
                <a:close/>
                <a:moveTo>
                  <a:pt x="644" y="457"/>
                </a:moveTo>
                <a:lnTo>
                  <a:pt x="644" y="457"/>
                </a:lnTo>
                <a:lnTo>
                  <a:pt x="644" y="459"/>
                </a:lnTo>
                <a:lnTo>
                  <a:pt x="644" y="459"/>
                </a:lnTo>
                <a:lnTo>
                  <a:pt x="647" y="459"/>
                </a:lnTo>
                <a:lnTo>
                  <a:pt x="647" y="459"/>
                </a:lnTo>
                <a:lnTo>
                  <a:pt x="647" y="457"/>
                </a:lnTo>
                <a:lnTo>
                  <a:pt x="647" y="457"/>
                </a:lnTo>
                <a:lnTo>
                  <a:pt x="644" y="455"/>
                </a:lnTo>
                <a:lnTo>
                  <a:pt x="644" y="455"/>
                </a:lnTo>
                <a:lnTo>
                  <a:pt x="644" y="457"/>
                </a:lnTo>
                <a:lnTo>
                  <a:pt x="644" y="457"/>
                </a:lnTo>
                <a:close/>
                <a:moveTo>
                  <a:pt x="361" y="548"/>
                </a:moveTo>
                <a:lnTo>
                  <a:pt x="361" y="548"/>
                </a:lnTo>
                <a:lnTo>
                  <a:pt x="364" y="548"/>
                </a:lnTo>
                <a:lnTo>
                  <a:pt x="364" y="548"/>
                </a:lnTo>
                <a:lnTo>
                  <a:pt x="364" y="546"/>
                </a:lnTo>
                <a:lnTo>
                  <a:pt x="364" y="546"/>
                </a:lnTo>
                <a:lnTo>
                  <a:pt x="361" y="546"/>
                </a:lnTo>
                <a:lnTo>
                  <a:pt x="361" y="546"/>
                </a:lnTo>
                <a:lnTo>
                  <a:pt x="361" y="548"/>
                </a:lnTo>
                <a:lnTo>
                  <a:pt x="361" y="548"/>
                </a:lnTo>
                <a:close/>
                <a:moveTo>
                  <a:pt x="376" y="560"/>
                </a:moveTo>
                <a:lnTo>
                  <a:pt x="378" y="560"/>
                </a:lnTo>
                <a:lnTo>
                  <a:pt x="378" y="560"/>
                </a:lnTo>
                <a:lnTo>
                  <a:pt x="376" y="560"/>
                </a:lnTo>
                <a:lnTo>
                  <a:pt x="376" y="560"/>
                </a:lnTo>
                <a:lnTo>
                  <a:pt x="376" y="560"/>
                </a:lnTo>
                <a:close/>
                <a:moveTo>
                  <a:pt x="374" y="558"/>
                </a:moveTo>
                <a:lnTo>
                  <a:pt x="374" y="558"/>
                </a:lnTo>
                <a:lnTo>
                  <a:pt x="374" y="553"/>
                </a:lnTo>
                <a:lnTo>
                  <a:pt x="374" y="553"/>
                </a:lnTo>
                <a:lnTo>
                  <a:pt x="369" y="550"/>
                </a:lnTo>
                <a:lnTo>
                  <a:pt x="369" y="550"/>
                </a:lnTo>
                <a:lnTo>
                  <a:pt x="366" y="548"/>
                </a:lnTo>
                <a:lnTo>
                  <a:pt x="366" y="548"/>
                </a:lnTo>
                <a:lnTo>
                  <a:pt x="366" y="550"/>
                </a:lnTo>
                <a:lnTo>
                  <a:pt x="366" y="550"/>
                </a:lnTo>
                <a:lnTo>
                  <a:pt x="369" y="553"/>
                </a:lnTo>
                <a:lnTo>
                  <a:pt x="369" y="553"/>
                </a:lnTo>
                <a:lnTo>
                  <a:pt x="374" y="558"/>
                </a:lnTo>
                <a:lnTo>
                  <a:pt x="374" y="558"/>
                </a:lnTo>
                <a:close/>
                <a:moveTo>
                  <a:pt x="383" y="543"/>
                </a:moveTo>
                <a:lnTo>
                  <a:pt x="383" y="543"/>
                </a:lnTo>
                <a:lnTo>
                  <a:pt x="383" y="538"/>
                </a:lnTo>
                <a:lnTo>
                  <a:pt x="383" y="538"/>
                </a:lnTo>
                <a:lnTo>
                  <a:pt x="383" y="533"/>
                </a:lnTo>
                <a:lnTo>
                  <a:pt x="383" y="533"/>
                </a:lnTo>
                <a:lnTo>
                  <a:pt x="378" y="531"/>
                </a:lnTo>
                <a:lnTo>
                  <a:pt x="378" y="531"/>
                </a:lnTo>
                <a:lnTo>
                  <a:pt x="374" y="526"/>
                </a:lnTo>
                <a:lnTo>
                  <a:pt x="374" y="526"/>
                </a:lnTo>
                <a:lnTo>
                  <a:pt x="371" y="526"/>
                </a:lnTo>
                <a:lnTo>
                  <a:pt x="371" y="526"/>
                </a:lnTo>
                <a:lnTo>
                  <a:pt x="366" y="523"/>
                </a:lnTo>
                <a:lnTo>
                  <a:pt x="366" y="523"/>
                </a:lnTo>
                <a:lnTo>
                  <a:pt x="364" y="521"/>
                </a:lnTo>
                <a:lnTo>
                  <a:pt x="364" y="521"/>
                </a:lnTo>
                <a:lnTo>
                  <a:pt x="364" y="519"/>
                </a:lnTo>
                <a:lnTo>
                  <a:pt x="364" y="519"/>
                </a:lnTo>
                <a:lnTo>
                  <a:pt x="359" y="516"/>
                </a:lnTo>
                <a:lnTo>
                  <a:pt x="359" y="516"/>
                </a:lnTo>
                <a:lnTo>
                  <a:pt x="356" y="516"/>
                </a:lnTo>
                <a:lnTo>
                  <a:pt x="356" y="516"/>
                </a:lnTo>
                <a:lnTo>
                  <a:pt x="356" y="516"/>
                </a:lnTo>
                <a:lnTo>
                  <a:pt x="356" y="519"/>
                </a:lnTo>
                <a:lnTo>
                  <a:pt x="356" y="519"/>
                </a:lnTo>
                <a:lnTo>
                  <a:pt x="354" y="521"/>
                </a:lnTo>
                <a:lnTo>
                  <a:pt x="354" y="521"/>
                </a:lnTo>
                <a:lnTo>
                  <a:pt x="356" y="523"/>
                </a:lnTo>
                <a:lnTo>
                  <a:pt x="356" y="523"/>
                </a:lnTo>
                <a:lnTo>
                  <a:pt x="359" y="523"/>
                </a:lnTo>
                <a:lnTo>
                  <a:pt x="359" y="523"/>
                </a:lnTo>
                <a:lnTo>
                  <a:pt x="356" y="526"/>
                </a:lnTo>
                <a:lnTo>
                  <a:pt x="356" y="526"/>
                </a:lnTo>
                <a:lnTo>
                  <a:pt x="356" y="526"/>
                </a:lnTo>
                <a:lnTo>
                  <a:pt x="354" y="523"/>
                </a:lnTo>
                <a:lnTo>
                  <a:pt x="354" y="523"/>
                </a:lnTo>
                <a:lnTo>
                  <a:pt x="351" y="523"/>
                </a:lnTo>
                <a:lnTo>
                  <a:pt x="351" y="523"/>
                </a:lnTo>
                <a:lnTo>
                  <a:pt x="354" y="526"/>
                </a:lnTo>
                <a:lnTo>
                  <a:pt x="354" y="526"/>
                </a:lnTo>
                <a:lnTo>
                  <a:pt x="359" y="533"/>
                </a:lnTo>
                <a:lnTo>
                  <a:pt x="359" y="533"/>
                </a:lnTo>
                <a:lnTo>
                  <a:pt x="361" y="533"/>
                </a:lnTo>
                <a:lnTo>
                  <a:pt x="361" y="533"/>
                </a:lnTo>
                <a:lnTo>
                  <a:pt x="364" y="538"/>
                </a:lnTo>
                <a:lnTo>
                  <a:pt x="364" y="538"/>
                </a:lnTo>
                <a:lnTo>
                  <a:pt x="366" y="538"/>
                </a:lnTo>
                <a:lnTo>
                  <a:pt x="366" y="538"/>
                </a:lnTo>
                <a:lnTo>
                  <a:pt x="366" y="533"/>
                </a:lnTo>
                <a:lnTo>
                  <a:pt x="366" y="533"/>
                </a:lnTo>
                <a:lnTo>
                  <a:pt x="369" y="536"/>
                </a:lnTo>
                <a:lnTo>
                  <a:pt x="369" y="536"/>
                </a:lnTo>
                <a:lnTo>
                  <a:pt x="371" y="533"/>
                </a:lnTo>
                <a:lnTo>
                  <a:pt x="371" y="533"/>
                </a:lnTo>
                <a:lnTo>
                  <a:pt x="371" y="536"/>
                </a:lnTo>
                <a:lnTo>
                  <a:pt x="371" y="536"/>
                </a:lnTo>
                <a:lnTo>
                  <a:pt x="371" y="541"/>
                </a:lnTo>
                <a:lnTo>
                  <a:pt x="371" y="541"/>
                </a:lnTo>
                <a:lnTo>
                  <a:pt x="371" y="541"/>
                </a:lnTo>
                <a:lnTo>
                  <a:pt x="374" y="543"/>
                </a:lnTo>
                <a:lnTo>
                  <a:pt x="374" y="543"/>
                </a:lnTo>
                <a:lnTo>
                  <a:pt x="378" y="543"/>
                </a:lnTo>
                <a:lnTo>
                  <a:pt x="378" y="543"/>
                </a:lnTo>
                <a:lnTo>
                  <a:pt x="378" y="541"/>
                </a:lnTo>
                <a:lnTo>
                  <a:pt x="378" y="541"/>
                </a:lnTo>
                <a:lnTo>
                  <a:pt x="383" y="543"/>
                </a:lnTo>
                <a:lnTo>
                  <a:pt x="383" y="543"/>
                </a:lnTo>
                <a:close/>
                <a:moveTo>
                  <a:pt x="455" y="410"/>
                </a:moveTo>
                <a:lnTo>
                  <a:pt x="455" y="410"/>
                </a:lnTo>
                <a:lnTo>
                  <a:pt x="457" y="410"/>
                </a:lnTo>
                <a:lnTo>
                  <a:pt x="457" y="410"/>
                </a:lnTo>
                <a:lnTo>
                  <a:pt x="457" y="410"/>
                </a:lnTo>
                <a:lnTo>
                  <a:pt x="457" y="408"/>
                </a:lnTo>
                <a:lnTo>
                  <a:pt x="457" y="408"/>
                </a:lnTo>
                <a:lnTo>
                  <a:pt x="457" y="408"/>
                </a:lnTo>
                <a:lnTo>
                  <a:pt x="460" y="410"/>
                </a:lnTo>
                <a:lnTo>
                  <a:pt x="460" y="410"/>
                </a:lnTo>
                <a:lnTo>
                  <a:pt x="462" y="410"/>
                </a:lnTo>
                <a:lnTo>
                  <a:pt x="462" y="410"/>
                </a:lnTo>
                <a:lnTo>
                  <a:pt x="462" y="410"/>
                </a:lnTo>
                <a:lnTo>
                  <a:pt x="465" y="410"/>
                </a:lnTo>
                <a:lnTo>
                  <a:pt x="465" y="410"/>
                </a:lnTo>
                <a:lnTo>
                  <a:pt x="465" y="408"/>
                </a:lnTo>
                <a:lnTo>
                  <a:pt x="465" y="408"/>
                </a:lnTo>
                <a:lnTo>
                  <a:pt x="470" y="405"/>
                </a:lnTo>
                <a:lnTo>
                  <a:pt x="470" y="405"/>
                </a:lnTo>
                <a:lnTo>
                  <a:pt x="472" y="403"/>
                </a:lnTo>
                <a:lnTo>
                  <a:pt x="472" y="403"/>
                </a:lnTo>
                <a:lnTo>
                  <a:pt x="472" y="403"/>
                </a:lnTo>
                <a:lnTo>
                  <a:pt x="470" y="398"/>
                </a:lnTo>
                <a:lnTo>
                  <a:pt x="470" y="398"/>
                </a:lnTo>
                <a:lnTo>
                  <a:pt x="467" y="396"/>
                </a:lnTo>
                <a:lnTo>
                  <a:pt x="467" y="396"/>
                </a:lnTo>
                <a:lnTo>
                  <a:pt x="467" y="393"/>
                </a:lnTo>
                <a:lnTo>
                  <a:pt x="467" y="393"/>
                </a:lnTo>
                <a:lnTo>
                  <a:pt x="462" y="391"/>
                </a:lnTo>
                <a:lnTo>
                  <a:pt x="462" y="391"/>
                </a:lnTo>
                <a:lnTo>
                  <a:pt x="462" y="391"/>
                </a:lnTo>
                <a:lnTo>
                  <a:pt x="460" y="391"/>
                </a:lnTo>
                <a:lnTo>
                  <a:pt x="460" y="391"/>
                </a:lnTo>
                <a:lnTo>
                  <a:pt x="457" y="393"/>
                </a:lnTo>
                <a:lnTo>
                  <a:pt x="457" y="393"/>
                </a:lnTo>
                <a:lnTo>
                  <a:pt x="455" y="393"/>
                </a:lnTo>
                <a:lnTo>
                  <a:pt x="455" y="393"/>
                </a:lnTo>
                <a:lnTo>
                  <a:pt x="450" y="396"/>
                </a:lnTo>
                <a:lnTo>
                  <a:pt x="450" y="396"/>
                </a:lnTo>
                <a:lnTo>
                  <a:pt x="450" y="398"/>
                </a:lnTo>
                <a:lnTo>
                  <a:pt x="450" y="398"/>
                </a:lnTo>
                <a:lnTo>
                  <a:pt x="452" y="400"/>
                </a:lnTo>
                <a:lnTo>
                  <a:pt x="452" y="400"/>
                </a:lnTo>
                <a:lnTo>
                  <a:pt x="452" y="405"/>
                </a:lnTo>
                <a:lnTo>
                  <a:pt x="452" y="405"/>
                </a:lnTo>
                <a:lnTo>
                  <a:pt x="452" y="408"/>
                </a:lnTo>
                <a:lnTo>
                  <a:pt x="452" y="408"/>
                </a:lnTo>
                <a:lnTo>
                  <a:pt x="455" y="410"/>
                </a:lnTo>
                <a:lnTo>
                  <a:pt x="455" y="410"/>
                </a:lnTo>
                <a:close/>
                <a:moveTo>
                  <a:pt x="465" y="541"/>
                </a:moveTo>
                <a:lnTo>
                  <a:pt x="465" y="543"/>
                </a:lnTo>
                <a:lnTo>
                  <a:pt x="465" y="543"/>
                </a:lnTo>
                <a:lnTo>
                  <a:pt x="467" y="543"/>
                </a:lnTo>
                <a:lnTo>
                  <a:pt x="467" y="543"/>
                </a:lnTo>
                <a:lnTo>
                  <a:pt x="470" y="541"/>
                </a:lnTo>
                <a:lnTo>
                  <a:pt x="470" y="541"/>
                </a:lnTo>
                <a:lnTo>
                  <a:pt x="470" y="538"/>
                </a:lnTo>
                <a:lnTo>
                  <a:pt x="470" y="538"/>
                </a:lnTo>
                <a:lnTo>
                  <a:pt x="467" y="536"/>
                </a:lnTo>
                <a:lnTo>
                  <a:pt x="467" y="536"/>
                </a:lnTo>
                <a:lnTo>
                  <a:pt x="465" y="538"/>
                </a:lnTo>
                <a:lnTo>
                  <a:pt x="465" y="538"/>
                </a:lnTo>
                <a:lnTo>
                  <a:pt x="465" y="538"/>
                </a:lnTo>
                <a:lnTo>
                  <a:pt x="465" y="541"/>
                </a:lnTo>
                <a:lnTo>
                  <a:pt x="465" y="541"/>
                </a:lnTo>
                <a:close/>
                <a:moveTo>
                  <a:pt x="524" y="614"/>
                </a:moveTo>
                <a:lnTo>
                  <a:pt x="524" y="614"/>
                </a:lnTo>
                <a:lnTo>
                  <a:pt x="524" y="614"/>
                </a:lnTo>
                <a:lnTo>
                  <a:pt x="526" y="617"/>
                </a:lnTo>
                <a:lnTo>
                  <a:pt x="526" y="617"/>
                </a:lnTo>
                <a:lnTo>
                  <a:pt x="526" y="617"/>
                </a:lnTo>
                <a:lnTo>
                  <a:pt x="529" y="619"/>
                </a:lnTo>
                <a:lnTo>
                  <a:pt x="529" y="619"/>
                </a:lnTo>
                <a:lnTo>
                  <a:pt x="531" y="619"/>
                </a:lnTo>
                <a:lnTo>
                  <a:pt x="531" y="619"/>
                </a:lnTo>
                <a:lnTo>
                  <a:pt x="533" y="617"/>
                </a:lnTo>
                <a:lnTo>
                  <a:pt x="533" y="617"/>
                </a:lnTo>
                <a:lnTo>
                  <a:pt x="531" y="614"/>
                </a:lnTo>
                <a:lnTo>
                  <a:pt x="531" y="614"/>
                </a:lnTo>
                <a:lnTo>
                  <a:pt x="529" y="614"/>
                </a:lnTo>
                <a:lnTo>
                  <a:pt x="529" y="614"/>
                </a:lnTo>
                <a:lnTo>
                  <a:pt x="526" y="614"/>
                </a:lnTo>
                <a:lnTo>
                  <a:pt x="526" y="614"/>
                </a:lnTo>
                <a:lnTo>
                  <a:pt x="526" y="614"/>
                </a:lnTo>
                <a:lnTo>
                  <a:pt x="524" y="614"/>
                </a:lnTo>
                <a:lnTo>
                  <a:pt x="524" y="614"/>
                </a:lnTo>
                <a:close/>
                <a:moveTo>
                  <a:pt x="511" y="408"/>
                </a:moveTo>
                <a:lnTo>
                  <a:pt x="511" y="408"/>
                </a:lnTo>
                <a:lnTo>
                  <a:pt x="511" y="405"/>
                </a:lnTo>
                <a:lnTo>
                  <a:pt x="511" y="405"/>
                </a:lnTo>
                <a:lnTo>
                  <a:pt x="511" y="405"/>
                </a:lnTo>
                <a:lnTo>
                  <a:pt x="511" y="403"/>
                </a:lnTo>
                <a:lnTo>
                  <a:pt x="511" y="403"/>
                </a:lnTo>
                <a:lnTo>
                  <a:pt x="511" y="400"/>
                </a:lnTo>
                <a:lnTo>
                  <a:pt x="511" y="400"/>
                </a:lnTo>
                <a:lnTo>
                  <a:pt x="511" y="398"/>
                </a:lnTo>
                <a:lnTo>
                  <a:pt x="511" y="398"/>
                </a:lnTo>
                <a:lnTo>
                  <a:pt x="509" y="398"/>
                </a:lnTo>
                <a:lnTo>
                  <a:pt x="509" y="398"/>
                </a:lnTo>
                <a:lnTo>
                  <a:pt x="506" y="398"/>
                </a:lnTo>
                <a:lnTo>
                  <a:pt x="506" y="398"/>
                </a:lnTo>
                <a:lnTo>
                  <a:pt x="504" y="405"/>
                </a:lnTo>
                <a:lnTo>
                  <a:pt x="504" y="405"/>
                </a:lnTo>
                <a:lnTo>
                  <a:pt x="506" y="408"/>
                </a:lnTo>
                <a:lnTo>
                  <a:pt x="506" y="408"/>
                </a:lnTo>
                <a:lnTo>
                  <a:pt x="509" y="408"/>
                </a:lnTo>
                <a:lnTo>
                  <a:pt x="509" y="408"/>
                </a:lnTo>
                <a:lnTo>
                  <a:pt x="511" y="408"/>
                </a:lnTo>
                <a:lnTo>
                  <a:pt x="511" y="408"/>
                </a:lnTo>
                <a:lnTo>
                  <a:pt x="511" y="408"/>
                </a:lnTo>
                <a:close/>
                <a:moveTo>
                  <a:pt x="506" y="386"/>
                </a:moveTo>
                <a:lnTo>
                  <a:pt x="506" y="386"/>
                </a:lnTo>
                <a:lnTo>
                  <a:pt x="509" y="383"/>
                </a:lnTo>
                <a:lnTo>
                  <a:pt x="509" y="383"/>
                </a:lnTo>
                <a:lnTo>
                  <a:pt x="511" y="386"/>
                </a:lnTo>
                <a:lnTo>
                  <a:pt x="511" y="386"/>
                </a:lnTo>
                <a:lnTo>
                  <a:pt x="514" y="383"/>
                </a:lnTo>
                <a:lnTo>
                  <a:pt x="514" y="383"/>
                </a:lnTo>
                <a:lnTo>
                  <a:pt x="514" y="381"/>
                </a:lnTo>
                <a:lnTo>
                  <a:pt x="514" y="381"/>
                </a:lnTo>
                <a:lnTo>
                  <a:pt x="514" y="378"/>
                </a:lnTo>
                <a:lnTo>
                  <a:pt x="514" y="378"/>
                </a:lnTo>
                <a:lnTo>
                  <a:pt x="516" y="378"/>
                </a:lnTo>
                <a:lnTo>
                  <a:pt x="516" y="378"/>
                </a:lnTo>
                <a:lnTo>
                  <a:pt x="516" y="378"/>
                </a:lnTo>
                <a:lnTo>
                  <a:pt x="514" y="378"/>
                </a:lnTo>
                <a:lnTo>
                  <a:pt x="514" y="378"/>
                </a:lnTo>
                <a:lnTo>
                  <a:pt x="509" y="381"/>
                </a:lnTo>
                <a:lnTo>
                  <a:pt x="509" y="381"/>
                </a:lnTo>
                <a:lnTo>
                  <a:pt x="506" y="383"/>
                </a:lnTo>
                <a:lnTo>
                  <a:pt x="506" y="383"/>
                </a:lnTo>
                <a:lnTo>
                  <a:pt x="506" y="386"/>
                </a:lnTo>
                <a:lnTo>
                  <a:pt x="506" y="386"/>
                </a:lnTo>
                <a:close/>
                <a:moveTo>
                  <a:pt x="521" y="391"/>
                </a:moveTo>
                <a:lnTo>
                  <a:pt x="521" y="391"/>
                </a:lnTo>
                <a:lnTo>
                  <a:pt x="524" y="393"/>
                </a:lnTo>
                <a:lnTo>
                  <a:pt x="524" y="393"/>
                </a:lnTo>
                <a:lnTo>
                  <a:pt x="529" y="393"/>
                </a:lnTo>
                <a:lnTo>
                  <a:pt x="529" y="393"/>
                </a:lnTo>
                <a:lnTo>
                  <a:pt x="531" y="393"/>
                </a:lnTo>
                <a:lnTo>
                  <a:pt x="531" y="393"/>
                </a:lnTo>
                <a:lnTo>
                  <a:pt x="529" y="391"/>
                </a:lnTo>
                <a:lnTo>
                  <a:pt x="529" y="391"/>
                </a:lnTo>
                <a:lnTo>
                  <a:pt x="526" y="391"/>
                </a:lnTo>
                <a:lnTo>
                  <a:pt x="526" y="391"/>
                </a:lnTo>
                <a:lnTo>
                  <a:pt x="521" y="391"/>
                </a:lnTo>
                <a:lnTo>
                  <a:pt x="521" y="391"/>
                </a:lnTo>
                <a:lnTo>
                  <a:pt x="521" y="391"/>
                </a:lnTo>
                <a:close/>
                <a:moveTo>
                  <a:pt x="551" y="413"/>
                </a:moveTo>
                <a:lnTo>
                  <a:pt x="551" y="413"/>
                </a:lnTo>
                <a:lnTo>
                  <a:pt x="551" y="415"/>
                </a:lnTo>
                <a:lnTo>
                  <a:pt x="551" y="415"/>
                </a:lnTo>
                <a:lnTo>
                  <a:pt x="548" y="418"/>
                </a:lnTo>
                <a:lnTo>
                  <a:pt x="548" y="418"/>
                </a:lnTo>
                <a:lnTo>
                  <a:pt x="546" y="420"/>
                </a:lnTo>
                <a:lnTo>
                  <a:pt x="546" y="420"/>
                </a:lnTo>
                <a:lnTo>
                  <a:pt x="546" y="423"/>
                </a:lnTo>
                <a:lnTo>
                  <a:pt x="546" y="423"/>
                </a:lnTo>
                <a:lnTo>
                  <a:pt x="548" y="425"/>
                </a:lnTo>
                <a:lnTo>
                  <a:pt x="548" y="425"/>
                </a:lnTo>
                <a:lnTo>
                  <a:pt x="551" y="425"/>
                </a:lnTo>
                <a:lnTo>
                  <a:pt x="551" y="425"/>
                </a:lnTo>
                <a:lnTo>
                  <a:pt x="553" y="420"/>
                </a:lnTo>
                <a:lnTo>
                  <a:pt x="553" y="420"/>
                </a:lnTo>
                <a:lnTo>
                  <a:pt x="556" y="420"/>
                </a:lnTo>
                <a:lnTo>
                  <a:pt x="556" y="420"/>
                </a:lnTo>
                <a:lnTo>
                  <a:pt x="556" y="418"/>
                </a:lnTo>
                <a:lnTo>
                  <a:pt x="556" y="418"/>
                </a:lnTo>
                <a:lnTo>
                  <a:pt x="558" y="415"/>
                </a:lnTo>
                <a:lnTo>
                  <a:pt x="558" y="415"/>
                </a:lnTo>
                <a:lnTo>
                  <a:pt x="563" y="413"/>
                </a:lnTo>
                <a:lnTo>
                  <a:pt x="563" y="413"/>
                </a:lnTo>
                <a:lnTo>
                  <a:pt x="561" y="410"/>
                </a:lnTo>
                <a:lnTo>
                  <a:pt x="561" y="410"/>
                </a:lnTo>
                <a:lnTo>
                  <a:pt x="561" y="408"/>
                </a:lnTo>
                <a:lnTo>
                  <a:pt x="561" y="408"/>
                </a:lnTo>
                <a:lnTo>
                  <a:pt x="558" y="408"/>
                </a:lnTo>
                <a:lnTo>
                  <a:pt x="558" y="408"/>
                </a:lnTo>
                <a:lnTo>
                  <a:pt x="553" y="410"/>
                </a:lnTo>
                <a:lnTo>
                  <a:pt x="553" y="410"/>
                </a:lnTo>
                <a:lnTo>
                  <a:pt x="551" y="413"/>
                </a:lnTo>
                <a:lnTo>
                  <a:pt x="551" y="413"/>
                </a:lnTo>
                <a:close/>
                <a:moveTo>
                  <a:pt x="561" y="383"/>
                </a:moveTo>
                <a:lnTo>
                  <a:pt x="561" y="383"/>
                </a:lnTo>
                <a:lnTo>
                  <a:pt x="558" y="388"/>
                </a:lnTo>
                <a:lnTo>
                  <a:pt x="558" y="388"/>
                </a:lnTo>
                <a:lnTo>
                  <a:pt x="558" y="393"/>
                </a:lnTo>
                <a:lnTo>
                  <a:pt x="558" y="393"/>
                </a:lnTo>
                <a:lnTo>
                  <a:pt x="556" y="396"/>
                </a:lnTo>
                <a:lnTo>
                  <a:pt x="556" y="396"/>
                </a:lnTo>
                <a:lnTo>
                  <a:pt x="556" y="398"/>
                </a:lnTo>
                <a:lnTo>
                  <a:pt x="556" y="398"/>
                </a:lnTo>
                <a:lnTo>
                  <a:pt x="561" y="398"/>
                </a:lnTo>
                <a:lnTo>
                  <a:pt x="561" y="398"/>
                </a:lnTo>
                <a:lnTo>
                  <a:pt x="561" y="400"/>
                </a:lnTo>
                <a:lnTo>
                  <a:pt x="561" y="400"/>
                </a:lnTo>
                <a:lnTo>
                  <a:pt x="565" y="400"/>
                </a:lnTo>
                <a:lnTo>
                  <a:pt x="565" y="400"/>
                </a:lnTo>
                <a:lnTo>
                  <a:pt x="568" y="403"/>
                </a:lnTo>
                <a:lnTo>
                  <a:pt x="568" y="403"/>
                </a:lnTo>
                <a:lnTo>
                  <a:pt x="570" y="400"/>
                </a:lnTo>
                <a:lnTo>
                  <a:pt x="570" y="400"/>
                </a:lnTo>
                <a:lnTo>
                  <a:pt x="570" y="400"/>
                </a:lnTo>
                <a:lnTo>
                  <a:pt x="568" y="396"/>
                </a:lnTo>
                <a:lnTo>
                  <a:pt x="568" y="396"/>
                </a:lnTo>
                <a:lnTo>
                  <a:pt x="565" y="391"/>
                </a:lnTo>
                <a:lnTo>
                  <a:pt x="565" y="391"/>
                </a:lnTo>
                <a:lnTo>
                  <a:pt x="563" y="388"/>
                </a:lnTo>
                <a:lnTo>
                  <a:pt x="563" y="388"/>
                </a:lnTo>
                <a:lnTo>
                  <a:pt x="561" y="383"/>
                </a:lnTo>
                <a:lnTo>
                  <a:pt x="561" y="383"/>
                </a:lnTo>
                <a:close/>
                <a:moveTo>
                  <a:pt x="541" y="332"/>
                </a:moveTo>
                <a:lnTo>
                  <a:pt x="541" y="332"/>
                </a:lnTo>
                <a:lnTo>
                  <a:pt x="538" y="329"/>
                </a:lnTo>
                <a:lnTo>
                  <a:pt x="538" y="329"/>
                </a:lnTo>
                <a:lnTo>
                  <a:pt x="541" y="329"/>
                </a:lnTo>
                <a:lnTo>
                  <a:pt x="541" y="329"/>
                </a:lnTo>
                <a:lnTo>
                  <a:pt x="538" y="327"/>
                </a:lnTo>
                <a:lnTo>
                  <a:pt x="538" y="327"/>
                </a:lnTo>
                <a:lnTo>
                  <a:pt x="533" y="327"/>
                </a:lnTo>
                <a:lnTo>
                  <a:pt x="533" y="327"/>
                </a:lnTo>
                <a:lnTo>
                  <a:pt x="533" y="329"/>
                </a:lnTo>
                <a:lnTo>
                  <a:pt x="533" y="329"/>
                </a:lnTo>
                <a:lnTo>
                  <a:pt x="536" y="329"/>
                </a:lnTo>
                <a:lnTo>
                  <a:pt x="536" y="329"/>
                </a:lnTo>
                <a:lnTo>
                  <a:pt x="536" y="332"/>
                </a:lnTo>
                <a:lnTo>
                  <a:pt x="536" y="332"/>
                </a:lnTo>
                <a:lnTo>
                  <a:pt x="538" y="334"/>
                </a:lnTo>
                <a:lnTo>
                  <a:pt x="538" y="334"/>
                </a:lnTo>
                <a:lnTo>
                  <a:pt x="541" y="332"/>
                </a:lnTo>
                <a:lnTo>
                  <a:pt x="541" y="332"/>
                </a:lnTo>
                <a:close/>
                <a:moveTo>
                  <a:pt x="551" y="295"/>
                </a:moveTo>
                <a:lnTo>
                  <a:pt x="551" y="295"/>
                </a:lnTo>
                <a:lnTo>
                  <a:pt x="548" y="292"/>
                </a:lnTo>
                <a:lnTo>
                  <a:pt x="548" y="292"/>
                </a:lnTo>
                <a:lnTo>
                  <a:pt x="546" y="292"/>
                </a:lnTo>
                <a:lnTo>
                  <a:pt x="546" y="292"/>
                </a:lnTo>
                <a:lnTo>
                  <a:pt x="548" y="297"/>
                </a:lnTo>
                <a:lnTo>
                  <a:pt x="548" y="297"/>
                </a:lnTo>
                <a:lnTo>
                  <a:pt x="548" y="297"/>
                </a:lnTo>
                <a:lnTo>
                  <a:pt x="551" y="297"/>
                </a:lnTo>
                <a:lnTo>
                  <a:pt x="551" y="297"/>
                </a:lnTo>
                <a:lnTo>
                  <a:pt x="553" y="297"/>
                </a:lnTo>
                <a:lnTo>
                  <a:pt x="553" y="297"/>
                </a:lnTo>
                <a:lnTo>
                  <a:pt x="553" y="302"/>
                </a:lnTo>
                <a:lnTo>
                  <a:pt x="553" y="302"/>
                </a:lnTo>
                <a:lnTo>
                  <a:pt x="553" y="302"/>
                </a:lnTo>
                <a:lnTo>
                  <a:pt x="553" y="300"/>
                </a:lnTo>
                <a:lnTo>
                  <a:pt x="553" y="300"/>
                </a:lnTo>
                <a:lnTo>
                  <a:pt x="553" y="297"/>
                </a:lnTo>
                <a:lnTo>
                  <a:pt x="553" y="297"/>
                </a:lnTo>
                <a:lnTo>
                  <a:pt x="556" y="295"/>
                </a:lnTo>
                <a:lnTo>
                  <a:pt x="556" y="295"/>
                </a:lnTo>
                <a:lnTo>
                  <a:pt x="556" y="292"/>
                </a:lnTo>
                <a:lnTo>
                  <a:pt x="556" y="292"/>
                </a:lnTo>
                <a:lnTo>
                  <a:pt x="553" y="292"/>
                </a:lnTo>
                <a:lnTo>
                  <a:pt x="553" y="292"/>
                </a:lnTo>
                <a:lnTo>
                  <a:pt x="553" y="290"/>
                </a:lnTo>
                <a:lnTo>
                  <a:pt x="553" y="290"/>
                </a:lnTo>
                <a:lnTo>
                  <a:pt x="553" y="287"/>
                </a:lnTo>
                <a:lnTo>
                  <a:pt x="553" y="287"/>
                </a:lnTo>
                <a:lnTo>
                  <a:pt x="551" y="287"/>
                </a:lnTo>
                <a:lnTo>
                  <a:pt x="551" y="287"/>
                </a:lnTo>
                <a:lnTo>
                  <a:pt x="548" y="287"/>
                </a:lnTo>
                <a:lnTo>
                  <a:pt x="548" y="287"/>
                </a:lnTo>
                <a:lnTo>
                  <a:pt x="548" y="290"/>
                </a:lnTo>
                <a:lnTo>
                  <a:pt x="548" y="290"/>
                </a:lnTo>
                <a:lnTo>
                  <a:pt x="551" y="292"/>
                </a:lnTo>
                <a:lnTo>
                  <a:pt x="551" y="292"/>
                </a:lnTo>
                <a:lnTo>
                  <a:pt x="551" y="295"/>
                </a:lnTo>
                <a:lnTo>
                  <a:pt x="551" y="295"/>
                </a:lnTo>
                <a:close/>
                <a:moveTo>
                  <a:pt x="546" y="275"/>
                </a:moveTo>
                <a:lnTo>
                  <a:pt x="546" y="275"/>
                </a:lnTo>
                <a:lnTo>
                  <a:pt x="541" y="275"/>
                </a:lnTo>
                <a:lnTo>
                  <a:pt x="541" y="275"/>
                </a:lnTo>
                <a:lnTo>
                  <a:pt x="541" y="273"/>
                </a:lnTo>
                <a:lnTo>
                  <a:pt x="541" y="273"/>
                </a:lnTo>
                <a:lnTo>
                  <a:pt x="538" y="273"/>
                </a:lnTo>
                <a:lnTo>
                  <a:pt x="538" y="273"/>
                </a:lnTo>
                <a:lnTo>
                  <a:pt x="536" y="273"/>
                </a:lnTo>
                <a:lnTo>
                  <a:pt x="536" y="273"/>
                </a:lnTo>
                <a:lnTo>
                  <a:pt x="536" y="275"/>
                </a:lnTo>
                <a:lnTo>
                  <a:pt x="536" y="275"/>
                </a:lnTo>
                <a:lnTo>
                  <a:pt x="541" y="277"/>
                </a:lnTo>
                <a:lnTo>
                  <a:pt x="541" y="277"/>
                </a:lnTo>
                <a:lnTo>
                  <a:pt x="543" y="277"/>
                </a:lnTo>
                <a:lnTo>
                  <a:pt x="543" y="277"/>
                </a:lnTo>
                <a:lnTo>
                  <a:pt x="546" y="275"/>
                </a:lnTo>
                <a:lnTo>
                  <a:pt x="546" y="275"/>
                </a:lnTo>
                <a:close/>
                <a:moveTo>
                  <a:pt x="546" y="273"/>
                </a:moveTo>
                <a:lnTo>
                  <a:pt x="546" y="273"/>
                </a:lnTo>
                <a:lnTo>
                  <a:pt x="546" y="273"/>
                </a:lnTo>
                <a:lnTo>
                  <a:pt x="551" y="273"/>
                </a:lnTo>
                <a:lnTo>
                  <a:pt x="551" y="273"/>
                </a:lnTo>
                <a:lnTo>
                  <a:pt x="553" y="273"/>
                </a:lnTo>
                <a:lnTo>
                  <a:pt x="553" y="273"/>
                </a:lnTo>
                <a:lnTo>
                  <a:pt x="556" y="273"/>
                </a:lnTo>
                <a:lnTo>
                  <a:pt x="556" y="273"/>
                </a:lnTo>
                <a:lnTo>
                  <a:pt x="556" y="270"/>
                </a:lnTo>
                <a:lnTo>
                  <a:pt x="556" y="270"/>
                </a:lnTo>
                <a:lnTo>
                  <a:pt x="551" y="270"/>
                </a:lnTo>
                <a:lnTo>
                  <a:pt x="551" y="270"/>
                </a:lnTo>
                <a:lnTo>
                  <a:pt x="548" y="268"/>
                </a:lnTo>
                <a:lnTo>
                  <a:pt x="548" y="268"/>
                </a:lnTo>
                <a:lnTo>
                  <a:pt x="546" y="270"/>
                </a:lnTo>
                <a:lnTo>
                  <a:pt x="546" y="270"/>
                </a:lnTo>
                <a:lnTo>
                  <a:pt x="546" y="273"/>
                </a:lnTo>
                <a:lnTo>
                  <a:pt x="546" y="273"/>
                </a:lnTo>
                <a:close/>
                <a:moveTo>
                  <a:pt x="580" y="346"/>
                </a:moveTo>
                <a:lnTo>
                  <a:pt x="580" y="346"/>
                </a:lnTo>
                <a:lnTo>
                  <a:pt x="583" y="344"/>
                </a:lnTo>
                <a:lnTo>
                  <a:pt x="583" y="344"/>
                </a:lnTo>
                <a:lnTo>
                  <a:pt x="580" y="341"/>
                </a:lnTo>
                <a:lnTo>
                  <a:pt x="580" y="341"/>
                </a:lnTo>
                <a:lnTo>
                  <a:pt x="578" y="341"/>
                </a:lnTo>
                <a:lnTo>
                  <a:pt x="578" y="341"/>
                </a:lnTo>
                <a:lnTo>
                  <a:pt x="578" y="344"/>
                </a:lnTo>
                <a:lnTo>
                  <a:pt x="578" y="344"/>
                </a:lnTo>
                <a:lnTo>
                  <a:pt x="578" y="346"/>
                </a:lnTo>
                <a:lnTo>
                  <a:pt x="578" y="346"/>
                </a:lnTo>
                <a:lnTo>
                  <a:pt x="580" y="346"/>
                </a:lnTo>
                <a:lnTo>
                  <a:pt x="580" y="346"/>
                </a:lnTo>
                <a:close/>
                <a:moveTo>
                  <a:pt x="590" y="344"/>
                </a:moveTo>
                <a:lnTo>
                  <a:pt x="590" y="344"/>
                </a:lnTo>
                <a:lnTo>
                  <a:pt x="593" y="341"/>
                </a:lnTo>
                <a:lnTo>
                  <a:pt x="593" y="341"/>
                </a:lnTo>
                <a:lnTo>
                  <a:pt x="593" y="341"/>
                </a:lnTo>
                <a:lnTo>
                  <a:pt x="588" y="339"/>
                </a:lnTo>
                <a:lnTo>
                  <a:pt x="588" y="339"/>
                </a:lnTo>
                <a:lnTo>
                  <a:pt x="588" y="341"/>
                </a:lnTo>
                <a:lnTo>
                  <a:pt x="588" y="341"/>
                </a:lnTo>
                <a:lnTo>
                  <a:pt x="585" y="341"/>
                </a:lnTo>
                <a:lnTo>
                  <a:pt x="585" y="341"/>
                </a:lnTo>
                <a:lnTo>
                  <a:pt x="585" y="344"/>
                </a:lnTo>
                <a:lnTo>
                  <a:pt x="585" y="344"/>
                </a:lnTo>
                <a:lnTo>
                  <a:pt x="590" y="344"/>
                </a:lnTo>
                <a:lnTo>
                  <a:pt x="590" y="344"/>
                </a:lnTo>
                <a:close/>
                <a:moveTo>
                  <a:pt x="602" y="346"/>
                </a:moveTo>
                <a:lnTo>
                  <a:pt x="602" y="346"/>
                </a:lnTo>
                <a:lnTo>
                  <a:pt x="605" y="346"/>
                </a:lnTo>
                <a:lnTo>
                  <a:pt x="605" y="346"/>
                </a:lnTo>
                <a:lnTo>
                  <a:pt x="602" y="344"/>
                </a:lnTo>
                <a:lnTo>
                  <a:pt x="602" y="344"/>
                </a:lnTo>
                <a:lnTo>
                  <a:pt x="597" y="346"/>
                </a:lnTo>
                <a:lnTo>
                  <a:pt x="597" y="346"/>
                </a:lnTo>
                <a:lnTo>
                  <a:pt x="600" y="346"/>
                </a:lnTo>
                <a:lnTo>
                  <a:pt x="600" y="346"/>
                </a:lnTo>
                <a:lnTo>
                  <a:pt x="602" y="346"/>
                </a:lnTo>
                <a:lnTo>
                  <a:pt x="602" y="346"/>
                </a:lnTo>
                <a:close/>
                <a:moveTo>
                  <a:pt x="624" y="339"/>
                </a:moveTo>
                <a:lnTo>
                  <a:pt x="624" y="339"/>
                </a:lnTo>
                <a:lnTo>
                  <a:pt x="627" y="344"/>
                </a:lnTo>
                <a:lnTo>
                  <a:pt x="627" y="344"/>
                </a:lnTo>
                <a:lnTo>
                  <a:pt x="627" y="344"/>
                </a:lnTo>
                <a:lnTo>
                  <a:pt x="629" y="341"/>
                </a:lnTo>
                <a:lnTo>
                  <a:pt x="629" y="341"/>
                </a:lnTo>
                <a:lnTo>
                  <a:pt x="627" y="341"/>
                </a:lnTo>
                <a:lnTo>
                  <a:pt x="627" y="341"/>
                </a:lnTo>
                <a:lnTo>
                  <a:pt x="624" y="339"/>
                </a:lnTo>
                <a:lnTo>
                  <a:pt x="624" y="339"/>
                </a:lnTo>
                <a:close/>
                <a:moveTo>
                  <a:pt x="612" y="337"/>
                </a:moveTo>
                <a:lnTo>
                  <a:pt x="612" y="337"/>
                </a:lnTo>
                <a:lnTo>
                  <a:pt x="615" y="337"/>
                </a:lnTo>
                <a:lnTo>
                  <a:pt x="615" y="337"/>
                </a:lnTo>
                <a:lnTo>
                  <a:pt x="617" y="334"/>
                </a:lnTo>
                <a:lnTo>
                  <a:pt x="617" y="334"/>
                </a:lnTo>
                <a:lnTo>
                  <a:pt x="615" y="334"/>
                </a:lnTo>
                <a:lnTo>
                  <a:pt x="615" y="334"/>
                </a:lnTo>
                <a:lnTo>
                  <a:pt x="612" y="334"/>
                </a:lnTo>
                <a:lnTo>
                  <a:pt x="612" y="334"/>
                </a:lnTo>
                <a:lnTo>
                  <a:pt x="612" y="337"/>
                </a:lnTo>
                <a:lnTo>
                  <a:pt x="612" y="337"/>
                </a:lnTo>
                <a:lnTo>
                  <a:pt x="612" y="337"/>
                </a:lnTo>
                <a:close/>
                <a:moveTo>
                  <a:pt x="602" y="324"/>
                </a:moveTo>
                <a:lnTo>
                  <a:pt x="602" y="324"/>
                </a:lnTo>
                <a:lnTo>
                  <a:pt x="602" y="322"/>
                </a:lnTo>
                <a:lnTo>
                  <a:pt x="602" y="322"/>
                </a:lnTo>
                <a:lnTo>
                  <a:pt x="600" y="322"/>
                </a:lnTo>
                <a:lnTo>
                  <a:pt x="600" y="322"/>
                </a:lnTo>
                <a:lnTo>
                  <a:pt x="597" y="324"/>
                </a:lnTo>
                <a:lnTo>
                  <a:pt x="597" y="324"/>
                </a:lnTo>
                <a:lnTo>
                  <a:pt x="597" y="327"/>
                </a:lnTo>
                <a:lnTo>
                  <a:pt x="597" y="327"/>
                </a:lnTo>
                <a:lnTo>
                  <a:pt x="600" y="329"/>
                </a:lnTo>
                <a:lnTo>
                  <a:pt x="600" y="329"/>
                </a:lnTo>
                <a:lnTo>
                  <a:pt x="600" y="327"/>
                </a:lnTo>
                <a:lnTo>
                  <a:pt x="600" y="327"/>
                </a:lnTo>
                <a:lnTo>
                  <a:pt x="600" y="327"/>
                </a:lnTo>
                <a:lnTo>
                  <a:pt x="600" y="324"/>
                </a:lnTo>
                <a:lnTo>
                  <a:pt x="600" y="324"/>
                </a:lnTo>
                <a:lnTo>
                  <a:pt x="602" y="324"/>
                </a:lnTo>
                <a:lnTo>
                  <a:pt x="602" y="324"/>
                </a:lnTo>
                <a:close/>
                <a:moveTo>
                  <a:pt x="610" y="322"/>
                </a:moveTo>
                <a:lnTo>
                  <a:pt x="610" y="322"/>
                </a:lnTo>
                <a:lnTo>
                  <a:pt x="610" y="319"/>
                </a:lnTo>
                <a:lnTo>
                  <a:pt x="610" y="319"/>
                </a:lnTo>
                <a:lnTo>
                  <a:pt x="607" y="319"/>
                </a:lnTo>
                <a:lnTo>
                  <a:pt x="607" y="319"/>
                </a:lnTo>
                <a:lnTo>
                  <a:pt x="605" y="322"/>
                </a:lnTo>
                <a:lnTo>
                  <a:pt x="605" y="322"/>
                </a:lnTo>
                <a:lnTo>
                  <a:pt x="607" y="324"/>
                </a:lnTo>
                <a:lnTo>
                  <a:pt x="607" y="324"/>
                </a:lnTo>
                <a:lnTo>
                  <a:pt x="610" y="324"/>
                </a:lnTo>
                <a:lnTo>
                  <a:pt x="610" y="324"/>
                </a:lnTo>
                <a:lnTo>
                  <a:pt x="610" y="322"/>
                </a:lnTo>
                <a:lnTo>
                  <a:pt x="610" y="322"/>
                </a:lnTo>
                <a:lnTo>
                  <a:pt x="610" y="322"/>
                </a:lnTo>
                <a:close/>
                <a:moveTo>
                  <a:pt x="612" y="324"/>
                </a:moveTo>
                <a:lnTo>
                  <a:pt x="612" y="324"/>
                </a:lnTo>
                <a:lnTo>
                  <a:pt x="612" y="324"/>
                </a:lnTo>
                <a:lnTo>
                  <a:pt x="615" y="324"/>
                </a:lnTo>
                <a:lnTo>
                  <a:pt x="615" y="324"/>
                </a:lnTo>
                <a:lnTo>
                  <a:pt x="617" y="322"/>
                </a:lnTo>
                <a:lnTo>
                  <a:pt x="617" y="322"/>
                </a:lnTo>
                <a:lnTo>
                  <a:pt x="617" y="319"/>
                </a:lnTo>
                <a:lnTo>
                  <a:pt x="617" y="319"/>
                </a:lnTo>
                <a:lnTo>
                  <a:pt x="615" y="317"/>
                </a:lnTo>
                <a:lnTo>
                  <a:pt x="615" y="317"/>
                </a:lnTo>
                <a:lnTo>
                  <a:pt x="612" y="317"/>
                </a:lnTo>
                <a:lnTo>
                  <a:pt x="612" y="317"/>
                </a:lnTo>
                <a:lnTo>
                  <a:pt x="612" y="319"/>
                </a:lnTo>
                <a:lnTo>
                  <a:pt x="612" y="319"/>
                </a:lnTo>
                <a:lnTo>
                  <a:pt x="612" y="322"/>
                </a:lnTo>
                <a:lnTo>
                  <a:pt x="612" y="322"/>
                </a:lnTo>
                <a:lnTo>
                  <a:pt x="612" y="324"/>
                </a:lnTo>
                <a:lnTo>
                  <a:pt x="612" y="324"/>
                </a:lnTo>
                <a:close/>
                <a:moveTo>
                  <a:pt x="602" y="314"/>
                </a:moveTo>
                <a:lnTo>
                  <a:pt x="602" y="314"/>
                </a:lnTo>
                <a:lnTo>
                  <a:pt x="605" y="312"/>
                </a:lnTo>
                <a:lnTo>
                  <a:pt x="605" y="312"/>
                </a:lnTo>
                <a:lnTo>
                  <a:pt x="605" y="309"/>
                </a:lnTo>
                <a:lnTo>
                  <a:pt x="605" y="309"/>
                </a:lnTo>
                <a:lnTo>
                  <a:pt x="602" y="309"/>
                </a:lnTo>
                <a:lnTo>
                  <a:pt x="602" y="309"/>
                </a:lnTo>
                <a:lnTo>
                  <a:pt x="600" y="309"/>
                </a:lnTo>
                <a:lnTo>
                  <a:pt x="600" y="309"/>
                </a:lnTo>
                <a:lnTo>
                  <a:pt x="597" y="312"/>
                </a:lnTo>
                <a:lnTo>
                  <a:pt x="597" y="312"/>
                </a:lnTo>
                <a:lnTo>
                  <a:pt x="597" y="312"/>
                </a:lnTo>
                <a:lnTo>
                  <a:pt x="602" y="312"/>
                </a:lnTo>
                <a:lnTo>
                  <a:pt x="602" y="312"/>
                </a:lnTo>
                <a:lnTo>
                  <a:pt x="602" y="314"/>
                </a:lnTo>
                <a:lnTo>
                  <a:pt x="602" y="314"/>
                </a:lnTo>
                <a:close/>
                <a:moveTo>
                  <a:pt x="617" y="307"/>
                </a:moveTo>
                <a:lnTo>
                  <a:pt x="617" y="307"/>
                </a:lnTo>
                <a:lnTo>
                  <a:pt x="620" y="307"/>
                </a:lnTo>
                <a:lnTo>
                  <a:pt x="620" y="307"/>
                </a:lnTo>
                <a:lnTo>
                  <a:pt x="617" y="305"/>
                </a:lnTo>
                <a:lnTo>
                  <a:pt x="617" y="305"/>
                </a:lnTo>
                <a:lnTo>
                  <a:pt x="617" y="305"/>
                </a:lnTo>
                <a:lnTo>
                  <a:pt x="620" y="302"/>
                </a:lnTo>
                <a:lnTo>
                  <a:pt x="620" y="302"/>
                </a:lnTo>
                <a:lnTo>
                  <a:pt x="620" y="302"/>
                </a:lnTo>
                <a:lnTo>
                  <a:pt x="617" y="300"/>
                </a:lnTo>
                <a:lnTo>
                  <a:pt x="617" y="300"/>
                </a:lnTo>
                <a:lnTo>
                  <a:pt x="615" y="300"/>
                </a:lnTo>
                <a:lnTo>
                  <a:pt x="615" y="300"/>
                </a:lnTo>
                <a:lnTo>
                  <a:pt x="612" y="300"/>
                </a:lnTo>
                <a:lnTo>
                  <a:pt x="612" y="300"/>
                </a:lnTo>
                <a:lnTo>
                  <a:pt x="612" y="302"/>
                </a:lnTo>
                <a:lnTo>
                  <a:pt x="612" y="302"/>
                </a:lnTo>
                <a:lnTo>
                  <a:pt x="612" y="302"/>
                </a:lnTo>
                <a:lnTo>
                  <a:pt x="610" y="300"/>
                </a:lnTo>
                <a:lnTo>
                  <a:pt x="610" y="300"/>
                </a:lnTo>
                <a:lnTo>
                  <a:pt x="610" y="302"/>
                </a:lnTo>
                <a:lnTo>
                  <a:pt x="610" y="302"/>
                </a:lnTo>
                <a:lnTo>
                  <a:pt x="610" y="305"/>
                </a:lnTo>
                <a:lnTo>
                  <a:pt x="610" y="305"/>
                </a:lnTo>
                <a:lnTo>
                  <a:pt x="612" y="305"/>
                </a:lnTo>
                <a:lnTo>
                  <a:pt x="612" y="305"/>
                </a:lnTo>
                <a:lnTo>
                  <a:pt x="615" y="305"/>
                </a:lnTo>
                <a:lnTo>
                  <a:pt x="615" y="305"/>
                </a:lnTo>
                <a:lnTo>
                  <a:pt x="617" y="307"/>
                </a:lnTo>
                <a:lnTo>
                  <a:pt x="617" y="307"/>
                </a:lnTo>
                <a:close/>
                <a:moveTo>
                  <a:pt x="605" y="174"/>
                </a:moveTo>
                <a:lnTo>
                  <a:pt x="605" y="174"/>
                </a:lnTo>
                <a:lnTo>
                  <a:pt x="607" y="174"/>
                </a:lnTo>
                <a:lnTo>
                  <a:pt x="607" y="174"/>
                </a:lnTo>
                <a:lnTo>
                  <a:pt x="607" y="172"/>
                </a:lnTo>
                <a:lnTo>
                  <a:pt x="607" y="172"/>
                </a:lnTo>
                <a:lnTo>
                  <a:pt x="605" y="172"/>
                </a:lnTo>
                <a:lnTo>
                  <a:pt x="605" y="172"/>
                </a:lnTo>
                <a:lnTo>
                  <a:pt x="605" y="172"/>
                </a:lnTo>
                <a:lnTo>
                  <a:pt x="605" y="174"/>
                </a:lnTo>
                <a:lnTo>
                  <a:pt x="605" y="174"/>
                </a:lnTo>
                <a:close/>
                <a:moveTo>
                  <a:pt x="588" y="201"/>
                </a:moveTo>
                <a:lnTo>
                  <a:pt x="588" y="201"/>
                </a:lnTo>
                <a:lnTo>
                  <a:pt x="590" y="204"/>
                </a:lnTo>
                <a:lnTo>
                  <a:pt x="590" y="204"/>
                </a:lnTo>
                <a:lnTo>
                  <a:pt x="590" y="204"/>
                </a:lnTo>
                <a:lnTo>
                  <a:pt x="593" y="201"/>
                </a:lnTo>
                <a:lnTo>
                  <a:pt x="593" y="201"/>
                </a:lnTo>
                <a:lnTo>
                  <a:pt x="595" y="199"/>
                </a:lnTo>
                <a:lnTo>
                  <a:pt x="595" y="199"/>
                </a:lnTo>
                <a:lnTo>
                  <a:pt x="595" y="196"/>
                </a:lnTo>
                <a:lnTo>
                  <a:pt x="595" y="196"/>
                </a:lnTo>
                <a:lnTo>
                  <a:pt x="593" y="194"/>
                </a:lnTo>
                <a:lnTo>
                  <a:pt x="593" y="194"/>
                </a:lnTo>
                <a:lnTo>
                  <a:pt x="590" y="194"/>
                </a:lnTo>
                <a:lnTo>
                  <a:pt x="590" y="194"/>
                </a:lnTo>
                <a:lnTo>
                  <a:pt x="588" y="196"/>
                </a:lnTo>
                <a:lnTo>
                  <a:pt x="588" y="196"/>
                </a:lnTo>
                <a:lnTo>
                  <a:pt x="590" y="199"/>
                </a:lnTo>
                <a:lnTo>
                  <a:pt x="590" y="199"/>
                </a:lnTo>
                <a:lnTo>
                  <a:pt x="588" y="201"/>
                </a:lnTo>
                <a:lnTo>
                  <a:pt x="588" y="201"/>
                </a:lnTo>
                <a:close/>
                <a:moveTo>
                  <a:pt x="656" y="196"/>
                </a:moveTo>
                <a:lnTo>
                  <a:pt x="656" y="196"/>
                </a:lnTo>
                <a:lnTo>
                  <a:pt x="659" y="196"/>
                </a:lnTo>
                <a:lnTo>
                  <a:pt x="659" y="196"/>
                </a:lnTo>
                <a:lnTo>
                  <a:pt x="661" y="194"/>
                </a:lnTo>
                <a:lnTo>
                  <a:pt x="661" y="194"/>
                </a:lnTo>
                <a:lnTo>
                  <a:pt x="664" y="191"/>
                </a:lnTo>
                <a:lnTo>
                  <a:pt x="664" y="191"/>
                </a:lnTo>
                <a:lnTo>
                  <a:pt x="664" y="191"/>
                </a:lnTo>
                <a:lnTo>
                  <a:pt x="666" y="194"/>
                </a:lnTo>
                <a:lnTo>
                  <a:pt x="666" y="194"/>
                </a:lnTo>
                <a:lnTo>
                  <a:pt x="664" y="194"/>
                </a:lnTo>
                <a:lnTo>
                  <a:pt x="664" y="194"/>
                </a:lnTo>
                <a:lnTo>
                  <a:pt x="666" y="194"/>
                </a:lnTo>
                <a:lnTo>
                  <a:pt x="666" y="194"/>
                </a:lnTo>
                <a:lnTo>
                  <a:pt x="671" y="189"/>
                </a:lnTo>
                <a:lnTo>
                  <a:pt x="671" y="189"/>
                </a:lnTo>
                <a:lnTo>
                  <a:pt x="671" y="186"/>
                </a:lnTo>
                <a:lnTo>
                  <a:pt x="671" y="186"/>
                </a:lnTo>
                <a:lnTo>
                  <a:pt x="671" y="186"/>
                </a:lnTo>
                <a:lnTo>
                  <a:pt x="671" y="182"/>
                </a:lnTo>
                <a:lnTo>
                  <a:pt x="671" y="182"/>
                </a:lnTo>
                <a:lnTo>
                  <a:pt x="671" y="182"/>
                </a:lnTo>
                <a:lnTo>
                  <a:pt x="669" y="182"/>
                </a:lnTo>
                <a:lnTo>
                  <a:pt x="669" y="182"/>
                </a:lnTo>
                <a:lnTo>
                  <a:pt x="669" y="184"/>
                </a:lnTo>
                <a:lnTo>
                  <a:pt x="669" y="184"/>
                </a:lnTo>
                <a:lnTo>
                  <a:pt x="666" y="186"/>
                </a:lnTo>
                <a:lnTo>
                  <a:pt x="666" y="186"/>
                </a:lnTo>
                <a:lnTo>
                  <a:pt x="661" y="189"/>
                </a:lnTo>
                <a:lnTo>
                  <a:pt x="661" y="189"/>
                </a:lnTo>
                <a:lnTo>
                  <a:pt x="659" y="191"/>
                </a:lnTo>
                <a:lnTo>
                  <a:pt x="659" y="191"/>
                </a:lnTo>
                <a:lnTo>
                  <a:pt x="656" y="196"/>
                </a:lnTo>
                <a:lnTo>
                  <a:pt x="656" y="196"/>
                </a:lnTo>
                <a:close/>
                <a:moveTo>
                  <a:pt x="688" y="199"/>
                </a:moveTo>
                <a:lnTo>
                  <a:pt x="688" y="199"/>
                </a:lnTo>
                <a:lnTo>
                  <a:pt x="691" y="196"/>
                </a:lnTo>
                <a:lnTo>
                  <a:pt x="691" y="196"/>
                </a:lnTo>
                <a:lnTo>
                  <a:pt x="693" y="194"/>
                </a:lnTo>
                <a:lnTo>
                  <a:pt x="693" y="194"/>
                </a:lnTo>
                <a:lnTo>
                  <a:pt x="691" y="194"/>
                </a:lnTo>
                <a:lnTo>
                  <a:pt x="691" y="194"/>
                </a:lnTo>
                <a:lnTo>
                  <a:pt x="688" y="196"/>
                </a:lnTo>
                <a:lnTo>
                  <a:pt x="688" y="196"/>
                </a:lnTo>
                <a:lnTo>
                  <a:pt x="686" y="196"/>
                </a:lnTo>
                <a:lnTo>
                  <a:pt x="686" y="196"/>
                </a:lnTo>
                <a:lnTo>
                  <a:pt x="688" y="199"/>
                </a:lnTo>
                <a:lnTo>
                  <a:pt x="688" y="199"/>
                </a:lnTo>
                <a:close/>
                <a:moveTo>
                  <a:pt x="693" y="204"/>
                </a:moveTo>
                <a:lnTo>
                  <a:pt x="693" y="204"/>
                </a:lnTo>
                <a:lnTo>
                  <a:pt x="693" y="204"/>
                </a:lnTo>
                <a:lnTo>
                  <a:pt x="696" y="204"/>
                </a:lnTo>
                <a:lnTo>
                  <a:pt x="696" y="204"/>
                </a:lnTo>
                <a:lnTo>
                  <a:pt x="696" y="201"/>
                </a:lnTo>
                <a:lnTo>
                  <a:pt x="696" y="201"/>
                </a:lnTo>
                <a:lnTo>
                  <a:pt x="693" y="201"/>
                </a:lnTo>
                <a:lnTo>
                  <a:pt x="693" y="201"/>
                </a:lnTo>
                <a:lnTo>
                  <a:pt x="691" y="199"/>
                </a:lnTo>
                <a:lnTo>
                  <a:pt x="691" y="199"/>
                </a:lnTo>
                <a:lnTo>
                  <a:pt x="691" y="199"/>
                </a:lnTo>
                <a:lnTo>
                  <a:pt x="691" y="201"/>
                </a:lnTo>
                <a:lnTo>
                  <a:pt x="691" y="201"/>
                </a:lnTo>
                <a:lnTo>
                  <a:pt x="691" y="201"/>
                </a:lnTo>
                <a:lnTo>
                  <a:pt x="693" y="204"/>
                </a:lnTo>
                <a:lnTo>
                  <a:pt x="693" y="204"/>
                </a:lnTo>
                <a:close/>
                <a:moveTo>
                  <a:pt x="666" y="211"/>
                </a:moveTo>
                <a:lnTo>
                  <a:pt x="666" y="211"/>
                </a:lnTo>
                <a:lnTo>
                  <a:pt x="669" y="211"/>
                </a:lnTo>
                <a:lnTo>
                  <a:pt x="669" y="211"/>
                </a:lnTo>
                <a:lnTo>
                  <a:pt x="669" y="209"/>
                </a:lnTo>
                <a:lnTo>
                  <a:pt x="669" y="209"/>
                </a:lnTo>
                <a:lnTo>
                  <a:pt x="666" y="209"/>
                </a:lnTo>
                <a:lnTo>
                  <a:pt x="666" y="209"/>
                </a:lnTo>
                <a:lnTo>
                  <a:pt x="666" y="209"/>
                </a:lnTo>
                <a:lnTo>
                  <a:pt x="661" y="211"/>
                </a:lnTo>
                <a:lnTo>
                  <a:pt x="661" y="211"/>
                </a:lnTo>
                <a:lnTo>
                  <a:pt x="664" y="211"/>
                </a:lnTo>
                <a:lnTo>
                  <a:pt x="664" y="211"/>
                </a:lnTo>
                <a:lnTo>
                  <a:pt x="666" y="211"/>
                </a:lnTo>
                <a:lnTo>
                  <a:pt x="666" y="211"/>
                </a:lnTo>
                <a:close/>
                <a:moveTo>
                  <a:pt x="681" y="214"/>
                </a:moveTo>
                <a:lnTo>
                  <a:pt x="681" y="214"/>
                </a:lnTo>
                <a:lnTo>
                  <a:pt x="681" y="211"/>
                </a:lnTo>
                <a:lnTo>
                  <a:pt x="681" y="211"/>
                </a:lnTo>
                <a:lnTo>
                  <a:pt x="684" y="209"/>
                </a:lnTo>
                <a:lnTo>
                  <a:pt x="684" y="209"/>
                </a:lnTo>
                <a:lnTo>
                  <a:pt x="681" y="209"/>
                </a:lnTo>
                <a:lnTo>
                  <a:pt x="681" y="209"/>
                </a:lnTo>
                <a:lnTo>
                  <a:pt x="681" y="204"/>
                </a:lnTo>
                <a:lnTo>
                  <a:pt x="681" y="204"/>
                </a:lnTo>
                <a:lnTo>
                  <a:pt x="679" y="204"/>
                </a:lnTo>
                <a:lnTo>
                  <a:pt x="679" y="204"/>
                </a:lnTo>
                <a:lnTo>
                  <a:pt x="679" y="206"/>
                </a:lnTo>
                <a:lnTo>
                  <a:pt x="679" y="206"/>
                </a:lnTo>
                <a:lnTo>
                  <a:pt x="679" y="209"/>
                </a:lnTo>
                <a:lnTo>
                  <a:pt x="679" y="209"/>
                </a:lnTo>
                <a:lnTo>
                  <a:pt x="674" y="209"/>
                </a:lnTo>
                <a:lnTo>
                  <a:pt x="674" y="209"/>
                </a:lnTo>
                <a:lnTo>
                  <a:pt x="676" y="211"/>
                </a:lnTo>
                <a:lnTo>
                  <a:pt x="676" y="211"/>
                </a:lnTo>
                <a:lnTo>
                  <a:pt x="676" y="211"/>
                </a:lnTo>
                <a:lnTo>
                  <a:pt x="679" y="209"/>
                </a:lnTo>
                <a:lnTo>
                  <a:pt x="679" y="209"/>
                </a:lnTo>
                <a:lnTo>
                  <a:pt x="681" y="209"/>
                </a:lnTo>
                <a:lnTo>
                  <a:pt x="681" y="209"/>
                </a:lnTo>
                <a:lnTo>
                  <a:pt x="681" y="214"/>
                </a:lnTo>
                <a:lnTo>
                  <a:pt x="681" y="214"/>
                </a:lnTo>
                <a:close/>
                <a:moveTo>
                  <a:pt x="681" y="228"/>
                </a:moveTo>
                <a:lnTo>
                  <a:pt x="681" y="228"/>
                </a:lnTo>
                <a:lnTo>
                  <a:pt x="684" y="228"/>
                </a:lnTo>
                <a:lnTo>
                  <a:pt x="684" y="228"/>
                </a:lnTo>
                <a:lnTo>
                  <a:pt x="686" y="228"/>
                </a:lnTo>
                <a:lnTo>
                  <a:pt x="686" y="228"/>
                </a:lnTo>
                <a:lnTo>
                  <a:pt x="688" y="228"/>
                </a:lnTo>
                <a:lnTo>
                  <a:pt x="688" y="228"/>
                </a:lnTo>
                <a:lnTo>
                  <a:pt x="691" y="228"/>
                </a:lnTo>
                <a:lnTo>
                  <a:pt x="691" y="228"/>
                </a:lnTo>
                <a:lnTo>
                  <a:pt x="693" y="228"/>
                </a:lnTo>
                <a:lnTo>
                  <a:pt x="693" y="228"/>
                </a:lnTo>
                <a:lnTo>
                  <a:pt x="696" y="228"/>
                </a:lnTo>
                <a:lnTo>
                  <a:pt x="696" y="228"/>
                </a:lnTo>
                <a:lnTo>
                  <a:pt x="698" y="226"/>
                </a:lnTo>
                <a:lnTo>
                  <a:pt x="698" y="226"/>
                </a:lnTo>
                <a:lnTo>
                  <a:pt x="698" y="226"/>
                </a:lnTo>
                <a:lnTo>
                  <a:pt x="696" y="223"/>
                </a:lnTo>
                <a:lnTo>
                  <a:pt x="696" y="223"/>
                </a:lnTo>
                <a:lnTo>
                  <a:pt x="698" y="223"/>
                </a:lnTo>
                <a:lnTo>
                  <a:pt x="698" y="223"/>
                </a:lnTo>
                <a:lnTo>
                  <a:pt x="696" y="221"/>
                </a:lnTo>
                <a:lnTo>
                  <a:pt x="696" y="221"/>
                </a:lnTo>
                <a:lnTo>
                  <a:pt x="693" y="221"/>
                </a:lnTo>
                <a:lnTo>
                  <a:pt x="693" y="221"/>
                </a:lnTo>
                <a:lnTo>
                  <a:pt x="693" y="221"/>
                </a:lnTo>
                <a:lnTo>
                  <a:pt x="693" y="223"/>
                </a:lnTo>
                <a:lnTo>
                  <a:pt x="693" y="223"/>
                </a:lnTo>
                <a:lnTo>
                  <a:pt x="691" y="223"/>
                </a:lnTo>
                <a:lnTo>
                  <a:pt x="691" y="223"/>
                </a:lnTo>
                <a:lnTo>
                  <a:pt x="691" y="223"/>
                </a:lnTo>
                <a:lnTo>
                  <a:pt x="688" y="223"/>
                </a:lnTo>
                <a:lnTo>
                  <a:pt x="688" y="223"/>
                </a:lnTo>
                <a:lnTo>
                  <a:pt x="688" y="223"/>
                </a:lnTo>
                <a:lnTo>
                  <a:pt x="686" y="223"/>
                </a:lnTo>
                <a:lnTo>
                  <a:pt x="686" y="223"/>
                </a:lnTo>
                <a:lnTo>
                  <a:pt x="686" y="226"/>
                </a:lnTo>
                <a:lnTo>
                  <a:pt x="686" y="226"/>
                </a:lnTo>
                <a:lnTo>
                  <a:pt x="684" y="223"/>
                </a:lnTo>
                <a:lnTo>
                  <a:pt x="684" y="223"/>
                </a:lnTo>
                <a:lnTo>
                  <a:pt x="681" y="226"/>
                </a:lnTo>
                <a:lnTo>
                  <a:pt x="681" y="226"/>
                </a:lnTo>
                <a:lnTo>
                  <a:pt x="681" y="228"/>
                </a:lnTo>
                <a:lnTo>
                  <a:pt x="681" y="228"/>
                </a:lnTo>
                <a:close/>
                <a:moveTo>
                  <a:pt x="406" y="137"/>
                </a:moveTo>
                <a:lnTo>
                  <a:pt x="406" y="137"/>
                </a:lnTo>
                <a:lnTo>
                  <a:pt x="408" y="137"/>
                </a:lnTo>
                <a:lnTo>
                  <a:pt x="408" y="137"/>
                </a:lnTo>
                <a:lnTo>
                  <a:pt x="410" y="140"/>
                </a:lnTo>
                <a:lnTo>
                  <a:pt x="410" y="140"/>
                </a:lnTo>
                <a:lnTo>
                  <a:pt x="413" y="140"/>
                </a:lnTo>
                <a:lnTo>
                  <a:pt x="413" y="140"/>
                </a:lnTo>
                <a:lnTo>
                  <a:pt x="415" y="137"/>
                </a:lnTo>
                <a:lnTo>
                  <a:pt x="415" y="137"/>
                </a:lnTo>
                <a:lnTo>
                  <a:pt x="415" y="135"/>
                </a:lnTo>
                <a:lnTo>
                  <a:pt x="415" y="135"/>
                </a:lnTo>
                <a:lnTo>
                  <a:pt x="415" y="135"/>
                </a:lnTo>
                <a:lnTo>
                  <a:pt x="410" y="135"/>
                </a:lnTo>
                <a:lnTo>
                  <a:pt x="410" y="135"/>
                </a:lnTo>
                <a:lnTo>
                  <a:pt x="408" y="135"/>
                </a:lnTo>
                <a:lnTo>
                  <a:pt x="408" y="135"/>
                </a:lnTo>
                <a:lnTo>
                  <a:pt x="406" y="132"/>
                </a:lnTo>
                <a:lnTo>
                  <a:pt x="406" y="132"/>
                </a:lnTo>
                <a:lnTo>
                  <a:pt x="406" y="135"/>
                </a:lnTo>
                <a:lnTo>
                  <a:pt x="406" y="135"/>
                </a:lnTo>
                <a:lnTo>
                  <a:pt x="403" y="135"/>
                </a:lnTo>
                <a:lnTo>
                  <a:pt x="403" y="135"/>
                </a:lnTo>
                <a:lnTo>
                  <a:pt x="406" y="137"/>
                </a:lnTo>
                <a:lnTo>
                  <a:pt x="406" y="137"/>
                </a:lnTo>
                <a:close/>
                <a:moveTo>
                  <a:pt x="398" y="71"/>
                </a:moveTo>
                <a:lnTo>
                  <a:pt x="398" y="71"/>
                </a:lnTo>
                <a:lnTo>
                  <a:pt x="396" y="68"/>
                </a:lnTo>
                <a:lnTo>
                  <a:pt x="396" y="68"/>
                </a:lnTo>
                <a:lnTo>
                  <a:pt x="396" y="66"/>
                </a:lnTo>
                <a:lnTo>
                  <a:pt x="396" y="66"/>
                </a:lnTo>
                <a:lnTo>
                  <a:pt x="401" y="64"/>
                </a:lnTo>
                <a:lnTo>
                  <a:pt x="401" y="64"/>
                </a:lnTo>
                <a:lnTo>
                  <a:pt x="406" y="64"/>
                </a:lnTo>
                <a:lnTo>
                  <a:pt x="406" y="64"/>
                </a:lnTo>
                <a:lnTo>
                  <a:pt x="410" y="64"/>
                </a:lnTo>
                <a:lnTo>
                  <a:pt x="410" y="64"/>
                </a:lnTo>
                <a:lnTo>
                  <a:pt x="410" y="68"/>
                </a:lnTo>
                <a:lnTo>
                  <a:pt x="410" y="68"/>
                </a:lnTo>
                <a:lnTo>
                  <a:pt x="410" y="71"/>
                </a:lnTo>
                <a:lnTo>
                  <a:pt x="410" y="71"/>
                </a:lnTo>
                <a:lnTo>
                  <a:pt x="406" y="71"/>
                </a:lnTo>
                <a:lnTo>
                  <a:pt x="406" y="71"/>
                </a:lnTo>
                <a:lnTo>
                  <a:pt x="401" y="71"/>
                </a:lnTo>
                <a:lnTo>
                  <a:pt x="398" y="71"/>
                </a:lnTo>
                <a:lnTo>
                  <a:pt x="398" y="71"/>
                </a:lnTo>
                <a:close/>
                <a:moveTo>
                  <a:pt x="494" y="22"/>
                </a:moveTo>
                <a:lnTo>
                  <a:pt x="494" y="22"/>
                </a:lnTo>
                <a:lnTo>
                  <a:pt x="497" y="19"/>
                </a:lnTo>
                <a:lnTo>
                  <a:pt x="497" y="19"/>
                </a:lnTo>
                <a:lnTo>
                  <a:pt x="499" y="14"/>
                </a:lnTo>
                <a:lnTo>
                  <a:pt x="499" y="14"/>
                </a:lnTo>
                <a:lnTo>
                  <a:pt x="501" y="14"/>
                </a:lnTo>
                <a:lnTo>
                  <a:pt x="501" y="14"/>
                </a:lnTo>
                <a:lnTo>
                  <a:pt x="506" y="17"/>
                </a:lnTo>
                <a:lnTo>
                  <a:pt x="506" y="17"/>
                </a:lnTo>
                <a:lnTo>
                  <a:pt x="504" y="19"/>
                </a:lnTo>
                <a:lnTo>
                  <a:pt x="504" y="19"/>
                </a:lnTo>
                <a:lnTo>
                  <a:pt x="504" y="19"/>
                </a:lnTo>
                <a:lnTo>
                  <a:pt x="501" y="22"/>
                </a:lnTo>
                <a:lnTo>
                  <a:pt x="501" y="22"/>
                </a:lnTo>
                <a:lnTo>
                  <a:pt x="499" y="24"/>
                </a:lnTo>
                <a:lnTo>
                  <a:pt x="499" y="24"/>
                </a:lnTo>
                <a:lnTo>
                  <a:pt x="494" y="22"/>
                </a:lnTo>
                <a:lnTo>
                  <a:pt x="494" y="22"/>
                </a:lnTo>
                <a:lnTo>
                  <a:pt x="494" y="22"/>
                </a:lnTo>
                <a:close/>
                <a:moveTo>
                  <a:pt x="563" y="66"/>
                </a:moveTo>
                <a:lnTo>
                  <a:pt x="563" y="66"/>
                </a:lnTo>
                <a:lnTo>
                  <a:pt x="568" y="61"/>
                </a:lnTo>
                <a:lnTo>
                  <a:pt x="568" y="61"/>
                </a:lnTo>
                <a:lnTo>
                  <a:pt x="570" y="59"/>
                </a:lnTo>
                <a:lnTo>
                  <a:pt x="570" y="59"/>
                </a:lnTo>
                <a:lnTo>
                  <a:pt x="570" y="56"/>
                </a:lnTo>
                <a:lnTo>
                  <a:pt x="570" y="56"/>
                </a:lnTo>
                <a:lnTo>
                  <a:pt x="575" y="51"/>
                </a:lnTo>
                <a:lnTo>
                  <a:pt x="575" y="51"/>
                </a:lnTo>
                <a:lnTo>
                  <a:pt x="580" y="49"/>
                </a:lnTo>
                <a:lnTo>
                  <a:pt x="580" y="49"/>
                </a:lnTo>
                <a:lnTo>
                  <a:pt x="585" y="46"/>
                </a:lnTo>
                <a:lnTo>
                  <a:pt x="585" y="46"/>
                </a:lnTo>
                <a:lnTo>
                  <a:pt x="585" y="44"/>
                </a:lnTo>
                <a:lnTo>
                  <a:pt x="585" y="44"/>
                </a:lnTo>
                <a:lnTo>
                  <a:pt x="585" y="39"/>
                </a:lnTo>
                <a:lnTo>
                  <a:pt x="585" y="39"/>
                </a:lnTo>
                <a:lnTo>
                  <a:pt x="580" y="36"/>
                </a:lnTo>
                <a:lnTo>
                  <a:pt x="580" y="36"/>
                </a:lnTo>
                <a:lnTo>
                  <a:pt x="575" y="32"/>
                </a:lnTo>
                <a:lnTo>
                  <a:pt x="575" y="32"/>
                </a:lnTo>
                <a:lnTo>
                  <a:pt x="573" y="27"/>
                </a:lnTo>
                <a:lnTo>
                  <a:pt x="573" y="27"/>
                </a:lnTo>
                <a:lnTo>
                  <a:pt x="573" y="24"/>
                </a:lnTo>
                <a:lnTo>
                  <a:pt x="573" y="24"/>
                </a:lnTo>
                <a:lnTo>
                  <a:pt x="575" y="22"/>
                </a:lnTo>
                <a:lnTo>
                  <a:pt x="575" y="22"/>
                </a:lnTo>
                <a:lnTo>
                  <a:pt x="575" y="17"/>
                </a:lnTo>
                <a:lnTo>
                  <a:pt x="575" y="17"/>
                </a:lnTo>
                <a:lnTo>
                  <a:pt x="573" y="17"/>
                </a:lnTo>
                <a:lnTo>
                  <a:pt x="573" y="17"/>
                </a:lnTo>
                <a:lnTo>
                  <a:pt x="565" y="17"/>
                </a:lnTo>
                <a:lnTo>
                  <a:pt x="565" y="17"/>
                </a:lnTo>
                <a:lnTo>
                  <a:pt x="561" y="14"/>
                </a:lnTo>
                <a:lnTo>
                  <a:pt x="561" y="14"/>
                </a:lnTo>
                <a:lnTo>
                  <a:pt x="556" y="12"/>
                </a:lnTo>
                <a:lnTo>
                  <a:pt x="556" y="12"/>
                </a:lnTo>
                <a:lnTo>
                  <a:pt x="551" y="4"/>
                </a:lnTo>
                <a:lnTo>
                  <a:pt x="551" y="4"/>
                </a:lnTo>
                <a:lnTo>
                  <a:pt x="546" y="2"/>
                </a:lnTo>
                <a:lnTo>
                  <a:pt x="546" y="2"/>
                </a:lnTo>
                <a:lnTo>
                  <a:pt x="541" y="0"/>
                </a:lnTo>
                <a:lnTo>
                  <a:pt x="541" y="0"/>
                </a:lnTo>
                <a:lnTo>
                  <a:pt x="538" y="0"/>
                </a:lnTo>
                <a:lnTo>
                  <a:pt x="538" y="0"/>
                </a:lnTo>
                <a:lnTo>
                  <a:pt x="536" y="0"/>
                </a:lnTo>
                <a:lnTo>
                  <a:pt x="536" y="0"/>
                </a:lnTo>
                <a:lnTo>
                  <a:pt x="536" y="2"/>
                </a:lnTo>
                <a:lnTo>
                  <a:pt x="536" y="2"/>
                </a:lnTo>
                <a:lnTo>
                  <a:pt x="536" y="4"/>
                </a:lnTo>
                <a:lnTo>
                  <a:pt x="536" y="4"/>
                </a:lnTo>
                <a:lnTo>
                  <a:pt x="536" y="9"/>
                </a:lnTo>
                <a:lnTo>
                  <a:pt x="536" y="9"/>
                </a:lnTo>
                <a:lnTo>
                  <a:pt x="533" y="12"/>
                </a:lnTo>
                <a:lnTo>
                  <a:pt x="533" y="12"/>
                </a:lnTo>
                <a:lnTo>
                  <a:pt x="531" y="17"/>
                </a:lnTo>
                <a:lnTo>
                  <a:pt x="531" y="17"/>
                </a:lnTo>
                <a:lnTo>
                  <a:pt x="529" y="22"/>
                </a:lnTo>
                <a:lnTo>
                  <a:pt x="529" y="22"/>
                </a:lnTo>
                <a:lnTo>
                  <a:pt x="529" y="24"/>
                </a:lnTo>
                <a:lnTo>
                  <a:pt x="529" y="24"/>
                </a:lnTo>
                <a:lnTo>
                  <a:pt x="529" y="36"/>
                </a:lnTo>
                <a:lnTo>
                  <a:pt x="529" y="36"/>
                </a:lnTo>
                <a:lnTo>
                  <a:pt x="531" y="39"/>
                </a:lnTo>
                <a:lnTo>
                  <a:pt x="531" y="39"/>
                </a:lnTo>
                <a:lnTo>
                  <a:pt x="533" y="41"/>
                </a:lnTo>
                <a:lnTo>
                  <a:pt x="533" y="41"/>
                </a:lnTo>
                <a:lnTo>
                  <a:pt x="533" y="44"/>
                </a:lnTo>
                <a:lnTo>
                  <a:pt x="533" y="44"/>
                </a:lnTo>
                <a:lnTo>
                  <a:pt x="531" y="54"/>
                </a:lnTo>
                <a:lnTo>
                  <a:pt x="531" y="54"/>
                </a:lnTo>
                <a:lnTo>
                  <a:pt x="531" y="56"/>
                </a:lnTo>
                <a:lnTo>
                  <a:pt x="531" y="56"/>
                </a:lnTo>
                <a:lnTo>
                  <a:pt x="529" y="59"/>
                </a:lnTo>
                <a:lnTo>
                  <a:pt x="529" y="59"/>
                </a:lnTo>
                <a:lnTo>
                  <a:pt x="531" y="61"/>
                </a:lnTo>
                <a:lnTo>
                  <a:pt x="531" y="61"/>
                </a:lnTo>
                <a:lnTo>
                  <a:pt x="531" y="61"/>
                </a:lnTo>
                <a:lnTo>
                  <a:pt x="533" y="59"/>
                </a:lnTo>
                <a:lnTo>
                  <a:pt x="533" y="59"/>
                </a:lnTo>
                <a:lnTo>
                  <a:pt x="538" y="56"/>
                </a:lnTo>
                <a:lnTo>
                  <a:pt x="538" y="56"/>
                </a:lnTo>
                <a:lnTo>
                  <a:pt x="538" y="56"/>
                </a:lnTo>
                <a:lnTo>
                  <a:pt x="541" y="61"/>
                </a:lnTo>
                <a:lnTo>
                  <a:pt x="541" y="61"/>
                </a:lnTo>
                <a:lnTo>
                  <a:pt x="546" y="64"/>
                </a:lnTo>
                <a:lnTo>
                  <a:pt x="546" y="64"/>
                </a:lnTo>
                <a:lnTo>
                  <a:pt x="548" y="64"/>
                </a:lnTo>
                <a:lnTo>
                  <a:pt x="548" y="64"/>
                </a:lnTo>
                <a:lnTo>
                  <a:pt x="548" y="61"/>
                </a:lnTo>
                <a:lnTo>
                  <a:pt x="548" y="61"/>
                </a:lnTo>
                <a:lnTo>
                  <a:pt x="551" y="61"/>
                </a:lnTo>
                <a:lnTo>
                  <a:pt x="551" y="61"/>
                </a:lnTo>
                <a:lnTo>
                  <a:pt x="556" y="64"/>
                </a:lnTo>
                <a:lnTo>
                  <a:pt x="556" y="64"/>
                </a:lnTo>
                <a:lnTo>
                  <a:pt x="558" y="66"/>
                </a:lnTo>
                <a:lnTo>
                  <a:pt x="558" y="66"/>
                </a:lnTo>
                <a:lnTo>
                  <a:pt x="563" y="66"/>
                </a:lnTo>
                <a:lnTo>
                  <a:pt x="563" y="66"/>
                </a:lnTo>
                <a:close/>
                <a:moveTo>
                  <a:pt x="548" y="86"/>
                </a:moveTo>
                <a:lnTo>
                  <a:pt x="548" y="86"/>
                </a:lnTo>
                <a:lnTo>
                  <a:pt x="548" y="88"/>
                </a:lnTo>
                <a:lnTo>
                  <a:pt x="548" y="88"/>
                </a:lnTo>
                <a:lnTo>
                  <a:pt x="551" y="88"/>
                </a:lnTo>
                <a:lnTo>
                  <a:pt x="551" y="88"/>
                </a:lnTo>
                <a:lnTo>
                  <a:pt x="556" y="91"/>
                </a:lnTo>
                <a:lnTo>
                  <a:pt x="556" y="91"/>
                </a:lnTo>
                <a:lnTo>
                  <a:pt x="558" y="88"/>
                </a:lnTo>
                <a:lnTo>
                  <a:pt x="558" y="88"/>
                </a:lnTo>
                <a:lnTo>
                  <a:pt x="561" y="83"/>
                </a:lnTo>
                <a:lnTo>
                  <a:pt x="561" y="83"/>
                </a:lnTo>
                <a:lnTo>
                  <a:pt x="563" y="83"/>
                </a:lnTo>
                <a:lnTo>
                  <a:pt x="563" y="83"/>
                </a:lnTo>
                <a:lnTo>
                  <a:pt x="565" y="78"/>
                </a:lnTo>
                <a:lnTo>
                  <a:pt x="565" y="78"/>
                </a:lnTo>
                <a:lnTo>
                  <a:pt x="565" y="73"/>
                </a:lnTo>
                <a:lnTo>
                  <a:pt x="565" y="73"/>
                </a:lnTo>
                <a:lnTo>
                  <a:pt x="565" y="71"/>
                </a:lnTo>
                <a:lnTo>
                  <a:pt x="565" y="71"/>
                </a:lnTo>
                <a:lnTo>
                  <a:pt x="558" y="68"/>
                </a:lnTo>
                <a:lnTo>
                  <a:pt x="558" y="68"/>
                </a:lnTo>
                <a:lnTo>
                  <a:pt x="553" y="68"/>
                </a:lnTo>
                <a:lnTo>
                  <a:pt x="553" y="68"/>
                </a:lnTo>
                <a:lnTo>
                  <a:pt x="548" y="68"/>
                </a:lnTo>
                <a:lnTo>
                  <a:pt x="548" y="68"/>
                </a:lnTo>
                <a:lnTo>
                  <a:pt x="546" y="71"/>
                </a:lnTo>
                <a:lnTo>
                  <a:pt x="546" y="71"/>
                </a:lnTo>
                <a:lnTo>
                  <a:pt x="543" y="68"/>
                </a:lnTo>
                <a:lnTo>
                  <a:pt x="543" y="68"/>
                </a:lnTo>
                <a:lnTo>
                  <a:pt x="541" y="68"/>
                </a:lnTo>
                <a:lnTo>
                  <a:pt x="541" y="68"/>
                </a:lnTo>
                <a:lnTo>
                  <a:pt x="538" y="71"/>
                </a:lnTo>
                <a:lnTo>
                  <a:pt x="538" y="71"/>
                </a:lnTo>
                <a:lnTo>
                  <a:pt x="536" y="71"/>
                </a:lnTo>
                <a:lnTo>
                  <a:pt x="536" y="71"/>
                </a:lnTo>
                <a:lnTo>
                  <a:pt x="533" y="71"/>
                </a:lnTo>
                <a:lnTo>
                  <a:pt x="533" y="71"/>
                </a:lnTo>
                <a:lnTo>
                  <a:pt x="536" y="73"/>
                </a:lnTo>
                <a:lnTo>
                  <a:pt x="536" y="73"/>
                </a:lnTo>
                <a:lnTo>
                  <a:pt x="538" y="76"/>
                </a:lnTo>
                <a:lnTo>
                  <a:pt x="538" y="76"/>
                </a:lnTo>
                <a:lnTo>
                  <a:pt x="541" y="78"/>
                </a:lnTo>
                <a:lnTo>
                  <a:pt x="541" y="78"/>
                </a:lnTo>
                <a:lnTo>
                  <a:pt x="543" y="78"/>
                </a:lnTo>
                <a:lnTo>
                  <a:pt x="543" y="78"/>
                </a:lnTo>
                <a:lnTo>
                  <a:pt x="546" y="83"/>
                </a:lnTo>
                <a:lnTo>
                  <a:pt x="546" y="83"/>
                </a:lnTo>
                <a:lnTo>
                  <a:pt x="551" y="83"/>
                </a:lnTo>
                <a:lnTo>
                  <a:pt x="551" y="83"/>
                </a:lnTo>
                <a:lnTo>
                  <a:pt x="556" y="83"/>
                </a:lnTo>
                <a:lnTo>
                  <a:pt x="556" y="83"/>
                </a:lnTo>
                <a:lnTo>
                  <a:pt x="558" y="83"/>
                </a:lnTo>
                <a:lnTo>
                  <a:pt x="558" y="83"/>
                </a:lnTo>
                <a:lnTo>
                  <a:pt x="556" y="86"/>
                </a:lnTo>
                <a:lnTo>
                  <a:pt x="556" y="86"/>
                </a:lnTo>
                <a:lnTo>
                  <a:pt x="553" y="86"/>
                </a:lnTo>
                <a:lnTo>
                  <a:pt x="553" y="86"/>
                </a:lnTo>
                <a:lnTo>
                  <a:pt x="548" y="86"/>
                </a:lnTo>
                <a:lnTo>
                  <a:pt x="548" y="86"/>
                </a:lnTo>
                <a:close/>
                <a:moveTo>
                  <a:pt x="654" y="95"/>
                </a:moveTo>
                <a:lnTo>
                  <a:pt x="654" y="95"/>
                </a:lnTo>
                <a:lnTo>
                  <a:pt x="654" y="98"/>
                </a:lnTo>
                <a:lnTo>
                  <a:pt x="654" y="98"/>
                </a:lnTo>
                <a:lnTo>
                  <a:pt x="649" y="103"/>
                </a:lnTo>
                <a:lnTo>
                  <a:pt x="649" y="103"/>
                </a:lnTo>
                <a:lnTo>
                  <a:pt x="644" y="105"/>
                </a:lnTo>
                <a:lnTo>
                  <a:pt x="644" y="105"/>
                </a:lnTo>
                <a:lnTo>
                  <a:pt x="642" y="108"/>
                </a:lnTo>
                <a:lnTo>
                  <a:pt x="642" y="108"/>
                </a:lnTo>
                <a:lnTo>
                  <a:pt x="639" y="110"/>
                </a:lnTo>
                <a:lnTo>
                  <a:pt x="639" y="110"/>
                </a:lnTo>
                <a:lnTo>
                  <a:pt x="634" y="110"/>
                </a:lnTo>
                <a:lnTo>
                  <a:pt x="634" y="110"/>
                </a:lnTo>
                <a:lnTo>
                  <a:pt x="632" y="108"/>
                </a:lnTo>
                <a:lnTo>
                  <a:pt x="632" y="108"/>
                </a:lnTo>
                <a:lnTo>
                  <a:pt x="629" y="105"/>
                </a:lnTo>
                <a:lnTo>
                  <a:pt x="629" y="105"/>
                </a:lnTo>
                <a:lnTo>
                  <a:pt x="627" y="105"/>
                </a:lnTo>
                <a:lnTo>
                  <a:pt x="627" y="105"/>
                </a:lnTo>
                <a:lnTo>
                  <a:pt x="624" y="105"/>
                </a:lnTo>
                <a:lnTo>
                  <a:pt x="624" y="105"/>
                </a:lnTo>
                <a:lnTo>
                  <a:pt x="622" y="105"/>
                </a:lnTo>
                <a:lnTo>
                  <a:pt x="622" y="105"/>
                </a:lnTo>
                <a:lnTo>
                  <a:pt x="615" y="105"/>
                </a:lnTo>
                <a:lnTo>
                  <a:pt x="615" y="105"/>
                </a:lnTo>
                <a:lnTo>
                  <a:pt x="610" y="103"/>
                </a:lnTo>
                <a:lnTo>
                  <a:pt x="610" y="103"/>
                </a:lnTo>
                <a:lnTo>
                  <a:pt x="610" y="103"/>
                </a:lnTo>
                <a:lnTo>
                  <a:pt x="605" y="103"/>
                </a:lnTo>
                <a:lnTo>
                  <a:pt x="605" y="103"/>
                </a:lnTo>
                <a:lnTo>
                  <a:pt x="600" y="105"/>
                </a:lnTo>
                <a:lnTo>
                  <a:pt x="600" y="105"/>
                </a:lnTo>
                <a:lnTo>
                  <a:pt x="597" y="105"/>
                </a:lnTo>
                <a:lnTo>
                  <a:pt x="597" y="105"/>
                </a:lnTo>
                <a:lnTo>
                  <a:pt x="595" y="103"/>
                </a:lnTo>
                <a:lnTo>
                  <a:pt x="595" y="103"/>
                </a:lnTo>
                <a:lnTo>
                  <a:pt x="590" y="103"/>
                </a:lnTo>
                <a:lnTo>
                  <a:pt x="590" y="103"/>
                </a:lnTo>
                <a:lnTo>
                  <a:pt x="590" y="100"/>
                </a:lnTo>
                <a:lnTo>
                  <a:pt x="590" y="100"/>
                </a:lnTo>
                <a:lnTo>
                  <a:pt x="588" y="93"/>
                </a:lnTo>
                <a:lnTo>
                  <a:pt x="588" y="93"/>
                </a:lnTo>
                <a:lnTo>
                  <a:pt x="585" y="91"/>
                </a:lnTo>
                <a:lnTo>
                  <a:pt x="585" y="91"/>
                </a:lnTo>
                <a:lnTo>
                  <a:pt x="583" y="91"/>
                </a:lnTo>
                <a:lnTo>
                  <a:pt x="583" y="91"/>
                </a:lnTo>
                <a:lnTo>
                  <a:pt x="580" y="93"/>
                </a:lnTo>
                <a:lnTo>
                  <a:pt x="580" y="93"/>
                </a:lnTo>
                <a:lnTo>
                  <a:pt x="578" y="91"/>
                </a:lnTo>
                <a:lnTo>
                  <a:pt x="578" y="91"/>
                </a:lnTo>
                <a:lnTo>
                  <a:pt x="575" y="88"/>
                </a:lnTo>
                <a:lnTo>
                  <a:pt x="575" y="88"/>
                </a:lnTo>
                <a:lnTo>
                  <a:pt x="573" y="91"/>
                </a:lnTo>
                <a:lnTo>
                  <a:pt x="573" y="91"/>
                </a:lnTo>
                <a:lnTo>
                  <a:pt x="575" y="93"/>
                </a:lnTo>
                <a:lnTo>
                  <a:pt x="575" y="93"/>
                </a:lnTo>
                <a:lnTo>
                  <a:pt x="573" y="93"/>
                </a:lnTo>
                <a:lnTo>
                  <a:pt x="573" y="93"/>
                </a:lnTo>
                <a:lnTo>
                  <a:pt x="573" y="93"/>
                </a:lnTo>
                <a:lnTo>
                  <a:pt x="568" y="91"/>
                </a:lnTo>
                <a:lnTo>
                  <a:pt x="568" y="91"/>
                </a:lnTo>
                <a:lnTo>
                  <a:pt x="570" y="88"/>
                </a:lnTo>
                <a:lnTo>
                  <a:pt x="570" y="88"/>
                </a:lnTo>
                <a:lnTo>
                  <a:pt x="573" y="86"/>
                </a:lnTo>
                <a:lnTo>
                  <a:pt x="573" y="86"/>
                </a:lnTo>
                <a:lnTo>
                  <a:pt x="573" y="83"/>
                </a:lnTo>
                <a:lnTo>
                  <a:pt x="573" y="83"/>
                </a:lnTo>
                <a:lnTo>
                  <a:pt x="573" y="78"/>
                </a:lnTo>
                <a:lnTo>
                  <a:pt x="573" y="78"/>
                </a:lnTo>
                <a:lnTo>
                  <a:pt x="573" y="76"/>
                </a:lnTo>
                <a:lnTo>
                  <a:pt x="573" y="76"/>
                </a:lnTo>
                <a:lnTo>
                  <a:pt x="578" y="73"/>
                </a:lnTo>
                <a:lnTo>
                  <a:pt x="578" y="73"/>
                </a:lnTo>
                <a:lnTo>
                  <a:pt x="575" y="71"/>
                </a:lnTo>
                <a:lnTo>
                  <a:pt x="575" y="71"/>
                </a:lnTo>
                <a:lnTo>
                  <a:pt x="573" y="71"/>
                </a:lnTo>
                <a:lnTo>
                  <a:pt x="573" y="71"/>
                </a:lnTo>
                <a:lnTo>
                  <a:pt x="570" y="68"/>
                </a:lnTo>
                <a:lnTo>
                  <a:pt x="570" y="68"/>
                </a:lnTo>
                <a:lnTo>
                  <a:pt x="570" y="66"/>
                </a:lnTo>
                <a:lnTo>
                  <a:pt x="570" y="66"/>
                </a:lnTo>
                <a:lnTo>
                  <a:pt x="570" y="61"/>
                </a:lnTo>
                <a:lnTo>
                  <a:pt x="570" y="61"/>
                </a:lnTo>
                <a:lnTo>
                  <a:pt x="575" y="59"/>
                </a:lnTo>
                <a:lnTo>
                  <a:pt x="575" y="59"/>
                </a:lnTo>
                <a:lnTo>
                  <a:pt x="578" y="59"/>
                </a:lnTo>
                <a:lnTo>
                  <a:pt x="578" y="59"/>
                </a:lnTo>
                <a:lnTo>
                  <a:pt x="578" y="56"/>
                </a:lnTo>
                <a:lnTo>
                  <a:pt x="578" y="56"/>
                </a:lnTo>
                <a:lnTo>
                  <a:pt x="580" y="54"/>
                </a:lnTo>
                <a:lnTo>
                  <a:pt x="580" y="54"/>
                </a:lnTo>
                <a:lnTo>
                  <a:pt x="583" y="54"/>
                </a:lnTo>
                <a:lnTo>
                  <a:pt x="583" y="54"/>
                </a:lnTo>
                <a:lnTo>
                  <a:pt x="590" y="49"/>
                </a:lnTo>
                <a:lnTo>
                  <a:pt x="590" y="49"/>
                </a:lnTo>
                <a:lnTo>
                  <a:pt x="590" y="46"/>
                </a:lnTo>
                <a:lnTo>
                  <a:pt x="590" y="46"/>
                </a:lnTo>
                <a:lnTo>
                  <a:pt x="593" y="44"/>
                </a:lnTo>
                <a:lnTo>
                  <a:pt x="593" y="44"/>
                </a:lnTo>
                <a:lnTo>
                  <a:pt x="597" y="46"/>
                </a:lnTo>
                <a:lnTo>
                  <a:pt x="597" y="46"/>
                </a:lnTo>
                <a:lnTo>
                  <a:pt x="602" y="49"/>
                </a:lnTo>
                <a:lnTo>
                  <a:pt x="602" y="49"/>
                </a:lnTo>
                <a:lnTo>
                  <a:pt x="607" y="56"/>
                </a:lnTo>
                <a:lnTo>
                  <a:pt x="607" y="56"/>
                </a:lnTo>
                <a:lnTo>
                  <a:pt x="607" y="59"/>
                </a:lnTo>
                <a:lnTo>
                  <a:pt x="607" y="59"/>
                </a:lnTo>
                <a:lnTo>
                  <a:pt x="607" y="64"/>
                </a:lnTo>
                <a:lnTo>
                  <a:pt x="607" y="64"/>
                </a:lnTo>
                <a:lnTo>
                  <a:pt x="607" y="64"/>
                </a:lnTo>
                <a:lnTo>
                  <a:pt x="607" y="68"/>
                </a:lnTo>
                <a:lnTo>
                  <a:pt x="607" y="68"/>
                </a:lnTo>
                <a:lnTo>
                  <a:pt x="605" y="71"/>
                </a:lnTo>
                <a:lnTo>
                  <a:pt x="605" y="71"/>
                </a:lnTo>
                <a:lnTo>
                  <a:pt x="605" y="71"/>
                </a:lnTo>
                <a:lnTo>
                  <a:pt x="607" y="71"/>
                </a:lnTo>
                <a:lnTo>
                  <a:pt x="607" y="71"/>
                </a:lnTo>
                <a:lnTo>
                  <a:pt x="610" y="66"/>
                </a:lnTo>
                <a:lnTo>
                  <a:pt x="610" y="66"/>
                </a:lnTo>
                <a:lnTo>
                  <a:pt x="610" y="64"/>
                </a:lnTo>
                <a:lnTo>
                  <a:pt x="610" y="64"/>
                </a:lnTo>
                <a:lnTo>
                  <a:pt x="610" y="61"/>
                </a:lnTo>
                <a:lnTo>
                  <a:pt x="610" y="61"/>
                </a:lnTo>
                <a:lnTo>
                  <a:pt x="612" y="59"/>
                </a:lnTo>
                <a:lnTo>
                  <a:pt x="612" y="59"/>
                </a:lnTo>
                <a:lnTo>
                  <a:pt x="610" y="56"/>
                </a:lnTo>
                <a:lnTo>
                  <a:pt x="610" y="56"/>
                </a:lnTo>
                <a:lnTo>
                  <a:pt x="607" y="51"/>
                </a:lnTo>
                <a:lnTo>
                  <a:pt x="607" y="51"/>
                </a:lnTo>
                <a:lnTo>
                  <a:pt x="607" y="49"/>
                </a:lnTo>
                <a:lnTo>
                  <a:pt x="607" y="49"/>
                </a:lnTo>
                <a:lnTo>
                  <a:pt x="607" y="46"/>
                </a:lnTo>
                <a:lnTo>
                  <a:pt x="607" y="46"/>
                </a:lnTo>
                <a:lnTo>
                  <a:pt x="612" y="46"/>
                </a:lnTo>
                <a:lnTo>
                  <a:pt x="612" y="46"/>
                </a:lnTo>
                <a:lnTo>
                  <a:pt x="617" y="46"/>
                </a:lnTo>
                <a:lnTo>
                  <a:pt x="617" y="46"/>
                </a:lnTo>
                <a:lnTo>
                  <a:pt x="627" y="56"/>
                </a:lnTo>
                <a:lnTo>
                  <a:pt x="627" y="56"/>
                </a:lnTo>
                <a:lnTo>
                  <a:pt x="629" y="56"/>
                </a:lnTo>
                <a:lnTo>
                  <a:pt x="629" y="56"/>
                </a:lnTo>
                <a:lnTo>
                  <a:pt x="632" y="56"/>
                </a:lnTo>
                <a:lnTo>
                  <a:pt x="632" y="56"/>
                </a:lnTo>
                <a:lnTo>
                  <a:pt x="632" y="61"/>
                </a:lnTo>
                <a:lnTo>
                  <a:pt x="632" y="61"/>
                </a:lnTo>
                <a:lnTo>
                  <a:pt x="634" y="61"/>
                </a:lnTo>
                <a:lnTo>
                  <a:pt x="634" y="61"/>
                </a:lnTo>
                <a:lnTo>
                  <a:pt x="634" y="66"/>
                </a:lnTo>
                <a:lnTo>
                  <a:pt x="634" y="66"/>
                </a:lnTo>
                <a:lnTo>
                  <a:pt x="634" y="71"/>
                </a:lnTo>
                <a:lnTo>
                  <a:pt x="634" y="71"/>
                </a:lnTo>
                <a:lnTo>
                  <a:pt x="639" y="76"/>
                </a:lnTo>
                <a:lnTo>
                  <a:pt x="639" y="76"/>
                </a:lnTo>
                <a:lnTo>
                  <a:pt x="642" y="78"/>
                </a:lnTo>
                <a:lnTo>
                  <a:pt x="642" y="78"/>
                </a:lnTo>
                <a:lnTo>
                  <a:pt x="642" y="81"/>
                </a:lnTo>
                <a:lnTo>
                  <a:pt x="642" y="81"/>
                </a:lnTo>
                <a:lnTo>
                  <a:pt x="639" y="81"/>
                </a:lnTo>
                <a:lnTo>
                  <a:pt x="639" y="81"/>
                </a:lnTo>
                <a:lnTo>
                  <a:pt x="637" y="81"/>
                </a:lnTo>
                <a:lnTo>
                  <a:pt x="637" y="81"/>
                </a:lnTo>
                <a:lnTo>
                  <a:pt x="634" y="81"/>
                </a:lnTo>
                <a:lnTo>
                  <a:pt x="634" y="81"/>
                </a:lnTo>
                <a:lnTo>
                  <a:pt x="637" y="83"/>
                </a:lnTo>
                <a:lnTo>
                  <a:pt x="637" y="83"/>
                </a:lnTo>
                <a:lnTo>
                  <a:pt x="639" y="86"/>
                </a:lnTo>
                <a:lnTo>
                  <a:pt x="639" y="86"/>
                </a:lnTo>
                <a:lnTo>
                  <a:pt x="644" y="86"/>
                </a:lnTo>
                <a:lnTo>
                  <a:pt x="644" y="86"/>
                </a:lnTo>
                <a:lnTo>
                  <a:pt x="647" y="91"/>
                </a:lnTo>
                <a:lnTo>
                  <a:pt x="647" y="91"/>
                </a:lnTo>
                <a:lnTo>
                  <a:pt x="649" y="91"/>
                </a:lnTo>
                <a:lnTo>
                  <a:pt x="649" y="91"/>
                </a:lnTo>
                <a:lnTo>
                  <a:pt x="654" y="95"/>
                </a:lnTo>
                <a:lnTo>
                  <a:pt x="654" y="95"/>
                </a:lnTo>
                <a:close/>
                <a:moveTo>
                  <a:pt x="1217" y="9"/>
                </a:moveTo>
                <a:lnTo>
                  <a:pt x="1217" y="9"/>
                </a:lnTo>
                <a:lnTo>
                  <a:pt x="1220" y="4"/>
                </a:lnTo>
                <a:lnTo>
                  <a:pt x="1220" y="4"/>
                </a:lnTo>
                <a:lnTo>
                  <a:pt x="1225" y="0"/>
                </a:lnTo>
                <a:lnTo>
                  <a:pt x="1225" y="0"/>
                </a:lnTo>
                <a:lnTo>
                  <a:pt x="1225" y="0"/>
                </a:lnTo>
                <a:lnTo>
                  <a:pt x="1225" y="2"/>
                </a:lnTo>
                <a:lnTo>
                  <a:pt x="1225" y="2"/>
                </a:lnTo>
                <a:lnTo>
                  <a:pt x="1225" y="4"/>
                </a:lnTo>
                <a:lnTo>
                  <a:pt x="1225" y="4"/>
                </a:lnTo>
                <a:lnTo>
                  <a:pt x="1222" y="4"/>
                </a:lnTo>
                <a:lnTo>
                  <a:pt x="1222" y="4"/>
                </a:lnTo>
                <a:lnTo>
                  <a:pt x="1222" y="7"/>
                </a:lnTo>
                <a:lnTo>
                  <a:pt x="1222" y="7"/>
                </a:lnTo>
                <a:lnTo>
                  <a:pt x="1217" y="9"/>
                </a:lnTo>
                <a:lnTo>
                  <a:pt x="1217" y="9"/>
                </a:lnTo>
                <a:close/>
                <a:moveTo>
                  <a:pt x="1252" y="61"/>
                </a:moveTo>
                <a:lnTo>
                  <a:pt x="1252" y="61"/>
                </a:lnTo>
                <a:lnTo>
                  <a:pt x="1252" y="68"/>
                </a:lnTo>
                <a:lnTo>
                  <a:pt x="1252" y="68"/>
                </a:lnTo>
                <a:lnTo>
                  <a:pt x="1257" y="76"/>
                </a:lnTo>
                <a:lnTo>
                  <a:pt x="1257" y="76"/>
                </a:lnTo>
                <a:lnTo>
                  <a:pt x="1259" y="78"/>
                </a:lnTo>
                <a:lnTo>
                  <a:pt x="1259" y="78"/>
                </a:lnTo>
                <a:lnTo>
                  <a:pt x="1269" y="81"/>
                </a:lnTo>
                <a:lnTo>
                  <a:pt x="1269" y="81"/>
                </a:lnTo>
                <a:lnTo>
                  <a:pt x="1279" y="83"/>
                </a:lnTo>
                <a:lnTo>
                  <a:pt x="1279" y="83"/>
                </a:lnTo>
                <a:lnTo>
                  <a:pt x="1284" y="86"/>
                </a:lnTo>
                <a:lnTo>
                  <a:pt x="1284" y="86"/>
                </a:lnTo>
                <a:lnTo>
                  <a:pt x="1289" y="86"/>
                </a:lnTo>
                <a:lnTo>
                  <a:pt x="1289" y="86"/>
                </a:lnTo>
                <a:lnTo>
                  <a:pt x="1294" y="83"/>
                </a:lnTo>
                <a:lnTo>
                  <a:pt x="1294" y="83"/>
                </a:lnTo>
                <a:lnTo>
                  <a:pt x="1296" y="86"/>
                </a:lnTo>
                <a:lnTo>
                  <a:pt x="1296" y="86"/>
                </a:lnTo>
                <a:lnTo>
                  <a:pt x="1301" y="83"/>
                </a:lnTo>
                <a:lnTo>
                  <a:pt x="1301" y="83"/>
                </a:lnTo>
                <a:lnTo>
                  <a:pt x="1306" y="81"/>
                </a:lnTo>
                <a:lnTo>
                  <a:pt x="1306" y="81"/>
                </a:lnTo>
                <a:lnTo>
                  <a:pt x="1308" y="76"/>
                </a:lnTo>
                <a:lnTo>
                  <a:pt x="1308" y="76"/>
                </a:lnTo>
                <a:lnTo>
                  <a:pt x="1308" y="73"/>
                </a:lnTo>
                <a:lnTo>
                  <a:pt x="1308" y="73"/>
                </a:lnTo>
                <a:lnTo>
                  <a:pt x="1308" y="68"/>
                </a:lnTo>
                <a:lnTo>
                  <a:pt x="1308" y="68"/>
                </a:lnTo>
                <a:lnTo>
                  <a:pt x="1306" y="68"/>
                </a:lnTo>
                <a:lnTo>
                  <a:pt x="1306" y="68"/>
                </a:lnTo>
                <a:lnTo>
                  <a:pt x="1303" y="68"/>
                </a:lnTo>
                <a:lnTo>
                  <a:pt x="1303" y="68"/>
                </a:lnTo>
                <a:lnTo>
                  <a:pt x="1303" y="66"/>
                </a:lnTo>
                <a:lnTo>
                  <a:pt x="1303" y="66"/>
                </a:lnTo>
                <a:lnTo>
                  <a:pt x="1303" y="64"/>
                </a:lnTo>
                <a:lnTo>
                  <a:pt x="1303" y="64"/>
                </a:lnTo>
                <a:lnTo>
                  <a:pt x="1301" y="61"/>
                </a:lnTo>
                <a:lnTo>
                  <a:pt x="1301" y="61"/>
                </a:lnTo>
                <a:lnTo>
                  <a:pt x="1299" y="64"/>
                </a:lnTo>
                <a:lnTo>
                  <a:pt x="1299" y="64"/>
                </a:lnTo>
                <a:lnTo>
                  <a:pt x="1294" y="61"/>
                </a:lnTo>
                <a:lnTo>
                  <a:pt x="1294" y="61"/>
                </a:lnTo>
                <a:lnTo>
                  <a:pt x="1286" y="64"/>
                </a:lnTo>
                <a:lnTo>
                  <a:pt x="1286" y="64"/>
                </a:lnTo>
                <a:lnTo>
                  <a:pt x="1281" y="66"/>
                </a:lnTo>
                <a:lnTo>
                  <a:pt x="1281" y="66"/>
                </a:lnTo>
                <a:lnTo>
                  <a:pt x="1279" y="68"/>
                </a:lnTo>
                <a:lnTo>
                  <a:pt x="1279" y="68"/>
                </a:lnTo>
                <a:lnTo>
                  <a:pt x="1279" y="66"/>
                </a:lnTo>
                <a:lnTo>
                  <a:pt x="1279" y="66"/>
                </a:lnTo>
                <a:lnTo>
                  <a:pt x="1276" y="64"/>
                </a:lnTo>
                <a:lnTo>
                  <a:pt x="1276" y="64"/>
                </a:lnTo>
                <a:lnTo>
                  <a:pt x="1274" y="64"/>
                </a:lnTo>
                <a:lnTo>
                  <a:pt x="1274" y="64"/>
                </a:lnTo>
                <a:lnTo>
                  <a:pt x="1271" y="64"/>
                </a:lnTo>
                <a:lnTo>
                  <a:pt x="1271" y="64"/>
                </a:lnTo>
                <a:lnTo>
                  <a:pt x="1267" y="64"/>
                </a:lnTo>
                <a:lnTo>
                  <a:pt x="1267" y="64"/>
                </a:lnTo>
                <a:lnTo>
                  <a:pt x="1264" y="64"/>
                </a:lnTo>
                <a:lnTo>
                  <a:pt x="1264" y="64"/>
                </a:lnTo>
                <a:lnTo>
                  <a:pt x="1264" y="66"/>
                </a:lnTo>
                <a:lnTo>
                  <a:pt x="1264" y="66"/>
                </a:lnTo>
                <a:lnTo>
                  <a:pt x="1262" y="68"/>
                </a:lnTo>
                <a:lnTo>
                  <a:pt x="1262" y="68"/>
                </a:lnTo>
                <a:lnTo>
                  <a:pt x="1257" y="66"/>
                </a:lnTo>
                <a:lnTo>
                  <a:pt x="1257" y="66"/>
                </a:lnTo>
                <a:lnTo>
                  <a:pt x="1254" y="66"/>
                </a:lnTo>
                <a:lnTo>
                  <a:pt x="1254" y="66"/>
                </a:lnTo>
                <a:lnTo>
                  <a:pt x="1254" y="64"/>
                </a:lnTo>
                <a:lnTo>
                  <a:pt x="1254" y="64"/>
                </a:lnTo>
                <a:lnTo>
                  <a:pt x="1252" y="61"/>
                </a:lnTo>
                <a:lnTo>
                  <a:pt x="1252" y="61"/>
                </a:lnTo>
                <a:close/>
                <a:moveTo>
                  <a:pt x="1131" y="115"/>
                </a:moveTo>
                <a:lnTo>
                  <a:pt x="1131" y="115"/>
                </a:lnTo>
                <a:lnTo>
                  <a:pt x="1129" y="108"/>
                </a:lnTo>
                <a:lnTo>
                  <a:pt x="1129" y="108"/>
                </a:lnTo>
                <a:lnTo>
                  <a:pt x="1129" y="103"/>
                </a:lnTo>
                <a:lnTo>
                  <a:pt x="1129" y="103"/>
                </a:lnTo>
                <a:lnTo>
                  <a:pt x="1126" y="103"/>
                </a:lnTo>
                <a:lnTo>
                  <a:pt x="1126" y="103"/>
                </a:lnTo>
                <a:lnTo>
                  <a:pt x="1119" y="100"/>
                </a:lnTo>
                <a:lnTo>
                  <a:pt x="1119" y="100"/>
                </a:lnTo>
                <a:lnTo>
                  <a:pt x="1116" y="98"/>
                </a:lnTo>
                <a:lnTo>
                  <a:pt x="1116" y="98"/>
                </a:lnTo>
                <a:lnTo>
                  <a:pt x="1114" y="95"/>
                </a:lnTo>
                <a:lnTo>
                  <a:pt x="1114" y="95"/>
                </a:lnTo>
                <a:lnTo>
                  <a:pt x="1114" y="95"/>
                </a:lnTo>
                <a:lnTo>
                  <a:pt x="1114" y="98"/>
                </a:lnTo>
                <a:lnTo>
                  <a:pt x="1114" y="98"/>
                </a:lnTo>
                <a:lnTo>
                  <a:pt x="1116" y="103"/>
                </a:lnTo>
                <a:lnTo>
                  <a:pt x="1116" y="103"/>
                </a:lnTo>
                <a:lnTo>
                  <a:pt x="1121" y="105"/>
                </a:lnTo>
                <a:lnTo>
                  <a:pt x="1121" y="105"/>
                </a:lnTo>
                <a:lnTo>
                  <a:pt x="1126" y="113"/>
                </a:lnTo>
                <a:lnTo>
                  <a:pt x="1126" y="113"/>
                </a:lnTo>
                <a:lnTo>
                  <a:pt x="1126" y="118"/>
                </a:lnTo>
                <a:lnTo>
                  <a:pt x="1126" y="118"/>
                </a:lnTo>
                <a:lnTo>
                  <a:pt x="1131" y="120"/>
                </a:lnTo>
                <a:lnTo>
                  <a:pt x="1131" y="120"/>
                </a:lnTo>
                <a:lnTo>
                  <a:pt x="1131" y="118"/>
                </a:lnTo>
                <a:lnTo>
                  <a:pt x="1131" y="118"/>
                </a:lnTo>
                <a:lnTo>
                  <a:pt x="1131" y="115"/>
                </a:lnTo>
                <a:lnTo>
                  <a:pt x="1131" y="115"/>
                </a:lnTo>
                <a:close/>
                <a:moveTo>
                  <a:pt x="1193" y="123"/>
                </a:moveTo>
                <a:lnTo>
                  <a:pt x="1193" y="123"/>
                </a:lnTo>
                <a:lnTo>
                  <a:pt x="1190" y="123"/>
                </a:lnTo>
                <a:lnTo>
                  <a:pt x="1190" y="123"/>
                </a:lnTo>
                <a:lnTo>
                  <a:pt x="1188" y="120"/>
                </a:lnTo>
                <a:lnTo>
                  <a:pt x="1188" y="120"/>
                </a:lnTo>
                <a:lnTo>
                  <a:pt x="1188" y="118"/>
                </a:lnTo>
                <a:lnTo>
                  <a:pt x="1188" y="118"/>
                </a:lnTo>
                <a:lnTo>
                  <a:pt x="1188" y="118"/>
                </a:lnTo>
                <a:lnTo>
                  <a:pt x="1190" y="118"/>
                </a:lnTo>
                <a:lnTo>
                  <a:pt x="1190" y="118"/>
                </a:lnTo>
                <a:lnTo>
                  <a:pt x="1193" y="120"/>
                </a:lnTo>
                <a:lnTo>
                  <a:pt x="1193" y="120"/>
                </a:lnTo>
                <a:lnTo>
                  <a:pt x="1195" y="120"/>
                </a:lnTo>
                <a:lnTo>
                  <a:pt x="1195" y="120"/>
                </a:lnTo>
                <a:lnTo>
                  <a:pt x="1195" y="123"/>
                </a:lnTo>
                <a:lnTo>
                  <a:pt x="1195" y="123"/>
                </a:lnTo>
                <a:lnTo>
                  <a:pt x="1195" y="125"/>
                </a:lnTo>
                <a:lnTo>
                  <a:pt x="1195" y="125"/>
                </a:lnTo>
                <a:lnTo>
                  <a:pt x="1198" y="125"/>
                </a:lnTo>
                <a:lnTo>
                  <a:pt x="1198" y="125"/>
                </a:lnTo>
                <a:lnTo>
                  <a:pt x="1200" y="120"/>
                </a:lnTo>
                <a:lnTo>
                  <a:pt x="1200" y="120"/>
                </a:lnTo>
                <a:lnTo>
                  <a:pt x="1205" y="115"/>
                </a:lnTo>
                <a:lnTo>
                  <a:pt x="1205" y="115"/>
                </a:lnTo>
                <a:lnTo>
                  <a:pt x="1210" y="110"/>
                </a:lnTo>
                <a:lnTo>
                  <a:pt x="1210" y="110"/>
                </a:lnTo>
                <a:lnTo>
                  <a:pt x="1212" y="108"/>
                </a:lnTo>
                <a:lnTo>
                  <a:pt x="1212" y="108"/>
                </a:lnTo>
                <a:lnTo>
                  <a:pt x="1215" y="105"/>
                </a:lnTo>
                <a:lnTo>
                  <a:pt x="1215" y="105"/>
                </a:lnTo>
                <a:lnTo>
                  <a:pt x="1217" y="108"/>
                </a:lnTo>
                <a:lnTo>
                  <a:pt x="1217" y="108"/>
                </a:lnTo>
                <a:lnTo>
                  <a:pt x="1215" y="110"/>
                </a:lnTo>
                <a:lnTo>
                  <a:pt x="1215" y="110"/>
                </a:lnTo>
                <a:lnTo>
                  <a:pt x="1220" y="110"/>
                </a:lnTo>
                <a:lnTo>
                  <a:pt x="1220" y="110"/>
                </a:lnTo>
                <a:lnTo>
                  <a:pt x="1222" y="110"/>
                </a:lnTo>
                <a:lnTo>
                  <a:pt x="1222" y="110"/>
                </a:lnTo>
                <a:lnTo>
                  <a:pt x="1225" y="110"/>
                </a:lnTo>
                <a:lnTo>
                  <a:pt x="1225" y="110"/>
                </a:lnTo>
                <a:lnTo>
                  <a:pt x="1225" y="108"/>
                </a:lnTo>
                <a:lnTo>
                  <a:pt x="1225" y="108"/>
                </a:lnTo>
                <a:lnTo>
                  <a:pt x="1227" y="105"/>
                </a:lnTo>
                <a:lnTo>
                  <a:pt x="1227" y="105"/>
                </a:lnTo>
                <a:lnTo>
                  <a:pt x="1230" y="103"/>
                </a:lnTo>
                <a:lnTo>
                  <a:pt x="1230" y="103"/>
                </a:lnTo>
                <a:lnTo>
                  <a:pt x="1230" y="100"/>
                </a:lnTo>
                <a:lnTo>
                  <a:pt x="1230" y="100"/>
                </a:lnTo>
                <a:lnTo>
                  <a:pt x="1225" y="100"/>
                </a:lnTo>
                <a:lnTo>
                  <a:pt x="1225" y="100"/>
                </a:lnTo>
                <a:lnTo>
                  <a:pt x="1220" y="103"/>
                </a:lnTo>
                <a:lnTo>
                  <a:pt x="1220" y="103"/>
                </a:lnTo>
                <a:lnTo>
                  <a:pt x="1217" y="100"/>
                </a:lnTo>
                <a:lnTo>
                  <a:pt x="1217" y="100"/>
                </a:lnTo>
                <a:lnTo>
                  <a:pt x="1212" y="100"/>
                </a:lnTo>
                <a:lnTo>
                  <a:pt x="1212" y="100"/>
                </a:lnTo>
                <a:lnTo>
                  <a:pt x="1210" y="98"/>
                </a:lnTo>
                <a:lnTo>
                  <a:pt x="1210" y="98"/>
                </a:lnTo>
                <a:lnTo>
                  <a:pt x="1205" y="98"/>
                </a:lnTo>
                <a:lnTo>
                  <a:pt x="1205" y="98"/>
                </a:lnTo>
                <a:lnTo>
                  <a:pt x="1205" y="95"/>
                </a:lnTo>
                <a:lnTo>
                  <a:pt x="1205" y="95"/>
                </a:lnTo>
                <a:lnTo>
                  <a:pt x="1200" y="91"/>
                </a:lnTo>
                <a:lnTo>
                  <a:pt x="1200" y="91"/>
                </a:lnTo>
                <a:lnTo>
                  <a:pt x="1198" y="88"/>
                </a:lnTo>
                <a:lnTo>
                  <a:pt x="1198" y="88"/>
                </a:lnTo>
                <a:lnTo>
                  <a:pt x="1198" y="83"/>
                </a:lnTo>
                <a:lnTo>
                  <a:pt x="1198" y="83"/>
                </a:lnTo>
                <a:lnTo>
                  <a:pt x="1195" y="81"/>
                </a:lnTo>
                <a:lnTo>
                  <a:pt x="1195" y="81"/>
                </a:lnTo>
                <a:lnTo>
                  <a:pt x="1193" y="78"/>
                </a:lnTo>
                <a:lnTo>
                  <a:pt x="1193" y="78"/>
                </a:lnTo>
                <a:lnTo>
                  <a:pt x="1193" y="76"/>
                </a:lnTo>
                <a:lnTo>
                  <a:pt x="1193" y="76"/>
                </a:lnTo>
                <a:lnTo>
                  <a:pt x="1190" y="73"/>
                </a:lnTo>
                <a:lnTo>
                  <a:pt x="1190" y="73"/>
                </a:lnTo>
                <a:lnTo>
                  <a:pt x="1190" y="73"/>
                </a:lnTo>
                <a:lnTo>
                  <a:pt x="1193" y="71"/>
                </a:lnTo>
                <a:lnTo>
                  <a:pt x="1193" y="71"/>
                </a:lnTo>
                <a:lnTo>
                  <a:pt x="1190" y="68"/>
                </a:lnTo>
                <a:lnTo>
                  <a:pt x="1190" y="68"/>
                </a:lnTo>
                <a:lnTo>
                  <a:pt x="1193" y="68"/>
                </a:lnTo>
                <a:lnTo>
                  <a:pt x="1193" y="68"/>
                </a:lnTo>
                <a:lnTo>
                  <a:pt x="1193" y="68"/>
                </a:lnTo>
                <a:lnTo>
                  <a:pt x="1193" y="66"/>
                </a:lnTo>
                <a:lnTo>
                  <a:pt x="1193" y="66"/>
                </a:lnTo>
                <a:lnTo>
                  <a:pt x="1190" y="64"/>
                </a:lnTo>
                <a:lnTo>
                  <a:pt x="1190" y="64"/>
                </a:lnTo>
                <a:lnTo>
                  <a:pt x="1188" y="64"/>
                </a:lnTo>
                <a:lnTo>
                  <a:pt x="1188" y="64"/>
                </a:lnTo>
                <a:lnTo>
                  <a:pt x="1183" y="64"/>
                </a:lnTo>
                <a:lnTo>
                  <a:pt x="1183" y="64"/>
                </a:lnTo>
                <a:lnTo>
                  <a:pt x="1178" y="61"/>
                </a:lnTo>
                <a:lnTo>
                  <a:pt x="1178" y="61"/>
                </a:lnTo>
                <a:lnTo>
                  <a:pt x="1176" y="59"/>
                </a:lnTo>
                <a:lnTo>
                  <a:pt x="1176" y="59"/>
                </a:lnTo>
                <a:lnTo>
                  <a:pt x="1173" y="59"/>
                </a:lnTo>
                <a:lnTo>
                  <a:pt x="1173" y="59"/>
                </a:lnTo>
                <a:lnTo>
                  <a:pt x="1171" y="59"/>
                </a:lnTo>
                <a:lnTo>
                  <a:pt x="1171" y="59"/>
                </a:lnTo>
                <a:lnTo>
                  <a:pt x="1168" y="59"/>
                </a:lnTo>
                <a:lnTo>
                  <a:pt x="1168" y="59"/>
                </a:lnTo>
                <a:lnTo>
                  <a:pt x="1173" y="64"/>
                </a:lnTo>
                <a:lnTo>
                  <a:pt x="1173" y="64"/>
                </a:lnTo>
                <a:lnTo>
                  <a:pt x="1176" y="64"/>
                </a:lnTo>
                <a:lnTo>
                  <a:pt x="1176" y="64"/>
                </a:lnTo>
                <a:lnTo>
                  <a:pt x="1178" y="66"/>
                </a:lnTo>
                <a:lnTo>
                  <a:pt x="1178" y="66"/>
                </a:lnTo>
                <a:lnTo>
                  <a:pt x="1173" y="66"/>
                </a:lnTo>
                <a:lnTo>
                  <a:pt x="1173" y="66"/>
                </a:lnTo>
                <a:lnTo>
                  <a:pt x="1173" y="66"/>
                </a:lnTo>
                <a:lnTo>
                  <a:pt x="1171" y="66"/>
                </a:lnTo>
                <a:lnTo>
                  <a:pt x="1171" y="66"/>
                </a:lnTo>
                <a:lnTo>
                  <a:pt x="1168" y="66"/>
                </a:lnTo>
                <a:lnTo>
                  <a:pt x="1168" y="66"/>
                </a:lnTo>
                <a:lnTo>
                  <a:pt x="1168" y="71"/>
                </a:lnTo>
                <a:lnTo>
                  <a:pt x="1168" y="71"/>
                </a:lnTo>
                <a:lnTo>
                  <a:pt x="1171" y="73"/>
                </a:lnTo>
                <a:lnTo>
                  <a:pt x="1171" y="73"/>
                </a:lnTo>
                <a:lnTo>
                  <a:pt x="1173" y="78"/>
                </a:lnTo>
                <a:lnTo>
                  <a:pt x="1173" y="78"/>
                </a:lnTo>
                <a:lnTo>
                  <a:pt x="1176" y="83"/>
                </a:lnTo>
                <a:lnTo>
                  <a:pt x="1176" y="83"/>
                </a:lnTo>
                <a:lnTo>
                  <a:pt x="1178" y="86"/>
                </a:lnTo>
                <a:lnTo>
                  <a:pt x="1178" y="86"/>
                </a:lnTo>
                <a:lnTo>
                  <a:pt x="1176" y="86"/>
                </a:lnTo>
                <a:lnTo>
                  <a:pt x="1176" y="86"/>
                </a:lnTo>
                <a:lnTo>
                  <a:pt x="1173" y="86"/>
                </a:lnTo>
                <a:lnTo>
                  <a:pt x="1173" y="86"/>
                </a:lnTo>
                <a:lnTo>
                  <a:pt x="1168" y="83"/>
                </a:lnTo>
                <a:lnTo>
                  <a:pt x="1168" y="83"/>
                </a:lnTo>
                <a:lnTo>
                  <a:pt x="1168" y="78"/>
                </a:lnTo>
                <a:lnTo>
                  <a:pt x="1168" y="78"/>
                </a:lnTo>
                <a:lnTo>
                  <a:pt x="1166" y="78"/>
                </a:lnTo>
                <a:lnTo>
                  <a:pt x="1166" y="78"/>
                </a:lnTo>
                <a:lnTo>
                  <a:pt x="1163" y="78"/>
                </a:lnTo>
                <a:lnTo>
                  <a:pt x="1163" y="78"/>
                </a:lnTo>
                <a:lnTo>
                  <a:pt x="1161" y="78"/>
                </a:lnTo>
                <a:lnTo>
                  <a:pt x="1161" y="78"/>
                </a:lnTo>
                <a:lnTo>
                  <a:pt x="1158" y="78"/>
                </a:lnTo>
                <a:lnTo>
                  <a:pt x="1158" y="78"/>
                </a:lnTo>
                <a:lnTo>
                  <a:pt x="1156" y="78"/>
                </a:lnTo>
                <a:lnTo>
                  <a:pt x="1156" y="78"/>
                </a:lnTo>
                <a:lnTo>
                  <a:pt x="1156" y="73"/>
                </a:lnTo>
                <a:lnTo>
                  <a:pt x="1156" y="73"/>
                </a:lnTo>
                <a:lnTo>
                  <a:pt x="1156" y="71"/>
                </a:lnTo>
                <a:lnTo>
                  <a:pt x="1156" y="71"/>
                </a:lnTo>
                <a:lnTo>
                  <a:pt x="1153" y="71"/>
                </a:lnTo>
                <a:lnTo>
                  <a:pt x="1153" y="71"/>
                </a:lnTo>
                <a:lnTo>
                  <a:pt x="1148" y="68"/>
                </a:lnTo>
                <a:lnTo>
                  <a:pt x="1148" y="68"/>
                </a:lnTo>
                <a:lnTo>
                  <a:pt x="1144" y="68"/>
                </a:lnTo>
                <a:lnTo>
                  <a:pt x="1144" y="68"/>
                </a:lnTo>
                <a:lnTo>
                  <a:pt x="1144" y="66"/>
                </a:lnTo>
                <a:lnTo>
                  <a:pt x="1144" y="66"/>
                </a:lnTo>
                <a:lnTo>
                  <a:pt x="1141" y="64"/>
                </a:lnTo>
                <a:lnTo>
                  <a:pt x="1141" y="64"/>
                </a:lnTo>
                <a:lnTo>
                  <a:pt x="1139" y="66"/>
                </a:lnTo>
                <a:lnTo>
                  <a:pt x="1139" y="66"/>
                </a:lnTo>
                <a:lnTo>
                  <a:pt x="1136" y="68"/>
                </a:lnTo>
                <a:lnTo>
                  <a:pt x="1136" y="68"/>
                </a:lnTo>
                <a:lnTo>
                  <a:pt x="1136" y="71"/>
                </a:lnTo>
                <a:lnTo>
                  <a:pt x="1136" y="71"/>
                </a:lnTo>
                <a:lnTo>
                  <a:pt x="1134" y="73"/>
                </a:lnTo>
                <a:lnTo>
                  <a:pt x="1134" y="73"/>
                </a:lnTo>
                <a:lnTo>
                  <a:pt x="1136" y="76"/>
                </a:lnTo>
                <a:lnTo>
                  <a:pt x="1136" y="76"/>
                </a:lnTo>
                <a:lnTo>
                  <a:pt x="1134" y="81"/>
                </a:lnTo>
                <a:lnTo>
                  <a:pt x="1134" y="81"/>
                </a:lnTo>
                <a:lnTo>
                  <a:pt x="1131" y="83"/>
                </a:lnTo>
                <a:lnTo>
                  <a:pt x="1131" y="83"/>
                </a:lnTo>
                <a:lnTo>
                  <a:pt x="1131" y="86"/>
                </a:lnTo>
                <a:lnTo>
                  <a:pt x="1131" y="86"/>
                </a:lnTo>
                <a:lnTo>
                  <a:pt x="1134" y="91"/>
                </a:lnTo>
                <a:lnTo>
                  <a:pt x="1134" y="91"/>
                </a:lnTo>
                <a:lnTo>
                  <a:pt x="1136" y="91"/>
                </a:lnTo>
                <a:lnTo>
                  <a:pt x="1136" y="91"/>
                </a:lnTo>
                <a:lnTo>
                  <a:pt x="1139" y="93"/>
                </a:lnTo>
                <a:lnTo>
                  <a:pt x="1139" y="93"/>
                </a:lnTo>
                <a:lnTo>
                  <a:pt x="1136" y="93"/>
                </a:lnTo>
                <a:lnTo>
                  <a:pt x="1136" y="93"/>
                </a:lnTo>
                <a:lnTo>
                  <a:pt x="1134" y="93"/>
                </a:lnTo>
                <a:lnTo>
                  <a:pt x="1134" y="93"/>
                </a:lnTo>
                <a:lnTo>
                  <a:pt x="1136" y="98"/>
                </a:lnTo>
                <a:lnTo>
                  <a:pt x="1136" y="98"/>
                </a:lnTo>
                <a:lnTo>
                  <a:pt x="1139" y="98"/>
                </a:lnTo>
                <a:lnTo>
                  <a:pt x="1139" y="98"/>
                </a:lnTo>
                <a:lnTo>
                  <a:pt x="1139" y="100"/>
                </a:lnTo>
                <a:lnTo>
                  <a:pt x="1139" y="100"/>
                </a:lnTo>
                <a:lnTo>
                  <a:pt x="1139" y="103"/>
                </a:lnTo>
                <a:lnTo>
                  <a:pt x="1139" y="103"/>
                </a:lnTo>
                <a:lnTo>
                  <a:pt x="1141" y="105"/>
                </a:lnTo>
                <a:lnTo>
                  <a:pt x="1141" y="105"/>
                </a:lnTo>
                <a:lnTo>
                  <a:pt x="1144" y="105"/>
                </a:lnTo>
                <a:lnTo>
                  <a:pt x="1144" y="105"/>
                </a:lnTo>
                <a:lnTo>
                  <a:pt x="1146" y="108"/>
                </a:lnTo>
                <a:lnTo>
                  <a:pt x="1146" y="108"/>
                </a:lnTo>
                <a:lnTo>
                  <a:pt x="1146" y="108"/>
                </a:lnTo>
                <a:lnTo>
                  <a:pt x="1146" y="110"/>
                </a:lnTo>
                <a:lnTo>
                  <a:pt x="1146" y="110"/>
                </a:lnTo>
                <a:lnTo>
                  <a:pt x="1148" y="110"/>
                </a:lnTo>
                <a:lnTo>
                  <a:pt x="1148" y="110"/>
                </a:lnTo>
                <a:lnTo>
                  <a:pt x="1151" y="110"/>
                </a:lnTo>
                <a:lnTo>
                  <a:pt x="1151" y="110"/>
                </a:lnTo>
                <a:lnTo>
                  <a:pt x="1151" y="110"/>
                </a:lnTo>
                <a:lnTo>
                  <a:pt x="1148" y="113"/>
                </a:lnTo>
                <a:lnTo>
                  <a:pt x="1148" y="113"/>
                </a:lnTo>
                <a:lnTo>
                  <a:pt x="1148" y="113"/>
                </a:lnTo>
                <a:lnTo>
                  <a:pt x="1146" y="113"/>
                </a:lnTo>
                <a:lnTo>
                  <a:pt x="1146" y="113"/>
                </a:lnTo>
                <a:lnTo>
                  <a:pt x="1146" y="113"/>
                </a:lnTo>
                <a:lnTo>
                  <a:pt x="1146" y="118"/>
                </a:lnTo>
                <a:lnTo>
                  <a:pt x="1146" y="118"/>
                </a:lnTo>
                <a:lnTo>
                  <a:pt x="1156" y="123"/>
                </a:lnTo>
                <a:lnTo>
                  <a:pt x="1156" y="123"/>
                </a:lnTo>
                <a:lnTo>
                  <a:pt x="1161" y="125"/>
                </a:lnTo>
                <a:lnTo>
                  <a:pt x="1161" y="125"/>
                </a:lnTo>
                <a:lnTo>
                  <a:pt x="1166" y="125"/>
                </a:lnTo>
                <a:lnTo>
                  <a:pt x="1166" y="125"/>
                </a:lnTo>
                <a:lnTo>
                  <a:pt x="1168" y="127"/>
                </a:lnTo>
                <a:lnTo>
                  <a:pt x="1168" y="127"/>
                </a:lnTo>
                <a:lnTo>
                  <a:pt x="1171" y="127"/>
                </a:lnTo>
                <a:lnTo>
                  <a:pt x="1171" y="127"/>
                </a:lnTo>
                <a:lnTo>
                  <a:pt x="1171" y="132"/>
                </a:lnTo>
                <a:lnTo>
                  <a:pt x="1171" y="132"/>
                </a:lnTo>
                <a:lnTo>
                  <a:pt x="1173" y="135"/>
                </a:lnTo>
                <a:lnTo>
                  <a:pt x="1173" y="135"/>
                </a:lnTo>
                <a:lnTo>
                  <a:pt x="1178" y="135"/>
                </a:lnTo>
                <a:lnTo>
                  <a:pt x="1178" y="135"/>
                </a:lnTo>
                <a:lnTo>
                  <a:pt x="1183" y="132"/>
                </a:lnTo>
                <a:lnTo>
                  <a:pt x="1183" y="132"/>
                </a:lnTo>
                <a:lnTo>
                  <a:pt x="1188" y="132"/>
                </a:lnTo>
                <a:lnTo>
                  <a:pt x="1188" y="132"/>
                </a:lnTo>
                <a:lnTo>
                  <a:pt x="1190" y="135"/>
                </a:lnTo>
                <a:lnTo>
                  <a:pt x="1190" y="135"/>
                </a:lnTo>
                <a:lnTo>
                  <a:pt x="1193" y="135"/>
                </a:lnTo>
                <a:lnTo>
                  <a:pt x="1193" y="135"/>
                </a:lnTo>
                <a:lnTo>
                  <a:pt x="1195" y="130"/>
                </a:lnTo>
                <a:lnTo>
                  <a:pt x="1195" y="130"/>
                </a:lnTo>
                <a:lnTo>
                  <a:pt x="1195" y="127"/>
                </a:lnTo>
                <a:lnTo>
                  <a:pt x="1195" y="127"/>
                </a:lnTo>
                <a:lnTo>
                  <a:pt x="1193" y="125"/>
                </a:lnTo>
                <a:lnTo>
                  <a:pt x="1193" y="125"/>
                </a:lnTo>
                <a:lnTo>
                  <a:pt x="1193" y="123"/>
                </a:lnTo>
                <a:lnTo>
                  <a:pt x="1193" y="123"/>
                </a:lnTo>
                <a:close/>
                <a:moveTo>
                  <a:pt x="1193" y="61"/>
                </a:moveTo>
                <a:lnTo>
                  <a:pt x="1193" y="61"/>
                </a:lnTo>
                <a:lnTo>
                  <a:pt x="1198" y="61"/>
                </a:lnTo>
                <a:lnTo>
                  <a:pt x="1198" y="61"/>
                </a:lnTo>
                <a:lnTo>
                  <a:pt x="1203" y="61"/>
                </a:lnTo>
                <a:lnTo>
                  <a:pt x="1203" y="61"/>
                </a:lnTo>
                <a:lnTo>
                  <a:pt x="1208" y="61"/>
                </a:lnTo>
                <a:lnTo>
                  <a:pt x="1208" y="61"/>
                </a:lnTo>
                <a:lnTo>
                  <a:pt x="1215" y="66"/>
                </a:lnTo>
                <a:lnTo>
                  <a:pt x="1215" y="66"/>
                </a:lnTo>
                <a:lnTo>
                  <a:pt x="1217" y="66"/>
                </a:lnTo>
                <a:lnTo>
                  <a:pt x="1217" y="66"/>
                </a:lnTo>
                <a:lnTo>
                  <a:pt x="1220" y="66"/>
                </a:lnTo>
                <a:lnTo>
                  <a:pt x="1220" y="66"/>
                </a:lnTo>
                <a:lnTo>
                  <a:pt x="1227" y="66"/>
                </a:lnTo>
                <a:lnTo>
                  <a:pt x="1227" y="66"/>
                </a:lnTo>
                <a:lnTo>
                  <a:pt x="1235" y="68"/>
                </a:lnTo>
                <a:lnTo>
                  <a:pt x="1235" y="68"/>
                </a:lnTo>
                <a:lnTo>
                  <a:pt x="1235" y="71"/>
                </a:lnTo>
                <a:lnTo>
                  <a:pt x="1235" y="71"/>
                </a:lnTo>
                <a:lnTo>
                  <a:pt x="1232" y="71"/>
                </a:lnTo>
                <a:lnTo>
                  <a:pt x="1232" y="71"/>
                </a:lnTo>
                <a:lnTo>
                  <a:pt x="1230" y="73"/>
                </a:lnTo>
                <a:lnTo>
                  <a:pt x="1230" y="73"/>
                </a:lnTo>
                <a:lnTo>
                  <a:pt x="1230" y="76"/>
                </a:lnTo>
                <a:lnTo>
                  <a:pt x="1230" y="76"/>
                </a:lnTo>
                <a:lnTo>
                  <a:pt x="1232" y="81"/>
                </a:lnTo>
                <a:lnTo>
                  <a:pt x="1232" y="81"/>
                </a:lnTo>
                <a:lnTo>
                  <a:pt x="1237" y="81"/>
                </a:lnTo>
                <a:lnTo>
                  <a:pt x="1237" y="81"/>
                </a:lnTo>
                <a:lnTo>
                  <a:pt x="1237" y="86"/>
                </a:lnTo>
                <a:lnTo>
                  <a:pt x="1237" y="86"/>
                </a:lnTo>
                <a:lnTo>
                  <a:pt x="1237" y="88"/>
                </a:lnTo>
                <a:lnTo>
                  <a:pt x="1237" y="88"/>
                </a:lnTo>
                <a:lnTo>
                  <a:pt x="1237" y="91"/>
                </a:lnTo>
                <a:lnTo>
                  <a:pt x="1237" y="91"/>
                </a:lnTo>
                <a:lnTo>
                  <a:pt x="1235" y="95"/>
                </a:lnTo>
                <a:lnTo>
                  <a:pt x="1235" y="95"/>
                </a:lnTo>
                <a:lnTo>
                  <a:pt x="1232" y="98"/>
                </a:lnTo>
                <a:lnTo>
                  <a:pt x="1232" y="98"/>
                </a:lnTo>
                <a:lnTo>
                  <a:pt x="1232" y="98"/>
                </a:lnTo>
                <a:lnTo>
                  <a:pt x="1230" y="95"/>
                </a:lnTo>
                <a:lnTo>
                  <a:pt x="1230" y="95"/>
                </a:lnTo>
                <a:lnTo>
                  <a:pt x="1227" y="98"/>
                </a:lnTo>
                <a:lnTo>
                  <a:pt x="1227" y="98"/>
                </a:lnTo>
                <a:lnTo>
                  <a:pt x="1225" y="100"/>
                </a:lnTo>
                <a:lnTo>
                  <a:pt x="1225" y="100"/>
                </a:lnTo>
                <a:lnTo>
                  <a:pt x="1220" y="100"/>
                </a:lnTo>
                <a:lnTo>
                  <a:pt x="1220" y="100"/>
                </a:lnTo>
                <a:lnTo>
                  <a:pt x="1212" y="95"/>
                </a:lnTo>
                <a:lnTo>
                  <a:pt x="1212" y="95"/>
                </a:lnTo>
                <a:lnTo>
                  <a:pt x="1210" y="93"/>
                </a:lnTo>
                <a:lnTo>
                  <a:pt x="1210" y="93"/>
                </a:lnTo>
                <a:lnTo>
                  <a:pt x="1203" y="88"/>
                </a:lnTo>
                <a:lnTo>
                  <a:pt x="1203" y="88"/>
                </a:lnTo>
                <a:lnTo>
                  <a:pt x="1203" y="83"/>
                </a:lnTo>
                <a:lnTo>
                  <a:pt x="1203" y="83"/>
                </a:lnTo>
                <a:lnTo>
                  <a:pt x="1203" y="81"/>
                </a:lnTo>
                <a:lnTo>
                  <a:pt x="1203" y="81"/>
                </a:lnTo>
                <a:lnTo>
                  <a:pt x="1203" y="78"/>
                </a:lnTo>
                <a:lnTo>
                  <a:pt x="1203" y="78"/>
                </a:lnTo>
                <a:lnTo>
                  <a:pt x="1205" y="76"/>
                </a:lnTo>
                <a:lnTo>
                  <a:pt x="1205" y="76"/>
                </a:lnTo>
                <a:lnTo>
                  <a:pt x="1203" y="73"/>
                </a:lnTo>
                <a:lnTo>
                  <a:pt x="1203" y="73"/>
                </a:lnTo>
                <a:lnTo>
                  <a:pt x="1200" y="71"/>
                </a:lnTo>
                <a:lnTo>
                  <a:pt x="1200" y="71"/>
                </a:lnTo>
                <a:lnTo>
                  <a:pt x="1200" y="68"/>
                </a:lnTo>
                <a:lnTo>
                  <a:pt x="1200" y="68"/>
                </a:lnTo>
                <a:lnTo>
                  <a:pt x="1198" y="68"/>
                </a:lnTo>
                <a:lnTo>
                  <a:pt x="1198" y="68"/>
                </a:lnTo>
                <a:lnTo>
                  <a:pt x="1195" y="66"/>
                </a:lnTo>
                <a:lnTo>
                  <a:pt x="1195" y="66"/>
                </a:lnTo>
                <a:lnTo>
                  <a:pt x="1193" y="61"/>
                </a:lnTo>
                <a:lnTo>
                  <a:pt x="1193" y="61"/>
                </a:lnTo>
                <a:close/>
                <a:moveTo>
                  <a:pt x="681" y="142"/>
                </a:moveTo>
                <a:lnTo>
                  <a:pt x="681" y="142"/>
                </a:lnTo>
                <a:lnTo>
                  <a:pt x="681" y="142"/>
                </a:lnTo>
                <a:lnTo>
                  <a:pt x="681" y="140"/>
                </a:lnTo>
                <a:lnTo>
                  <a:pt x="684" y="140"/>
                </a:lnTo>
                <a:lnTo>
                  <a:pt x="684" y="140"/>
                </a:lnTo>
                <a:lnTo>
                  <a:pt x="686" y="137"/>
                </a:lnTo>
                <a:lnTo>
                  <a:pt x="686" y="137"/>
                </a:lnTo>
                <a:lnTo>
                  <a:pt x="688" y="132"/>
                </a:lnTo>
                <a:lnTo>
                  <a:pt x="688" y="132"/>
                </a:lnTo>
                <a:lnTo>
                  <a:pt x="691" y="130"/>
                </a:lnTo>
                <a:lnTo>
                  <a:pt x="691" y="130"/>
                </a:lnTo>
                <a:lnTo>
                  <a:pt x="691" y="127"/>
                </a:lnTo>
                <a:lnTo>
                  <a:pt x="691" y="127"/>
                </a:lnTo>
                <a:lnTo>
                  <a:pt x="691" y="125"/>
                </a:lnTo>
                <a:lnTo>
                  <a:pt x="691" y="125"/>
                </a:lnTo>
                <a:lnTo>
                  <a:pt x="698" y="123"/>
                </a:lnTo>
                <a:lnTo>
                  <a:pt x="698" y="123"/>
                </a:lnTo>
                <a:lnTo>
                  <a:pt x="701" y="120"/>
                </a:lnTo>
                <a:lnTo>
                  <a:pt x="701" y="120"/>
                </a:lnTo>
                <a:lnTo>
                  <a:pt x="703" y="123"/>
                </a:lnTo>
                <a:lnTo>
                  <a:pt x="703" y="123"/>
                </a:lnTo>
                <a:lnTo>
                  <a:pt x="706" y="123"/>
                </a:lnTo>
                <a:lnTo>
                  <a:pt x="706" y="123"/>
                </a:lnTo>
                <a:lnTo>
                  <a:pt x="706" y="120"/>
                </a:lnTo>
                <a:lnTo>
                  <a:pt x="706" y="120"/>
                </a:lnTo>
                <a:lnTo>
                  <a:pt x="708" y="118"/>
                </a:lnTo>
                <a:lnTo>
                  <a:pt x="708" y="118"/>
                </a:lnTo>
                <a:lnTo>
                  <a:pt x="711" y="115"/>
                </a:lnTo>
                <a:lnTo>
                  <a:pt x="711" y="115"/>
                </a:lnTo>
                <a:lnTo>
                  <a:pt x="716" y="113"/>
                </a:lnTo>
                <a:lnTo>
                  <a:pt x="716" y="113"/>
                </a:lnTo>
                <a:lnTo>
                  <a:pt x="718" y="110"/>
                </a:lnTo>
                <a:lnTo>
                  <a:pt x="718" y="110"/>
                </a:lnTo>
                <a:lnTo>
                  <a:pt x="720" y="108"/>
                </a:lnTo>
                <a:lnTo>
                  <a:pt x="720" y="108"/>
                </a:lnTo>
                <a:lnTo>
                  <a:pt x="723" y="103"/>
                </a:lnTo>
                <a:lnTo>
                  <a:pt x="723" y="103"/>
                </a:lnTo>
                <a:lnTo>
                  <a:pt x="720" y="98"/>
                </a:lnTo>
                <a:lnTo>
                  <a:pt x="720" y="98"/>
                </a:lnTo>
                <a:lnTo>
                  <a:pt x="718" y="93"/>
                </a:lnTo>
                <a:lnTo>
                  <a:pt x="718" y="93"/>
                </a:lnTo>
                <a:lnTo>
                  <a:pt x="716" y="91"/>
                </a:lnTo>
                <a:lnTo>
                  <a:pt x="716" y="91"/>
                </a:lnTo>
                <a:lnTo>
                  <a:pt x="716" y="88"/>
                </a:lnTo>
                <a:lnTo>
                  <a:pt x="716" y="88"/>
                </a:lnTo>
                <a:lnTo>
                  <a:pt x="711" y="83"/>
                </a:lnTo>
                <a:lnTo>
                  <a:pt x="711" y="83"/>
                </a:lnTo>
                <a:lnTo>
                  <a:pt x="708" y="83"/>
                </a:lnTo>
                <a:lnTo>
                  <a:pt x="708" y="83"/>
                </a:lnTo>
                <a:lnTo>
                  <a:pt x="706" y="86"/>
                </a:lnTo>
                <a:lnTo>
                  <a:pt x="706" y="86"/>
                </a:lnTo>
                <a:lnTo>
                  <a:pt x="703" y="83"/>
                </a:lnTo>
                <a:lnTo>
                  <a:pt x="703" y="83"/>
                </a:lnTo>
                <a:lnTo>
                  <a:pt x="701" y="81"/>
                </a:lnTo>
                <a:lnTo>
                  <a:pt x="701" y="81"/>
                </a:lnTo>
                <a:lnTo>
                  <a:pt x="696" y="78"/>
                </a:lnTo>
                <a:lnTo>
                  <a:pt x="696" y="78"/>
                </a:lnTo>
                <a:lnTo>
                  <a:pt x="693" y="78"/>
                </a:lnTo>
                <a:lnTo>
                  <a:pt x="693" y="78"/>
                </a:lnTo>
                <a:lnTo>
                  <a:pt x="693" y="78"/>
                </a:lnTo>
                <a:lnTo>
                  <a:pt x="691" y="78"/>
                </a:lnTo>
                <a:lnTo>
                  <a:pt x="691" y="78"/>
                </a:lnTo>
                <a:lnTo>
                  <a:pt x="691" y="76"/>
                </a:lnTo>
                <a:lnTo>
                  <a:pt x="691" y="76"/>
                </a:lnTo>
                <a:lnTo>
                  <a:pt x="688" y="73"/>
                </a:lnTo>
                <a:lnTo>
                  <a:pt x="688" y="73"/>
                </a:lnTo>
                <a:lnTo>
                  <a:pt x="686" y="73"/>
                </a:lnTo>
                <a:lnTo>
                  <a:pt x="686" y="73"/>
                </a:lnTo>
                <a:lnTo>
                  <a:pt x="686" y="76"/>
                </a:lnTo>
                <a:lnTo>
                  <a:pt x="686" y="76"/>
                </a:lnTo>
                <a:lnTo>
                  <a:pt x="684" y="76"/>
                </a:lnTo>
                <a:lnTo>
                  <a:pt x="684" y="76"/>
                </a:lnTo>
                <a:lnTo>
                  <a:pt x="681" y="71"/>
                </a:lnTo>
                <a:lnTo>
                  <a:pt x="681" y="71"/>
                </a:lnTo>
                <a:lnTo>
                  <a:pt x="679" y="71"/>
                </a:lnTo>
                <a:lnTo>
                  <a:pt x="679" y="71"/>
                </a:lnTo>
                <a:lnTo>
                  <a:pt x="679" y="73"/>
                </a:lnTo>
                <a:lnTo>
                  <a:pt x="679" y="73"/>
                </a:lnTo>
                <a:lnTo>
                  <a:pt x="681" y="76"/>
                </a:lnTo>
                <a:lnTo>
                  <a:pt x="681" y="76"/>
                </a:lnTo>
                <a:lnTo>
                  <a:pt x="681" y="76"/>
                </a:lnTo>
                <a:lnTo>
                  <a:pt x="679" y="78"/>
                </a:lnTo>
                <a:lnTo>
                  <a:pt x="679" y="78"/>
                </a:lnTo>
                <a:lnTo>
                  <a:pt x="679" y="81"/>
                </a:lnTo>
                <a:lnTo>
                  <a:pt x="679" y="81"/>
                </a:lnTo>
                <a:lnTo>
                  <a:pt x="679" y="81"/>
                </a:lnTo>
                <a:lnTo>
                  <a:pt x="676" y="78"/>
                </a:lnTo>
                <a:lnTo>
                  <a:pt x="676" y="78"/>
                </a:lnTo>
                <a:lnTo>
                  <a:pt x="676" y="68"/>
                </a:lnTo>
                <a:lnTo>
                  <a:pt x="676" y="68"/>
                </a:lnTo>
                <a:lnTo>
                  <a:pt x="674" y="68"/>
                </a:lnTo>
                <a:lnTo>
                  <a:pt x="674" y="68"/>
                </a:lnTo>
                <a:lnTo>
                  <a:pt x="671" y="66"/>
                </a:lnTo>
                <a:lnTo>
                  <a:pt x="671" y="66"/>
                </a:lnTo>
                <a:lnTo>
                  <a:pt x="666" y="66"/>
                </a:lnTo>
                <a:lnTo>
                  <a:pt x="666" y="66"/>
                </a:lnTo>
                <a:lnTo>
                  <a:pt x="664" y="66"/>
                </a:lnTo>
                <a:lnTo>
                  <a:pt x="664" y="66"/>
                </a:lnTo>
                <a:lnTo>
                  <a:pt x="661" y="68"/>
                </a:lnTo>
                <a:lnTo>
                  <a:pt x="661" y="68"/>
                </a:lnTo>
                <a:lnTo>
                  <a:pt x="664" y="71"/>
                </a:lnTo>
                <a:lnTo>
                  <a:pt x="664" y="71"/>
                </a:lnTo>
                <a:lnTo>
                  <a:pt x="666" y="73"/>
                </a:lnTo>
                <a:lnTo>
                  <a:pt x="666" y="73"/>
                </a:lnTo>
                <a:lnTo>
                  <a:pt x="669" y="76"/>
                </a:lnTo>
                <a:lnTo>
                  <a:pt x="669" y="76"/>
                </a:lnTo>
                <a:lnTo>
                  <a:pt x="666" y="76"/>
                </a:lnTo>
                <a:lnTo>
                  <a:pt x="666" y="76"/>
                </a:lnTo>
                <a:lnTo>
                  <a:pt x="664" y="76"/>
                </a:lnTo>
                <a:lnTo>
                  <a:pt x="664" y="76"/>
                </a:lnTo>
                <a:lnTo>
                  <a:pt x="664" y="73"/>
                </a:lnTo>
                <a:lnTo>
                  <a:pt x="664" y="73"/>
                </a:lnTo>
                <a:lnTo>
                  <a:pt x="661" y="73"/>
                </a:lnTo>
                <a:lnTo>
                  <a:pt x="661" y="73"/>
                </a:lnTo>
                <a:lnTo>
                  <a:pt x="659" y="73"/>
                </a:lnTo>
                <a:lnTo>
                  <a:pt x="659" y="73"/>
                </a:lnTo>
                <a:lnTo>
                  <a:pt x="661" y="76"/>
                </a:lnTo>
                <a:lnTo>
                  <a:pt x="661" y="76"/>
                </a:lnTo>
                <a:lnTo>
                  <a:pt x="661" y="78"/>
                </a:lnTo>
                <a:lnTo>
                  <a:pt x="661" y="78"/>
                </a:lnTo>
                <a:lnTo>
                  <a:pt x="661" y="78"/>
                </a:lnTo>
                <a:lnTo>
                  <a:pt x="661" y="83"/>
                </a:lnTo>
                <a:lnTo>
                  <a:pt x="661" y="83"/>
                </a:lnTo>
                <a:lnTo>
                  <a:pt x="661" y="83"/>
                </a:lnTo>
                <a:lnTo>
                  <a:pt x="664" y="83"/>
                </a:lnTo>
                <a:lnTo>
                  <a:pt x="664" y="83"/>
                </a:lnTo>
                <a:lnTo>
                  <a:pt x="666" y="86"/>
                </a:lnTo>
                <a:lnTo>
                  <a:pt x="666" y="86"/>
                </a:lnTo>
                <a:lnTo>
                  <a:pt x="666" y="88"/>
                </a:lnTo>
                <a:lnTo>
                  <a:pt x="666" y="88"/>
                </a:lnTo>
                <a:lnTo>
                  <a:pt x="669" y="95"/>
                </a:lnTo>
                <a:lnTo>
                  <a:pt x="669" y="95"/>
                </a:lnTo>
                <a:lnTo>
                  <a:pt x="671" y="98"/>
                </a:lnTo>
                <a:lnTo>
                  <a:pt x="671" y="98"/>
                </a:lnTo>
                <a:lnTo>
                  <a:pt x="674" y="98"/>
                </a:lnTo>
                <a:lnTo>
                  <a:pt x="674" y="98"/>
                </a:lnTo>
                <a:lnTo>
                  <a:pt x="671" y="100"/>
                </a:lnTo>
                <a:lnTo>
                  <a:pt x="671" y="100"/>
                </a:lnTo>
                <a:lnTo>
                  <a:pt x="669" y="100"/>
                </a:lnTo>
                <a:lnTo>
                  <a:pt x="669" y="100"/>
                </a:lnTo>
                <a:lnTo>
                  <a:pt x="666" y="105"/>
                </a:lnTo>
                <a:lnTo>
                  <a:pt x="666" y="105"/>
                </a:lnTo>
                <a:lnTo>
                  <a:pt x="671" y="113"/>
                </a:lnTo>
                <a:lnTo>
                  <a:pt x="671" y="113"/>
                </a:lnTo>
                <a:lnTo>
                  <a:pt x="671" y="115"/>
                </a:lnTo>
                <a:lnTo>
                  <a:pt x="671" y="115"/>
                </a:lnTo>
                <a:lnTo>
                  <a:pt x="671" y="120"/>
                </a:lnTo>
                <a:lnTo>
                  <a:pt x="671" y="120"/>
                </a:lnTo>
                <a:lnTo>
                  <a:pt x="674" y="120"/>
                </a:lnTo>
                <a:lnTo>
                  <a:pt x="674" y="120"/>
                </a:lnTo>
                <a:lnTo>
                  <a:pt x="674" y="123"/>
                </a:lnTo>
                <a:lnTo>
                  <a:pt x="674" y="123"/>
                </a:lnTo>
                <a:lnTo>
                  <a:pt x="671" y="125"/>
                </a:lnTo>
                <a:lnTo>
                  <a:pt x="671" y="125"/>
                </a:lnTo>
                <a:lnTo>
                  <a:pt x="674" y="130"/>
                </a:lnTo>
                <a:lnTo>
                  <a:pt x="674" y="130"/>
                </a:lnTo>
                <a:lnTo>
                  <a:pt x="676" y="135"/>
                </a:lnTo>
                <a:lnTo>
                  <a:pt x="676" y="135"/>
                </a:lnTo>
                <a:lnTo>
                  <a:pt x="679" y="137"/>
                </a:lnTo>
                <a:lnTo>
                  <a:pt x="679" y="137"/>
                </a:lnTo>
                <a:lnTo>
                  <a:pt x="679" y="140"/>
                </a:lnTo>
                <a:lnTo>
                  <a:pt x="679" y="140"/>
                </a:lnTo>
                <a:lnTo>
                  <a:pt x="681" y="142"/>
                </a:lnTo>
                <a:lnTo>
                  <a:pt x="681" y="142"/>
                </a:lnTo>
                <a:close/>
                <a:moveTo>
                  <a:pt x="740" y="108"/>
                </a:moveTo>
                <a:lnTo>
                  <a:pt x="740" y="108"/>
                </a:lnTo>
                <a:lnTo>
                  <a:pt x="743" y="105"/>
                </a:lnTo>
                <a:lnTo>
                  <a:pt x="743" y="105"/>
                </a:lnTo>
                <a:lnTo>
                  <a:pt x="743" y="103"/>
                </a:lnTo>
                <a:lnTo>
                  <a:pt x="743" y="103"/>
                </a:lnTo>
                <a:lnTo>
                  <a:pt x="740" y="103"/>
                </a:lnTo>
                <a:lnTo>
                  <a:pt x="740" y="103"/>
                </a:lnTo>
                <a:lnTo>
                  <a:pt x="743" y="100"/>
                </a:lnTo>
                <a:lnTo>
                  <a:pt x="743" y="100"/>
                </a:lnTo>
                <a:lnTo>
                  <a:pt x="745" y="100"/>
                </a:lnTo>
                <a:lnTo>
                  <a:pt x="745" y="100"/>
                </a:lnTo>
                <a:lnTo>
                  <a:pt x="743" y="100"/>
                </a:lnTo>
                <a:lnTo>
                  <a:pt x="743" y="100"/>
                </a:lnTo>
                <a:lnTo>
                  <a:pt x="740" y="100"/>
                </a:lnTo>
                <a:lnTo>
                  <a:pt x="740" y="100"/>
                </a:lnTo>
                <a:lnTo>
                  <a:pt x="738" y="103"/>
                </a:lnTo>
                <a:lnTo>
                  <a:pt x="738" y="103"/>
                </a:lnTo>
                <a:lnTo>
                  <a:pt x="740" y="105"/>
                </a:lnTo>
                <a:lnTo>
                  <a:pt x="740" y="105"/>
                </a:lnTo>
                <a:lnTo>
                  <a:pt x="738" y="105"/>
                </a:lnTo>
                <a:lnTo>
                  <a:pt x="738" y="105"/>
                </a:lnTo>
                <a:lnTo>
                  <a:pt x="738" y="108"/>
                </a:lnTo>
                <a:lnTo>
                  <a:pt x="738" y="108"/>
                </a:lnTo>
                <a:lnTo>
                  <a:pt x="738" y="108"/>
                </a:lnTo>
                <a:lnTo>
                  <a:pt x="740" y="108"/>
                </a:lnTo>
                <a:lnTo>
                  <a:pt x="740" y="108"/>
                </a:lnTo>
                <a:close/>
                <a:moveTo>
                  <a:pt x="743" y="108"/>
                </a:moveTo>
                <a:lnTo>
                  <a:pt x="743" y="108"/>
                </a:lnTo>
                <a:lnTo>
                  <a:pt x="745" y="105"/>
                </a:lnTo>
                <a:lnTo>
                  <a:pt x="745" y="105"/>
                </a:lnTo>
                <a:lnTo>
                  <a:pt x="750" y="105"/>
                </a:lnTo>
                <a:lnTo>
                  <a:pt x="750" y="105"/>
                </a:lnTo>
                <a:lnTo>
                  <a:pt x="750" y="103"/>
                </a:lnTo>
                <a:lnTo>
                  <a:pt x="750" y="103"/>
                </a:lnTo>
                <a:lnTo>
                  <a:pt x="752" y="103"/>
                </a:lnTo>
                <a:lnTo>
                  <a:pt x="752" y="103"/>
                </a:lnTo>
                <a:lnTo>
                  <a:pt x="755" y="103"/>
                </a:lnTo>
                <a:lnTo>
                  <a:pt x="755" y="103"/>
                </a:lnTo>
                <a:lnTo>
                  <a:pt x="757" y="103"/>
                </a:lnTo>
                <a:lnTo>
                  <a:pt x="757" y="103"/>
                </a:lnTo>
                <a:lnTo>
                  <a:pt x="757" y="108"/>
                </a:lnTo>
                <a:lnTo>
                  <a:pt x="757" y="108"/>
                </a:lnTo>
                <a:lnTo>
                  <a:pt x="757" y="110"/>
                </a:lnTo>
                <a:lnTo>
                  <a:pt x="757" y="110"/>
                </a:lnTo>
                <a:lnTo>
                  <a:pt x="755" y="108"/>
                </a:lnTo>
                <a:lnTo>
                  <a:pt x="755" y="108"/>
                </a:lnTo>
                <a:lnTo>
                  <a:pt x="752" y="110"/>
                </a:lnTo>
                <a:lnTo>
                  <a:pt x="752" y="110"/>
                </a:lnTo>
                <a:lnTo>
                  <a:pt x="747" y="110"/>
                </a:lnTo>
                <a:lnTo>
                  <a:pt x="747" y="110"/>
                </a:lnTo>
                <a:lnTo>
                  <a:pt x="745" y="110"/>
                </a:lnTo>
                <a:lnTo>
                  <a:pt x="745" y="110"/>
                </a:lnTo>
                <a:lnTo>
                  <a:pt x="743" y="108"/>
                </a:lnTo>
                <a:lnTo>
                  <a:pt x="743" y="108"/>
                </a:lnTo>
                <a:close/>
                <a:moveTo>
                  <a:pt x="775" y="137"/>
                </a:moveTo>
                <a:lnTo>
                  <a:pt x="775" y="137"/>
                </a:lnTo>
                <a:lnTo>
                  <a:pt x="775" y="140"/>
                </a:lnTo>
                <a:lnTo>
                  <a:pt x="775" y="140"/>
                </a:lnTo>
                <a:lnTo>
                  <a:pt x="777" y="142"/>
                </a:lnTo>
                <a:lnTo>
                  <a:pt x="777" y="142"/>
                </a:lnTo>
                <a:lnTo>
                  <a:pt x="777" y="145"/>
                </a:lnTo>
                <a:lnTo>
                  <a:pt x="777" y="145"/>
                </a:lnTo>
                <a:lnTo>
                  <a:pt x="777" y="147"/>
                </a:lnTo>
                <a:lnTo>
                  <a:pt x="777" y="147"/>
                </a:lnTo>
                <a:lnTo>
                  <a:pt x="779" y="145"/>
                </a:lnTo>
                <a:lnTo>
                  <a:pt x="779" y="145"/>
                </a:lnTo>
                <a:lnTo>
                  <a:pt x="782" y="142"/>
                </a:lnTo>
                <a:lnTo>
                  <a:pt x="782" y="142"/>
                </a:lnTo>
                <a:lnTo>
                  <a:pt x="779" y="137"/>
                </a:lnTo>
                <a:lnTo>
                  <a:pt x="779" y="137"/>
                </a:lnTo>
                <a:lnTo>
                  <a:pt x="777" y="137"/>
                </a:lnTo>
                <a:lnTo>
                  <a:pt x="777" y="137"/>
                </a:lnTo>
                <a:lnTo>
                  <a:pt x="775" y="137"/>
                </a:lnTo>
                <a:lnTo>
                  <a:pt x="775" y="137"/>
                </a:lnTo>
                <a:close/>
                <a:moveTo>
                  <a:pt x="1062" y="231"/>
                </a:moveTo>
                <a:lnTo>
                  <a:pt x="1062" y="231"/>
                </a:lnTo>
                <a:lnTo>
                  <a:pt x="1065" y="231"/>
                </a:lnTo>
                <a:lnTo>
                  <a:pt x="1065" y="231"/>
                </a:lnTo>
                <a:lnTo>
                  <a:pt x="1065" y="226"/>
                </a:lnTo>
                <a:lnTo>
                  <a:pt x="1065" y="226"/>
                </a:lnTo>
                <a:lnTo>
                  <a:pt x="1065" y="223"/>
                </a:lnTo>
                <a:lnTo>
                  <a:pt x="1065" y="223"/>
                </a:lnTo>
                <a:lnTo>
                  <a:pt x="1060" y="226"/>
                </a:lnTo>
                <a:lnTo>
                  <a:pt x="1060" y="226"/>
                </a:lnTo>
                <a:lnTo>
                  <a:pt x="1060" y="226"/>
                </a:lnTo>
                <a:lnTo>
                  <a:pt x="1060" y="228"/>
                </a:lnTo>
                <a:lnTo>
                  <a:pt x="1060" y="228"/>
                </a:lnTo>
                <a:lnTo>
                  <a:pt x="1062" y="228"/>
                </a:lnTo>
                <a:lnTo>
                  <a:pt x="1062" y="228"/>
                </a:lnTo>
                <a:lnTo>
                  <a:pt x="1062" y="231"/>
                </a:lnTo>
                <a:lnTo>
                  <a:pt x="1062" y="231"/>
                </a:lnTo>
                <a:close/>
                <a:moveTo>
                  <a:pt x="1025" y="273"/>
                </a:moveTo>
                <a:lnTo>
                  <a:pt x="1025" y="273"/>
                </a:lnTo>
                <a:lnTo>
                  <a:pt x="1028" y="273"/>
                </a:lnTo>
                <a:lnTo>
                  <a:pt x="1028" y="273"/>
                </a:lnTo>
                <a:lnTo>
                  <a:pt x="1030" y="273"/>
                </a:lnTo>
                <a:lnTo>
                  <a:pt x="1030" y="273"/>
                </a:lnTo>
                <a:lnTo>
                  <a:pt x="1030" y="273"/>
                </a:lnTo>
                <a:lnTo>
                  <a:pt x="1030" y="273"/>
                </a:lnTo>
                <a:lnTo>
                  <a:pt x="1028" y="270"/>
                </a:lnTo>
                <a:lnTo>
                  <a:pt x="1028" y="270"/>
                </a:lnTo>
                <a:lnTo>
                  <a:pt x="1025" y="268"/>
                </a:lnTo>
                <a:lnTo>
                  <a:pt x="1025" y="268"/>
                </a:lnTo>
                <a:lnTo>
                  <a:pt x="1023" y="268"/>
                </a:lnTo>
                <a:lnTo>
                  <a:pt x="1023" y="268"/>
                </a:lnTo>
                <a:lnTo>
                  <a:pt x="1023" y="268"/>
                </a:lnTo>
                <a:lnTo>
                  <a:pt x="1023" y="270"/>
                </a:lnTo>
                <a:lnTo>
                  <a:pt x="1023" y="270"/>
                </a:lnTo>
                <a:lnTo>
                  <a:pt x="1025" y="270"/>
                </a:lnTo>
                <a:lnTo>
                  <a:pt x="1025" y="273"/>
                </a:lnTo>
                <a:lnTo>
                  <a:pt x="1025" y="273"/>
                </a:lnTo>
                <a:close/>
                <a:moveTo>
                  <a:pt x="917" y="255"/>
                </a:moveTo>
                <a:lnTo>
                  <a:pt x="917" y="255"/>
                </a:lnTo>
                <a:lnTo>
                  <a:pt x="920" y="255"/>
                </a:lnTo>
                <a:lnTo>
                  <a:pt x="920" y="255"/>
                </a:lnTo>
                <a:lnTo>
                  <a:pt x="922" y="255"/>
                </a:lnTo>
                <a:lnTo>
                  <a:pt x="922" y="255"/>
                </a:lnTo>
                <a:lnTo>
                  <a:pt x="925" y="255"/>
                </a:lnTo>
                <a:lnTo>
                  <a:pt x="925" y="255"/>
                </a:lnTo>
                <a:lnTo>
                  <a:pt x="925" y="253"/>
                </a:lnTo>
                <a:lnTo>
                  <a:pt x="925" y="253"/>
                </a:lnTo>
                <a:lnTo>
                  <a:pt x="927" y="250"/>
                </a:lnTo>
                <a:lnTo>
                  <a:pt x="927" y="250"/>
                </a:lnTo>
                <a:lnTo>
                  <a:pt x="927" y="250"/>
                </a:lnTo>
                <a:lnTo>
                  <a:pt x="925" y="248"/>
                </a:lnTo>
                <a:lnTo>
                  <a:pt x="925" y="248"/>
                </a:lnTo>
                <a:lnTo>
                  <a:pt x="925" y="243"/>
                </a:lnTo>
                <a:lnTo>
                  <a:pt x="925" y="243"/>
                </a:lnTo>
                <a:lnTo>
                  <a:pt x="922" y="241"/>
                </a:lnTo>
                <a:lnTo>
                  <a:pt x="922" y="241"/>
                </a:lnTo>
                <a:lnTo>
                  <a:pt x="922" y="238"/>
                </a:lnTo>
                <a:lnTo>
                  <a:pt x="922" y="238"/>
                </a:lnTo>
                <a:lnTo>
                  <a:pt x="922" y="236"/>
                </a:lnTo>
                <a:lnTo>
                  <a:pt x="922" y="236"/>
                </a:lnTo>
                <a:lnTo>
                  <a:pt x="920" y="236"/>
                </a:lnTo>
                <a:lnTo>
                  <a:pt x="920" y="236"/>
                </a:lnTo>
                <a:lnTo>
                  <a:pt x="912" y="236"/>
                </a:lnTo>
                <a:lnTo>
                  <a:pt x="912" y="236"/>
                </a:lnTo>
                <a:lnTo>
                  <a:pt x="907" y="241"/>
                </a:lnTo>
                <a:lnTo>
                  <a:pt x="907" y="241"/>
                </a:lnTo>
                <a:lnTo>
                  <a:pt x="905" y="241"/>
                </a:lnTo>
                <a:lnTo>
                  <a:pt x="905" y="241"/>
                </a:lnTo>
                <a:lnTo>
                  <a:pt x="905" y="241"/>
                </a:lnTo>
                <a:lnTo>
                  <a:pt x="905" y="246"/>
                </a:lnTo>
                <a:lnTo>
                  <a:pt x="905" y="246"/>
                </a:lnTo>
                <a:lnTo>
                  <a:pt x="907" y="246"/>
                </a:lnTo>
                <a:lnTo>
                  <a:pt x="907" y="246"/>
                </a:lnTo>
                <a:lnTo>
                  <a:pt x="907" y="248"/>
                </a:lnTo>
                <a:lnTo>
                  <a:pt x="907" y="248"/>
                </a:lnTo>
                <a:lnTo>
                  <a:pt x="907" y="250"/>
                </a:lnTo>
                <a:lnTo>
                  <a:pt x="907" y="250"/>
                </a:lnTo>
                <a:lnTo>
                  <a:pt x="905" y="250"/>
                </a:lnTo>
                <a:lnTo>
                  <a:pt x="905" y="250"/>
                </a:lnTo>
                <a:lnTo>
                  <a:pt x="902" y="250"/>
                </a:lnTo>
                <a:lnTo>
                  <a:pt x="902" y="250"/>
                </a:lnTo>
                <a:lnTo>
                  <a:pt x="905" y="253"/>
                </a:lnTo>
                <a:lnTo>
                  <a:pt x="905" y="253"/>
                </a:lnTo>
                <a:lnTo>
                  <a:pt x="910" y="253"/>
                </a:lnTo>
                <a:lnTo>
                  <a:pt x="910" y="253"/>
                </a:lnTo>
                <a:lnTo>
                  <a:pt x="917" y="255"/>
                </a:lnTo>
                <a:lnTo>
                  <a:pt x="917" y="255"/>
                </a:lnTo>
                <a:close/>
                <a:moveTo>
                  <a:pt x="1232" y="162"/>
                </a:moveTo>
                <a:lnTo>
                  <a:pt x="1232" y="162"/>
                </a:lnTo>
                <a:lnTo>
                  <a:pt x="1232" y="159"/>
                </a:lnTo>
                <a:lnTo>
                  <a:pt x="1232" y="159"/>
                </a:lnTo>
                <a:lnTo>
                  <a:pt x="1232" y="159"/>
                </a:lnTo>
                <a:lnTo>
                  <a:pt x="1235" y="155"/>
                </a:lnTo>
                <a:lnTo>
                  <a:pt x="1235" y="155"/>
                </a:lnTo>
                <a:lnTo>
                  <a:pt x="1235" y="152"/>
                </a:lnTo>
                <a:lnTo>
                  <a:pt x="1235" y="152"/>
                </a:lnTo>
                <a:lnTo>
                  <a:pt x="1235" y="150"/>
                </a:lnTo>
                <a:lnTo>
                  <a:pt x="1235" y="150"/>
                </a:lnTo>
                <a:lnTo>
                  <a:pt x="1230" y="145"/>
                </a:lnTo>
                <a:lnTo>
                  <a:pt x="1230" y="145"/>
                </a:lnTo>
                <a:lnTo>
                  <a:pt x="1230" y="142"/>
                </a:lnTo>
                <a:lnTo>
                  <a:pt x="1230" y="142"/>
                </a:lnTo>
                <a:lnTo>
                  <a:pt x="1227" y="142"/>
                </a:lnTo>
                <a:lnTo>
                  <a:pt x="1227" y="142"/>
                </a:lnTo>
                <a:lnTo>
                  <a:pt x="1222" y="142"/>
                </a:lnTo>
                <a:lnTo>
                  <a:pt x="1222" y="142"/>
                </a:lnTo>
                <a:lnTo>
                  <a:pt x="1220" y="145"/>
                </a:lnTo>
                <a:lnTo>
                  <a:pt x="1220" y="145"/>
                </a:lnTo>
                <a:lnTo>
                  <a:pt x="1220" y="147"/>
                </a:lnTo>
                <a:lnTo>
                  <a:pt x="1220" y="147"/>
                </a:lnTo>
                <a:lnTo>
                  <a:pt x="1222" y="152"/>
                </a:lnTo>
                <a:lnTo>
                  <a:pt x="1222" y="152"/>
                </a:lnTo>
                <a:lnTo>
                  <a:pt x="1222" y="152"/>
                </a:lnTo>
                <a:lnTo>
                  <a:pt x="1222" y="155"/>
                </a:lnTo>
                <a:lnTo>
                  <a:pt x="1222" y="155"/>
                </a:lnTo>
                <a:lnTo>
                  <a:pt x="1225" y="155"/>
                </a:lnTo>
                <a:lnTo>
                  <a:pt x="1225" y="155"/>
                </a:lnTo>
                <a:lnTo>
                  <a:pt x="1230" y="159"/>
                </a:lnTo>
                <a:lnTo>
                  <a:pt x="1230" y="159"/>
                </a:lnTo>
                <a:lnTo>
                  <a:pt x="1232" y="162"/>
                </a:lnTo>
                <a:lnTo>
                  <a:pt x="1232" y="162"/>
                </a:lnTo>
                <a:close/>
                <a:moveTo>
                  <a:pt x="1239" y="184"/>
                </a:moveTo>
                <a:lnTo>
                  <a:pt x="1239" y="184"/>
                </a:lnTo>
                <a:lnTo>
                  <a:pt x="1242" y="182"/>
                </a:lnTo>
                <a:lnTo>
                  <a:pt x="1242" y="182"/>
                </a:lnTo>
                <a:lnTo>
                  <a:pt x="1244" y="179"/>
                </a:lnTo>
                <a:lnTo>
                  <a:pt x="1244" y="179"/>
                </a:lnTo>
                <a:lnTo>
                  <a:pt x="1249" y="177"/>
                </a:lnTo>
                <a:lnTo>
                  <a:pt x="1249" y="177"/>
                </a:lnTo>
                <a:lnTo>
                  <a:pt x="1254" y="177"/>
                </a:lnTo>
                <a:lnTo>
                  <a:pt x="1254" y="177"/>
                </a:lnTo>
                <a:lnTo>
                  <a:pt x="1262" y="177"/>
                </a:lnTo>
                <a:lnTo>
                  <a:pt x="1262" y="177"/>
                </a:lnTo>
                <a:lnTo>
                  <a:pt x="1264" y="177"/>
                </a:lnTo>
                <a:lnTo>
                  <a:pt x="1264" y="177"/>
                </a:lnTo>
                <a:lnTo>
                  <a:pt x="1271" y="177"/>
                </a:lnTo>
                <a:lnTo>
                  <a:pt x="1271" y="177"/>
                </a:lnTo>
                <a:lnTo>
                  <a:pt x="1274" y="174"/>
                </a:lnTo>
                <a:lnTo>
                  <a:pt x="1274" y="174"/>
                </a:lnTo>
                <a:lnTo>
                  <a:pt x="1279" y="174"/>
                </a:lnTo>
                <a:lnTo>
                  <a:pt x="1279" y="174"/>
                </a:lnTo>
                <a:lnTo>
                  <a:pt x="1284" y="174"/>
                </a:lnTo>
                <a:lnTo>
                  <a:pt x="1284" y="174"/>
                </a:lnTo>
                <a:lnTo>
                  <a:pt x="1286" y="172"/>
                </a:lnTo>
                <a:lnTo>
                  <a:pt x="1286" y="172"/>
                </a:lnTo>
                <a:lnTo>
                  <a:pt x="1284" y="169"/>
                </a:lnTo>
                <a:lnTo>
                  <a:pt x="1284" y="169"/>
                </a:lnTo>
                <a:lnTo>
                  <a:pt x="1281" y="167"/>
                </a:lnTo>
                <a:lnTo>
                  <a:pt x="1281" y="167"/>
                </a:lnTo>
                <a:lnTo>
                  <a:pt x="1279" y="162"/>
                </a:lnTo>
                <a:lnTo>
                  <a:pt x="1279" y="162"/>
                </a:lnTo>
                <a:lnTo>
                  <a:pt x="1271" y="157"/>
                </a:lnTo>
                <a:lnTo>
                  <a:pt x="1271" y="157"/>
                </a:lnTo>
                <a:lnTo>
                  <a:pt x="1267" y="157"/>
                </a:lnTo>
                <a:lnTo>
                  <a:pt x="1267" y="157"/>
                </a:lnTo>
                <a:lnTo>
                  <a:pt x="1264" y="157"/>
                </a:lnTo>
                <a:lnTo>
                  <a:pt x="1264" y="157"/>
                </a:lnTo>
                <a:lnTo>
                  <a:pt x="1259" y="152"/>
                </a:lnTo>
                <a:lnTo>
                  <a:pt x="1259" y="152"/>
                </a:lnTo>
                <a:lnTo>
                  <a:pt x="1257" y="152"/>
                </a:lnTo>
                <a:lnTo>
                  <a:pt x="1257" y="152"/>
                </a:lnTo>
                <a:lnTo>
                  <a:pt x="1254" y="155"/>
                </a:lnTo>
                <a:lnTo>
                  <a:pt x="1254" y="155"/>
                </a:lnTo>
                <a:lnTo>
                  <a:pt x="1252" y="152"/>
                </a:lnTo>
                <a:lnTo>
                  <a:pt x="1252" y="152"/>
                </a:lnTo>
                <a:lnTo>
                  <a:pt x="1249" y="152"/>
                </a:lnTo>
                <a:lnTo>
                  <a:pt x="1249" y="152"/>
                </a:lnTo>
                <a:lnTo>
                  <a:pt x="1247" y="157"/>
                </a:lnTo>
                <a:lnTo>
                  <a:pt x="1247" y="157"/>
                </a:lnTo>
                <a:lnTo>
                  <a:pt x="1242" y="162"/>
                </a:lnTo>
                <a:lnTo>
                  <a:pt x="1242" y="162"/>
                </a:lnTo>
                <a:lnTo>
                  <a:pt x="1244" y="164"/>
                </a:lnTo>
                <a:lnTo>
                  <a:pt x="1244" y="164"/>
                </a:lnTo>
                <a:lnTo>
                  <a:pt x="1244" y="172"/>
                </a:lnTo>
                <a:lnTo>
                  <a:pt x="1244" y="172"/>
                </a:lnTo>
                <a:lnTo>
                  <a:pt x="1242" y="179"/>
                </a:lnTo>
                <a:lnTo>
                  <a:pt x="1242" y="179"/>
                </a:lnTo>
                <a:lnTo>
                  <a:pt x="1239" y="182"/>
                </a:lnTo>
                <a:lnTo>
                  <a:pt x="1239" y="182"/>
                </a:lnTo>
                <a:lnTo>
                  <a:pt x="1239" y="184"/>
                </a:lnTo>
                <a:lnTo>
                  <a:pt x="1239" y="184"/>
                </a:lnTo>
                <a:lnTo>
                  <a:pt x="1239" y="184"/>
                </a:lnTo>
                <a:close/>
                <a:moveTo>
                  <a:pt x="1166" y="169"/>
                </a:moveTo>
                <a:lnTo>
                  <a:pt x="1166" y="169"/>
                </a:lnTo>
                <a:lnTo>
                  <a:pt x="1168" y="172"/>
                </a:lnTo>
                <a:lnTo>
                  <a:pt x="1168" y="172"/>
                </a:lnTo>
                <a:lnTo>
                  <a:pt x="1171" y="174"/>
                </a:lnTo>
                <a:lnTo>
                  <a:pt x="1171" y="174"/>
                </a:lnTo>
                <a:lnTo>
                  <a:pt x="1173" y="174"/>
                </a:lnTo>
                <a:lnTo>
                  <a:pt x="1173" y="174"/>
                </a:lnTo>
                <a:lnTo>
                  <a:pt x="1176" y="177"/>
                </a:lnTo>
                <a:lnTo>
                  <a:pt x="1176" y="177"/>
                </a:lnTo>
                <a:lnTo>
                  <a:pt x="1180" y="177"/>
                </a:lnTo>
                <a:lnTo>
                  <a:pt x="1180" y="177"/>
                </a:lnTo>
                <a:lnTo>
                  <a:pt x="1183" y="179"/>
                </a:lnTo>
                <a:lnTo>
                  <a:pt x="1183" y="179"/>
                </a:lnTo>
                <a:lnTo>
                  <a:pt x="1185" y="179"/>
                </a:lnTo>
                <a:lnTo>
                  <a:pt x="1185" y="179"/>
                </a:lnTo>
                <a:lnTo>
                  <a:pt x="1185" y="177"/>
                </a:lnTo>
                <a:lnTo>
                  <a:pt x="1185" y="177"/>
                </a:lnTo>
                <a:lnTo>
                  <a:pt x="1180" y="172"/>
                </a:lnTo>
                <a:lnTo>
                  <a:pt x="1180" y="172"/>
                </a:lnTo>
                <a:lnTo>
                  <a:pt x="1178" y="172"/>
                </a:lnTo>
                <a:lnTo>
                  <a:pt x="1178" y="172"/>
                </a:lnTo>
                <a:lnTo>
                  <a:pt x="1173" y="172"/>
                </a:lnTo>
                <a:lnTo>
                  <a:pt x="1173" y="172"/>
                </a:lnTo>
                <a:lnTo>
                  <a:pt x="1171" y="169"/>
                </a:lnTo>
                <a:lnTo>
                  <a:pt x="1171" y="169"/>
                </a:lnTo>
                <a:lnTo>
                  <a:pt x="1168" y="167"/>
                </a:lnTo>
                <a:lnTo>
                  <a:pt x="1168" y="167"/>
                </a:lnTo>
                <a:lnTo>
                  <a:pt x="1166" y="169"/>
                </a:lnTo>
                <a:lnTo>
                  <a:pt x="1166" y="169"/>
                </a:lnTo>
                <a:close/>
                <a:moveTo>
                  <a:pt x="1264" y="265"/>
                </a:moveTo>
                <a:lnTo>
                  <a:pt x="1264" y="265"/>
                </a:lnTo>
                <a:lnTo>
                  <a:pt x="1269" y="270"/>
                </a:lnTo>
                <a:lnTo>
                  <a:pt x="1269" y="270"/>
                </a:lnTo>
                <a:lnTo>
                  <a:pt x="1271" y="270"/>
                </a:lnTo>
                <a:lnTo>
                  <a:pt x="1271" y="270"/>
                </a:lnTo>
                <a:lnTo>
                  <a:pt x="1271" y="270"/>
                </a:lnTo>
                <a:lnTo>
                  <a:pt x="1274" y="268"/>
                </a:lnTo>
                <a:lnTo>
                  <a:pt x="1274" y="268"/>
                </a:lnTo>
                <a:lnTo>
                  <a:pt x="1276" y="268"/>
                </a:lnTo>
                <a:lnTo>
                  <a:pt x="1276" y="268"/>
                </a:lnTo>
                <a:lnTo>
                  <a:pt x="1274" y="265"/>
                </a:lnTo>
                <a:lnTo>
                  <a:pt x="1274" y="265"/>
                </a:lnTo>
                <a:lnTo>
                  <a:pt x="1274" y="260"/>
                </a:lnTo>
                <a:lnTo>
                  <a:pt x="1274" y="260"/>
                </a:lnTo>
                <a:lnTo>
                  <a:pt x="1271" y="263"/>
                </a:lnTo>
                <a:lnTo>
                  <a:pt x="1271" y="263"/>
                </a:lnTo>
                <a:lnTo>
                  <a:pt x="1271" y="265"/>
                </a:lnTo>
                <a:lnTo>
                  <a:pt x="1271" y="265"/>
                </a:lnTo>
                <a:lnTo>
                  <a:pt x="1269" y="265"/>
                </a:lnTo>
                <a:lnTo>
                  <a:pt x="1269" y="265"/>
                </a:lnTo>
                <a:lnTo>
                  <a:pt x="1267" y="265"/>
                </a:lnTo>
                <a:lnTo>
                  <a:pt x="1264" y="265"/>
                </a:lnTo>
                <a:lnTo>
                  <a:pt x="1264" y="265"/>
                </a:lnTo>
                <a:close/>
                <a:moveTo>
                  <a:pt x="1611" y="241"/>
                </a:moveTo>
                <a:lnTo>
                  <a:pt x="1611" y="241"/>
                </a:lnTo>
                <a:lnTo>
                  <a:pt x="1611" y="241"/>
                </a:lnTo>
                <a:lnTo>
                  <a:pt x="1611" y="238"/>
                </a:lnTo>
                <a:lnTo>
                  <a:pt x="1611" y="238"/>
                </a:lnTo>
                <a:lnTo>
                  <a:pt x="1611" y="236"/>
                </a:lnTo>
                <a:lnTo>
                  <a:pt x="1611" y="236"/>
                </a:lnTo>
                <a:lnTo>
                  <a:pt x="1609" y="233"/>
                </a:lnTo>
                <a:lnTo>
                  <a:pt x="1609" y="233"/>
                </a:lnTo>
                <a:lnTo>
                  <a:pt x="1609" y="236"/>
                </a:lnTo>
                <a:lnTo>
                  <a:pt x="1609" y="236"/>
                </a:lnTo>
                <a:lnTo>
                  <a:pt x="1611" y="241"/>
                </a:lnTo>
                <a:lnTo>
                  <a:pt x="1611" y="241"/>
                </a:lnTo>
                <a:close/>
                <a:moveTo>
                  <a:pt x="1609" y="243"/>
                </a:moveTo>
                <a:lnTo>
                  <a:pt x="1609" y="243"/>
                </a:lnTo>
                <a:lnTo>
                  <a:pt x="1609" y="243"/>
                </a:lnTo>
                <a:lnTo>
                  <a:pt x="1609" y="241"/>
                </a:lnTo>
                <a:lnTo>
                  <a:pt x="1609" y="241"/>
                </a:lnTo>
                <a:lnTo>
                  <a:pt x="1609" y="238"/>
                </a:lnTo>
                <a:lnTo>
                  <a:pt x="1609" y="238"/>
                </a:lnTo>
                <a:lnTo>
                  <a:pt x="1606" y="238"/>
                </a:lnTo>
                <a:lnTo>
                  <a:pt x="1606" y="238"/>
                </a:lnTo>
                <a:lnTo>
                  <a:pt x="1606" y="238"/>
                </a:lnTo>
                <a:lnTo>
                  <a:pt x="1609" y="243"/>
                </a:lnTo>
                <a:lnTo>
                  <a:pt x="1609" y="243"/>
                </a:lnTo>
                <a:close/>
                <a:moveTo>
                  <a:pt x="1606" y="243"/>
                </a:moveTo>
                <a:lnTo>
                  <a:pt x="1606" y="243"/>
                </a:lnTo>
                <a:lnTo>
                  <a:pt x="1609" y="248"/>
                </a:lnTo>
                <a:lnTo>
                  <a:pt x="1609" y="248"/>
                </a:lnTo>
                <a:lnTo>
                  <a:pt x="1609" y="250"/>
                </a:lnTo>
                <a:lnTo>
                  <a:pt x="1609" y="250"/>
                </a:lnTo>
                <a:lnTo>
                  <a:pt x="1611" y="248"/>
                </a:lnTo>
                <a:lnTo>
                  <a:pt x="1611" y="248"/>
                </a:lnTo>
                <a:lnTo>
                  <a:pt x="1609" y="246"/>
                </a:lnTo>
                <a:lnTo>
                  <a:pt x="1609" y="246"/>
                </a:lnTo>
                <a:lnTo>
                  <a:pt x="1606" y="243"/>
                </a:lnTo>
                <a:lnTo>
                  <a:pt x="1606" y="243"/>
                </a:lnTo>
                <a:lnTo>
                  <a:pt x="1606" y="243"/>
                </a:lnTo>
                <a:lnTo>
                  <a:pt x="1606" y="243"/>
                </a:lnTo>
                <a:close/>
                <a:moveTo>
                  <a:pt x="1599" y="241"/>
                </a:moveTo>
                <a:lnTo>
                  <a:pt x="1599" y="241"/>
                </a:lnTo>
                <a:lnTo>
                  <a:pt x="1599" y="246"/>
                </a:lnTo>
                <a:lnTo>
                  <a:pt x="1599" y="246"/>
                </a:lnTo>
                <a:lnTo>
                  <a:pt x="1601" y="246"/>
                </a:lnTo>
                <a:lnTo>
                  <a:pt x="1601" y="246"/>
                </a:lnTo>
                <a:lnTo>
                  <a:pt x="1601" y="246"/>
                </a:lnTo>
                <a:lnTo>
                  <a:pt x="1604" y="243"/>
                </a:lnTo>
                <a:lnTo>
                  <a:pt x="1604" y="243"/>
                </a:lnTo>
                <a:lnTo>
                  <a:pt x="1601" y="241"/>
                </a:lnTo>
                <a:lnTo>
                  <a:pt x="1601" y="241"/>
                </a:lnTo>
                <a:lnTo>
                  <a:pt x="1601" y="241"/>
                </a:lnTo>
                <a:lnTo>
                  <a:pt x="1599" y="241"/>
                </a:lnTo>
                <a:lnTo>
                  <a:pt x="1599" y="241"/>
                </a:lnTo>
                <a:lnTo>
                  <a:pt x="1599" y="241"/>
                </a:lnTo>
                <a:close/>
                <a:moveTo>
                  <a:pt x="1682" y="206"/>
                </a:moveTo>
                <a:lnTo>
                  <a:pt x="1682" y="206"/>
                </a:lnTo>
                <a:lnTo>
                  <a:pt x="1687" y="209"/>
                </a:lnTo>
                <a:lnTo>
                  <a:pt x="1687" y="209"/>
                </a:lnTo>
                <a:lnTo>
                  <a:pt x="1690" y="206"/>
                </a:lnTo>
                <a:lnTo>
                  <a:pt x="1690" y="206"/>
                </a:lnTo>
                <a:lnTo>
                  <a:pt x="1692" y="204"/>
                </a:lnTo>
                <a:lnTo>
                  <a:pt x="1692" y="204"/>
                </a:lnTo>
                <a:lnTo>
                  <a:pt x="1692" y="201"/>
                </a:lnTo>
                <a:lnTo>
                  <a:pt x="1692" y="201"/>
                </a:lnTo>
                <a:lnTo>
                  <a:pt x="1690" y="199"/>
                </a:lnTo>
                <a:lnTo>
                  <a:pt x="1690" y="199"/>
                </a:lnTo>
                <a:lnTo>
                  <a:pt x="1690" y="196"/>
                </a:lnTo>
                <a:lnTo>
                  <a:pt x="1690" y="196"/>
                </a:lnTo>
                <a:lnTo>
                  <a:pt x="1690" y="194"/>
                </a:lnTo>
                <a:lnTo>
                  <a:pt x="1690" y="194"/>
                </a:lnTo>
                <a:lnTo>
                  <a:pt x="1685" y="191"/>
                </a:lnTo>
                <a:lnTo>
                  <a:pt x="1685" y="191"/>
                </a:lnTo>
                <a:lnTo>
                  <a:pt x="1685" y="194"/>
                </a:lnTo>
                <a:lnTo>
                  <a:pt x="1685" y="194"/>
                </a:lnTo>
                <a:lnTo>
                  <a:pt x="1682" y="194"/>
                </a:lnTo>
                <a:lnTo>
                  <a:pt x="1682" y="194"/>
                </a:lnTo>
                <a:lnTo>
                  <a:pt x="1680" y="191"/>
                </a:lnTo>
                <a:lnTo>
                  <a:pt x="1680" y="191"/>
                </a:lnTo>
                <a:lnTo>
                  <a:pt x="1677" y="191"/>
                </a:lnTo>
                <a:lnTo>
                  <a:pt x="1677" y="191"/>
                </a:lnTo>
                <a:lnTo>
                  <a:pt x="1675" y="191"/>
                </a:lnTo>
                <a:lnTo>
                  <a:pt x="1675" y="191"/>
                </a:lnTo>
                <a:lnTo>
                  <a:pt x="1675" y="194"/>
                </a:lnTo>
                <a:lnTo>
                  <a:pt x="1675" y="194"/>
                </a:lnTo>
                <a:lnTo>
                  <a:pt x="1675" y="194"/>
                </a:lnTo>
                <a:lnTo>
                  <a:pt x="1672" y="194"/>
                </a:lnTo>
                <a:lnTo>
                  <a:pt x="1672" y="194"/>
                </a:lnTo>
                <a:lnTo>
                  <a:pt x="1672" y="196"/>
                </a:lnTo>
                <a:lnTo>
                  <a:pt x="1672" y="196"/>
                </a:lnTo>
                <a:lnTo>
                  <a:pt x="1672" y="201"/>
                </a:lnTo>
                <a:lnTo>
                  <a:pt x="1672" y="201"/>
                </a:lnTo>
                <a:lnTo>
                  <a:pt x="1672" y="204"/>
                </a:lnTo>
                <a:lnTo>
                  <a:pt x="1672" y="204"/>
                </a:lnTo>
                <a:lnTo>
                  <a:pt x="1675" y="204"/>
                </a:lnTo>
                <a:lnTo>
                  <a:pt x="1675" y="204"/>
                </a:lnTo>
                <a:lnTo>
                  <a:pt x="1680" y="204"/>
                </a:lnTo>
                <a:lnTo>
                  <a:pt x="1680" y="204"/>
                </a:lnTo>
                <a:lnTo>
                  <a:pt x="1682" y="206"/>
                </a:lnTo>
                <a:lnTo>
                  <a:pt x="1682" y="206"/>
                </a:lnTo>
                <a:close/>
                <a:moveTo>
                  <a:pt x="1702" y="199"/>
                </a:moveTo>
                <a:lnTo>
                  <a:pt x="1702" y="199"/>
                </a:lnTo>
                <a:lnTo>
                  <a:pt x="1704" y="196"/>
                </a:lnTo>
                <a:lnTo>
                  <a:pt x="1704" y="196"/>
                </a:lnTo>
                <a:lnTo>
                  <a:pt x="1704" y="196"/>
                </a:lnTo>
                <a:lnTo>
                  <a:pt x="1702" y="196"/>
                </a:lnTo>
                <a:lnTo>
                  <a:pt x="1702" y="196"/>
                </a:lnTo>
                <a:lnTo>
                  <a:pt x="1702" y="196"/>
                </a:lnTo>
                <a:lnTo>
                  <a:pt x="1702" y="199"/>
                </a:lnTo>
                <a:lnTo>
                  <a:pt x="1702" y="199"/>
                </a:lnTo>
                <a:close/>
                <a:moveTo>
                  <a:pt x="1724" y="1028"/>
                </a:moveTo>
                <a:lnTo>
                  <a:pt x="1724" y="1028"/>
                </a:lnTo>
                <a:lnTo>
                  <a:pt x="1724" y="1025"/>
                </a:lnTo>
                <a:lnTo>
                  <a:pt x="1724" y="1025"/>
                </a:lnTo>
                <a:lnTo>
                  <a:pt x="1724" y="1020"/>
                </a:lnTo>
                <a:lnTo>
                  <a:pt x="1724" y="1020"/>
                </a:lnTo>
                <a:lnTo>
                  <a:pt x="1722" y="1018"/>
                </a:lnTo>
                <a:lnTo>
                  <a:pt x="1722" y="1018"/>
                </a:lnTo>
                <a:lnTo>
                  <a:pt x="1722" y="1015"/>
                </a:lnTo>
                <a:lnTo>
                  <a:pt x="1722" y="1015"/>
                </a:lnTo>
                <a:lnTo>
                  <a:pt x="1722" y="1010"/>
                </a:lnTo>
                <a:lnTo>
                  <a:pt x="1722" y="1010"/>
                </a:lnTo>
                <a:lnTo>
                  <a:pt x="1724" y="1008"/>
                </a:lnTo>
                <a:lnTo>
                  <a:pt x="1724" y="1008"/>
                </a:lnTo>
                <a:lnTo>
                  <a:pt x="1727" y="1008"/>
                </a:lnTo>
                <a:lnTo>
                  <a:pt x="1727" y="1008"/>
                </a:lnTo>
                <a:lnTo>
                  <a:pt x="1727" y="1010"/>
                </a:lnTo>
                <a:lnTo>
                  <a:pt x="1727" y="1010"/>
                </a:lnTo>
                <a:lnTo>
                  <a:pt x="1729" y="1010"/>
                </a:lnTo>
                <a:lnTo>
                  <a:pt x="1729" y="1010"/>
                </a:lnTo>
                <a:lnTo>
                  <a:pt x="1734" y="1010"/>
                </a:lnTo>
                <a:lnTo>
                  <a:pt x="1734" y="1010"/>
                </a:lnTo>
                <a:lnTo>
                  <a:pt x="1734" y="1008"/>
                </a:lnTo>
                <a:lnTo>
                  <a:pt x="1734" y="1008"/>
                </a:lnTo>
                <a:lnTo>
                  <a:pt x="1736" y="1008"/>
                </a:lnTo>
                <a:lnTo>
                  <a:pt x="1736" y="1008"/>
                </a:lnTo>
                <a:lnTo>
                  <a:pt x="1736" y="1010"/>
                </a:lnTo>
                <a:lnTo>
                  <a:pt x="1736" y="1010"/>
                </a:lnTo>
                <a:lnTo>
                  <a:pt x="1736" y="1010"/>
                </a:lnTo>
                <a:lnTo>
                  <a:pt x="1736" y="1013"/>
                </a:lnTo>
                <a:lnTo>
                  <a:pt x="1736" y="1013"/>
                </a:lnTo>
                <a:lnTo>
                  <a:pt x="1739" y="1018"/>
                </a:lnTo>
                <a:lnTo>
                  <a:pt x="1739" y="1018"/>
                </a:lnTo>
                <a:lnTo>
                  <a:pt x="1741" y="1020"/>
                </a:lnTo>
                <a:lnTo>
                  <a:pt x="1741" y="1020"/>
                </a:lnTo>
                <a:lnTo>
                  <a:pt x="1741" y="1023"/>
                </a:lnTo>
                <a:lnTo>
                  <a:pt x="1741" y="1023"/>
                </a:lnTo>
                <a:lnTo>
                  <a:pt x="1741" y="1020"/>
                </a:lnTo>
                <a:lnTo>
                  <a:pt x="1741" y="1020"/>
                </a:lnTo>
                <a:lnTo>
                  <a:pt x="1741" y="1018"/>
                </a:lnTo>
                <a:lnTo>
                  <a:pt x="1741" y="1018"/>
                </a:lnTo>
                <a:lnTo>
                  <a:pt x="1741" y="1015"/>
                </a:lnTo>
                <a:lnTo>
                  <a:pt x="1741" y="1015"/>
                </a:lnTo>
                <a:lnTo>
                  <a:pt x="1741" y="1010"/>
                </a:lnTo>
                <a:lnTo>
                  <a:pt x="1741" y="1010"/>
                </a:lnTo>
                <a:lnTo>
                  <a:pt x="1739" y="1008"/>
                </a:lnTo>
                <a:lnTo>
                  <a:pt x="1739" y="1008"/>
                </a:lnTo>
                <a:lnTo>
                  <a:pt x="1739" y="1005"/>
                </a:lnTo>
                <a:lnTo>
                  <a:pt x="1739" y="1005"/>
                </a:lnTo>
                <a:lnTo>
                  <a:pt x="1736" y="1003"/>
                </a:lnTo>
                <a:lnTo>
                  <a:pt x="1736" y="1003"/>
                </a:lnTo>
                <a:lnTo>
                  <a:pt x="1734" y="1003"/>
                </a:lnTo>
                <a:lnTo>
                  <a:pt x="1734" y="1003"/>
                </a:lnTo>
                <a:lnTo>
                  <a:pt x="1734" y="1003"/>
                </a:lnTo>
                <a:lnTo>
                  <a:pt x="1729" y="1001"/>
                </a:lnTo>
                <a:lnTo>
                  <a:pt x="1729" y="1001"/>
                </a:lnTo>
                <a:lnTo>
                  <a:pt x="1729" y="996"/>
                </a:lnTo>
                <a:lnTo>
                  <a:pt x="1729" y="996"/>
                </a:lnTo>
                <a:lnTo>
                  <a:pt x="1727" y="993"/>
                </a:lnTo>
                <a:lnTo>
                  <a:pt x="1727" y="993"/>
                </a:lnTo>
                <a:lnTo>
                  <a:pt x="1722" y="988"/>
                </a:lnTo>
                <a:lnTo>
                  <a:pt x="1722" y="988"/>
                </a:lnTo>
                <a:lnTo>
                  <a:pt x="1719" y="988"/>
                </a:lnTo>
                <a:lnTo>
                  <a:pt x="1719" y="988"/>
                </a:lnTo>
                <a:lnTo>
                  <a:pt x="1717" y="986"/>
                </a:lnTo>
                <a:lnTo>
                  <a:pt x="1717" y="986"/>
                </a:lnTo>
                <a:lnTo>
                  <a:pt x="1717" y="981"/>
                </a:lnTo>
                <a:lnTo>
                  <a:pt x="1717" y="981"/>
                </a:lnTo>
                <a:lnTo>
                  <a:pt x="1714" y="976"/>
                </a:lnTo>
                <a:lnTo>
                  <a:pt x="1714" y="976"/>
                </a:lnTo>
                <a:lnTo>
                  <a:pt x="1712" y="974"/>
                </a:lnTo>
                <a:lnTo>
                  <a:pt x="1712" y="974"/>
                </a:lnTo>
                <a:lnTo>
                  <a:pt x="1712" y="966"/>
                </a:lnTo>
                <a:lnTo>
                  <a:pt x="1712" y="966"/>
                </a:lnTo>
                <a:lnTo>
                  <a:pt x="1712" y="961"/>
                </a:lnTo>
                <a:lnTo>
                  <a:pt x="1712" y="961"/>
                </a:lnTo>
                <a:lnTo>
                  <a:pt x="1709" y="959"/>
                </a:lnTo>
                <a:lnTo>
                  <a:pt x="1709" y="959"/>
                </a:lnTo>
                <a:lnTo>
                  <a:pt x="1712" y="954"/>
                </a:lnTo>
                <a:lnTo>
                  <a:pt x="1712" y="954"/>
                </a:lnTo>
                <a:lnTo>
                  <a:pt x="1712" y="949"/>
                </a:lnTo>
                <a:lnTo>
                  <a:pt x="1712" y="949"/>
                </a:lnTo>
                <a:lnTo>
                  <a:pt x="1709" y="946"/>
                </a:lnTo>
                <a:lnTo>
                  <a:pt x="1709" y="946"/>
                </a:lnTo>
                <a:lnTo>
                  <a:pt x="1709" y="944"/>
                </a:lnTo>
                <a:lnTo>
                  <a:pt x="1709" y="944"/>
                </a:lnTo>
                <a:lnTo>
                  <a:pt x="1709" y="942"/>
                </a:lnTo>
                <a:lnTo>
                  <a:pt x="1709" y="942"/>
                </a:lnTo>
                <a:lnTo>
                  <a:pt x="1709" y="939"/>
                </a:lnTo>
                <a:lnTo>
                  <a:pt x="1709" y="939"/>
                </a:lnTo>
                <a:lnTo>
                  <a:pt x="1712" y="939"/>
                </a:lnTo>
                <a:lnTo>
                  <a:pt x="1712" y="939"/>
                </a:lnTo>
                <a:lnTo>
                  <a:pt x="1714" y="939"/>
                </a:lnTo>
                <a:lnTo>
                  <a:pt x="1714" y="939"/>
                </a:lnTo>
                <a:lnTo>
                  <a:pt x="1717" y="939"/>
                </a:lnTo>
                <a:lnTo>
                  <a:pt x="1717" y="939"/>
                </a:lnTo>
                <a:lnTo>
                  <a:pt x="1722" y="939"/>
                </a:lnTo>
                <a:lnTo>
                  <a:pt x="1722" y="939"/>
                </a:lnTo>
                <a:lnTo>
                  <a:pt x="1724" y="942"/>
                </a:lnTo>
                <a:lnTo>
                  <a:pt x="1724" y="942"/>
                </a:lnTo>
                <a:lnTo>
                  <a:pt x="1727" y="946"/>
                </a:lnTo>
                <a:lnTo>
                  <a:pt x="1727" y="946"/>
                </a:lnTo>
                <a:lnTo>
                  <a:pt x="1729" y="946"/>
                </a:lnTo>
                <a:lnTo>
                  <a:pt x="1729" y="946"/>
                </a:lnTo>
                <a:lnTo>
                  <a:pt x="1732" y="949"/>
                </a:lnTo>
                <a:lnTo>
                  <a:pt x="1732" y="949"/>
                </a:lnTo>
                <a:lnTo>
                  <a:pt x="1736" y="954"/>
                </a:lnTo>
                <a:lnTo>
                  <a:pt x="1736" y="954"/>
                </a:lnTo>
                <a:lnTo>
                  <a:pt x="1736" y="954"/>
                </a:lnTo>
                <a:lnTo>
                  <a:pt x="1736" y="951"/>
                </a:lnTo>
                <a:lnTo>
                  <a:pt x="1736" y="951"/>
                </a:lnTo>
                <a:lnTo>
                  <a:pt x="1732" y="946"/>
                </a:lnTo>
                <a:lnTo>
                  <a:pt x="1732" y="946"/>
                </a:lnTo>
                <a:lnTo>
                  <a:pt x="1729" y="944"/>
                </a:lnTo>
                <a:lnTo>
                  <a:pt x="1729" y="944"/>
                </a:lnTo>
                <a:lnTo>
                  <a:pt x="1727" y="939"/>
                </a:lnTo>
                <a:lnTo>
                  <a:pt x="1727" y="939"/>
                </a:lnTo>
                <a:lnTo>
                  <a:pt x="1722" y="934"/>
                </a:lnTo>
                <a:lnTo>
                  <a:pt x="1722" y="934"/>
                </a:lnTo>
                <a:lnTo>
                  <a:pt x="1722" y="934"/>
                </a:lnTo>
                <a:lnTo>
                  <a:pt x="1722" y="932"/>
                </a:lnTo>
                <a:lnTo>
                  <a:pt x="1722" y="932"/>
                </a:lnTo>
                <a:lnTo>
                  <a:pt x="1719" y="927"/>
                </a:lnTo>
                <a:lnTo>
                  <a:pt x="1719" y="927"/>
                </a:lnTo>
                <a:lnTo>
                  <a:pt x="1717" y="922"/>
                </a:lnTo>
                <a:lnTo>
                  <a:pt x="1717" y="922"/>
                </a:lnTo>
                <a:lnTo>
                  <a:pt x="1714" y="922"/>
                </a:lnTo>
                <a:lnTo>
                  <a:pt x="1714" y="922"/>
                </a:lnTo>
                <a:lnTo>
                  <a:pt x="1714" y="919"/>
                </a:lnTo>
                <a:lnTo>
                  <a:pt x="1714" y="919"/>
                </a:lnTo>
                <a:lnTo>
                  <a:pt x="1709" y="912"/>
                </a:lnTo>
                <a:lnTo>
                  <a:pt x="1709" y="912"/>
                </a:lnTo>
                <a:lnTo>
                  <a:pt x="1704" y="905"/>
                </a:lnTo>
                <a:lnTo>
                  <a:pt x="1704" y="905"/>
                </a:lnTo>
                <a:lnTo>
                  <a:pt x="1704" y="902"/>
                </a:lnTo>
                <a:lnTo>
                  <a:pt x="1704" y="902"/>
                </a:lnTo>
                <a:lnTo>
                  <a:pt x="1700" y="895"/>
                </a:lnTo>
                <a:lnTo>
                  <a:pt x="1700" y="895"/>
                </a:lnTo>
                <a:lnTo>
                  <a:pt x="1697" y="890"/>
                </a:lnTo>
                <a:lnTo>
                  <a:pt x="1697" y="890"/>
                </a:lnTo>
                <a:lnTo>
                  <a:pt x="1695" y="887"/>
                </a:lnTo>
                <a:lnTo>
                  <a:pt x="1695" y="887"/>
                </a:lnTo>
                <a:lnTo>
                  <a:pt x="1695" y="885"/>
                </a:lnTo>
                <a:lnTo>
                  <a:pt x="1695" y="885"/>
                </a:lnTo>
                <a:lnTo>
                  <a:pt x="1692" y="883"/>
                </a:lnTo>
                <a:lnTo>
                  <a:pt x="1692" y="883"/>
                </a:lnTo>
                <a:lnTo>
                  <a:pt x="1690" y="880"/>
                </a:lnTo>
                <a:lnTo>
                  <a:pt x="1690" y="880"/>
                </a:lnTo>
                <a:lnTo>
                  <a:pt x="1690" y="883"/>
                </a:lnTo>
                <a:lnTo>
                  <a:pt x="1690" y="883"/>
                </a:lnTo>
                <a:lnTo>
                  <a:pt x="1687" y="883"/>
                </a:lnTo>
                <a:lnTo>
                  <a:pt x="1687" y="883"/>
                </a:lnTo>
                <a:lnTo>
                  <a:pt x="1687" y="880"/>
                </a:lnTo>
                <a:lnTo>
                  <a:pt x="1687" y="880"/>
                </a:lnTo>
                <a:lnTo>
                  <a:pt x="1687" y="878"/>
                </a:lnTo>
                <a:lnTo>
                  <a:pt x="1687" y="878"/>
                </a:lnTo>
                <a:lnTo>
                  <a:pt x="1687" y="875"/>
                </a:lnTo>
                <a:lnTo>
                  <a:pt x="1687" y="875"/>
                </a:lnTo>
                <a:lnTo>
                  <a:pt x="1685" y="875"/>
                </a:lnTo>
                <a:lnTo>
                  <a:pt x="1685" y="875"/>
                </a:lnTo>
                <a:lnTo>
                  <a:pt x="1682" y="870"/>
                </a:lnTo>
                <a:lnTo>
                  <a:pt x="1682" y="870"/>
                </a:lnTo>
                <a:lnTo>
                  <a:pt x="1680" y="868"/>
                </a:lnTo>
                <a:lnTo>
                  <a:pt x="1680" y="868"/>
                </a:lnTo>
                <a:lnTo>
                  <a:pt x="1677" y="865"/>
                </a:lnTo>
                <a:lnTo>
                  <a:pt x="1677" y="865"/>
                </a:lnTo>
                <a:lnTo>
                  <a:pt x="1677" y="860"/>
                </a:lnTo>
                <a:lnTo>
                  <a:pt x="1677" y="860"/>
                </a:lnTo>
                <a:lnTo>
                  <a:pt x="1680" y="858"/>
                </a:lnTo>
                <a:lnTo>
                  <a:pt x="1680" y="858"/>
                </a:lnTo>
                <a:lnTo>
                  <a:pt x="1680" y="858"/>
                </a:lnTo>
                <a:lnTo>
                  <a:pt x="1680" y="855"/>
                </a:lnTo>
                <a:lnTo>
                  <a:pt x="1680" y="855"/>
                </a:lnTo>
                <a:lnTo>
                  <a:pt x="1677" y="851"/>
                </a:lnTo>
                <a:lnTo>
                  <a:pt x="1677" y="851"/>
                </a:lnTo>
                <a:lnTo>
                  <a:pt x="1677" y="846"/>
                </a:lnTo>
                <a:lnTo>
                  <a:pt x="1677" y="846"/>
                </a:lnTo>
                <a:lnTo>
                  <a:pt x="1675" y="846"/>
                </a:lnTo>
                <a:lnTo>
                  <a:pt x="1675" y="846"/>
                </a:lnTo>
                <a:lnTo>
                  <a:pt x="1670" y="841"/>
                </a:lnTo>
                <a:lnTo>
                  <a:pt x="1670" y="841"/>
                </a:lnTo>
                <a:lnTo>
                  <a:pt x="1670" y="838"/>
                </a:lnTo>
                <a:lnTo>
                  <a:pt x="1670" y="838"/>
                </a:lnTo>
                <a:lnTo>
                  <a:pt x="1670" y="838"/>
                </a:lnTo>
                <a:lnTo>
                  <a:pt x="1670" y="836"/>
                </a:lnTo>
                <a:lnTo>
                  <a:pt x="1670" y="836"/>
                </a:lnTo>
                <a:lnTo>
                  <a:pt x="1670" y="836"/>
                </a:lnTo>
                <a:lnTo>
                  <a:pt x="1672" y="838"/>
                </a:lnTo>
                <a:lnTo>
                  <a:pt x="1672" y="838"/>
                </a:lnTo>
                <a:lnTo>
                  <a:pt x="1675" y="843"/>
                </a:lnTo>
                <a:lnTo>
                  <a:pt x="1675" y="843"/>
                </a:lnTo>
                <a:lnTo>
                  <a:pt x="1675" y="838"/>
                </a:lnTo>
                <a:lnTo>
                  <a:pt x="1675" y="838"/>
                </a:lnTo>
                <a:lnTo>
                  <a:pt x="1670" y="833"/>
                </a:lnTo>
                <a:lnTo>
                  <a:pt x="1670" y="833"/>
                </a:lnTo>
                <a:lnTo>
                  <a:pt x="1668" y="831"/>
                </a:lnTo>
                <a:lnTo>
                  <a:pt x="1668" y="831"/>
                </a:lnTo>
                <a:lnTo>
                  <a:pt x="1665" y="831"/>
                </a:lnTo>
                <a:lnTo>
                  <a:pt x="1665" y="831"/>
                </a:lnTo>
                <a:lnTo>
                  <a:pt x="1665" y="826"/>
                </a:lnTo>
                <a:lnTo>
                  <a:pt x="1665" y="826"/>
                </a:lnTo>
                <a:lnTo>
                  <a:pt x="1660" y="821"/>
                </a:lnTo>
                <a:lnTo>
                  <a:pt x="1660" y="821"/>
                </a:lnTo>
                <a:lnTo>
                  <a:pt x="1658" y="819"/>
                </a:lnTo>
                <a:lnTo>
                  <a:pt x="1658" y="819"/>
                </a:lnTo>
                <a:lnTo>
                  <a:pt x="1658" y="814"/>
                </a:lnTo>
                <a:lnTo>
                  <a:pt x="1658" y="814"/>
                </a:lnTo>
                <a:lnTo>
                  <a:pt x="1655" y="811"/>
                </a:lnTo>
                <a:lnTo>
                  <a:pt x="1655" y="811"/>
                </a:lnTo>
                <a:lnTo>
                  <a:pt x="1650" y="809"/>
                </a:lnTo>
                <a:lnTo>
                  <a:pt x="1650" y="809"/>
                </a:lnTo>
                <a:lnTo>
                  <a:pt x="1648" y="806"/>
                </a:lnTo>
                <a:lnTo>
                  <a:pt x="1648" y="806"/>
                </a:lnTo>
                <a:lnTo>
                  <a:pt x="1648" y="804"/>
                </a:lnTo>
                <a:lnTo>
                  <a:pt x="1648" y="804"/>
                </a:lnTo>
                <a:lnTo>
                  <a:pt x="1645" y="806"/>
                </a:lnTo>
                <a:lnTo>
                  <a:pt x="1645" y="806"/>
                </a:lnTo>
                <a:lnTo>
                  <a:pt x="1648" y="806"/>
                </a:lnTo>
                <a:lnTo>
                  <a:pt x="1648" y="806"/>
                </a:lnTo>
                <a:lnTo>
                  <a:pt x="1648" y="809"/>
                </a:lnTo>
                <a:lnTo>
                  <a:pt x="1648" y="809"/>
                </a:lnTo>
                <a:lnTo>
                  <a:pt x="1645" y="809"/>
                </a:lnTo>
                <a:lnTo>
                  <a:pt x="1645" y="809"/>
                </a:lnTo>
                <a:lnTo>
                  <a:pt x="1643" y="809"/>
                </a:lnTo>
                <a:lnTo>
                  <a:pt x="1643" y="809"/>
                </a:lnTo>
                <a:lnTo>
                  <a:pt x="1640" y="809"/>
                </a:lnTo>
                <a:lnTo>
                  <a:pt x="1640" y="809"/>
                </a:lnTo>
                <a:lnTo>
                  <a:pt x="1645" y="814"/>
                </a:lnTo>
                <a:lnTo>
                  <a:pt x="1645" y="814"/>
                </a:lnTo>
                <a:lnTo>
                  <a:pt x="1650" y="816"/>
                </a:lnTo>
                <a:lnTo>
                  <a:pt x="1650" y="816"/>
                </a:lnTo>
                <a:lnTo>
                  <a:pt x="1653" y="819"/>
                </a:lnTo>
                <a:lnTo>
                  <a:pt x="1653" y="819"/>
                </a:lnTo>
                <a:lnTo>
                  <a:pt x="1650" y="821"/>
                </a:lnTo>
                <a:lnTo>
                  <a:pt x="1650" y="821"/>
                </a:lnTo>
                <a:lnTo>
                  <a:pt x="1653" y="821"/>
                </a:lnTo>
                <a:lnTo>
                  <a:pt x="1653" y="821"/>
                </a:lnTo>
                <a:lnTo>
                  <a:pt x="1655" y="821"/>
                </a:lnTo>
                <a:lnTo>
                  <a:pt x="1655" y="821"/>
                </a:lnTo>
                <a:lnTo>
                  <a:pt x="1655" y="823"/>
                </a:lnTo>
                <a:lnTo>
                  <a:pt x="1655" y="823"/>
                </a:lnTo>
                <a:lnTo>
                  <a:pt x="1655" y="823"/>
                </a:lnTo>
                <a:lnTo>
                  <a:pt x="1653" y="823"/>
                </a:lnTo>
                <a:lnTo>
                  <a:pt x="1653" y="823"/>
                </a:lnTo>
                <a:lnTo>
                  <a:pt x="1653" y="826"/>
                </a:lnTo>
                <a:lnTo>
                  <a:pt x="1653" y="826"/>
                </a:lnTo>
                <a:lnTo>
                  <a:pt x="1655" y="826"/>
                </a:lnTo>
                <a:lnTo>
                  <a:pt x="1655" y="826"/>
                </a:lnTo>
                <a:lnTo>
                  <a:pt x="1655" y="831"/>
                </a:lnTo>
                <a:lnTo>
                  <a:pt x="1655" y="831"/>
                </a:lnTo>
                <a:lnTo>
                  <a:pt x="1653" y="831"/>
                </a:lnTo>
                <a:lnTo>
                  <a:pt x="1653" y="831"/>
                </a:lnTo>
                <a:lnTo>
                  <a:pt x="1650" y="831"/>
                </a:lnTo>
                <a:lnTo>
                  <a:pt x="1650" y="831"/>
                </a:lnTo>
                <a:lnTo>
                  <a:pt x="1650" y="828"/>
                </a:lnTo>
                <a:lnTo>
                  <a:pt x="1650" y="828"/>
                </a:lnTo>
                <a:lnTo>
                  <a:pt x="1648" y="831"/>
                </a:lnTo>
                <a:lnTo>
                  <a:pt x="1648" y="831"/>
                </a:lnTo>
                <a:lnTo>
                  <a:pt x="1645" y="833"/>
                </a:lnTo>
                <a:lnTo>
                  <a:pt x="1645" y="833"/>
                </a:lnTo>
                <a:lnTo>
                  <a:pt x="1648" y="838"/>
                </a:lnTo>
                <a:lnTo>
                  <a:pt x="1648" y="838"/>
                </a:lnTo>
                <a:lnTo>
                  <a:pt x="1650" y="841"/>
                </a:lnTo>
                <a:lnTo>
                  <a:pt x="1650" y="841"/>
                </a:lnTo>
                <a:lnTo>
                  <a:pt x="1653" y="846"/>
                </a:lnTo>
                <a:lnTo>
                  <a:pt x="1653" y="846"/>
                </a:lnTo>
                <a:lnTo>
                  <a:pt x="1655" y="851"/>
                </a:lnTo>
                <a:lnTo>
                  <a:pt x="1655" y="851"/>
                </a:lnTo>
                <a:lnTo>
                  <a:pt x="1655" y="855"/>
                </a:lnTo>
                <a:lnTo>
                  <a:pt x="1655" y="855"/>
                </a:lnTo>
                <a:lnTo>
                  <a:pt x="1655" y="858"/>
                </a:lnTo>
                <a:lnTo>
                  <a:pt x="1655" y="858"/>
                </a:lnTo>
                <a:lnTo>
                  <a:pt x="1658" y="863"/>
                </a:lnTo>
                <a:lnTo>
                  <a:pt x="1658" y="863"/>
                </a:lnTo>
                <a:lnTo>
                  <a:pt x="1660" y="870"/>
                </a:lnTo>
                <a:lnTo>
                  <a:pt x="1660" y="870"/>
                </a:lnTo>
                <a:lnTo>
                  <a:pt x="1663" y="875"/>
                </a:lnTo>
                <a:lnTo>
                  <a:pt x="1663" y="875"/>
                </a:lnTo>
                <a:lnTo>
                  <a:pt x="1665" y="878"/>
                </a:lnTo>
                <a:lnTo>
                  <a:pt x="1665" y="878"/>
                </a:lnTo>
                <a:lnTo>
                  <a:pt x="1665" y="878"/>
                </a:lnTo>
                <a:lnTo>
                  <a:pt x="1663" y="880"/>
                </a:lnTo>
                <a:lnTo>
                  <a:pt x="1663" y="880"/>
                </a:lnTo>
                <a:lnTo>
                  <a:pt x="1672" y="887"/>
                </a:lnTo>
                <a:lnTo>
                  <a:pt x="1672" y="887"/>
                </a:lnTo>
                <a:lnTo>
                  <a:pt x="1675" y="887"/>
                </a:lnTo>
                <a:lnTo>
                  <a:pt x="1675" y="887"/>
                </a:lnTo>
                <a:lnTo>
                  <a:pt x="1677" y="892"/>
                </a:lnTo>
                <a:lnTo>
                  <a:pt x="1677" y="892"/>
                </a:lnTo>
                <a:lnTo>
                  <a:pt x="1677" y="897"/>
                </a:lnTo>
                <a:lnTo>
                  <a:pt x="1677" y="897"/>
                </a:lnTo>
                <a:lnTo>
                  <a:pt x="1677" y="902"/>
                </a:lnTo>
                <a:lnTo>
                  <a:pt x="1677" y="902"/>
                </a:lnTo>
                <a:lnTo>
                  <a:pt x="1680" y="907"/>
                </a:lnTo>
                <a:lnTo>
                  <a:pt x="1680" y="907"/>
                </a:lnTo>
                <a:lnTo>
                  <a:pt x="1680" y="910"/>
                </a:lnTo>
                <a:lnTo>
                  <a:pt x="1680" y="910"/>
                </a:lnTo>
                <a:lnTo>
                  <a:pt x="1682" y="912"/>
                </a:lnTo>
                <a:lnTo>
                  <a:pt x="1682" y="912"/>
                </a:lnTo>
                <a:lnTo>
                  <a:pt x="1687" y="914"/>
                </a:lnTo>
                <a:lnTo>
                  <a:pt x="1687" y="914"/>
                </a:lnTo>
                <a:lnTo>
                  <a:pt x="1685" y="914"/>
                </a:lnTo>
                <a:lnTo>
                  <a:pt x="1685" y="914"/>
                </a:lnTo>
                <a:lnTo>
                  <a:pt x="1685" y="917"/>
                </a:lnTo>
                <a:lnTo>
                  <a:pt x="1685" y="917"/>
                </a:lnTo>
                <a:lnTo>
                  <a:pt x="1690" y="922"/>
                </a:lnTo>
                <a:lnTo>
                  <a:pt x="1690" y="922"/>
                </a:lnTo>
                <a:lnTo>
                  <a:pt x="1690" y="927"/>
                </a:lnTo>
                <a:lnTo>
                  <a:pt x="1690" y="927"/>
                </a:lnTo>
                <a:lnTo>
                  <a:pt x="1692" y="929"/>
                </a:lnTo>
                <a:lnTo>
                  <a:pt x="1692" y="929"/>
                </a:lnTo>
                <a:lnTo>
                  <a:pt x="1692" y="937"/>
                </a:lnTo>
                <a:lnTo>
                  <a:pt x="1692" y="937"/>
                </a:lnTo>
                <a:lnTo>
                  <a:pt x="1692" y="939"/>
                </a:lnTo>
                <a:lnTo>
                  <a:pt x="1692" y="939"/>
                </a:lnTo>
                <a:lnTo>
                  <a:pt x="1692" y="942"/>
                </a:lnTo>
                <a:lnTo>
                  <a:pt x="1692" y="942"/>
                </a:lnTo>
                <a:lnTo>
                  <a:pt x="1692" y="946"/>
                </a:lnTo>
                <a:lnTo>
                  <a:pt x="1692" y="946"/>
                </a:lnTo>
                <a:lnTo>
                  <a:pt x="1695" y="951"/>
                </a:lnTo>
                <a:lnTo>
                  <a:pt x="1695" y="951"/>
                </a:lnTo>
                <a:lnTo>
                  <a:pt x="1695" y="954"/>
                </a:lnTo>
                <a:lnTo>
                  <a:pt x="1695" y="954"/>
                </a:lnTo>
                <a:lnTo>
                  <a:pt x="1695" y="959"/>
                </a:lnTo>
                <a:lnTo>
                  <a:pt x="1695" y="959"/>
                </a:lnTo>
                <a:lnTo>
                  <a:pt x="1697" y="961"/>
                </a:lnTo>
                <a:lnTo>
                  <a:pt x="1697" y="961"/>
                </a:lnTo>
                <a:lnTo>
                  <a:pt x="1704" y="969"/>
                </a:lnTo>
                <a:lnTo>
                  <a:pt x="1704" y="969"/>
                </a:lnTo>
                <a:lnTo>
                  <a:pt x="1704" y="971"/>
                </a:lnTo>
                <a:lnTo>
                  <a:pt x="1704" y="971"/>
                </a:lnTo>
                <a:lnTo>
                  <a:pt x="1707" y="976"/>
                </a:lnTo>
                <a:lnTo>
                  <a:pt x="1707" y="976"/>
                </a:lnTo>
                <a:lnTo>
                  <a:pt x="1707" y="981"/>
                </a:lnTo>
                <a:lnTo>
                  <a:pt x="1707" y="981"/>
                </a:lnTo>
                <a:lnTo>
                  <a:pt x="1707" y="988"/>
                </a:lnTo>
                <a:lnTo>
                  <a:pt x="1707" y="988"/>
                </a:lnTo>
                <a:lnTo>
                  <a:pt x="1709" y="993"/>
                </a:lnTo>
                <a:lnTo>
                  <a:pt x="1709" y="993"/>
                </a:lnTo>
                <a:lnTo>
                  <a:pt x="1709" y="996"/>
                </a:lnTo>
                <a:lnTo>
                  <a:pt x="1709" y="996"/>
                </a:lnTo>
                <a:lnTo>
                  <a:pt x="1714" y="1001"/>
                </a:lnTo>
                <a:lnTo>
                  <a:pt x="1714" y="1001"/>
                </a:lnTo>
                <a:lnTo>
                  <a:pt x="1714" y="1003"/>
                </a:lnTo>
                <a:lnTo>
                  <a:pt x="1714" y="1003"/>
                </a:lnTo>
                <a:lnTo>
                  <a:pt x="1714" y="1008"/>
                </a:lnTo>
                <a:lnTo>
                  <a:pt x="1714" y="1008"/>
                </a:lnTo>
                <a:lnTo>
                  <a:pt x="1714" y="1015"/>
                </a:lnTo>
                <a:lnTo>
                  <a:pt x="1714" y="1015"/>
                </a:lnTo>
                <a:lnTo>
                  <a:pt x="1714" y="1018"/>
                </a:lnTo>
                <a:lnTo>
                  <a:pt x="1714" y="1018"/>
                </a:lnTo>
                <a:lnTo>
                  <a:pt x="1717" y="1020"/>
                </a:lnTo>
                <a:lnTo>
                  <a:pt x="1717" y="1020"/>
                </a:lnTo>
                <a:lnTo>
                  <a:pt x="1719" y="1025"/>
                </a:lnTo>
                <a:lnTo>
                  <a:pt x="1719" y="1025"/>
                </a:lnTo>
                <a:lnTo>
                  <a:pt x="1724" y="1028"/>
                </a:lnTo>
                <a:lnTo>
                  <a:pt x="1724" y="1028"/>
                </a:lnTo>
                <a:close/>
                <a:moveTo>
                  <a:pt x="1567" y="809"/>
                </a:moveTo>
                <a:lnTo>
                  <a:pt x="1567" y="809"/>
                </a:lnTo>
                <a:lnTo>
                  <a:pt x="1567" y="809"/>
                </a:lnTo>
                <a:lnTo>
                  <a:pt x="1567" y="806"/>
                </a:lnTo>
                <a:lnTo>
                  <a:pt x="1567" y="806"/>
                </a:lnTo>
                <a:lnTo>
                  <a:pt x="1569" y="806"/>
                </a:lnTo>
                <a:lnTo>
                  <a:pt x="1569" y="806"/>
                </a:lnTo>
                <a:lnTo>
                  <a:pt x="1569" y="806"/>
                </a:lnTo>
                <a:lnTo>
                  <a:pt x="1572" y="809"/>
                </a:lnTo>
                <a:lnTo>
                  <a:pt x="1572" y="809"/>
                </a:lnTo>
                <a:lnTo>
                  <a:pt x="1574" y="809"/>
                </a:lnTo>
                <a:lnTo>
                  <a:pt x="1574" y="809"/>
                </a:lnTo>
                <a:lnTo>
                  <a:pt x="1577" y="809"/>
                </a:lnTo>
                <a:lnTo>
                  <a:pt x="1577" y="809"/>
                </a:lnTo>
                <a:lnTo>
                  <a:pt x="1577" y="806"/>
                </a:lnTo>
                <a:lnTo>
                  <a:pt x="1577" y="806"/>
                </a:lnTo>
                <a:lnTo>
                  <a:pt x="1577" y="804"/>
                </a:lnTo>
                <a:lnTo>
                  <a:pt x="1577" y="804"/>
                </a:lnTo>
                <a:lnTo>
                  <a:pt x="1577" y="801"/>
                </a:lnTo>
                <a:lnTo>
                  <a:pt x="1577" y="801"/>
                </a:lnTo>
                <a:lnTo>
                  <a:pt x="1579" y="801"/>
                </a:lnTo>
                <a:lnTo>
                  <a:pt x="1579" y="801"/>
                </a:lnTo>
                <a:lnTo>
                  <a:pt x="1579" y="799"/>
                </a:lnTo>
                <a:lnTo>
                  <a:pt x="1579" y="799"/>
                </a:lnTo>
                <a:lnTo>
                  <a:pt x="1577" y="799"/>
                </a:lnTo>
                <a:lnTo>
                  <a:pt x="1577" y="799"/>
                </a:lnTo>
                <a:lnTo>
                  <a:pt x="1574" y="801"/>
                </a:lnTo>
                <a:lnTo>
                  <a:pt x="1574" y="801"/>
                </a:lnTo>
                <a:lnTo>
                  <a:pt x="1574" y="801"/>
                </a:lnTo>
                <a:lnTo>
                  <a:pt x="1574" y="801"/>
                </a:lnTo>
                <a:lnTo>
                  <a:pt x="1574" y="799"/>
                </a:lnTo>
                <a:lnTo>
                  <a:pt x="1574" y="799"/>
                </a:lnTo>
                <a:lnTo>
                  <a:pt x="1574" y="796"/>
                </a:lnTo>
                <a:lnTo>
                  <a:pt x="1574" y="796"/>
                </a:lnTo>
                <a:lnTo>
                  <a:pt x="1574" y="796"/>
                </a:lnTo>
                <a:lnTo>
                  <a:pt x="1569" y="796"/>
                </a:lnTo>
                <a:lnTo>
                  <a:pt x="1569" y="796"/>
                </a:lnTo>
                <a:lnTo>
                  <a:pt x="1569" y="796"/>
                </a:lnTo>
                <a:lnTo>
                  <a:pt x="1567" y="799"/>
                </a:lnTo>
                <a:lnTo>
                  <a:pt x="1567" y="799"/>
                </a:lnTo>
                <a:lnTo>
                  <a:pt x="1567" y="801"/>
                </a:lnTo>
                <a:lnTo>
                  <a:pt x="1567" y="801"/>
                </a:lnTo>
                <a:lnTo>
                  <a:pt x="1564" y="801"/>
                </a:lnTo>
                <a:lnTo>
                  <a:pt x="1564" y="801"/>
                </a:lnTo>
                <a:lnTo>
                  <a:pt x="1564" y="804"/>
                </a:lnTo>
                <a:lnTo>
                  <a:pt x="1564" y="804"/>
                </a:lnTo>
                <a:lnTo>
                  <a:pt x="1567" y="809"/>
                </a:lnTo>
                <a:lnTo>
                  <a:pt x="1567" y="809"/>
                </a:lnTo>
                <a:close/>
                <a:moveTo>
                  <a:pt x="1557" y="806"/>
                </a:moveTo>
                <a:lnTo>
                  <a:pt x="1557" y="806"/>
                </a:lnTo>
                <a:lnTo>
                  <a:pt x="1557" y="806"/>
                </a:lnTo>
                <a:lnTo>
                  <a:pt x="1557" y="806"/>
                </a:lnTo>
                <a:lnTo>
                  <a:pt x="1559" y="804"/>
                </a:lnTo>
                <a:lnTo>
                  <a:pt x="1559" y="804"/>
                </a:lnTo>
                <a:lnTo>
                  <a:pt x="1559" y="806"/>
                </a:lnTo>
                <a:lnTo>
                  <a:pt x="1559" y="806"/>
                </a:lnTo>
                <a:lnTo>
                  <a:pt x="1562" y="804"/>
                </a:lnTo>
                <a:lnTo>
                  <a:pt x="1562" y="804"/>
                </a:lnTo>
                <a:lnTo>
                  <a:pt x="1559" y="801"/>
                </a:lnTo>
                <a:lnTo>
                  <a:pt x="1559" y="801"/>
                </a:lnTo>
                <a:lnTo>
                  <a:pt x="1562" y="801"/>
                </a:lnTo>
                <a:lnTo>
                  <a:pt x="1562" y="801"/>
                </a:lnTo>
                <a:lnTo>
                  <a:pt x="1562" y="799"/>
                </a:lnTo>
                <a:lnTo>
                  <a:pt x="1562" y="799"/>
                </a:lnTo>
                <a:lnTo>
                  <a:pt x="1559" y="799"/>
                </a:lnTo>
                <a:lnTo>
                  <a:pt x="1559" y="799"/>
                </a:lnTo>
                <a:lnTo>
                  <a:pt x="1557" y="801"/>
                </a:lnTo>
                <a:lnTo>
                  <a:pt x="1557" y="801"/>
                </a:lnTo>
                <a:lnTo>
                  <a:pt x="1554" y="801"/>
                </a:lnTo>
                <a:lnTo>
                  <a:pt x="1554" y="801"/>
                </a:lnTo>
                <a:lnTo>
                  <a:pt x="1554" y="804"/>
                </a:lnTo>
                <a:lnTo>
                  <a:pt x="1554" y="804"/>
                </a:lnTo>
                <a:lnTo>
                  <a:pt x="1557" y="806"/>
                </a:lnTo>
                <a:lnTo>
                  <a:pt x="1557" y="806"/>
                </a:lnTo>
                <a:close/>
                <a:moveTo>
                  <a:pt x="1577" y="816"/>
                </a:moveTo>
                <a:lnTo>
                  <a:pt x="1577" y="816"/>
                </a:lnTo>
                <a:lnTo>
                  <a:pt x="1577" y="819"/>
                </a:lnTo>
                <a:lnTo>
                  <a:pt x="1577" y="819"/>
                </a:lnTo>
                <a:lnTo>
                  <a:pt x="1579" y="816"/>
                </a:lnTo>
                <a:lnTo>
                  <a:pt x="1579" y="816"/>
                </a:lnTo>
                <a:lnTo>
                  <a:pt x="1579" y="814"/>
                </a:lnTo>
                <a:lnTo>
                  <a:pt x="1579" y="814"/>
                </a:lnTo>
                <a:lnTo>
                  <a:pt x="1579" y="814"/>
                </a:lnTo>
                <a:lnTo>
                  <a:pt x="1579" y="814"/>
                </a:lnTo>
                <a:lnTo>
                  <a:pt x="1579" y="814"/>
                </a:lnTo>
                <a:lnTo>
                  <a:pt x="1577" y="816"/>
                </a:lnTo>
                <a:lnTo>
                  <a:pt x="1577" y="816"/>
                </a:lnTo>
                <a:close/>
                <a:moveTo>
                  <a:pt x="1574" y="814"/>
                </a:moveTo>
                <a:lnTo>
                  <a:pt x="1574" y="814"/>
                </a:lnTo>
                <a:lnTo>
                  <a:pt x="1574" y="816"/>
                </a:lnTo>
                <a:lnTo>
                  <a:pt x="1574" y="816"/>
                </a:lnTo>
                <a:lnTo>
                  <a:pt x="1574" y="816"/>
                </a:lnTo>
                <a:lnTo>
                  <a:pt x="1577" y="816"/>
                </a:lnTo>
                <a:lnTo>
                  <a:pt x="1577" y="816"/>
                </a:lnTo>
                <a:lnTo>
                  <a:pt x="1577" y="814"/>
                </a:lnTo>
                <a:lnTo>
                  <a:pt x="1577" y="814"/>
                </a:lnTo>
                <a:lnTo>
                  <a:pt x="1574" y="811"/>
                </a:lnTo>
                <a:lnTo>
                  <a:pt x="1574" y="811"/>
                </a:lnTo>
                <a:lnTo>
                  <a:pt x="1574" y="814"/>
                </a:lnTo>
                <a:lnTo>
                  <a:pt x="1574" y="814"/>
                </a:lnTo>
                <a:close/>
                <a:moveTo>
                  <a:pt x="1574" y="828"/>
                </a:moveTo>
                <a:lnTo>
                  <a:pt x="1574" y="828"/>
                </a:lnTo>
                <a:lnTo>
                  <a:pt x="1577" y="823"/>
                </a:lnTo>
                <a:lnTo>
                  <a:pt x="1577" y="823"/>
                </a:lnTo>
                <a:lnTo>
                  <a:pt x="1579" y="823"/>
                </a:lnTo>
                <a:lnTo>
                  <a:pt x="1579" y="823"/>
                </a:lnTo>
                <a:lnTo>
                  <a:pt x="1579" y="821"/>
                </a:lnTo>
                <a:lnTo>
                  <a:pt x="1579" y="821"/>
                </a:lnTo>
                <a:lnTo>
                  <a:pt x="1579" y="821"/>
                </a:lnTo>
                <a:lnTo>
                  <a:pt x="1579" y="819"/>
                </a:lnTo>
                <a:lnTo>
                  <a:pt x="1579" y="819"/>
                </a:lnTo>
                <a:lnTo>
                  <a:pt x="1574" y="821"/>
                </a:lnTo>
                <a:lnTo>
                  <a:pt x="1574" y="821"/>
                </a:lnTo>
                <a:lnTo>
                  <a:pt x="1572" y="823"/>
                </a:lnTo>
                <a:lnTo>
                  <a:pt x="1572" y="823"/>
                </a:lnTo>
                <a:lnTo>
                  <a:pt x="1572" y="826"/>
                </a:lnTo>
                <a:lnTo>
                  <a:pt x="1572" y="826"/>
                </a:lnTo>
                <a:lnTo>
                  <a:pt x="1574" y="828"/>
                </a:lnTo>
                <a:lnTo>
                  <a:pt x="1574" y="828"/>
                </a:lnTo>
                <a:close/>
                <a:moveTo>
                  <a:pt x="1692" y="646"/>
                </a:moveTo>
                <a:lnTo>
                  <a:pt x="1692" y="646"/>
                </a:lnTo>
                <a:lnTo>
                  <a:pt x="1695" y="646"/>
                </a:lnTo>
                <a:lnTo>
                  <a:pt x="1695" y="646"/>
                </a:lnTo>
                <a:lnTo>
                  <a:pt x="1697" y="644"/>
                </a:lnTo>
                <a:lnTo>
                  <a:pt x="1697" y="644"/>
                </a:lnTo>
                <a:lnTo>
                  <a:pt x="1697" y="641"/>
                </a:lnTo>
                <a:lnTo>
                  <a:pt x="1697" y="641"/>
                </a:lnTo>
                <a:lnTo>
                  <a:pt x="1695" y="641"/>
                </a:lnTo>
                <a:lnTo>
                  <a:pt x="1695" y="641"/>
                </a:lnTo>
                <a:lnTo>
                  <a:pt x="1692" y="644"/>
                </a:lnTo>
                <a:lnTo>
                  <a:pt x="1692" y="644"/>
                </a:lnTo>
                <a:lnTo>
                  <a:pt x="1692" y="646"/>
                </a:lnTo>
                <a:lnTo>
                  <a:pt x="1692" y="646"/>
                </a:lnTo>
                <a:close/>
                <a:moveTo>
                  <a:pt x="1882" y="627"/>
                </a:moveTo>
                <a:lnTo>
                  <a:pt x="1882" y="627"/>
                </a:lnTo>
                <a:lnTo>
                  <a:pt x="1884" y="627"/>
                </a:lnTo>
                <a:lnTo>
                  <a:pt x="1884" y="627"/>
                </a:lnTo>
                <a:lnTo>
                  <a:pt x="1882" y="624"/>
                </a:lnTo>
                <a:lnTo>
                  <a:pt x="1882" y="624"/>
                </a:lnTo>
                <a:lnTo>
                  <a:pt x="1882" y="622"/>
                </a:lnTo>
                <a:lnTo>
                  <a:pt x="1882" y="622"/>
                </a:lnTo>
                <a:lnTo>
                  <a:pt x="1882" y="619"/>
                </a:lnTo>
                <a:lnTo>
                  <a:pt x="1882" y="619"/>
                </a:lnTo>
                <a:lnTo>
                  <a:pt x="1882" y="617"/>
                </a:lnTo>
                <a:lnTo>
                  <a:pt x="1882" y="617"/>
                </a:lnTo>
                <a:lnTo>
                  <a:pt x="1884" y="614"/>
                </a:lnTo>
                <a:lnTo>
                  <a:pt x="1884" y="614"/>
                </a:lnTo>
                <a:lnTo>
                  <a:pt x="1886" y="612"/>
                </a:lnTo>
                <a:lnTo>
                  <a:pt x="1886" y="612"/>
                </a:lnTo>
                <a:lnTo>
                  <a:pt x="1889" y="610"/>
                </a:lnTo>
                <a:lnTo>
                  <a:pt x="1889" y="610"/>
                </a:lnTo>
                <a:lnTo>
                  <a:pt x="1891" y="607"/>
                </a:lnTo>
                <a:lnTo>
                  <a:pt x="1891" y="607"/>
                </a:lnTo>
                <a:lnTo>
                  <a:pt x="1891" y="605"/>
                </a:lnTo>
                <a:lnTo>
                  <a:pt x="1891" y="605"/>
                </a:lnTo>
                <a:lnTo>
                  <a:pt x="1889" y="600"/>
                </a:lnTo>
                <a:lnTo>
                  <a:pt x="1889" y="600"/>
                </a:lnTo>
                <a:lnTo>
                  <a:pt x="1884" y="597"/>
                </a:lnTo>
                <a:lnTo>
                  <a:pt x="1884" y="597"/>
                </a:lnTo>
                <a:lnTo>
                  <a:pt x="1884" y="595"/>
                </a:lnTo>
                <a:lnTo>
                  <a:pt x="1884" y="595"/>
                </a:lnTo>
                <a:lnTo>
                  <a:pt x="1882" y="597"/>
                </a:lnTo>
                <a:lnTo>
                  <a:pt x="1882" y="597"/>
                </a:lnTo>
                <a:lnTo>
                  <a:pt x="1882" y="600"/>
                </a:lnTo>
                <a:lnTo>
                  <a:pt x="1882" y="600"/>
                </a:lnTo>
                <a:lnTo>
                  <a:pt x="1879" y="600"/>
                </a:lnTo>
                <a:lnTo>
                  <a:pt x="1879" y="600"/>
                </a:lnTo>
                <a:lnTo>
                  <a:pt x="1877" y="605"/>
                </a:lnTo>
                <a:lnTo>
                  <a:pt x="1877" y="605"/>
                </a:lnTo>
                <a:lnTo>
                  <a:pt x="1874" y="605"/>
                </a:lnTo>
                <a:lnTo>
                  <a:pt x="1874" y="605"/>
                </a:lnTo>
                <a:lnTo>
                  <a:pt x="1874" y="607"/>
                </a:lnTo>
                <a:lnTo>
                  <a:pt x="1874" y="607"/>
                </a:lnTo>
                <a:lnTo>
                  <a:pt x="1874" y="607"/>
                </a:lnTo>
                <a:lnTo>
                  <a:pt x="1877" y="607"/>
                </a:lnTo>
                <a:lnTo>
                  <a:pt x="1877" y="607"/>
                </a:lnTo>
                <a:lnTo>
                  <a:pt x="1879" y="607"/>
                </a:lnTo>
                <a:lnTo>
                  <a:pt x="1879" y="607"/>
                </a:lnTo>
                <a:lnTo>
                  <a:pt x="1877" y="610"/>
                </a:lnTo>
                <a:lnTo>
                  <a:pt x="1877" y="610"/>
                </a:lnTo>
                <a:lnTo>
                  <a:pt x="1879" y="614"/>
                </a:lnTo>
                <a:lnTo>
                  <a:pt x="1879" y="614"/>
                </a:lnTo>
                <a:lnTo>
                  <a:pt x="1879" y="617"/>
                </a:lnTo>
                <a:lnTo>
                  <a:pt x="1879" y="617"/>
                </a:lnTo>
                <a:lnTo>
                  <a:pt x="1879" y="619"/>
                </a:lnTo>
                <a:lnTo>
                  <a:pt x="1879" y="619"/>
                </a:lnTo>
                <a:lnTo>
                  <a:pt x="1879" y="622"/>
                </a:lnTo>
                <a:lnTo>
                  <a:pt x="1879" y="622"/>
                </a:lnTo>
                <a:lnTo>
                  <a:pt x="1879" y="624"/>
                </a:lnTo>
                <a:lnTo>
                  <a:pt x="1879" y="624"/>
                </a:lnTo>
                <a:lnTo>
                  <a:pt x="1882" y="627"/>
                </a:lnTo>
                <a:lnTo>
                  <a:pt x="1882" y="627"/>
                </a:lnTo>
                <a:close/>
                <a:moveTo>
                  <a:pt x="1992" y="725"/>
                </a:moveTo>
                <a:lnTo>
                  <a:pt x="1992" y="725"/>
                </a:lnTo>
                <a:lnTo>
                  <a:pt x="1995" y="728"/>
                </a:lnTo>
                <a:lnTo>
                  <a:pt x="1995" y="728"/>
                </a:lnTo>
                <a:lnTo>
                  <a:pt x="1997" y="728"/>
                </a:lnTo>
                <a:lnTo>
                  <a:pt x="1997" y="728"/>
                </a:lnTo>
                <a:lnTo>
                  <a:pt x="2002" y="730"/>
                </a:lnTo>
                <a:lnTo>
                  <a:pt x="2002" y="730"/>
                </a:lnTo>
                <a:lnTo>
                  <a:pt x="2005" y="732"/>
                </a:lnTo>
                <a:lnTo>
                  <a:pt x="2005" y="732"/>
                </a:lnTo>
                <a:lnTo>
                  <a:pt x="2007" y="732"/>
                </a:lnTo>
                <a:lnTo>
                  <a:pt x="2007" y="732"/>
                </a:lnTo>
                <a:lnTo>
                  <a:pt x="2012" y="732"/>
                </a:lnTo>
                <a:lnTo>
                  <a:pt x="2012" y="732"/>
                </a:lnTo>
                <a:lnTo>
                  <a:pt x="2009" y="730"/>
                </a:lnTo>
                <a:lnTo>
                  <a:pt x="2009" y="730"/>
                </a:lnTo>
                <a:lnTo>
                  <a:pt x="2005" y="730"/>
                </a:lnTo>
                <a:lnTo>
                  <a:pt x="2005" y="730"/>
                </a:lnTo>
                <a:lnTo>
                  <a:pt x="2005" y="728"/>
                </a:lnTo>
                <a:lnTo>
                  <a:pt x="2005" y="728"/>
                </a:lnTo>
                <a:lnTo>
                  <a:pt x="2000" y="728"/>
                </a:lnTo>
                <a:lnTo>
                  <a:pt x="2000" y="728"/>
                </a:lnTo>
                <a:lnTo>
                  <a:pt x="1997" y="725"/>
                </a:lnTo>
                <a:lnTo>
                  <a:pt x="1997" y="725"/>
                </a:lnTo>
                <a:lnTo>
                  <a:pt x="1995" y="723"/>
                </a:lnTo>
                <a:lnTo>
                  <a:pt x="1995" y="723"/>
                </a:lnTo>
                <a:lnTo>
                  <a:pt x="1992" y="725"/>
                </a:lnTo>
                <a:lnTo>
                  <a:pt x="1992" y="725"/>
                </a:lnTo>
                <a:close/>
                <a:moveTo>
                  <a:pt x="1960" y="718"/>
                </a:moveTo>
                <a:lnTo>
                  <a:pt x="1960" y="718"/>
                </a:lnTo>
                <a:lnTo>
                  <a:pt x="1963" y="718"/>
                </a:lnTo>
                <a:lnTo>
                  <a:pt x="1963" y="718"/>
                </a:lnTo>
                <a:lnTo>
                  <a:pt x="1965" y="718"/>
                </a:lnTo>
                <a:lnTo>
                  <a:pt x="1965" y="718"/>
                </a:lnTo>
                <a:lnTo>
                  <a:pt x="1968" y="720"/>
                </a:lnTo>
                <a:lnTo>
                  <a:pt x="1968" y="720"/>
                </a:lnTo>
                <a:lnTo>
                  <a:pt x="1968" y="720"/>
                </a:lnTo>
                <a:lnTo>
                  <a:pt x="1970" y="725"/>
                </a:lnTo>
                <a:lnTo>
                  <a:pt x="1970" y="725"/>
                </a:lnTo>
                <a:lnTo>
                  <a:pt x="1973" y="725"/>
                </a:lnTo>
                <a:lnTo>
                  <a:pt x="1973" y="725"/>
                </a:lnTo>
                <a:lnTo>
                  <a:pt x="1975" y="728"/>
                </a:lnTo>
                <a:lnTo>
                  <a:pt x="1975" y="728"/>
                </a:lnTo>
                <a:lnTo>
                  <a:pt x="1978" y="728"/>
                </a:lnTo>
                <a:lnTo>
                  <a:pt x="1978" y="728"/>
                </a:lnTo>
                <a:lnTo>
                  <a:pt x="1978" y="728"/>
                </a:lnTo>
                <a:lnTo>
                  <a:pt x="1980" y="730"/>
                </a:lnTo>
                <a:lnTo>
                  <a:pt x="1980" y="730"/>
                </a:lnTo>
                <a:lnTo>
                  <a:pt x="1985" y="730"/>
                </a:lnTo>
                <a:lnTo>
                  <a:pt x="1985" y="730"/>
                </a:lnTo>
                <a:lnTo>
                  <a:pt x="1985" y="730"/>
                </a:lnTo>
                <a:lnTo>
                  <a:pt x="1982" y="725"/>
                </a:lnTo>
                <a:lnTo>
                  <a:pt x="1982" y="725"/>
                </a:lnTo>
                <a:lnTo>
                  <a:pt x="1980" y="725"/>
                </a:lnTo>
                <a:lnTo>
                  <a:pt x="1980" y="725"/>
                </a:lnTo>
                <a:lnTo>
                  <a:pt x="1975" y="723"/>
                </a:lnTo>
                <a:lnTo>
                  <a:pt x="1975" y="723"/>
                </a:lnTo>
                <a:lnTo>
                  <a:pt x="1975" y="720"/>
                </a:lnTo>
                <a:lnTo>
                  <a:pt x="1975" y="720"/>
                </a:lnTo>
                <a:lnTo>
                  <a:pt x="1973" y="718"/>
                </a:lnTo>
                <a:lnTo>
                  <a:pt x="1973" y="718"/>
                </a:lnTo>
                <a:lnTo>
                  <a:pt x="1970" y="715"/>
                </a:lnTo>
                <a:lnTo>
                  <a:pt x="1970" y="715"/>
                </a:lnTo>
                <a:lnTo>
                  <a:pt x="1970" y="713"/>
                </a:lnTo>
                <a:lnTo>
                  <a:pt x="1970" y="713"/>
                </a:lnTo>
                <a:lnTo>
                  <a:pt x="1970" y="713"/>
                </a:lnTo>
                <a:lnTo>
                  <a:pt x="1968" y="713"/>
                </a:lnTo>
                <a:lnTo>
                  <a:pt x="1968" y="713"/>
                </a:lnTo>
                <a:lnTo>
                  <a:pt x="1965" y="713"/>
                </a:lnTo>
                <a:lnTo>
                  <a:pt x="1965" y="713"/>
                </a:lnTo>
                <a:lnTo>
                  <a:pt x="1963" y="713"/>
                </a:lnTo>
                <a:lnTo>
                  <a:pt x="1963" y="713"/>
                </a:lnTo>
                <a:lnTo>
                  <a:pt x="1960" y="715"/>
                </a:lnTo>
                <a:lnTo>
                  <a:pt x="1960" y="715"/>
                </a:lnTo>
                <a:lnTo>
                  <a:pt x="1960" y="718"/>
                </a:lnTo>
                <a:lnTo>
                  <a:pt x="1960" y="718"/>
                </a:lnTo>
                <a:close/>
                <a:moveTo>
                  <a:pt x="1884" y="878"/>
                </a:moveTo>
                <a:lnTo>
                  <a:pt x="1884" y="878"/>
                </a:lnTo>
                <a:lnTo>
                  <a:pt x="1886" y="878"/>
                </a:lnTo>
                <a:lnTo>
                  <a:pt x="1886" y="878"/>
                </a:lnTo>
                <a:lnTo>
                  <a:pt x="1886" y="875"/>
                </a:lnTo>
                <a:lnTo>
                  <a:pt x="1886" y="875"/>
                </a:lnTo>
                <a:lnTo>
                  <a:pt x="1886" y="873"/>
                </a:lnTo>
                <a:lnTo>
                  <a:pt x="1886" y="873"/>
                </a:lnTo>
                <a:lnTo>
                  <a:pt x="1884" y="870"/>
                </a:lnTo>
                <a:lnTo>
                  <a:pt x="1884" y="870"/>
                </a:lnTo>
                <a:lnTo>
                  <a:pt x="1884" y="873"/>
                </a:lnTo>
                <a:lnTo>
                  <a:pt x="1884" y="873"/>
                </a:lnTo>
                <a:lnTo>
                  <a:pt x="1884" y="875"/>
                </a:lnTo>
                <a:lnTo>
                  <a:pt x="1884" y="875"/>
                </a:lnTo>
                <a:lnTo>
                  <a:pt x="1884" y="878"/>
                </a:lnTo>
                <a:lnTo>
                  <a:pt x="1884" y="878"/>
                </a:lnTo>
                <a:close/>
                <a:moveTo>
                  <a:pt x="1869" y="873"/>
                </a:moveTo>
                <a:lnTo>
                  <a:pt x="1869" y="873"/>
                </a:lnTo>
                <a:lnTo>
                  <a:pt x="1869" y="875"/>
                </a:lnTo>
                <a:lnTo>
                  <a:pt x="1869" y="875"/>
                </a:lnTo>
                <a:lnTo>
                  <a:pt x="1869" y="875"/>
                </a:lnTo>
                <a:lnTo>
                  <a:pt x="1874" y="875"/>
                </a:lnTo>
                <a:lnTo>
                  <a:pt x="1874" y="875"/>
                </a:lnTo>
                <a:lnTo>
                  <a:pt x="1874" y="873"/>
                </a:lnTo>
                <a:lnTo>
                  <a:pt x="1874" y="873"/>
                </a:lnTo>
                <a:lnTo>
                  <a:pt x="1872" y="870"/>
                </a:lnTo>
                <a:lnTo>
                  <a:pt x="1872" y="870"/>
                </a:lnTo>
                <a:lnTo>
                  <a:pt x="1869" y="873"/>
                </a:lnTo>
                <a:lnTo>
                  <a:pt x="1869" y="873"/>
                </a:lnTo>
                <a:close/>
                <a:moveTo>
                  <a:pt x="1877" y="897"/>
                </a:moveTo>
                <a:lnTo>
                  <a:pt x="1877" y="897"/>
                </a:lnTo>
                <a:lnTo>
                  <a:pt x="1879" y="897"/>
                </a:lnTo>
                <a:lnTo>
                  <a:pt x="1879" y="897"/>
                </a:lnTo>
                <a:lnTo>
                  <a:pt x="1879" y="895"/>
                </a:lnTo>
                <a:lnTo>
                  <a:pt x="1879" y="895"/>
                </a:lnTo>
                <a:lnTo>
                  <a:pt x="1879" y="892"/>
                </a:lnTo>
                <a:lnTo>
                  <a:pt x="1879" y="892"/>
                </a:lnTo>
                <a:lnTo>
                  <a:pt x="1882" y="892"/>
                </a:lnTo>
                <a:lnTo>
                  <a:pt x="1882" y="892"/>
                </a:lnTo>
                <a:lnTo>
                  <a:pt x="1884" y="887"/>
                </a:lnTo>
                <a:lnTo>
                  <a:pt x="1884" y="887"/>
                </a:lnTo>
                <a:lnTo>
                  <a:pt x="1884" y="885"/>
                </a:lnTo>
                <a:lnTo>
                  <a:pt x="1884" y="885"/>
                </a:lnTo>
                <a:lnTo>
                  <a:pt x="1884" y="883"/>
                </a:lnTo>
                <a:lnTo>
                  <a:pt x="1884" y="883"/>
                </a:lnTo>
                <a:lnTo>
                  <a:pt x="1886" y="880"/>
                </a:lnTo>
                <a:lnTo>
                  <a:pt x="1886" y="880"/>
                </a:lnTo>
                <a:lnTo>
                  <a:pt x="1884" y="878"/>
                </a:lnTo>
                <a:lnTo>
                  <a:pt x="1884" y="878"/>
                </a:lnTo>
                <a:lnTo>
                  <a:pt x="1879" y="875"/>
                </a:lnTo>
                <a:lnTo>
                  <a:pt x="1879" y="875"/>
                </a:lnTo>
                <a:lnTo>
                  <a:pt x="1879" y="878"/>
                </a:lnTo>
                <a:lnTo>
                  <a:pt x="1879" y="878"/>
                </a:lnTo>
                <a:lnTo>
                  <a:pt x="1879" y="883"/>
                </a:lnTo>
                <a:lnTo>
                  <a:pt x="1879" y="883"/>
                </a:lnTo>
                <a:lnTo>
                  <a:pt x="1879" y="885"/>
                </a:lnTo>
                <a:lnTo>
                  <a:pt x="1879" y="885"/>
                </a:lnTo>
                <a:lnTo>
                  <a:pt x="1877" y="885"/>
                </a:lnTo>
                <a:lnTo>
                  <a:pt x="1877" y="885"/>
                </a:lnTo>
                <a:lnTo>
                  <a:pt x="1874" y="890"/>
                </a:lnTo>
                <a:lnTo>
                  <a:pt x="1874" y="890"/>
                </a:lnTo>
                <a:lnTo>
                  <a:pt x="1872" y="890"/>
                </a:lnTo>
                <a:lnTo>
                  <a:pt x="1872" y="890"/>
                </a:lnTo>
                <a:lnTo>
                  <a:pt x="1872" y="890"/>
                </a:lnTo>
                <a:lnTo>
                  <a:pt x="1874" y="892"/>
                </a:lnTo>
                <a:lnTo>
                  <a:pt x="1874" y="892"/>
                </a:lnTo>
                <a:lnTo>
                  <a:pt x="1874" y="895"/>
                </a:lnTo>
                <a:lnTo>
                  <a:pt x="1874" y="895"/>
                </a:lnTo>
                <a:lnTo>
                  <a:pt x="1872" y="895"/>
                </a:lnTo>
                <a:lnTo>
                  <a:pt x="1872" y="895"/>
                </a:lnTo>
                <a:lnTo>
                  <a:pt x="1874" y="897"/>
                </a:lnTo>
                <a:lnTo>
                  <a:pt x="1874" y="897"/>
                </a:lnTo>
                <a:lnTo>
                  <a:pt x="1877" y="897"/>
                </a:lnTo>
                <a:lnTo>
                  <a:pt x="1877" y="897"/>
                </a:lnTo>
                <a:lnTo>
                  <a:pt x="1877" y="897"/>
                </a:lnTo>
                <a:close/>
                <a:moveTo>
                  <a:pt x="1874" y="917"/>
                </a:moveTo>
                <a:lnTo>
                  <a:pt x="1877" y="914"/>
                </a:lnTo>
                <a:lnTo>
                  <a:pt x="1877" y="914"/>
                </a:lnTo>
                <a:lnTo>
                  <a:pt x="1874" y="912"/>
                </a:lnTo>
                <a:lnTo>
                  <a:pt x="1874" y="912"/>
                </a:lnTo>
                <a:lnTo>
                  <a:pt x="1874" y="910"/>
                </a:lnTo>
                <a:lnTo>
                  <a:pt x="1874" y="910"/>
                </a:lnTo>
                <a:lnTo>
                  <a:pt x="1874" y="910"/>
                </a:lnTo>
                <a:lnTo>
                  <a:pt x="1874" y="912"/>
                </a:lnTo>
                <a:lnTo>
                  <a:pt x="1874" y="912"/>
                </a:lnTo>
                <a:lnTo>
                  <a:pt x="1872" y="914"/>
                </a:lnTo>
                <a:lnTo>
                  <a:pt x="1872" y="914"/>
                </a:lnTo>
                <a:lnTo>
                  <a:pt x="1874" y="917"/>
                </a:lnTo>
                <a:lnTo>
                  <a:pt x="1874" y="917"/>
                </a:lnTo>
                <a:close/>
                <a:moveTo>
                  <a:pt x="1874" y="924"/>
                </a:moveTo>
                <a:lnTo>
                  <a:pt x="1874" y="924"/>
                </a:lnTo>
                <a:lnTo>
                  <a:pt x="1877" y="922"/>
                </a:lnTo>
                <a:lnTo>
                  <a:pt x="1877" y="922"/>
                </a:lnTo>
                <a:lnTo>
                  <a:pt x="1877" y="922"/>
                </a:lnTo>
                <a:lnTo>
                  <a:pt x="1874" y="919"/>
                </a:lnTo>
                <a:lnTo>
                  <a:pt x="1874" y="919"/>
                </a:lnTo>
                <a:lnTo>
                  <a:pt x="1874" y="919"/>
                </a:lnTo>
                <a:lnTo>
                  <a:pt x="1874" y="922"/>
                </a:lnTo>
                <a:lnTo>
                  <a:pt x="1874" y="922"/>
                </a:lnTo>
                <a:lnTo>
                  <a:pt x="1874" y="924"/>
                </a:lnTo>
                <a:lnTo>
                  <a:pt x="1874" y="924"/>
                </a:lnTo>
                <a:close/>
                <a:moveTo>
                  <a:pt x="1869" y="927"/>
                </a:moveTo>
                <a:lnTo>
                  <a:pt x="1869" y="927"/>
                </a:lnTo>
                <a:lnTo>
                  <a:pt x="1872" y="927"/>
                </a:lnTo>
                <a:lnTo>
                  <a:pt x="1872" y="927"/>
                </a:lnTo>
                <a:lnTo>
                  <a:pt x="1869" y="927"/>
                </a:lnTo>
                <a:lnTo>
                  <a:pt x="1869" y="927"/>
                </a:lnTo>
                <a:lnTo>
                  <a:pt x="1869" y="927"/>
                </a:lnTo>
                <a:lnTo>
                  <a:pt x="1869" y="927"/>
                </a:lnTo>
                <a:lnTo>
                  <a:pt x="1869" y="927"/>
                </a:lnTo>
                <a:close/>
                <a:moveTo>
                  <a:pt x="1872" y="934"/>
                </a:moveTo>
                <a:lnTo>
                  <a:pt x="1872" y="934"/>
                </a:lnTo>
                <a:lnTo>
                  <a:pt x="1872" y="934"/>
                </a:lnTo>
                <a:lnTo>
                  <a:pt x="1874" y="932"/>
                </a:lnTo>
                <a:lnTo>
                  <a:pt x="1874" y="932"/>
                </a:lnTo>
                <a:lnTo>
                  <a:pt x="1874" y="929"/>
                </a:lnTo>
                <a:lnTo>
                  <a:pt x="1874" y="929"/>
                </a:lnTo>
                <a:lnTo>
                  <a:pt x="1874" y="929"/>
                </a:lnTo>
                <a:lnTo>
                  <a:pt x="1872" y="932"/>
                </a:lnTo>
                <a:lnTo>
                  <a:pt x="1872" y="932"/>
                </a:lnTo>
                <a:lnTo>
                  <a:pt x="1872" y="934"/>
                </a:lnTo>
                <a:lnTo>
                  <a:pt x="1872" y="934"/>
                </a:lnTo>
                <a:close/>
                <a:moveTo>
                  <a:pt x="1867" y="954"/>
                </a:moveTo>
                <a:lnTo>
                  <a:pt x="1867" y="954"/>
                </a:lnTo>
                <a:lnTo>
                  <a:pt x="1869" y="954"/>
                </a:lnTo>
                <a:lnTo>
                  <a:pt x="1869" y="954"/>
                </a:lnTo>
                <a:lnTo>
                  <a:pt x="1867" y="951"/>
                </a:lnTo>
                <a:lnTo>
                  <a:pt x="1867" y="951"/>
                </a:lnTo>
                <a:lnTo>
                  <a:pt x="1867" y="951"/>
                </a:lnTo>
                <a:lnTo>
                  <a:pt x="1867" y="954"/>
                </a:lnTo>
                <a:lnTo>
                  <a:pt x="1867" y="954"/>
                </a:lnTo>
                <a:close/>
                <a:moveTo>
                  <a:pt x="1867" y="964"/>
                </a:moveTo>
                <a:lnTo>
                  <a:pt x="1867" y="964"/>
                </a:lnTo>
                <a:lnTo>
                  <a:pt x="1867" y="961"/>
                </a:lnTo>
                <a:lnTo>
                  <a:pt x="1867" y="961"/>
                </a:lnTo>
                <a:lnTo>
                  <a:pt x="1867" y="961"/>
                </a:lnTo>
                <a:lnTo>
                  <a:pt x="1867" y="961"/>
                </a:lnTo>
                <a:lnTo>
                  <a:pt x="1867" y="964"/>
                </a:lnTo>
                <a:lnTo>
                  <a:pt x="1867" y="964"/>
                </a:lnTo>
                <a:close/>
                <a:moveTo>
                  <a:pt x="1867" y="966"/>
                </a:moveTo>
                <a:lnTo>
                  <a:pt x="1867" y="966"/>
                </a:lnTo>
                <a:lnTo>
                  <a:pt x="1867" y="969"/>
                </a:lnTo>
                <a:lnTo>
                  <a:pt x="1867" y="969"/>
                </a:lnTo>
                <a:lnTo>
                  <a:pt x="1867" y="966"/>
                </a:lnTo>
                <a:lnTo>
                  <a:pt x="1867" y="966"/>
                </a:lnTo>
                <a:lnTo>
                  <a:pt x="1867" y="966"/>
                </a:lnTo>
                <a:close/>
                <a:moveTo>
                  <a:pt x="1864" y="974"/>
                </a:moveTo>
                <a:lnTo>
                  <a:pt x="1864" y="974"/>
                </a:lnTo>
                <a:lnTo>
                  <a:pt x="1864" y="974"/>
                </a:lnTo>
                <a:lnTo>
                  <a:pt x="1864" y="974"/>
                </a:lnTo>
                <a:lnTo>
                  <a:pt x="1864" y="971"/>
                </a:lnTo>
                <a:lnTo>
                  <a:pt x="1864" y="971"/>
                </a:lnTo>
                <a:lnTo>
                  <a:pt x="1864" y="971"/>
                </a:lnTo>
                <a:lnTo>
                  <a:pt x="1864" y="974"/>
                </a:lnTo>
                <a:lnTo>
                  <a:pt x="1864" y="974"/>
                </a:lnTo>
                <a:close/>
                <a:moveTo>
                  <a:pt x="1862" y="986"/>
                </a:moveTo>
                <a:lnTo>
                  <a:pt x="1862" y="986"/>
                </a:lnTo>
                <a:lnTo>
                  <a:pt x="1862" y="983"/>
                </a:lnTo>
                <a:lnTo>
                  <a:pt x="1862" y="983"/>
                </a:lnTo>
                <a:lnTo>
                  <a:pt x="1862" y="978"/>
                </a:lnTo>
                <a:lnTo>
                  <a:pt x="1862" y="978"/>
                </a:lnTo>
                <a:lnTo>
                  <a:pt x="1862" y="978"/>
                </a:lnTo>
                <a:lnTo>
                  <a:pt x="1862" y="981"/>
                </a:lnTo>
                <a:lnTo>
                  <a:pt x="1862" y="981"/>
                </a:lnTo>
                <a:lnTo>
                  <a:pt x="1859" y="986"/>
                </a:lnTo>
                <a:lnTo>
                  <a:pt x="1859" y="986"/>
                </a:lnTo>
                <a:lnTo>
                  <a:pt x="1862" y="986"/>
                </a:lnTo>
                <a:lnTo>
                  <a:pt x="1862" y="986"/>
                </a:lnTo>
                <a:close/>
                <a:moveTo>
                  <a:pt x="1835" y="1020"/>
                </a:moveTo>
                <a:lnTo>
                  <a:pt x="1835" y="1020"/>
                </a:lnTo>
                <a:lnTo>
                  <a:pt x="1835" y="1020"/>
                </a:lnTo>
                <a:lnTo>
                  <a:pt x="1840" y="1018"/>
                </a:lnTo>
                <a:lnTo>
                  <a:pt x="1840" y="1018"/>
                </a:lnTo>
                <a:lnTo>
                  <a:pt x="1842" y="1013"/>
                </a:lnTo>
                <a:lnTo>
                  <a:pt x="1842" y="1013"/>
                </a:lnTo>
                <a:lnTo>
                  <a:pt x="1842" y="1013"/>
                </a:lnTo>
                <a:lnTo>
                  <a:pt x="1842" y="1010"/>
                </a:lnTo>
                <a:lnTo>
                  <a:pt x="1842" y="1010"/>
                </a:lnTo>
                <a:lnTo>
                  <a:pt x="1845" y="1005"/>
                </a:lnTo>
                <a:lnTo>
                  <a:pt x="1845" y="1005"/>
                </a:lnTo>
                <a:lnTo>
                  <a:pt x="1847" y="1003"/>
                </a:lnTo>
                <a:lnTo>
                  <a:pt x="1847" y="1003"/>
                </a:lnTo>
                <a:lnTo>
                  <a:pt x="1845" y="1003"/>
                </a:lnTo>
                <a:lnTo>
                  <a:pt x="1845" y="1003"/>
                </a:lnTo>
                <a:lnTo>
                  <a:pt x="1842" y="1003"/>
                </a:lnTo>
                <a:lnTo>
                  <a:pt x="1842" y="1003"/>
                </a:lnTo>
                <a:lnTo>
                  <a:pt x="1842" y="1005"/>
                </a:lnTo>
                <a:lnTo>
                  <a:pt x="1842" y="1005"/>
                </a:lnTo>
                <a:lnTo>
                  <a:pt x="1840" y="1008"/>
                </a:lnTo>
                <a:lnTo>
                  <a:pt x="1840" y="1008"/>
                </a:lnTo>
                <a:lnTo>
                  <a:pt x="1840" y="1010"/>
                </a:lnTo>
                <a:lnTo>
                  <a:pt x="1840" y="1010"/>
                </a:lnTo>
                <a:lnTo>
                  <a:pt x="1837" y="1010"/>
                </a:lnTo>
                <a:lnTo>
                  <a:pt x="1837" y="1010"/>
                </a:lnTo>
                <a:lnTo>
                  <a:pt x="1837" y="1013"/>
                </a:lnTo>
                <a:lnTo>
                  <a:pt x="1837" y="1013"/>
                </a:lnTo>
                <a:lnTo>
                  <a:pt x="1835" y="1015"/>
                </a:lnTo>
                <a:lnTo>
                  <a:pt x="1835" y="1015"/>
                </a:lnTo>
                <a:lnTo>
                  <a:pt x="1835" y="1020"/>
                </a:lnTo>
                <a:lnTo>
                  <a:pt x="1835" y="1020"/>
                </a:lnTo>
                <a:close/>
                <a:moveTo>
                  <a:pt x="1805" y="1055"/>
                </a:moveTo>
                <a:lnTo>
                  <a:pt x="1805" y="1055"/>
                </a:lnTo>
                <a:lnTo>
                  <a:pt x="1808" y="1055"/>
                </a:lnTo>
                <a:lnTo>
                  <a:pt x="1808" y="1055"/>
                </a:lnTo>
                <a:lnTo>
                  <a:pt x="1808" y="1050"/>
                </a:lnTo>
                <a:lnTo>
                  <a:pt x="1808" y="1050"/>
                </a:lnTo>
                <a:lnTo>
                  <a:pt x="1810" y="1050"/>
                </a:lnTo>
                <a:lnTo>
                  <a:pt x="1810" y="1050"/>
                </a:lnTo>
                <a:lnTo>
                  <a:pt x="1810" y="1045"/>
                </a:lnTo>
                <a:lnTo>
                  <a:pt x="1810" y="1045"/>
                </a:lnTo>
                <a:lnTo>
                  <a:pt x="1810" y="1042"/>
                </a:lnTo>
                <a:lnTo>
                  <a:pt x="1810" y="1042"/>
                </a:lnTo>
                <a:lnTo>
                  <a:pt x="1810" y="1042"/>
                </a:lnTo>
                <a:lnTo>
                  <a:pt x="1813" y="1040"/>
                </a:lnTo>
                <a:lnTo>
                  <a:pt x="1813" y="1040"/>
                </a:lnTo>
                <a:lnTo>
                  <a:pt x="1813" y="1042"/>
                </a:lnTo>
                <a:lnTo>
                  <a:pt x="1813" y="1042"/>
                </a:lnTo>
                <a:lnTo>
                  <a:pt x="1815" y="1040"/>
                </a:lnTo>
                <a:lnTo>
                  <a:pt x="1815" y="1040"/>
                </a:lnTo>
                <a:lnTo>
                  <a:pt x="1818" y="1035"/>
                </a:lnTo>
                <a:lnTo>
                  <a:pt x="1818" y="1035"/>
                </a:lnTo>
                <a:lnTo>
                  <a:pt x="1820" y="1030"/>
                </a:lnTo>
                <a:lnTo>
                  <a:pt x="1820" y="1030"/>
                </a:lnTo>
                <a:lnTo>
                  <a:pt x="1825" y="1030"/>
                </a:lnTo>
                <a:lnTo>
                  <a:pt x="1825" y="1030"/>
                </a:lnTo>
                <a:lnTo>
                  <a:pt x="1827" y="1030"/>
                </a:lnTo>
                <a:lnTo>
                  <a:pt x="1827" y="1030"/>
                </a:lnTo>
                <a:lnTo>
                  <a:pt x="1827" y="1025"/>
                </a:lnTo>
                <a:lnTo>
                  <a:pt x="1827" y="1025"/>
                </a:lnTo>
                <a:lnTo>
                  <a:pt x="1825" y="1023"/>
                </a:lnTo>
                <a:lnTo>
                  <a:pt x="1825" y="1023"/>
                </a:lnTo>
                <a:lnTo>
                  <a:pt x="1825" y="1023"/>
                </a:lnTo>
                <a:lnTo>
                  <a:pt x="1820" y="1028"/>
                </a:lnTo>
                <a:lnTo>
                  <a:pt x="1820" y="1028"/>
                </a:lnTo>
                <a:lnTo>
                  <a:pt x="1820" y="1030"/>
                </a:lnTo>
                <a:lnTo>
                  <a:pt x="1820" y="1030"/>
                </a:lnTo>
                <a:lnTo>
                  <a:pt x="1818" y="1030"/>
                </a:lnTo>
                <a:lnTo>
                  <a:pt x="1818" y="1030"/>
                </a:lnTo>
                <a:lnTo>
                  <a:pt x="1815" y="1030"/>
                </a:lnTo>
                <a:lnTo>
                  <a:pt x="1815" y="1030"/>
                </a:lnTo>
                <a:lnTo>
                  <a:pt x="1815" y="1030"/>
                </a:lnTo>
                <a:lnTo>
                  <a:pt x="1813" y="1028"/>
                </a:lnTo>
                <a:lnTo>
                  <a:pt x="1813" y="1028"/>
                </a:lnTo>
                <a:lnTo>
                  <a:pt x="1813" y="1028"/>
                </a:lnTo>
                <a:lnTo>
                  <a:pt x="1810" y="1030"/>
                </a:lnTo>
                <a:lnTo>
                  <a:pt x="1810" y="1030"/>
                </a:lnTo>
                <a:lnTo>
                  <a:pt x="1813" y="1033"/>
                </a:lnTo>
                <a:lnTo>
                  <a:pt x="1813" y="1033"/>
                </a:lnTo>
                <a:lnTo>
                  <a:pt x="1810" y="1035"/>
                </a:lnTo>
                <a:lnTo>
                  <a:pt x="1810" y="1035"/>
                </a:lnTo>
                <a:lnTo>
                  <a:pt x="1810" y="1037"/>
                </a:lnTo>
                <a:lnTo>
                  <a:pt x="1810" y="1037"/>
                </a:lnTo>
                <a:lnTo>
                  <a:pt x="1808" y="1037"/>
                </a:lnTo>
                <a:lnTo>
                  <a:pt x="1808" y="1037"/>
                </a:lnTo>
                <a:lnTo>
                  <a:pt x="1808" y="1040"/>
                </a:lnTo>
                <a:lnTo>
                  <a:pt x="1808" y="1040"/>
                </a:lnTo>
                <a:lnTo>
                  <a:pt x="1808" y="1042"/>
                </a:lnTo>
                <a:lnTo>
                  <a:pt x="1808" y="1042"/>
                </a:lnTo>
                <a:lnTo>
                  <a:pt x="1805" y="1045"/>
                </a:lnTo>
                <a:lnTo>
                  <a:pt x="1805" y="1045"/>
                </a:lnTo>
                <a:lnTo>
                  <a:pt x="1805" y="1045"/>
                </a:lnTo>
                <a:lnTo>
                  <a:pt x="1805" y="1047"/>
                </a:lnTo>
                <a:lnTo>
                  <a:pt x="1805" y="1047"/>
                </a:lnTo>
                <a:lnTo>
                  <a:pt x="1805" y="1050"/>
                </a:lnTo>
                <a:lnTo>
                  <a:pt x="1805" y="1050"/>
                </a:lnTo>
                <a:lnTo>
                  <a:pt x="1805" y="1052"/>
                </a:lnTo>
                <a:lnTo>
                  <a:pt x="1805" y="1052"/>
                </a:lnTo>
                <a:lnTo>
                  <a:pt x="1805" y="1055"/>
                </a:lnTo>
                <a:lnTo>
                  <a:pt x="1805" y="1055"/>
                </a:lnTo>
                <a:close/>
                <a:moveTo>
                  <a:pt x="1793" y="1074"/>
                </a:moveTo>
                <a:lnTo>
                  <a:pt x="1793" y="1069"/>
                </a:lnTo>
                <a:lnTo>
                  <a:pt x="1793" y="1069"/>
                </a:lnTo>
                <a:lnTo>
                  <a:pt x="1793" y="1062"/>
                </a:lnTo>
                <a:lnTo>
                  <a:pt x="1793" y="1062"/>
                </a:lnTo>
                <a:lnTo>
                  <a:pt x="1795" y="1062"/>
                </a:lnTo>
                <a:lnTo>
                  <a:pt x="1795" y="1062"/>
                </a:lnTo>
                <a:lnTo>
                  <a:pt x="1798" y="1060"/>
                </a:lnTo>
                <a:lnTo>
                  <a:pt x="1798" y="1060"/>
                </a:lnTo>
                <a:lnTo>
                  <a:pt x="1800" y="1055"/>
                </a:lnTo>
                <a:lnTo>
                  <a:pt x="1800" y="1055"/>
                </a:lnTo>
                <a:lnTo>
                  <a:pt x="1798" y="1055"/>
                </a:lnTo>
                <a:lnTo>
                  <a:pt x="1798" y="1055"/>
                </a:lnTo>
                <a:lnTo>
                  <a:pt x="1795" y="1057"/>
                </a:lnTo>
                <a:lnTo>
                  <a:pt x="1795" y="1057"/>
                </a:lnTo>
                <a:lnTo>
                  <a:pt x="1795" y="1055"/>
                </a:lnTo>
                <a:lnTo>
                  <a:pt x="1795" y="1055"/>
                </a:lnTo>
                <a:lnTo>
                  <a:pt x="1793" y="1055"/>
                </a:lnTo>
                <a:lnTo>
                  <a:pt x="1793" y="1055"/>
                </a:lnTo>
                <a:lnTo>
                  <a:pt x="1793" y="1055"/>
                </a:lnTo>
                <a:lnTo>
                  <a:pt x="1793" y="1060"/>
                </a:lnTo>
                <a:lnTo>
                  <a:pt x="1793" y="1060"/>
                </a:lnTo>
                <a:lnTo>
                  <a:pt x="1791" y="1062"/>
                </a:lnTo>
                <a:lnTo>
                  <a:pt x="1791" y="1062"/>
                </a:lnTo>
                <a:lnTo>
                  <a:pt x="1791" y="1067"/>
                </a:lnTo>
                <a:lnTo>
                  <a:pt x="1791" y="1067"/>
                </a:lnTo>
                <a:lnTo>
                  <a:pt x="1788" y="1069"/>
                </a:lnTo>
                <a:lnTo>
                  <a:pt x="1788" y="1069"/>
                </a:lnTo>
                <a:lnTo>
                  <a:pt x="1791" y="1072"/>
                </a:lnTo>
                <a:lnTo>
                  <a:pt x="1791" y="1072"/>
                </a:lnTo>
                <a:lnTo>
                  <a:pt x="1793" y="1074"/>
                </a:lnTo>
                <a:lnTo>
                  <a:pt x="1793" y="1074"/>
                </a:lnTo>
                <a:close/>
                <a:moveTo>
                  <a:pt x="29" y="826"/>
                </a:moveTo>
                <a:lnTo>
                  <a:pt x="29" y="831"/>
                </a:lnTo>
                <a:lnTo>
                  <a:pt x="29" y="831"/>
                </a:lnTo>
                <a:lnTo>
                  <a:pt x="32" y="831"/>
                </a:lnTo>
                <a:lnTo>
                  <a:pt x="32" y="831"/>
                </a:lnTo>
                <a:lnTo>
                  <a:pt x="34" y="831"/>
                </a:lnTo>
                <a:lnTo>
                  <a:pt x="29" y="82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noEditPoints="1"/>
          </p:cNvSpPr>
          <p:nvPr/>
        </p:nvSpPr>
        <p:spPr bwMode="auto">
          <a:xfrm>
            <a:off x="4915492" y="1765917"/>
            <a:ext cx="352287" cy="411658"/>
          </a:xfrm>
          <a:custGeom>
            <a:avLst/>
            <a:gdLst/>
            <a:ahLst/>
            <a:cxnLst>
              <a:cxn ang="0">
                <a:pos x="206" y="24"/>
              </a:cxn>
              <a:cxn ang="0">
                <a:pos x="93" y="7"/>
              </a:cxn>
              <a:cxn ang="0">
                <a:pos x="71" y="27"/>
              </a:cxn>
              <a:cxn ang="0">
                <a:pos x="103" y="49"/>
              </a:cxn>
              <a:cxn ang="0">
                <a:pos x="100" y="54"/>
              </a:cxn>
              <a:cxn ang="0">
                <a:pos x="95" y="64"/>
              </a:cxn>
              <a:cxn ang="0">
                <a:pos x="120" y="74"/>
              </a:cxn>
              <a:cxn ang="0">
                <a:pos x="145" y="69"/>
              </a:cxn>
              <a:cxn ang="0">
                <a:pos x="159" y="34"/>
              </a:cxn>
              <a:cxn ang="0">
                <a:pos x="135" y="22"/>
              </a:cxn>
              <a:cxn ang="0">
                <a:pos x="125" y="22"/>
              </a:cxn>
              <a:cxn ang="0">
                <a:pos x="118" y="15"/>
              </a:cxn>
              <a:cxn ang="0">
                <a:pos x="110" y="27"/>
              </a:cxn>
              <a:cxn ang="0">
                <a:pos x="100" y="27"/>
              </a:cxn>
              <a:cxn ang="0">
                <a:pos x="86" y="15"/>
              </a:cxn>
              <a:cxn ang="0">
                <a:pos x="78" y="27"/>
              </a:cxn>
              <a:cxn ang="0">
                <a:pos x="71" y="34"/>
              </a:cxn>
              <a:cxn ang="0">
                <a:pos x="86" y="52"/>
              </a:cxn>
              <a:cxn ang="0">
                <a:pos x="187" y="86"/>
              </a:cxn>
              <a:cxn ang="0">
                <a:pos x="164" y="88"/>
              </a:cxn>
              <a:cxn ang="0">
                <a:pos x="130" y="111"/>
              </a:cxn>
              <a:cxn ang="0">
                <a:pos x="147" y="130"/>
              </a:cxn>
              <a:cxn ang="0">
                <a:pos x="130" y="155"/>
              </a:cxn>
              <a:cxn ang="0">
                <a:pos x="118" y="150"/>
              </a:cxn>
              <a:cxn ang="0">
                <a:pos x="113" y="128"/>
              </a:cxn>
              <a:cxn ang="0">
                <a:pos x="93" y="76"/>
              </a:cxn>
              <a:cxn ang="0">
                <a:pos x="115" y="113"/>
              </a:cxn>
              <a:cxn ang="0">
                <a:pos x="110" y="101"/>
              </a:cxn>
              <a:cxn ang="0">
                <a:pos x="7" y="111"/>
              </a:cxn>
              <a:cxn ang="0">
                <a:pos x="4" y="101"/>
              </a:cxn>
              <a:cxn ang="0">
                <a:pos x="71" y="187"/>
              </a:cxn>
              <a:cxn ang="0">
                <a:pos x="64" y="172"/>
              </a:cxn>
              <a:cxn ang="0">
                <a:pos x="46" y="162"/>
              </a:cxn>
              <a:cxn ang="0">
                <a:pos x="36" y="147"/>
              </a:cxn>
              <a:cxn ang="0">
                <a:pos x="56" y="143"/>
              </a:cxn>
              <a:cxn ang="0">
                <a:pos x="66" y="133"/>
              </a:cxn>
              <a:cxn ang="0">
                <a:pos x="46" y="135"/>
              </a:cxn>
              <a:cxn ang="0">
                <a:pos x="39" y="125"/>
              </a:cxn>
              <a:cxn ang="0">
                <a:pos x="61" y="113"/>
              </a:cxn>
              <a:cxn ang="0">
                <a:pos x="61" y="96"/>
              </a:cxn>
              <a:cxn ang="0">
                <a:pos x="51" y="98"/>
              </a:cxn>
              <a:cxn ang="0">
                <a:pos x="39" y="98"/>
              </a:cxn>
              <a:cxn ang="0">
                <a:pos x="32" y="120"/>
              </a:cxn>
              <a:cxn ang="0">
                <a:pos x="22" y="103"/>
              </a:cxn>
              <a:cxn ang="0">
                <a:pos x="7" y="88"/>
              </a:cxn>
              <a:cxn ang="0">
                <a:pos x="9" y="84"/>
              </a:cxn>
              <a:cxn ang="0">
                <a:pos x="2" y="79"/>
              </a:cxn>
              <a:cxn ang="0">
                <a:pos x="7" y="52"/>
              </a:cxn>
              <a:cxn ang="0">
                <a:pos x="24" y="47"/>
              </a:cxn>
              <a:cxn ang="0">
                <a:pos x="19" y="64"/>
              </a:cxn>
              <a:cxn ang="0">
                <a:pos x="32" y="74"/>
              </a:cxn>
              <a:cxn ang="0">
                <a:pos x="44" y="59"/>
              </a:cxn>
              <a:cxn ang="0">
                <a:pos x="54" y="88"/>
              </a:cxn>
              <a:cxn ang="0">
                <a:pos x="49" y="52"/>
              </a:cxn>
              <a:cxn ang="0">
                <a:pos x="64" y="44"/>
              </a:cxn>
              <a:cxn ang="0">
                <a:pos x="71" y="56"/>
              </a:cxn>
              <a:cxn ang="0">
                <a:pos x="95" y="86"/>
              </a:cxn>
              <a:cxn ang="0">
                <a:pos x="93" y="98"/>
              </a:cxn>
              <a:cxn ang="0">
                <a:pos x="86" y="125"/>
              </a:cxn>
              <a:cxn ang="0">
                <a:pos x="81" y="152"/>
              </a:cxn>
              <a:cxn ang="0">
                <a:pos x="73" y="189"/>
              </a:cxn>
            </a:cxnLst>
            <a:rect l="0" t="0" r="r" b="b"/>
            <a:pathLst>
              <a:path w="216" h="268">
                <a:moveTo>
                  <a:pt x="201" y="24"/>
                </a:moveTo>
                <a:lnTo>
                  <a:pt x="201" y="24"/>
                </a:lnTo>
                <a:lnTo>
                  <a:pt x="204" y="22"/>
                </a:lnTo>
                <a:lnTo>
                  <a:pt x="204" y="22"/>
                </a:lnTo>
                <a:lnTo>
                  <a:pt x="204" y="22"/>
                </a:lnTo>
                <a:lnTo>
                  <a:pt x="206" y="20"/>
                </a:lnTo>
                <a:lnTo>
                  <a:pt x="206" y="20"/>
                </a:lnTo>
                <a:lnTo>
                  <a:pt x="209" y="20"/>
                </a:lnTo>
                <a:lnTo>
                  <a:pt x="209" y="20"/>
                </a:lnTo>
                <a:lnTo>
                  <a:pt x="211" y="15"/>
                </a:lnTo>
                <a:lnTo>
                  <a:pt x="211" y="15"/>
                </a:lnTo>
                <a:lnTo>
                  <a:pt x="214" y="15"/>
                </a:lnTo>
                <a:lnTo>
                  <a:pt x="214" y="15"/>
                </a:lnTo>
                <a:lnTo>
                  <a:pt x="216" y="15"/>
                </a:lnTo>
                <a:lnTo>
                  <a:pt x="216" y="15"/>
                </a:lnTo>
                <a:lnTo>
                  <a:pt x="216" y="15"/>
                </a:lnTo>
                <a:lnTo>
                  <a:pt x="216" y="17"/>
                </a:lnTo>
                <a:lnTo>
                  <a:pt x="216" y="17"/>
                </a:lnTo>
                <a:lnTo>
                  <a:pt x="214" y="20"/>
                </a:lnTo>
                <a:lnTo>
                  <a:pt x="214" y="20"/>
                </a:lnTo>
                <a:lnTo>
                  <a:pt x="211" y="20"/>
                </a:lnTo>
                <a:lnTo>
                  <a:pt x="211" y="20"/>
                </a:lnTo>
                <a:lnTo>
                  <a:pt x="206" y="24"/>
                </a:lnTo>
                <a:lnTo>
                  <a:pt x="206" y="24"/>
                </a:lnTo>
                <a:lnTo>
                  <a:pt x="204" y="24"/>
                </a:lnTo>
                <a:lnTo>
                  <a:pt x="204" y="24"/>
                </a:lnTo>
                <a:lnTo>
                  <a:pt x="201" y="24"/>
                </a:lnTo>
                <a:lnTo>
                  <a:pt x="201" y="24"/>
                </a:lnTo>
                <a:lnTo>
                  <a:pt x="201" y="24"/>
                </a:lnTo>
                <a:close/>
                <a:moveTo>
                  <a:pt x="162" y="27"/>
                </a:moveTo>
                <a:lnTo>
                  <a:pt x="162" y="27"/>
                </a:lnTo>
                <a:lnTo>
                  <a:pt x="164" y="29"/>
                </a:lnTo>
                <a:lnTo>
                  <a:pt x="164" y="29"/>
                </a:lnTo>
                <a:lnTo>
                  <a:pt x="164" y="29"/>
                </a:lnTo>
                <a:lnTo>
                  <a:pt x="167" y="27"/>
                </a:lnTo>
                <a:lnTo>
                  <a:pt x="167" y="27"/>
                </a:lnTo>
                <a:lnTo>
                  <a:pt x="164" y="24"/>
                </a:lnTo>
                <a:lnTo>
                  <a:pt x="164" y="24"/>
                </a:lnTo>
                <a:lnTo>
                  <a:pt x="164" y="24"/>
                </a:lnTo>
                <a:lnTo>
                  <a:pt x="162" y="24"/>
                </a:lnTo>
                <a:lnTo>
                  <a:pt x="162" y="24"/>
                </a:lnTo>
                <a:lnTo>
                  <a:pt x="162" y="27"/>
                </a:lnTo>
                <a:lnTo>
                  <a:pt x="162" y="27"/>
                </a:lnTo>
                <a:close/>
                <a:moveTo>
                  <a:pt x="88" y="2"/>
                </a:moveTo>
                <a:lnTo>
                  <a:pt x="88" y="2"/>
                </a:lnTo>
                <a:lnTo>
                  <a:pt x="93" y="7"/>
                </a:lnTo>
                <a:lnTo>
                  <a:pt x="93" y="7"/>
                </a:lnTo>
                <a:lnTo>
                  <a:pt x="95" y="7"/>
                </a:lnTo>
                <a:lnTo>
                  <a:pt x="95" y="7"/>
                </a:lnTo>
                <a:lnTo>
                  <a:pt x="95" y="5"/>
                </a:lnTo>
                <a:lnTo>
                  <a:pt x="95" y="5"/>
                </a:lnTo>
                <a:lnTo>
                  <a:pt x="98" y="5"/>
                </a:lnTo>
                <a:lnTo>
                  <a:pt x="98" y="5"/>
                </a:lnTo>
                <a:lnTo>
                  <a:pt x="95" y="2"/>
                </a:lnTo>
                <a:lnTo>
                  <a:pt x="95" y="2"/>
                </a:lnTo>
                <a:lnTo>
                  <a:pt x="93" y="2"/>
                </a:lnTo>
                <a:lnTo>
                  <a:pt x="93" y="2"/>
                </a:lnTo>
                <a:lnTo>
                  <a:pt x="91" y="2"/>
                </a:lnTo>
                <a:lnTo>
                  <a:pt x="91" y="2"/>
                </a:lnTo>
                <a:lnTo>
                  <a:pt x="88" y="0"/>
                </a:lnTo>
                <a:lnTo>
                  <a:pt x="88" y="0"/>
                </a:lnTo>
                <a:lnTo>
                  <a:pt x="86" y="2"/>
                </a:lnTo>
                <a:lnTo>
                  <a:pt x="86" y="2"/>
                </a:lnTo>
                <a:lnTo>
                  <a:pt x="88" y="2"/>
                </a:lnTo>
                <a:lnTo>
                  <a:pt x="88" y="2"/>
                </a:lnTo>
                <a:close/>
                <a:moveTo>
                  <a:pt x="73" y="29"/>
                </a:moveTo>
                <a:lnTo>
                  <a:pt x="73" y="29"/>
                </a:lnTo>
                <a:lnTo>
                  <a:pt x="71" y="27"/>
                </a:lnTo>
                <a:lnTo>
                  <a:pt x="71" y="27"/>
                </a:lnTo>
                <a:lnTo>
                  <a:pt x="71" y="27"/>
                </a:lnTo>
                <a:lnTo>
                  <a:pt x="71" y="24"/>
                </a:lnTo>
                <a:lnTo>
                  <a:pt x="71" y="24"/>
                </a:lnTo>
                <a:lnTo>
                  <a:pt x="73" y="22"/>
                </a:lnTo>
                <a:lnTo>
                  <a:pt x="73" y="22"/>
                </a:lnTo>
                <a:lnTo>
                  <a:pt x="73" y="22"/>
                </a:lnTo>
                <a:lnTo>
                  <a:pt x="76" y="24"/>
                </a:lnTo>
                <a:lnTo>
                  <a:pt x="76" y="24"/>
                </a:lnTo>
                <a:lnTo>
                  <a:pt x="76" y="27"/>
                </a:lnTo>
                <a:lnTo>
                  <a:pt x="76" y="27"/>
                </a:lnTo>
                <a:lnTo>
                  <a:pt x="73" y="29"/>
                </a:lnTo>
                <a:lnTo>
                  <a:pt x="73" y="29"/>
                </a:lnTo>
                <a:lnTo>
                  <a:pt x="73" y="29"/>
                </a:lnTo>
                <a:close/>
                <a:moveTo>
                  <a:pt x="88" y="52"/>
                </a:moveTo>
                <a:lnTo>
                  <a:pt x="88" y="52"/>
                </a:lnTo>
                <a:lnTo>
                  <a:pt x="88" y="52"/>
                </a:lnTo>
                <a:lnTo>
                  <a:pt x="93" y="49"/>
                </a:lnTo>
                <a:lnTo>
                  <a:pt x="93" y="49"/>
                </a:lnTo>
                <a:lnTo>
                  <a:pt x="93" y="49"/>
                </a:lnTo>
                <a:lnTo>
                  <a:pt x="100" y="49"/>
                </a:lnTo>
                <a:lnTo>
                  <a:pt x="100" y="49"/>
                </a:lnTo>
                <a:lnTo>
                  <a:pt x="103" y="49"/>
                </a:lnTo>
                <a:lnTo>
                  <a:pt x="103" y="49"/>
                </a:lnTo>
                <a:lnTo>
                  <a:pt x="105" y="47"/>
                </a:lnTo>
                <a:lnTo>
                  <a:pt x="105" y="47"/>
                </a:lnTo>
                <a:lnTo>
                  <a:pt x="108" y="47"/>
                </a:lnTo>
                <a:lnTo>
                  <a:pt x="108" y="47"/>
                </a:lnTo>
                <a:lnTo>
                  <a:pt x="108" y="49"/>
                </a:lnTo>
                <a:lnTo>
                  <a:pt x="108" y="49"/>
                </a:lnTo>
                <a:lnTo>
                  <a:pt x="108" y="49"/>
                </a:lnTo>
                <a:lnTo>
                  <a:pt x="108" y="52"/>
                </a:lnTo>
                <a:lnTo>
                  <a:pt x="108" y="52"/>
                </a:lnTo>
                <a:lnTo>
                  <a:pt x="108" y="52"/>
                </a:lnTo>
                <a:lnTo>
                  <a:pt x="105" y="54"/>
                </a:lnTo>
                <a:lnTo>
                  <a:pt x="105" y="54"/>
                </a:lnTo>
                <a:lnTo>
                  <a:pt x="103" y="52"/>
                </a:lnTo>
                <a:lnTo>
                  <a:pt x="103" y="52"/>
                </a:lnTo>
                <a:lnTo>
                  <a:pt x="98" y="52"/>
                </a:lnTo>
                <a:lnTo>
                  <a:pt x="98" y="52"/>
                </a:lnTo>
                <a:lnTo>
                  <a:pt x="95" y="52"/>
                </a:lnTo>
                <a:lnTo>
                  <a:pt x="95" y="52"/>
                </a:lnTo>
                <a:lnTo>
                  <a:pt x="95" y="54"/>
                </a:lnTo>
                <a:lnTo>
                  <a:pt x="95" y="54"/>
                </a:lnTo>
                <a:lnTo>
                  <a:pt x="95" y="54"/>
                </a:lnTo>
                <a:lnTo>
                  <a:pt x="100" y="54"/>
                </a:lnTo>
                <a:lnTo>
                  <a:pt x="100" y="54"/>
                </a:lnTo>
                <a:lnTo>
                  <a:pt x="103" y="56"/>
                </a:lnTo>
                <a:lnTo>
                  <a:pt x="103" y="56"/>
                </a:lnTo>
                <a:lnTo>
                  <a:pt x="103" y="56"/>
                </a:lnTo>
                <a:lnTo>
                  <a:pt x="100" y="59"/>
                </a:lnTo>
                <a:lnTo>
                  <a:pt x="100" y="59"/>
                </a:lnTo>
                <a:lnTo>
                  <a:pt x="98" y="56"/>
                </a:lnTo>
                <a:lnTo>
                  <a:pt x="98" y="56"/>
                </a:lnTo>
                <a:lnTo>
                  <a:pt x="98" y="56"/>
                </a:lnTo>
                <a:lnTo>
                  <a:pt x="95" y="59"/>
                </a:lnTo>
                <a:lnTo>
                  <a:pt x="95" y="59"/>
                </a:lnTo>
                <a:lnTo>
                  <a:pt x="93" y="56"/>
                </a:lnTo>
                <a:lnTo>
                  <a:pt x="93" y="56"/>
                </a:lnTo>
                <a:lnTo>
                  <a:pt x="88" y="54"/>
                </a:lnTo>
                <a:lnTo>
                  <a:pt x="88" y="54"/>
                </a:lnTo>
                <a:lnTo>
                  <a:pt x="86" y="56"/>
                </a:lnTo>
                <a:lnTo>
                  <a:pt x="86" y="56"/>
                </a:lnTo>
                <a:lnTo>
                  <a:pt x="86" y="56"/>
                </a:lnTo>
                <a:lnTo>
                  <a:pt x="88" y="59"/>
                </a:lnTo>
                <a:lnTo>
                  <a:pt x="88" y="59"/>
                </a:lnTo>
                <a:lnTo>
                  <a:pt x="93" y="64"/>
                </a:lnTo>
                <a:lnTo>
                  <a:pt x="93" y="64"/>
                </a:lnTo>
                <a:lnTo>
                  <a:pt x="95" y="64"/>
                </a:lnTo>
                <a:lnTo>
                  <a:pt x="95" y="64"/>
                </a:lnTo>
                <a:lnTo>
                  <a:pt x="98" y="64"/>
                </a:lnTo>
                <a:lnTo>
                  <a:pt x="98" y="64"/>
                </a:lnTo>
                <a:lnTo>
                  <a:pt x="98" y="64"/>
                </a:lnTo>
                <a:lnTo>
                  <a:pt x="100" y="66"/>
                </a:lnTo>
                <a:lnTo>
                  <a:pt x="100" y="66"/>
                </a:lnTo>
                <a:lnTo>
                  <a:pt x="100" y="69"/>
                </a:lnTo>
                <a:lnTo>
                  <a:pt x="100" y="69"/>
                </a:lnTo>
                <a:lnTo>
                  <a:pt x="103" y="69"/>
                </a:lnTo>
                <a:lnTo>
                  <a:pt x="103" y="69"/>
                </a:lnTo>
                <a:lnTo>
                  <a:pt x="105" y="69"/>
                </a:lnTo>
                <a:lnTo>
                  <a:pt x="105" y="69"/>
                </a:lnTo>
                <a:lnTo>
                  <a:pt x="110" y="69"/>
                </a:lnTo>
                <a:lnTo>
                  <a:pt x="110" y="69"/>
                </a:lnTo>
                <a:lnTo>
                  <a:pt x="113" y="66"/>
                </a:lnTo>
                <a:lnTo>
                  <a:pt x="113" y="66"/>
                </a:lnTo>
                <a:lnTo>
                  <a:pt x="118" y="66"/>
                </a:lnTo>
                <a:lnTo>
                  <a:pt x="118" y="66"/>
                </a:lnTo>
                <a:lnTo>
                  <a:pt x="120" y="66"/>
                </a:lnTo>
                <a:lnTo>
                  <a:pt x="120" y="66"/>
                </a:lnTo>
                <a:lnTo>
                  <a:pt x="120" y="66"/>
                </a:lnTo>
                <a:lnTo>
                  <a:pt x="120" y="69"/>
                </a:lnTo>
                <a:lnTo>
                  <a:pt x="120" y="69"/>
                </a:lnTo>
                <a:lnTo>
                  <a:pt x="120" y="74"/>
                </a:lnTo>
                <a:lnTo>
                  <a:pt x="120" y="74"/>
                </a:lnTo>
                <a:lnTo>
                  <a:pt x="125" y="76"/>
                </a:lnTo>
                <a:lnTo>
                  <a:pt x="125" y="76"/>
                </a:lnTo>
                <a:lnTo>
                  <a:pt x="127" y="76"/>
                </a:lnTo>
                <a:lnTo>
                  <a:pt x="127" y="76"/>
                </a:lnTo>
                <a:lnTo>
                  <a:pt x="132" y="74"/>
                </a:lnTo>
                <a:lnTo>
                  <a:pt x="132" y="74"/>
                </a:lnTo>
                <a:lnTo>
                  <a:pt x="132" y="74"/>
                </a:lnTo>
                <a:lnTo>
                  <a:pt x="132" y="71"/>
                </a:lnTo>
                <a:lnTo>
                  <a:pt x="132" y="71"/>
                </a:lnTo>
                <a:lnTo>
                  <a:pt x="132" y="69"/>
                </a:lnTo>
                <a:lnTo>
                  <a:pt x="132" y="69"/>
                </a:lnTo>
                <a:lnTo>
                  <a:pt x="135" y="69"/>
                </a:lnTo>
                <a:lnTo>
                  <a:pt x="135" y="69"/>
                </a:lnTo>
                <a:lnTo>
                  <a:pt x="137" y="64"/>
                </a:lnTo>
                <a:lnTo>
                  <a:pt x="137" y="64"/>
                </a:lnTo>
                <a:lnTo>
                  <a:pt x="140" y="64"/>
                </a:lnTo>
                <a:lnTo>
                  <a:pt x="140" y="64"/>
                </a:lnTo>
                <a:lnTo>
                  <a:pt x="140" y="66"/>
                </a:lnTo>
                <a:lnTo>
                  <a:pt x="140" y="66"/>
                </a:lnTo>
                <a:lnTo>
                  <a:pt x="142" y="69"/>
                </a:lnTo>
                <a:lnTo>
                  <a:pt x="142" y="69"/>
                </a:lnTo>
                <a:lnTo>
                  <a:pt x="145" y="69"/>
                </a:lnTo>
                <a:lnTo>
                  <a:pt x="145" y="69"/>
                </a:lnTo>
                <a:lnTo>
                  <a:pt x="150" y="66"/>
                </a:lnTo>
                <a:lnTo>
                  <a:pt x="150" y="66"/>
                </a:lnTo>
                <a:lnTo>
                  <a:pt x="150" y="64"/>
                </a:lnTo>
                <a:lnTo>
                  <a:pt x="150" y="64"/>
                </a:lnTo>
                <a:lnTo>
                  <a:pt x="150" y="59"/>
                </a:lnTo>
                <a:lnTo>
                  <a:pt x="150" y="59"/>
                </a:lnTo>
                <a:lnTo>
                  <a:pt x="150" y="56"/>
                </a:lnTo>
                <a:lnTo>
                  <a:pt x="150" y="56"/>
                </a:lnTo>
                <a:lnTo>
                  <a:pt x="150" y="56"/>
                </a:lnTo>
                <a:lnTo>
                  <a:pt x="152" y="54"/>
                </a:lnTo>
                <a:lnTo>
                  <a:pt x="152" y="54"/>
                </a:lnTo>
                <a:lnTo>
                  <a:pt x="155" y="49"/>
                </a:lnTo>
                <a:lnTo>
                  <a:pt x="155" y="49"/>
                </a:lnTo>
                <a:lnTo>
                  <a:pt x="157" y="47"/>
                </a:lnTo>
                <a:lnTo>
                  <a:pt x="157" y="47"/>
                </a:lnTo>
                <a:lnTo>
                  <a:pt x="159" y="42"/>
                </a:lnTo>
                <a:lnTo>
                  <a:pt x="159" y="42"/>
                </a:lnTo>
                <a:lnTo>
                  <a:pt x="162" y="39"/>
                </a:lnTo>
                <a:lnTo>
                  <a:pt x="162" y="39"/>
                </a:lnTo>
                <a:lnTo>
                  <a:pt x="162" y="37"/>
                </a:lnTo>
                <a:lnTo>
                  <a:pt x="162" y="37"/>
                </a:lnTo>
                <a:lnTo>
                  <a:pt x="159" y="34"/>
                </a:lnTo>
                <a:lnTo>
                  <a:pt x="159" y="34"/>
                </a:lnTo>
                <a:lnTo>
                  <a:pt x="159" y="32"/>
                </a:lnTo>
                <a:lnTo>
                  <a:pt x="159" y="32"/>
                </a:lnTo>
                <a:lnTo>
                  <a:pt x="159" y="32"/>
                </a:lnTo>
                <a:lnTo>
                  <a:pt x="159" y="29"/>
                </a:lnTo>
                <a:lnTo>
                  <a:pt x="159" y="29"/>
                </a:lnTo>
                <a:lnTo>
                  <a:pt x="159" y="29"/>
                </a:lnTo>
                <a:lnTo>
                  <a:pt x="155" y="29"/>
                </a:lnTo>
                <a:lnTo>
                  <a:pt x="155" y="29"/>
                </a:lnTo>
                <a:lnTo>
                  <a:pt x="152" y="27"/>
                </a:lnTo>
                <a:lnTo>
                  <a:pt x="152" y="27"/>
                </a:lnTo>
                <a:lnTo>
                  <a:pt x="152" y="27"/>
                </a:lnTo>
                <a:lnTo>
                  <a:pt x="145" y="27"/>
                </a:lnTo>
                <a:lnTo>
                  <a:pt x="145" y="27"/>
                </a:lnTo>
                <a:lnTo>
                  <a:pt x="142" y="27"/>
                </a:lnTo>
                <a:lnTo>
                  <a:pt x="142" y="27"/>
                </a:lnTo>
                <a:lnTo>
                  <a:pt x="140" y="24"/>
                </a:lnTo>
                <a:lnTo>
                  <a:pt x="140" y="24"/>
                </a:lnTo>
                <a:lnTo>
                  <a:pt x="137" y="24"/>
                </a:lnTo>
                <a:lnTo>
                  <a:pt x="137" y="24"/>
                </a:lnTo>
                <a:lnTo>
                  <a:pt x="135" y="24"/>
                </a:lnTo>
                <a:lnTo>
                  <a:pt x="135" y="24"/>
                </a:lnTo>
                <a:lnTo>
                  <a:pt x="135" y="22"/>
                </a:lnTo>
                <a:lnTo>
                  <a:pt x="135" y="22"/>
                </a:lnTo>
                <a:lnTo>
                  <a:pt x="135" y="22"/>
                </a:lnTo>
                <a:lnTo>
                  <a:pt x="132" y="22"/>
                </a:lnTo>
                <a:lnTo>
                  <a:pt x="132" y="22"/>
                </a:lnTo>
                <a:lnTo>
                  <a:pt x="132" y="22"/>
                </a:lnTo>
                <a:lnTo>
                  <a:pt x="132" y="20"/>
                </a:lnTo>
                <a:lnTo>
                  <a:pt x="132" y="20"/>
                </a:lnTo>
                <a:lnTo>
                  <a:pt x="132" y="17"/>
                </a:lnTo>
                <a:lnTo>
                  <a:pt x="132" y="17"/>
                </a:lnTo>
                <a:lnTo>
                  <a:pt x="130" y="20"/>
                </a:lnTo>
                <a:lnTo>
                  <a:pt x="130" y="20"/>
                </a:lnTo>
                <a:lnTo>
                  <a:pt x="130" y="22"/>
                </a:lnTo>
                <a:lnTo>
                  <a:pt x="130" y="22"/>
                </a:lnTo>
                <a:lnTo>
                  <a:pt x="127" y="22"/>
                </a:lnTo>
                <a:lnTo>
                  <a:pt x="127" y="22"/>
                </a:lnTo>
                <a:lnTo>
                  <a:pt x="127" y="20"/>
                </a:lnTo>
                <a:lnTo>
                  <a:pt x="127" y="20"/>
                </a:lnTo>
                <a:lnTo>
                  <a:pt x="127" y="20"/>
                </a:lnTo>
                <a:lnTo>
                  <a:pt x="125" y="20"/>
                </a:lnTo>
                <a:lnTo>
                  <a:pt x="125" y="20"/>
                </a:lnTo>
                <a:lnTo>
                  <a:pt x="125" y="22"/>
                </a:lnTo>
                <a:lnTo>
                  <a:pt x="125" y="22"/>
                </a:lnTo>
                <a:lnTo>
                  <a:pt x="125" y="22"/>
                </a:lnTo>
                <a:lnTo>
                  <a:pt x="123" y="24"/>
                </a:lnTo>
                <a:lnTo>
                  <a:pt x="123" y="24"/>
                </a:lnTo>
                <a:lnTo>
                  <a:pt x="123" y="27"/>
                </a:lnTo>
                <a:lnTo>
                  <a:pt x="123" y="27"/>
                </a:lnTo>
                <a:lnTo>
                  <a:pt x="123" y="29"/>
                </a:lnTo>
                <a:lnTo>
                  <a:pt x="123" y="29"/>
                </a:lnTo>
                <a:lnTo>
                  <a:pt x="120" y="29"/>
                </a:lnTo>
                <a:lnTo>
                  <a:pt x="120" y="29"/>
                </a:lnTo>
                <a:lnTo>
                  <a:pt x="120" y="27"/>
                </a:lnTo>
                <a:lnTo>
                  <a:pt x="120" y="27"/>
                </a:lnTo>
                <a:lnTo>
                  <a:pt x="120" y="27"/>
                </a:lnTo>
                <a:lnTo>
                  <a:pt x="120" y="27"/>
                </a:lnTo>
                <a:lnTo>
                  <a:pt x="118" y="29"/>
                </a:lnTo>
                <a:lnTo>
                  <a:pt x="118" y="29"/>
                </a:lnTo>
                <a:lnTo>
                  <a:pt x="118" y="29"/>
                </a:lnTo>
                <a:lnTo>
                  <a:pt x="118" y="27"/>
                </a:lnTo>
                <a:lnTo>
                  <a:pt x="118" y="27"/>
                </a:lnTo>
                <a:lnTo>
                  <a:pt x="118" y="22"/>
                </a:lnTo>
                <a:lnTo>
                  <a:pt x="118" y="22"/>
                </a:lnTo>
                <a:lnTo>
                  <a:pt x="118" y="17"/>
                </a:lnTo>
                <a:lnTo>
                  <a:pt x="118" y="17"/>
                </a:lnTo>
                <a:lnTo>
                  <a:pt x="118" y="15"/>
                </a:lnTo>
                <a:lnTo>
                  <a:pt x="118" y="15"/>
                </a:lnTo>
                <a:lnTo>
                  <a:pt x="115" y="15"/>
                </a:lnTo>
                <a:lnTo>
                  <a:pt x="115" y="15"/>
                </a:lnTo>
                <a:lnTo>
                  <a:pt x="113" y="12"/>
                </a:lnTo>
                <a:lnTo>
                  <a:pt x="113" y="12"/>
                </a:lnTo>
                <a:lnTo>
                  <a:pt x="113" y="12"/>
                </a:lnTo>
                <a:lnTo>
                  <a:pt x="110" y="15"/>
                </a:lnTo>
                <a:lnTo>
                  <a:pt x="110" y="15"/>
                </a:lnTo>
                <a:lnTo>
                  <a:pt x="113" y="17"/>
                </a:lnTo>
                <a:lnTo>
                  <a:pt x="113" y="17"/>
                </a:lnTo>
                <a:lnTo>
                  <a:pt x="113" y="17"/>
                </a:lnTo>
                <a:lnTo>
                  <a:pt x="113" y="17"/>
                </a:lnTo>
                <a:lnTo>
                  <a:pt x="110" y="15"/>
                </a:lnTo>
                <a:lnTo>
                  <a:pt x="110" y="15"/>
                </a:lnTo>
                <a:lnTo>
                  <a:pt x="110" y="17"/>
                </a:lnTo>
                <a:lnTo>
                  <a:pt x="110" y="17"/>
                </a:lnTo>
                <a:lnTo>
                  <a:pt x="110" y="20"/>
                </a:lnTo>
                <a:lnTo>
                  <a:pt x="110" y="20"/>
                </a:lnTo>
                <a:lnTo>
                  <a:pt x="113" y="22"/>
                </a:lnTo>
                <a:lnTo>
                  <a:pt x="113" y="22"/>
                </a:lnTo>
                <a:lnTo>
                  <a:pt x="113" y="24"/>
                </a:lnTo>
                <a:lnTo>
                  <a:pt x="113" y="24"/>
                </a:lnTo>
                <a:lnTo>
                  <a:pt x="110" y="27"/>
                </a:lnTo>
                <a:lnTo>
                  <a:pt x="110" y="27"/>
                </a:lnTo>
                <a:lnTo>
                  <a:pt x="110" y="32"/>
                </a:lnTo>
                <a:lnTo>
                  <a:pt x="110" y="32"/>
                </a:lnTo>
                <a:lnTo>
                  <a:pt x="113" y="34"/>
                </a:lnTo>
                <a:lnTo>
                  <a:pt x="113" y="34"/>
                </a:lnTo>
                <a:lnTo>
                  <a:pt x="113" y="39"/>
                </a:lnTo>
                <a:lnTo>
                  <a:pt x="113" y="39"/>
                </a:lnTo>
                <a:lnTo>
                  <a:pt x="110" y="39"/>
                </a:lnTo>
                <a:lnTo>
                  <a:pt x="110" y="39"/>
                </a:lnTo>
                <a:lnTo>
                  <a:pt x="110" y="34"/>
                </a:lnTo>
                <a:lnTo>
                  <a:pt x="110" y="34"/>
                </a:lnTo>
                <a:lnTo>
                  <a:pt x="108" y="32"/>
                </a:lnTo>
                <a:lnTo>
                  <a:pt x="108" y="32"/>
                </a:lnTo>
                <a:lnTo>
                  <a:pt x="105" y="32"/>
                </a:lnTo>
                <a:lnTo>
                  <a:pt x="105" y="32"/>
                </a:lnTo>
                <a:lnTo>
                  <a:pt x="103" y="29"/>
                </a:lnTo>
                <a:lnTo>
                  <a:pt x="103" y="29"/>
                </a:lnTo>
                <a:lnTo>
                  <a:pt x="105" y="27"/>
                </a:lnTo>
                <a:lnTo>
                  <a:pt x="105" y="27"/>
                </a:lnTo>
                <a:lnTo>
                  <a:pt x="105" y="24"/>
                </a:lnTo>
                <a:lnTo>
                  <a:pt x="105" y="24"/>
                </a:lnTo>
                <a:lnTo>
                  <a:pt x="103" y="24"/>
                </a:lnTo>
                <a:lnTo>
                  <a:pt x="103" y="24"/>
                </a:lnTo>
                <a:lnTo>
                  <a:pt x="100" y="27"/>
                </a:lnTo>
                <a:lnTo>
                  <a:pt x="100" y="27"/>
                </a:lnTo>
                <a:lnTo>
                  <a:pt x="100" y="27"/>
                </a:lnTo>
                <a:lnTo>
                  <a:pt x="98" y="27"/>
                </a:lnTo>
                <a:lnTo>
                  <a:pt x="98" y="27"/>
                </a:lnTo>
                <a:lnTo>
                  <a:pt x="95" y="29"/>
                </a:lnTo>
                <a:lnTo>
                  <a:pt x="95" y="29"/>
                </a:lnTo>
                <a:lnTo>
                  <a:pt x="93" y="27"/>
                </a:lnTo>
                <a:lnTo>
                  <a:pt x="93" y="27"/>
                </a:lnTo>
                <a:lnTo>
                  <a:pt x="93" y="27"/>
                </a:lnTo>
                <a:lnTo>
                  <a:pt x="93" y="24"/>
                </a:lnTo>
                <a:lnTo>
                  <a:pt x="93" y="24"/>
                </a:lnTo>
                <a:lnTo>
                  <a:pt x="93" y="24"/>
                </a:lnTo>
                <a:lnTo>
                  <a:pt x="91" y="22"/>
                </a:lnTo>
                <a:lnTo>
                  <a:pt x="91" y="22"/>
                </a:lnTo>
                <a:lnTo>
                  <a:pt x="91" y="20"/>
                </a:lnTo>
                <a:lnTo>
                  <a:pt x="91" y="20"/>
                </a:lnTo>
                <a:lnTo>
                  <a:pt x="88" y="20"/>
                </a:lnTo>
                <a:lnTo>
                  <a:pt x="88" y="20"/>
                </a:lnTo>
                <a:lnTo>
                  <a:pt x="86" y="20"/>
                </a:lnTo>
                <a:lnTo>
                  <a:pt x="86" y="20"/>
                </a:lnTo>
                <a:lnTo>
                  <a:pt x="83" y="17"/>
                </a:lnTo>
                <a:lnTo>
                  <a:pt x="83" y="17"/>
                </a:lnTo>
                <a:lnTo>
                  <a:pt x="86" y="15"/>
                </a:lnTo>
                <a:lnTo>
                  <a:pt x="86" y="15"/>
                </a:lnTo>
                <a:lnTo>
                  <a:pt x="83" y="12"/>
                </a:lnTo>
                <a:lnTo>
                  <a:pt x="83" y="12"/>
                </a:lnTo>
                <a:lnTo>
                  <a:pt x="83" y="12"/>
                </a:lnTo>
                <a:lnTo>
                  <a:pt x="81" y="15"/>
                </a:lnTo>
                <a:lnTo>
                  <a:pt x="81" y="15"/>
                </a:lnTo>
                <a:lnTo>
                  <a:pt x="81" y="20"/>
                </a:lnTo>
                <a:lnTo>
                  <a:pt x="81" y="20"/>
                </a:lnTo>
                <a:lnTo>
                  <a:pt x="81" y="22"/>
                </a:lnTo>
                <a:lnTo>
                  <a:pt x="81" y="22"/>
                </a:lnTo>
                <a:lnTo>
                  <a:pt x="83" y="24"/>
                </a:lnTo>
                <a:lnTo>
                  <a:pt x="83" y="24"/>
                </a:lnTo>
                <a:lnTo>
                  <a:pt x="83" y="29"/>
                </a:lnTo>
                <a:lnTo>
                  <a:pt x="83" y="29"/>
                </a:lnTo>
                <a:lnTo>
                  <a:pt x="83" y="29"/>
                </a:lnTo>
                <a:lnTo>
                  <a:pt x="81" y="27"/>
                </a:lnTo>
                <a:lnTo>
                  <a:pt x="81" y="27"/>
                </a:lnTo>
                <a:lnTo>
                  <a:pt x="81" y="24"/>
                </a:lnTo>
                <a:lnTo>
                  <a:pt x="81" y="24"/>
                </a:lnTo>
                <a:lnTo>
                  <a:pt x="78" y="24"/>
                </a:lnTo>
                <a:lnTo>
                  <a:pt x="78" y="24"/>
                </a:lnTo>
                <a:lnTo>
                  <a:pt x="78" y="27"/>
                </a:lnTo>
                <a:lnTo>
                  <a:pt x="78" y="27"/>
                </a:lnTo>
                <a:lnTo>
                  <a:pt x="78" y="29"/>
                </a:lnTo>
                <a:lnTo>
                  <a:pt x="78" y="29"/>
                </a:lnTo>
                <a:lnTo>
                  <a:pt x="81" y="32"/>
                </a:lnTo>
                <a:lnTo>
                  <a:pt x="81" y="32"/>
                </a:lnTo>
                <a:lnTo>
                  <a:pt x="81" y="34"/>
                </a:lnTo>
                <a:lnTo>
                  <a:pt x="81" y="34"/>
                </a:lnTo>
                <a:lnTo>
                  <a:pt x="81" y="37"/>
                </a:lnTo>
                <a:lnTo>
                  <a:pt x="81" y="37"/>
                </a:lnTo>
                <a:lnTo>
                  <a:pt x="78" y="37"/>
                </a:lnTo>
                <a:lnTo>
                  <a:pt x="78" y="37"/>
                </a:lnTo>
                <a:lnTo>
                  <a:pt x="78" y="32"/>
                </a:lnTo>
                <a:lnTo>
                  <a:pt x="78" y="32"/>
                </a:lnTo>
                <a:lnTo>
                  <a:pt x="76" y="32"/>
                </a:lnTo>
                <a:lnTo>
                  <a:pt x="76" y="32"/>
                </a:lnTo>
                <a:lnTo>
                  <a:pt x="71" y="32"/>
                </a:lnTo>
                <a:lnTo>
                  <a:pt x="71" y="32"/>
                </a:lnTo>
                <a:lnTo>
                  <a:pt x="68" y="29"/>
                </a:lnTo>
                <a:lnTo>
                  <a:pt x="68" y="29"/>
                </a:lnTo>
                <a:lnTo>
                  <a:pt x="68" y="32"/>
                </a:lnTo>
                <a:lnTo>
                  <a:pt x="68" y="32"/>
                </a:lnTo>
                <a:lnTo>
                  <a:pt x="68" y="34"/>
                </a:lnTo>
                <a:lnTo>
                  <a:pt x="68" y="34"/>
                </a:lnTo>
                <a:lnTo>
                  <a:pt x="71" y="34"/>
                </a:lnTo>
                <a:lnTo>
                  <a:pt x="71" y="34"/>
                </a:lnTo>
                <a:lnTo>
                  <a:pt x="73" y="37"/>
                </a:lnTo>
                <a:lnTo>
                  <a:pt x="73" y="37"/>
                </a:lnTo>
                <a:lnTo>
                  <a:pt x="71" y="37"/>
                </a:lnTo>
                <a:lnTo>
                  <a:pt x="71" y="37"/>
                </a:lnTo>
                <a:lnTo>
                  <a:pt x="71" y="39"/>
                </a:lnTo>
                <a:lnTo>
                  <a:pt x="71" y="39"/>
                </a:lnTo>
                <a:lnTo>
                  <a:pt x="76" y="39"/>
                </a:lnTo>
                <a:lnTo>
                  <a:pt x="76" y="39"/>
                </a:lnTo>
                <a:lnTo>
                  <a:pt x="76" y="39"/>
                </a:lnTo>
                <a:lnTo>
                  <a:pt x="71" y="42"/>
                </a:lnTo>
                <a:lnTo>
                  <a:pt x="71" y="42"/>
                </a:lnTo>
                <a:lnTo>
                  <a:pt x="71" y="44"/>
                </a:lnTo>
                <a:lnTo>
                  <a:pt x="71" y="44"/>
                </a:lnTo>
                <a:lnTo>
                  <a:pt x="73" y="49"/>
                </a:lnTo>
                <a:lnTo>
                  <a:pt x="73" y="49"/>
                </a:lnTo>
                <a:lnTo>
                  <a:pt x="76" y="52"/>
                </a:lnTo>
                <a:lnTo>
                  <a:pt x="76" y="52"/>
                </a:lnTo>
                <a:lnTo>
                  <a:pt x="78" y="52"/>
                </a:lnTo>
                <a:lnTo>
                  <a:pt x="78" y="52"/>
                </a:lnTo>
                <a:lnTo>
                  <a:pt x="83" y="52"/>
                </a:lnTo>
                <a:lnTo>
                  <a:pt x="83" y="52"/>
                </a:lnTo>
                <a:lnTo>
                  <a:pt x="86" y="52"/>
                </a:lnTo>
                <a:lnTo>
                  <a:pt x="86" y="52"/>
                </a:lnTo>
                <a:lnTo>
                  <a:pt x="88" y="52"/>
                </a:lnTo>
                <a:lnTo>
                  <a:pt x="88" y="52"/>
                </a:lnTo>
                <a:close/>
                <a:moveTo>
                  <a:pt x="174" y="86"/>
                </a:moveTo>
                <a:lnTo>
                  <a:pt x="174" y="86"/>
                </a:lnTo>
                <a:lnTo>
                  <a:pt x="177" y="84"/>
                </a:lnTo>
                <a:lnTo>
                  <a:pt x="177" y="84"/>
                </a:lnTo>
                <a:lnTo>
                  <a:pt x="179" y="81"/>
                </a:lnTo>
                <a:lnTo>
                  <a:pt x="179" y="81"/>
                </a:lnTo>
                <a:lnTo>
                  <a:pt x="182" y="81"/>
                </a:lnTo>
                <a:lnTo>
                  <a:pt x="182" y="81"/>
                </a:lnTo>
                <a:lnTo>
                  <a:pt x="184" y="79"/>
                </a:lnTo>
                <a:lnTo>
                  <a:pt x="184" y="79"/>
                </a:lnTo>
                <a:lnTo>
                  <a:pt x="184" y="81"/>
                </a:lnTo>
                <a:lnTo>
                  <a:pt x="184" y="81"/>
                </a:lnTo>
                <a:lnTo>
                  <a:pt x="189" y="81"/>
                </a:lnTo>
                <a:lnTo>
                  <a:pt x="189" y="81"/>
                </a:lnTo>
                <a:lnTo>
                  <a:pt x="191" y="81"/>
                </a:lnTo>
                <a:lnTo>
                  <a:pt x="191" y="81"/>
                </a:lnTo>
                <a:lnTo>
                  <a:pt x="189" y="84"/>
                </a:lnTo>
                <a:lnTo>
                  <a:pt x="189" y="84"/>
                </a:lnTo>
                <a:lnTo>
                  <a:pt x="187" y="86"/>
                </a:lnTo>
                <a:lnTo>
                  <a:pt x="187" y="86"/>
                </a:lnTo>
                <a:lnTo>
                  <a:pt x="184" y="84"/>
                </a:lnTo>
                <a:lnTo>
                  <a:pt x="184" y="84"/>
                </a:lnTo>
                <a:lnTo>
                  <a:pt x="182" y="84"/>
                </a:lnTo>
                <a:lnTo>
                  <a:pt x="182" y="84"/>
                </a:lnTo>
                <a:lnTo>
                  <a:pt x="179" y="84"/>
                </a:lnTo>
                <a:lnTo>
                  <a:pt x="179" y="84"/>
                </a:lnTo>
                <a:lnTo>
                  <a:pt x="179" y="84"/>
                </a:lnTo>
                <a:lnTo>
                  <a:pt x="177" y="88"/>
                </a:lnTo>
                <a:lnTo>
                  <a:pt x="177" y="88"/>
                </a:lnTo>
                <a:lnTo>
                  <a:pt x="174" y="86"/>
                </a:lnTo>
                <a:lnTo>
                  <a:pt x="174" y="86"/>
                </a:lnTo>
                <a:close/>
                <a:moveTo>
                  <a:pt x="162" y="98"/>
                </a:moveTo>
                <a:lnTo>
                  <a:pt x="162" y="98"/>
                </a:lnTo>
                <a:lnTo>
                  <a:pt x="162" y="96"/>
                </a:lnTo>
                <a:lnTo>
                  <a:pt x="162" y="96"/>
                </a:lnTo>
                <a:lnTo>
                  <a:pt x="162" y="93"/>
                </a:lnTo>
                <a:lnTo>
                  <a:pt x="162" y="93"/>
                </a:lnTo>
                <a:lnTo>
                  <a:pt x="162" y="88"/>
                </a:lnTo>
                <a:lnTo>
                  <a:pt x="162" y="88"/>
                </a:lnTo>
                <a:lnTo>
                  <a:pt x="162" y="88"/>
                </a:lnTo>
                <a:lnTo>
                  <a:pt x="162" y="88"/>
                </a:lnTo>
                <a:lnTo>
                  <a:pt x="164" y="88"/>
                </a:lnTo>
                <a:lnTo>
                  <a:pt x="164" y="88"/>
                </a:lnTo>
                <a:lnTo>
                  <a:pt x="164" y="91"/>
                </a:lnTo>
                <a:lnTo>
                  <a:pt x="164" y="91"/>
                </a:lnTo>
                <a:lnTo>
                  <a:pt x="167" y="93"/>
                </a:lnTo>
                <a:lnTo>
                  <a:pt x="167" y="93"/>
                </a:lnTo>
                <a:lnTo>
                  <a:pt x="167" y="96"/>
                </a:lnTo>
                <a:lnTo>
                  <a:pt x="167" y="96"/>
                </a:lnTo>
                <a:lnTo>
                  <a:pt x="164" y="98"/>
                </a:lnTo>
                <a:lnTo>
                  <a:pt x="164" y="98"/>
                </a:lnTo>
                <a:lnTo>
                  <a:pt x="162" y="98"/>
                </a:lnTo>
                <a:lnTo>
                  <a:pt x="162" y="98"/>
                </a:lnTo>
                <a:close/>
                <a:moveTo>
                  <a:pt x="108" y="123"/>
                </a:moveTo>
                <a:lnTo>
                  <a:pt x="108" y="123"/>
                </a:lnTo>
                <a:lnTo>
                  <a:pt x="110" y="120"/>
                </a:lnTo>
                <a:lnTo>
                  <a:pt x="110" y="120"/>
                </a:lnTo>
                <a:lnTo>
                  <a:pt x="113" y="118"/>
                </a:lnTo>
                <a:lnTo>
                  <a:pt x="113" y="118"/>
                </a:lnTo>
                <a:lnTo>
                  <a:pt x="118" y="115"/>
                </a:lnTo>
                <a:lnTo>
                  <a:pt x="118" y="115"/>
                </a:lnTo>
                <a:lnTo>
                  <a:pt x="123" y="115"/>
                </a:lnTo>
                <a:lnTo>
                  <a:pt x="123" y="115"/>
                </a:lnTo>
                <a:lnTo>
                  <a:pt x="125" y="113"/>
                </a:lnTo>
                <a:lnTo>
                  <a:pt x="125" y="113"/>
                </a:lnTo>
                <a:lnTo>
                  <a:pt x="130" y="111"/>
                </a:lnTo>
                <a:lnTo>
                  <a:pt x="130" y="111"/>
                </a:lnTo>
                <a:lnTo>
                  <a:pt x="130" y="113"/>
                </a:lnTo>
                <a:lnTo>
                  <a:pt x="130" y="113"/>
                </a:lnTo>
                <a:lnTo>
                  <a:pt x="132" y="118"/>
                </a:lnTo>
                <a:lnTo>
                  <a:pt x="132" y="118"/>
                </a:lnTo>
                <a:lnTo>
                  <a:pt x="132" y="118"/>
                </a:lnTo>
                <a:lnTo>
                  <a:pt x="130" y="118"/>
                </a:lnTo>
                <a:lnTo>
                  <a:pt x="130" y="118"/>
                </a:lnTo>
                <a:lnTo>
                  <a:pt x="130" y="120"/>
                </a:lnTo>
                <a:lnTo>
                  <a:pt x="130" y="120"/>
                </a:lnTo>
                <a:lnTo>
                  <a:pt x="130" y="125"/>
                </a:lnTo>
                <a:lnTo>
                  <a:pt x="130" y="125"/>
                </a:lnTo>
                <a:lnTo>
                  <a:pt x="135" y="128"/>
                </a:lnTo>
                <a:lnTo>
                  <a:pt x="135" y="128"/>
                </a:lnTo>
                <a:lnTo>
                  <a:pt x="137" y="130"/>
                </a:lnTo>
                <a:lnTo>
                  <a:pt x="137" y="130"/>
                </a:lnTo>
                <a:lnTo>
                  <a:pt x="140" y="128"/>
                </a:lnTo>
                <a:lnTo>
                  <a:pt x="140" y="128"/>
                </a:lnTo>
                <a:lnTo>
                  <a:pt x="142" y="125"/>
                </a:lnTo>
                <a:lnTo>
                  <a:pt x="142" y="125"/>
                </a:lnTo>
                <a:lnTo>
                  <a:pt x="145" y="128"/>
                </a:lnTo>
                <a:lnTo>
                  <a:pt x="145" y="128"/>
                </a:lnTo>
                <a:lnTo>
                  <a:pt x="147" y="130"/>
                </a:lnTo>
                <a:lnTo>
                  <a:pt x="147" y="130"/>
                </a:lnTo>
                <a:lnTo>
                  <a:pt x="150" y="130"/>
                </a:lnTo>
                <a:lnTo>
                  <a:pt x="150" y="130"/>
                </a:lnTo>
                <a:lnTo>
                  <a:pt x="150" y="133"/>
                </a:lnTo>
                <a:lnTo>
                  <a:pt x="150" y="133"/>
                </a:lnTo>
                <a:lnTo>
                  <a:pt x="145" y="133"/>
                </a:lnTo>
                <a:lnTo>
                  <a:pt x="145" y="133"/>
                </a:lnTo>
                <a:lnTo>
                  <a:pt x="142" y="138"/>
                </a:lnTo>
                <a:lnTo>
                  <a:pt x="142" y="138"/>
                </a:lnTo>
                <a:lnTo>
                  <a:pt x="142" y="140"/>
                </a:lnTo>
                <a:lnTo>
                  <a:pt x="142" y="140"/>
                </a:lnTo>
                <a:lnTo>
                  <a:pt x="140" y="147"/>
                </a:lnTo>
                <a:lnTo>
                  <a:pt x="140" y="147"/>
                </a:lnTo>
                <a:lnTo>
                  <a:pt x="137" y="147"/>
                </a:lnTo>
                <a:lnTo>
                  <a:pt x="137" y="147"/>
                </a:lnTo>
                <a:lnTo>
                  <a:pt x="135" y="150"/>
                </a:lnTo>
                <a:lnTo>
                  <a:pt x="135" y="150"/>
                </a:lnTo>
                <a:lnTo>
                  <a:pt x="132" y="152"/>
                </a:lnTo>
                <a:lnTo>
                  <a:pt x="132" y="152"/>
                </a:lnTo>
                <a:lnTo>
                  <a:pt x="132" y="155"/>
                </a:lnTo>
                <a:lnTo>
                  <a:pt x="132" y="155"/>
                </a:lnTo>
                <a:lnTo>
                  <a:pt x="130" y="155"/>
                </a:lnTo>
                <a:lnTo>
                  <a:pt x="130" y="155"/>
                </a:lnTo>
                <a:lnTo>
                  <a:pt x="130" y="155"/>
                </a:lnTo>
                <a:lnTo>
                  <a:pt x="127" y="152"/>
                </a:lnTo>
                <a:lnTo>
                  <a:pt x="127" y="152"/>
                </a:lnTo>
                <a:lnTo>
                  <a:pt x="130" y="150"/>
                </a:lnTo>
                <a:lnTo>
                  <a:pt x="130" y="150"/>
                </a:lnTo>
                <a:lnTo>
                  <a:pt x="130" y="147"/>
                </a:lnTo>
                <a:lnTo>
                  <a:pt x="130" y="147"/>
                </a:lnTo>
                <a:lnTo>
                  <a:pt x="130" y="143"/>
                </a:lnTo>
                <a:lnTo>
                  <a:pt x="130" y="143"/>
                </a:lnTo>
                <a:lnTo>
                  <a:pt x="130" y="140"/>
                </a:lnTo>
                <a:lnTo>
                  <a:pt x="130" y="140"/>
                </a:lnTo>
                <a:lnTo>
                  <a:pt x="130" y="140"/>
                </a:lnTo>
                <a:lnTo>
                  <a:pt x="127" y="140"/>
                </a:lnTo>
                <a:lnTo>
                  <a:pt x="127" y="140"/>
                </a:lnTo>
                <a:lnTo>
                  <a:pt x="125" y="143"/>
                </a:lnTo>
                <a:lnTo>
                  <a:pt x="125" y="143"/>
                </a:lnTo>
                <a:lnTo>
                  <a:pt x="125" y="145"/>
                </a:lnTo>
                <a:lnTo>
                  <a:pt x="125" y="145"/>
                </a:lnTo>
                <a:lnTo>
                  <a:pt x="123" y="147"/>
                </a:lnTo>
                <a:lnTo>
                  <a:pt x="123" y="147"/>
                </a:lnTo>
                <a:lnTo>
                  <a:pt x="120" y="147"/>
                </a:lnTo>
                <a:lnTo>
                  <a:pt x="120" y="147"/>
                </a:lnTo>
                <a:lnTo>
                  <a:pt x="118" y="150"/>
                </a:lnTo>
                <a:lnTo>
                  <a:pt x="118" y="150"/>
                </a:lnTo>
                <a:lnTo>
                  <a:pt x="113" y="150"/>
                </a:lnTo>
                <a:lnTo>
                  <a:pt x="113" y="150"/>
                </a:lnTo>
                <a:lnTo>
                  <a:pt x="110" y="150"/>
                </a:lnTo>
                <a:lnTo>
                  <a:pt x="110" y="150"/>
                </a:lnTo>
                <a:lnTo>
                  <a:pt x="110" y="150"/>
                </a:lnTo>
                <a:lnTo>
                  <a:pt x="110" y="147"/>
                </a:lnTo>
                <a:lnTo>
                  <a:pt x="110" y="147"/>
                </a:lnTo>
                <a:lnTo>
                  <a:pt x="110" y="147"/>
                </a:lnTo>
                <a:lnTo>
                  <a:pt x="110" y="145"/>
                </a:lnTo>
                <a:lnTo>
                  <a:pt x="110" y="145"/>
                </a:lnTo>
                <a:lnTo>
                  <a:pt x="113" y="143"/>
                </a:lnTo>
                <a:lnTo>
                  <a:pt x="113" y="143"/>
                </a:lnTo>
                <a:lnTo>
                  <a:pt x="113" y="138"/>
                </a:lnTo>
                <a:lnTo>
                  <a:pt x="113" y="138"/>
                </a:lnTo>
                <a:lnTo>
                  <a:pt x="115" y="133"/>
                </a:lnTo>
                <a:lnTo>
                  <a:pt x="115" y="133"/>
                </a:lnTo>
                <a:lnTo>
                  <a:pt x="115" y="130"/>
                </a:lnTo>
                <a:lnTo>
                  <a:pt x="115" y="130"/>
                </a:lnTo>
                <a:lnTo>
                  <a:pt x="115" y="128"/>
                </a:lnTo>
                <a:lnTo>
                  <a:pt x="115" y="128"/>
                </a:lnTo>
                <a:lnTo>
                  <a:pt x="115" y="128"/>
                </a:lnTo>
                <a:lnTo>
                  <a:pt x="113" y="128"/>
                </a:lnTo>
                <a:lnTo>
                  <a:pt x="113" y="128"/>
                </a:lnTo>
                <a:lnTo>
                  <a:pt x="110" y="125"/>
                </a:lnTo>
                <a:lnTo>
                  <a:pt x="110" y="125"/>
                </a:lnTo>
                <a:lnTo>
                  <a:pt x="108" y="123"/>
                </a:lnTo>
                <a:lnTo>
                  <a:pt x="108" y="123"/>
                </a:lnTo>
                <a:close/>
                <a:moveTo>
                  <a:pt x="93" y="79"/>
                </a:moveTo>
                <a:lnTo>
                  <a:pt x="93" y="79"/>
                </a:lnTo>
                <a:lnTo>
                  <a:pt x="95" y="81"/>
                </a:lnTo>
                <a:lnTo>
                  <a:pt x="95" y="81"/>
                </a:lnTo>
                <a:lnTo>
                  <a:pt x="95" y="84"/>
                </a:lnTo>
                <a:lnTo>
                  <a:pt x="95" y="84"/>
                </a:lnTo>
                <a:lnTo>
                  <a:pt x="98" y="84"/>
                </a:lnTo>
                <a:lnTo>
                  <a:pt x="98" y="84"/>
                </a:lnTo>
                <a:lnTo>
                  <a:pt x="103" y="84"/>
                </a:lnTo>
                <a:lnTo>
                  <a:pt x="103" y="84"/>
                </a:lnTo>
                <a:lnTo>
                  <a:pt x="103" y="81"/>
                </a:lnTo>
                <a:lnTo>
                  <a:pt x="103" y="81"/>
                </a:lnTo>
                <a:lnTo>
                  <a:pt x="100" y="79"/>
                </a:lnTo>
                <a:lnTo>
                  <a:pt x="100" y="79"/>
                </a:lnTo>
                <a:lnTo>
                  <a:pt x="95" y="76"/>
                </a:lnTo>
                <a:lnTo>
                  <a:pt x="95" y="76"/>
                </a:lnTo>
                <a:lnTo>
                  <a:pt x="93" y="76"/>
                </a:lnTo>
                <a:lnTo>
                  <a:pt x="93" y="76"/>
                </a:lnTo>
                <a:lnTo>
                  <a:pt x="93" y="79"/>
                </a:lnTo>
                <a:lnTo>
                  <a:pt x="93" y="79"/>
                </a:lnTo>
                <a:close/>
                <a:moveTo>
                  <a:pt x="100" y="106"/>
                </a:moveTo>
                <a:lnTo>
                  <a:pt x="100" y="106"/>
                </a:lnTo>
                <a:lnTo>
                  <a:pt x="103" y="106"/>
                </a:lnTo>
                <a:lnTo>
                  <a:pt x="103" y="106"/>
                </a:lnTo>
                <a:lnTo>
                  <a:pt x="105" y="108"/>
                </a:lnTo>
                <a:lnTo>
                  <a:pt x="105" y="108"/>
                </a:lnTo>
                <a:lnTo>
                  <a:pt x="105" y="111"/>
                </a:lnTo>
                <a:lnTo>
                  <a:pt x="105" y="111"/>
                </a:lnTo>
                <a:lnTo>
                  <a:pt x="108" y="111"/>
                </a:lnTo>
                <a:lnTo>
                  <a:pt x="108" y="111"/>
                </a:lnTo>
                <a:lnTo>
                  <a:pt x="108" y="113"/>
                </a:lnTo>
                <a:lnTo>
                  <a:pt x="108" y="113"/>
                </a:lnTo>
                <a:lnTo>
                  <a:pt x="108" y="113"/>
                </a:lnTo>
                <a:lnTo>
                  <a:pt x="108" y="115"/>
                </a:lnTo>
                <a:lnTo>
                  <a:pt x="108" y="115"/>
                </a:lnTo>
                <a:lnTo>
                  <a:pt x="110" y="115"/>
                </a:lnTo>
                <a:lnTo>
                  <a:pt x="110" y="115"/>
                </a:lnTo>
                <a:lnTo>
                  <a:pt x="110" y="115"/>
                </a:lnTo>
                <a:lnTo>
                  <a:pt x="113" y="115"/>
                </a:lnTo>
                <a:lnTo>
                  <a:pt x="113" y="115"/>
                </a:lnTo>
                <a:lnTo>
                  <a:pt x="115" y="113"/>
                </a:lnTo>
                <a:lnTo>
                  <a:pt x="115" y="113"/>
                </a:lnTo>
                <a:lnTo>
                  <a:pt x="118" y="113"/>
                </a:lnTo>
                <a:lnTo>
                  <a:pt x="118" y="113"/>
                </a:lnTo>
                <a:lnTo>
                  <a:pt x="120" y="111"/>
                </a:lnTo>
                <a:lnTo>
                  <a:pt x="120" y="111"/>
                </a:lnTo>
                <a:lnTo>
                  <a:pt x="120" y="111"/>
                </a:lnTo>
                <a:lnTo>
                  <a:pt x="120" y="106"/>
                </a:lnTo>
                <a:lnTo>
                  <a:pt x="120" y="106"/>
                </a:lnTo>
                <a:lnTo>
                  <a:pt x="123" y="103"/>
                </a:lnTo>
                <a:lnTo>
                  <a:pt x="123" y="103"/>
                </a:lnTo>
                <a:lnTo>
                  <a:pt x="123" y="101"/>
                </a:lnTo>
                <a:lnTo>
                  <a:pt x="123" y="101"/>
                </a:lnTo>
                <a:lnTo>
                  <a:pt x="123" y="98"/>
                </a:lnTo>
                <a:lnTo>
                  <a:pt x="123" y="98"/>
                </a:lnTo>
                <a:lnTo>
                  <a:pt x="120" y="98"/>
                </a:lnTo>
                <a:lnTo>
                  <a:pt x="120" y="98"/>
                </a:lnTo>
                <a:lnTo>
                  <a:pt x="118" y="98"/>
                </a:lnTo>
                <a:lnTo>
                  <a:pt x="118" y="98"/>
                </a:lnTo>
                <a:lnTo>
                  <a:pt x="118" y="96"/>
                </a:lnTo>
                <a:lnTo>
                  <a:pt x="118" y="96"/>
                </a:lnTo>
                <a:lnTo>
                  <a:pt x="115" y="98"/>
                </a:lnTo>
                <a:lnTo>
                  <a:pt x="115" y="98"/>
                </a:lnTo>
                <a:lnTo>
                  <a:pt x="110" y="101"/>
                </a:lnTo>
                <a:lnTo>
                  <a:pt x="110" y="101"/>
                </a:lnTo>
                <a:lnTo>
                  <a:pt x="110" y="98"/>
                </a:lnTo>
                <a:lnTo>
                  <a:pt x="110" y="98"/>
                </a:lnTo>
                <a:lnTo>
                  <a:pt x="110" y="98"/>
                </a:lnTo>
                <a:lnTo>
                  <a:pt x="108" y="101"/>
                </a:lnTo>
                <a:lnTo>
                  <a:pt x="108" y="101"/>
                </a:lnTo>
                <a:lnTo>
                  <a:pt x="108" y="101"/>
                </a:lnTo>
                <a:lnTo>
                  <a:pt x="105" y="103"/>
                </a:lnTo>
                <a:lnTo>
                  <a:pt x="105" y="103"/>
                </a:lnTo>
                <a:lnTo>
                  <a:pt x="103" y="101"/>
                </a:lnTo>
                <a:lnTo>
                  <a:pt x="103" y="101"/>
                </a:lnTo>
                <a:lnTo>
                  <a:pt x="100" y="103"/>
                </a:lnTo>
                <a:lnTo>
                  <a:pt x="100" y="103"/>
                </a:lnTo>
                <a:lnTo>
                  <a:pt x="100" y="106"/>
                </a:lnTo>
                <a:lnTo>
                  <a:pt x="100" y="106"/>
                </a:lnTo>
                <a:close/>
                <a:moveTo>
                  <a:pt x="14" y="120"/>
                </a:moveTo>
                <a:lnTo>
                  <a:pt x="14" y="120"/>
                </a:lnTo>
                <a:lnTo>
                  <a:pt x="12" y="115"/>
                </a:lnTo>
                <a:lnTo>
                  <a:pt x="12" y="115"/>
                </a:lnTo>
                <a:lnTo>
                  <a:pt x="12" y="115"/>
                </a:lnTo>
                <a:lnTo>
                  <a:pt x="9" y="113"/>
                </a:lnTo>
                <a:lnTo>
                  <a:pt x="9" y="113"/>
                </a:lnTo>
                <a:lnTo>
                  <a:pt x="7" y="111"/>
                </a:lnTo>
                <a:lnTo>
                  <a:pt x="7" y="111"/>
                </a:lnTo>
                <a:lnTo>
                  <a:pt x="4" y="111"/>
                </a:lnTo>
                <a:lnTo>
                  <a:pt x="4" y="111"/>
                </a:lnTo>
                <a:lnTo>
                  <a:pt x="4" y="108"/>
                </a:lnTo>
                <a:lnTo>
                  <a:pt x="4" y="108"/>
                </a:lnTo>
                <a:lnTo>
                  <a:pt x="4" y="103"/>
                </a:lnTo>
                <a:lnTo>
                  <a:pt x="4" y="103"/>
                </a:lnTo>
                <a:lnTo>
                  <a:pt x="2" y="98"/>
                </a:lnTo>
                <a:lnTo>
                  <a:pt x="2" y="98"/>
                </a:lnTo>
                <a:lnTo>
                  <a:pt x="0" y="98"/>
                </a:lnTo>
                <a:lnTo>
                  <a:pt x="0" y="98"/>
                </a:lnTo>
                <a:lnTo>
                  <a:pt x="0" y="93"/>
                </a:lnTo>
                <a:lnTo>
                  <a:pt x="0" y="93"/>
                </a:lnTo>
                <a:lnTo>
                  <a:pt x="2" y="91"/>
                </a:lnTo>
                <a:lnTo>
                  <a:pt x="2" y="91"/>
                </a:lnTo>
                <a:lnTo>
                  <a:pt x="2" y="93"/>
                </a:lnTo>
                <a:lnTo>
                  <a:pt x="2" y="93"/>
                </a:lnTo>
                <a:lnTo>
                  <a:pt x="4" y="96"/>
                </a:lnTo>
                <a:lnTo>
                  <a:pt x="4" y="96"/>
                </a:lnTo>
                <a:lnTo>
                  <a:pt x="7" y="98"/>
                </a:lnTo>
                <a:lnTo>
                  <a:pt x="7" y="98"/>
                </a:lnTo>
                <a:lnTo>
                  <a:pt x="4" y="101"/>
                </a:lnTo>
                <a:lnTo>
                  <a:pt x="4" y="101"/>
                </a:lnTo>
                <a:lnTo>
                  <a:pt x="7" y="106"/>
                </a:lnTo>
                <a:lnTo>
                  <a:pt x="7" y="106"/>
                </a:lnTo>
                <a:lnTo>
                  <a:pt x="9" y="108"/>
                </a:lnTo>
                <a:lnTo>
                  <a:pt x="9" y="108"/>
                </a:lnTo>
                <a:lnTo>
                  <a:pt x="9" y="108"/>
                </a:lnTo>
                <a:lnTo>
                  <a:pt x="12" y="108"/>
                </a:lnTo>
                <a:lnTo>
                  <a:pt x="12" y="108"/>
                </a:lnTo>
                <a:lnTo>
                  <a:pt x="12" y="108"/>
                </a:lnTo>
                <a:lnTo>
                  <a:pt x="14" y="111"/>
                </a:lnTo>
                <a:lnTo>
                  <a:pt x="14" y="111"/>
                </a:lnTo>
                <a:lnTo>
                  <a:pt x="17" y="115"/>
                </a:lnTo>
                <a:lnTo>
                  <a:pt x="17" y="115"/>
                </a:lnTo>
                <a:lnTo>
                  <a:pt x="17" y="118"/>
                </a:lnTo>
                <a:lnTo>
                  <a:pt x="17" y="118"/>
                </a:lnTo>
                <a:lnTo>
                  <a:pt x="17" y="120"/>
                </a:lnTo>
                <a:lnTo>
                  <a:pt x="17" y="120"/>
                </a:lnTo>
                <a:lnTo>
                  <a:pt x="14" y="120"/>
                </a:lnTo>
                <a:lnTo>
                  <a:pt x="14" y="120"/>
                </a:lnTo>
                <a:lnTo>
                  <a:pt x="14" y="120"/>
                </a:lnTo>
                <a:close/>
                <a:moveTo>
                  <a:pt x="71" y="189"/>
                </a:moveTo>
                <a:lnTo>
                  <a:pt x="71" y="189"/>
                </a:lnTo>
                <a:lnTo>
                  <a:pt x="71" y="187"/>
                </a:lnTo>
                <a:lnTo>
                  <a:pt x="71" y="187"/>
                </a:lnTo>
                <a:lnTo>
                  <a:pt x="68" y="187"/>
                </a:lnTo>
                <a:lnTo>
                  <a:pt x="68" y="187"/>
                </a:lnTo>
                <a:lnTo>
                  <a:pt x="68" y="189"/>
                </a:lnTo>
                <a:lnTo>
                  <a:pt x="68" y="189"/>
                </a:lnTo>
                <a:lnTo>
                  <a:pt x="66" y="189"/>
                </a:lnTo>
                <a:lnTo>
                  <a:pt x="66" y="189"/>
                </a:lnTo>
                <a:lnTo>
                  <a:pt x="66" y="187"/>
                </a:lnTo>
                <a:lnTo>
                  <a:pt x="66" y="187"/>
                </a:lnTo>
                <a:lnTo>
                  <a:pt x="66" y="184"/>
                </a:lnTo>
                <a:lnTo>
                  <a:pt x="66" y="184"/>
                </a:lnTo>
                <a:lnTo>
                  <a:pt x="66" y="182"/>
                </a:lnTo>
                <a:lnTo>
                  <a:pt x="66" y="182"/>
                </a:lnTo>
                <a:lnTo>
                  <a:pt x="64" y="182"/>
                </a:lnTo>
                <a:lnTo>
                  <a:pt x="64" y="182"/>
                </a:lnTo>
                <a:lnTo>
                  <a:pt x="59" y="177"/>
                </a:lnTo>
                <a:lnTo>
                  <a:pt x="59" y="177"/>
                </a:lnTo>
                <a:lnTo>
                  <a:pt x="59" y="175"/>
                </a:lnTo>
                <a:lnTo>
                  <a:pt x="59" y="175"/>
                </a:lnTo>
                <a:lnTo>
                  <a:pt x="61" y="172"/>
                </a:lnTo>
                <a:lnTo>
                  <a:pt x="61" y="172"/>
                </a:lnTo>
                <a:lnTo>
                  <a:pt x="64" y="172"/>
                </a:lnTo>
                <a:lnTo>
                  <a:pt x="64" y="172"/>
                </a:lnTo>
                <a:lnTo>
                  <a:pt x="64" y="172"/>
                </a:lnTo>
                <a:lnTo>
                  <a:pt x="64" y="170"/>
                </a:lnTo>
                <a:lnTo>
                  <a:pt x="64" y="170"/>
                </a:lnTo>
                <a:lnTo>
                  <a:pt x="64" y="170"/>
                </a:lnTo>
                <a:lnTo>
                  <a:pt x="61" y="170"/>
                </a:lnTo>
                <a:lnTo>
                  <a:pt x="61" y="170"/>
                </a:lnTo>
                <a:lnTo>
                  <a:pt x="61" y="167"/>
                </a:lnTo>
                <a:lnTo>
                  <a:pt x="61" y="167"/>
                </a:lnTo>
                <a:lnTo>
                  <a:pt x="59" y="167"/>
                </a:lnTo>
                <a:lnTo>
                  <a:pt x="59" y="167"/>
                </a:lnTo>
                <a:lnTo>
                  <a:pt x="59" y="170"/>
                </a:lnTo>
                <a:lnTo>
                  <a:pt x="59" y="170"/>
                </a:lnTo>
                <a:lnTo>
                  <a:pt x="56" y="172"/>
                </a:lnTo>
                <a:lnTo>
                  <a:pt x="56" y="172"/>
                </a:lnTo>
                <a:lnTo>
                  <a:pt x="51" y="170"/>
                </a:lnTo>
                <a:lnTo>
                  <a:pt x="51" y="170"/>
                </a:lnTo>
                <a:lnTo>
                  <a:pt x="51" y="167"/>
                </a:lnTo>
                <a:lnTo>
                  <a:pt x="51" y="167"/>
                </a:lnTo>
                <a:lnTo>
                  <a:pt x="51" y="165"/>
                </a:lnTo>
                <a:lnTo>
                  <a:pt x="51" y="165"/>
                </a:lnTo>
                <a:lnTo>
                  <a:pt x="49" y="165"/>
                </a:lnTo>
                <a:lnTo>
                  <a:pt x="49" y="165"/>
                </a:lnTo>
                <a:lnTo>
                  <a:pt x="46" y="162"/>
                </a:lnTo>
                <a:lnTo>
                  <a:pt x="46" y="162"/>
                </a:lnTo>
                <a:lnTo>
                  <a:pt x="46" y="162"/>
                </a:lnTo>
                <a:lnTo>
                  <a:pt x="44" y="162"/>
                </a:lnTo>
                <a:lnTo>
                  <a:pt x="44" y="162"/>
                </a:lnTo>
                <a:lnTo>
                  <a:pt x="44" y="160"/>
                </a:lnTo>
                <a:lnTo>
                  <a:pt x="44" y="160"/>
                </a:lnTo>
                <a:lnTo>
                  <a:pt x="44" y="157"/>
                </a:lnTo>
                <a:lnTo>
                  <a:pt x="44" y="157"/>
                </a:lnTo>
                <a:lnTo>
                  <a:pt x="41" y="157"/>
                </a:lnTo>
                <a:lnTo>
                  <a:pt x="41" y="157"/>
                </a:lnTo>
                <a:lnTo>
                  <a:pt x="41" y="157"/>
                </a:lnTo>
                <a:lnTo>
                  <a:pt x="41" y="155"/>
                </a:lnTo>
                <a:lnTo>
                  <a:pt x="41" y="155"/>
                </a:lnTo>
                <a:lnTo>
                  <a:pt x="39" y="155"/>
                </a:lnTo>
                <a:lnTo>
                  <a:pt x="39" y="155"/>
                </a:lnTo>
                <a:lnTo>
                  <a:pt x="39" y="152"/>
                </a:lnTo>
                <a:lnTo>
                  <a:pt x="39" y="152"/>
                </a:lnTo>
                <a:lnTo>
                  <a:pt x="39" y="152"/>
                </a:lnTo>
                <a:lnTo>
                  <a:pt x="39" y="152"/>
                </a:lnTo>
                <a:lnTo>
                  <a:pt x="39" y="150"/>
                </a:lnTo>
                <a:lnTo>
                  <a:pt x="39" y="150"/>
                </a:lnTo>
                <a:lnTo>
                  <a:pt x="39" y="147"/>
                </a:lnTo>
                <a:lnTo>
                  <a:pt x="39" y="147"/>
                </a:lnTo>
                <a:lnTo>
                  <a:pt x="36" y="147"/>
                </a:lnTo>
                <a:lnTo>
                  <a:pt x="36" y="147"/>
                </a:lnTo>
                <a:lnTo>
                  <a:pt x="36" y="145"/>
                </a:lnTo>
                <a:lnTo>
                  <a:pt x="36" y="145"/>
                </a:lnTo>
                <a:lnTo>
                  <a:pt x="41" y="143"/>
                </a:lnTo>
                <a:lnTo>
                  <a:pt x="41" y="143"/>
                </a:lnTo>
                <a:lnTo>
                  <a:pt x="41" y="143"/>
                </a:lnTo>
                <a:lnTo>
                  <a:pt x="44" y="145"/>
                </a:lnTo>
                <a:lnTo>
                  <a:pt x="44" y="145"/>
                </a:lnTo>
                <a:lnTo>
                  <a:pt x="46" y="147"/>
                </a:lnTo>
                <a:lnTo>
                  <a:pt x="46" y="147"/>
                </a:lnTo>
                <a:lnTo>
                  <a:pt x="46" y="147"/>
                </a:lnTo>
                <a:lnTo>
                  <a:pt x="46" y="145"/>
                </a:lnTo>
                <a:lnTo>
                  <a:pt x="46" y="145"/>
                </a:lnTo>
                <a:lnTo>
                  <a:pt x="49" y="145"/>
                </a:lnTo>
                <a:lnTo>
                  <a:pt x="49" y="145"/>
                </a:lnTo>
                <a:lnTo>
                  <a:pt x="51" y="147"/>
                </a:lnTo>
                <a:lnTo>
                  <a:pt x="51" y="147"/>
                </a:lnTo>
                <a:lnTo>
                  <a:pt x="54" y="147"/>
                </a:lnTo>
                <a:lnTo>
                  <a:pt x="54" y="147"/>
                </a:lnTo>
                <a:lnTo>
                  <a:pt x="59" y="145"/>
                </a:lnTo>
                <a:lnTo>
                  <a:pt x="59" y="145"/>
                </a:lnTo>
                <a:lnTo>
                  <a:pt x="59" y="145"/>
                </a:lnTo>
                <a:lnTo>
                  <a:pt x="56" y="143"/>
                </a:lnTo>
                <a:lnTo>
                  <a:pt x="56" y="143"/>
                </a:lnTo>
                <a:lnTo>
                  <a:pt x="54" y="143"/>
                </a:lnTo>
                <a:lnTo>
                  <a:pt x="54" y="143"/>
                </a:lnTo>
                <a:lnTo>
                  <a:pt x="49" y="143"/>
                </a:lnTo>
                <a:lnTo>
                  <a:pt x="49" y="143"/>
                </a:lnTo>
                <a:lnTo>
                  <a:pt x="46" y="140"/>
                </a:lnTo>
                <a:lnTo>
                  <a:pt x="46" y="140"/>
                </a:lnTo>
                <a:lnTo>
                  <a:pt x="46" y="140"/>
                </a:lnTo>
                <a:lnTo>
                  <a:pt x="49" y="140"/>
                </a:lnTo>
                <a:lnTo>
                  <a:pt x="49" y="140"/>
                </a:lnTo>
                <a:lnTo>
                  <a:pt x="51" y="140"/>
                </a:lnTo>
                <a:lnTo>
                  <a:pt x="51" y="140"/>
                </a:lnTo>
                <a:lnTo>
                  <a:pt x="56" y="138"/>
                </a:lnTo>
                <a:lnTo>
                  <a:pt x="56" y="138"/>
                </a:lnTo>
                <a:lnTo>
                  <a:pt x="59" y="135"/>
                </a:lnTo>
                <a:lnTo>
                  <a:pt x="59" y="135"/>
                </a:lnTo>
                <a:lnTo>
                  <a:pt x="64" y="135"/>
                </a:lnTo>
                <a:lnTo>
                  <a:pt x="64" y="135"/>
                </a:lnTo>
                <a:lnTo>
                  <a:pt x="66" y="135"/>
                </a:lnTo>
                <a:lnTo>
                  <a:pt x="66" y="135"/>
                </a:lnTo>
                <a:lnTo>
                  <a:pt x="66" y="135"/>
                </a:lnTo>
                <a:lnTo>
                  <a:pt x="66" y="135"/>
                </a:lnTo>
                <a:lnTo>
                  <a:pt x="66" y="133"/>
                </a:lnTo>
                <a:lnTo>
                  <a:pt x="66" y="133"/>
                </a:lnTo>
                <a:lnTo>
                  <a:pt x="68" y="133"/>
                </a:lnTo>
                <a:lnTo>
                  <a:pt x="68" y="133"/>
                </a:lnTo>
                <a:lnTo>
                  <a:pt x="68" y="130"/>
                </a:lnTo>
                <a:lnTo>
                  <a:pt x="68" y="130"/>
                </a:lnTo>
                <a:lnTo>
                  <a:pt x="68" y="130"/>
                </a:lnTo>
                <a:lnTo>
                  <a:pt x="66" y="130"/>
                </a:lnTo>
                <a:lnTo>
                  <a:pt x="66" y="130"/>
                </a:lnTo>
                <a:lnTo>
                  <a:pt x="64" y="133"/>
                </a:lnTo>
                <a:lnTo>
                  <a:pt x="64" y="133"/>
                </a:lnTo>
                <a:lnTo>
                  <a:pt x="59" y="133"/>
                </a:lnTo>
                <a:lnTo>
                  <a:pt x="59" y="133"/>
                </a:lnTo>
                <a:lnTo>
                  <a:pt x="56" y="133"/>
                </a:lnTo>
                <a:lnTo>
                  <a:pt x="56" y="133"/>
                </a:lnTo>
                <a:lnTo>
                  <a:pt x="56" y="133"/>
                </a:lnTo>
                <a:lnTo>
                  <a:pt x="54" y="133"/>
                </a:lnTo>
                <a:lnTo>
                  <a:pt x="54" y="133"/>
                </a:lnTo>
                <a:lnTo>
                  <a:pt x="51" y="133"/>
                </a:lnTo>
                <a:lnTo>
                  <a:pt x="51" y="133"/>
                </a:lnTo>
                <a:lnTo>
                  <a:pt x="51" y="133"/>
                </a:lnTo>
                <a:lnTo>
                  <a:pt x="49" y="135"/>
                </a:lnTo>
                <a:lnTo>
                  <a:pt x="49" y="135"/>
                </a:lnTo>
                <a:lnTo>
                  <a:pt x="46" y="135"/>
                </a:lnTo>
                <a:lnTo>
                  <a:pt x="46" y="135"/>
                </a:lnTo>
                <a:lnTo>
                  <a:pt x="44" y="135"/>
                </a:lnTo>
                <a:lnTo>
                  <a:pt x="44" y="135"/>
                </a:lnTo>
                <a:lnTo>
                  <a:pt x="44" y="138"/>
                </a:lnTo>
                <a:lnTo>
                  <a:pt x="44" y="138"/>
                </a:lnTo>
                <a:lnTo>
                  <a:pt x="39" y="138"/>
                </a:lnTo>
                <a:lnTo>
                  <a:pt x="39" y="138"/>
                </a:lnTo>
                <a:lnTo>
                  <a:pt x="36" y="138"/>
                </a:lnTo>
                <a:lnTo>
                  <a:pt x="36" y="138"/>
                </a:lnTo>
                <a:lnTo>
                  <a:pt x="36" y="138"/>
                </a:lnTo>
                <a:lnTo>
                  <a:pt x="34" y="138"/>
                </a:lnTo>
                <a:lnTo>
                  <a:pt x="34" y="138"/>
                </a:lnTo>
                <a:lnTo>
                  <a:pt x="34" y="133"/>
                </a:lnTo>
                <a:lnTo>
                  <a:pt x="34" y="133"/>
                </a:lnTo>
                <a:lnTo>
                  <a:pt x="34" y="130"/>
                </a:lnTo>
                <a:lnTo>
                  <a:pt x="34" y="130"/>
                </a:lnTo>
                <a:lnTo>
                  <a:pt x="34" y="128"/>
                </a:lnTo>
                <a:lnTo>
                  <a:pt x="34" y="128"/>
                </a:lnTo>
                <a:lnTo>
                  <a:pt x="34" y="128"/>
                </a:lnTo>
                <a:lnTo>
                  <a:pt x="36" y="125"/>
                </a:lnTo>
                <a:lnTo>
                  <a:pt x="36" y="125"/>
                </a:lnTo>
                <a:lnTo>
                  <a:pt x="39" y="125"/>
                </a:lnTo>
                <a:lnTo>
                  <a:pt x="39" y="125"/>
                </a:lnTo>
                <a:lnTo>
                  <a:pt x="39" y="125"/>
                </a:lnTo>
                <a:lnTo>
                  <a:pt x="39" y="128"/>
                </a:lnTo>
                <a:lnTo>
                  <a:pt x="39" y="128"/>
                </a:lnTo>
                <a:lnTo>
                  <a:pt x="41" y="128"/>
                </a:lnTo>
                <a:lnTo>
                  <a:pt x="41" y="128"/>
                </a:lnTo>
                <a:lnTo>
                  <a:pt x="41" y="125"/>
                </a:lnTo>
                <a:lnTo>
                  <a:pt x="41" y="125"/>
                </a:lnTo>
                <a:lnTo>
                  <a:pt x="44" y="123"/>
                </a:lnTo>
                <a:lnTo>
                  <a:pt x="44" y="123"/>
                </a:lnTo>
                <a:lnTo>
                  <a:pt x="44" y="123"/>
                </a:lnTo>
                <a:lnTo>
                  <a:pt x="46" y="120"/>
                </a:lnTo>
                <a:lnTo>
                  <a:pt x="46" y="120"/>
                </a:lnTo>
                <a:lnTo>
                  <a:pt x="49" y="118"/>
                </a:lnTo>
                <a:lnTo>
                  <a:pt x="49" y="118"/>
                </a:lnTo>
                <a:lnTo>
                  <a:pt x="51" y="118"/>
                </a:lnTo>
                <a:lnTo>
                  <a:pt x="51" y="118"/>
                </a:lnTo>
                <a:lnTo>
                  <a:pt x="51" y="115"/>
                </a:lnTo>
                <a:lnTo>
                  <a:pt x="51" y="115"/>
                </a:lnTo>
                <a:lnTo>
                  <a:pt x="54" y="113"/>
                </a:lnTo>
                <a:lnTo>
                  <a:pt x="54" y="113"/>
                </a:lnTo>
                <a:lnTo>
                  <a:pt x="56" y="113"/>
                </a:lnTo>
                <a:lnTo>
                  <a:pt x="56" y="113"/>
                </a:lnTo>
                <a:lnTo>
                  <a:pt x="61" y="113"/>
                </a:lnTo>
                <a:lnTo>
                  <a:pt x="61" y="113"/>
                </a:lnTo>
                <a:lnTo>
                  <a:pt x="64" y="111"/>
                </a:lnTo>
                <a:lnTo>
                  <a:pt x="64" y="111"/>
                </a:lnTo>
                <a:lnTo>
                  <a:pt x="66" y="108"/>
                </a:lnTo>
                <a:lnTo>
                  <a:pt x="66" y="108"/>
                </a:lnTo>
                <a:lnTo>
                  <a:pt x="68" y="108"/>
                </a:lnTo>
                <a:lnTo>
                  <a:pt x="68" y="108"/>
                </a:lnTo>
                <a:lnTo>
                  <a:pt x="68" y="106"/>
                </a:lnTo>
                <a:lnTo>
                  <a:pt x="68" y="106"/>
                </a:lnTo>
                <a:lnTo>
                  <a:pt x="66" y="106"/>
                </a:lnTo>
                <a:lnTo>
                  <a:pt x="66" y="106"/>
                </a:lnTo>
                <a:lnTo>
                  <a:pt x="64" y="108"/>
                </a:lnTo>
                <a:lnTo>
                  <a:pt x="64" y="108"/>
                </a:lnTo>
                <a:lnTo>
                  <a:pt x="61" y="108"/>
                </a:lnTo>
                <a:lnTo>
                  <a:pt x="61" y="108"/>
                </a:lnTo>
                <a:lnTo>
                  <a:pt x="61" y="108"/>
                </a:lnTo>
                <a:lnTo>
                  <a:pt x="61" y="106"/>
                </a:lnTo>
                <a:lnTo>
                  <a:pt x="61" y="106"/>
                </a:lnTo>
                <a:lnTo>
                  <a:pt x="61" y="103"/>
                </a:lnTo>
                <a:lnTo>
                  <a:pt x="61" y="103"/>
                </a:lnTo>
                <a:lnTo>
                  <a:pt x="61" y="98"/>
                </a:lnTo>
                <a:lnTo>
                  <a:pt x="61" y="98"/>
                </a:lnTo>
                <a:lnTo>
                  <a:pt x="61" y="96"/>
                </a:lnTo>
                <a:lnTo>
                  <a:pt x="61" y="96"/>
                </a:lnTo>
                <a:lnTo>
                  <a:pt x="59" y="96"/>
                </a:lnTo>
                <a:lnTo>
                  <a:pt x="59" y="96"/>
                </a:lnTo>
                <a:lnTo>
                  <a:pt x="59" y="98"/>
                </a:lnTo>
                <a:lnTo>
                  <a:pt x="59" y="98"/>
                </a:lnTo>
                <a:lnTo>
                  <a:pt x="59" y="101"/>
                </a:lnTo>
                <a:lnTo>
                  <a:pt x="59" y="101"/>
                </a:lnTo>
                <a:lnTo>
                  <a:pt x="56" y="106"/>
                </a:lnTo>
                <a:lnTo>
                  <a:pt x="56" y="106"/>
                </a:lnTo>
                <a:lnTo>
                  <a:pt x="54" y="108"/>
                </a:lnTo>
                <a:lnTo>
                  <a:pt x="54" y="108"/>
                </a:lnTo>
                <a:lnTo>
                  <a:pt x="51" y="111"/>
                </a:lnTo>
                <a:lnTo>
                  <a:pt x="51" y="111"/>
                </a:lnTo>
                <a:lnTo>
                  <a:pt x="49" y="108"/>
                </a:lnTo>
                <a:lnTo>
                  <a:pt x="49" y="108"/>
                </a:lnTo>
                <a:lnTo>
                  <a:pt x="49" y="106"/>
                </a:lnTo>
                <a:lnTo>
                  <a:pt x="49" y="106"/>
                </a:lnTo>
                <a:lnTo>
                  <a:pt x="49" y="103"/>
                </a:lnTo>
                <a:lnTo>
                  <a:pt x="49" y="103"/>
                </a:lnTo>
                <a:lnTo>
                  <a:pt x="51" y="101"/>
                </a:lnTo>
                <a:lnTo>
                  <a:pt x="51" y="101"/>
                </a:lnTo>
                <a:lnTo>
                  <a:pt x="51" y="98"/>
                </a:lnTo>
                <a:lnTo>
                  <a:pt x="51" y="98"/>
                </a:lnTo>
                <a:lnTo>
                  <a:pt x="49" y="98"/>
                </a:lnTo>
                <a:lnTo>
                  <a:pt x="49" y="98"/>
                </a:lnTo>
                <a:lnTo>
                  <a:pt x="49" y="93"/>
                </a:lnTo>
                <a:lnTo>
                  <a:pt x="49" y="93"/>
                </a:lnTo>
                <a:lnTo>
                  <a:pt x="49" y="93"/>
                </a:lnTo>
                <a:lnTo>
                  <a:pt x="46" y="93"/>
                </a:lnTo>
                <a:lnTo>
                  <a:pt x="46" y="93"/>
                </a:lnTo>
                <a:lnTo>
                  <a:pt x="46" y="93"/>
                </a:lnTo>
                <a:lnTo>
                  <a:pt x="46" y="98"/>
                </a:lnTo>
                <a:lnTo>
                  <a:pt x="46" y="98"/>
                </a:lnTo>
                <a:lnTo>
                  <a:pt x="46" y="101"/>
                </a:lnTo>
                <a:lnTo>
                  <a:pt x="46" y="101"/>
                </a:lnTo>
                <a:lnTo>
                  <a:pt x="44" y="103"/>
                </a:lnTo>
                <a:lnTo>
                  <a:pt x="44" y="103"/>
                </a:lnTo>
                <a:lnTo>
                  <a:pt x="44" y="101"/>
                </a:lnTo>
                <a:lnTo>
                  <a:pt x="44" y="101"/>
                </a:lnTo>
                <a:lnTo>
                  <a:pt x="44" y="101"/>
                </a:lnTo>
                <a:lnTo>
                  <a:pt x="44" y="98"/>
                </a:lnTo>
                <a:lnTo>
                  <a:pt x="44" y="98"/>
                </a:lnTo>
                <a:lnTo>
                  <a:pt x="41" y="98"/>
                </a:lnTo>
                <a:lnTo>
                  <a:pt x="41" y="98"/>
                </a:lnTo>
                <a:lnTo>
                  <a:pt x="39" y="98"/>
                </a:lnTo>
                <a:lnTo>
                  <a:pt x="39" y="98"/>
                </a:lnTo>
                <a:lnTo>
                  <a:pt x="39" y="101"/>
                </a:lnTo>
                <a:lnTo>
                  <a:pt x="39" y="101"/>
                </a:lnTo>
                <a:lnTo>
                  <a:pt x="41" y="103"/>
                </a:lnTo>
                <a:lnTo>
                  <a:pt x="41" y="103"/>
                </a:lnTo>
                <a:lnTo>
                  <a:pt x="41" y="106"/>
                </a:lnTo>
                <a:lnTo>
                  <a:pt x="41" y="106"/>
                </a:lnTo>
                <a:lnTo>
                  <a:pt x="41" y="108"/>
                </a:lnTo>
                <a:lnTo>
                  <a:pt x="41" y="108"/>
                </a:lnTo>
                <a:lnTo>
                  <a:pt x="44" y="111"/>
                </a:lnTo>
                <a:lnTo>
                  <a:pt x="44" y="111"/>
                </a:lnTo>
                <a:lnTo>
                  <a:pt x="44" y="113"/>
                </a:lnTo>
                <a:lnTo>
                  <a:pt x="44" y="113"/>
                </a:lnTo>
                <a:lnTo>
                  <a:pt x="41" y="113"/>
                </a:lnTo>
                <a:lnTo>
                  <a:pt x="41" y="113"/>
                </a:lnTo>
                <a:lnTo>
                  <a:pt x="39" y="113"/>
                </a:lnTo>
                <a:lnTo>
                  <a:pt x="39" y="113"/>
                </a:lnTo>
                <a:lnTo>
                  <a:pt x="39" y="118"/>
                </a:lnTo>
                <a:lnTo>
                  <a:pt x="39" y="118"/>
                </a:lnTo>
                <a:lnTo>
                  <a:pt x="39" y="118"/>
                </a:lnTo>
                <a:lnTo>
                  <a:pt x="36" y="120"/>
                </a:lnTo>
                <a:lnTo>
                  <a:pt x="36" y="120"/>
                </a:lnTo>
                <a:lnTo>
                  <a:pt x="32" y="120"/>
                </a:lnTo>
                <a:lnTo>
                  <a:pt x="32" y="120"/>
                </a:lnTo>
                <a:lnTo>
                  <a:pt x="27" y="120"/>
                </a:lnTo>
                <a:lnTo>
                  <a:pt x="27" y="120"/>
                </a:lnTo>
                <a:lnTo>
                  <a:pt x="27" y="120"/>
                </a:lnTo>
                <a:lnTo>
                  <a:pt x="29" y="118"/>
                </a:lnTo>
                <a:lnTo>
                  <a:pt x="29" y="118"/>
                </a:lnTo>
                <a:lnTo>
                  <a:pt x="27" y="115"/>
                </a:lnTo>
                <a:lnTo>
                  <a:pt x="27" y="115"/>
                </a:lnTo>
                <a:lnTo>
                  <a:pt x="24" y="113"/>
                </a:lnTo>
                <a:lnTo>
                  <a:pt x="24" y="113"/>
                </a:lnTo>
                <a:lnTo>
                  <a:pt x="22" y="111"/>
                </a:lnTo>
                <a:lnTo>
                  <a:pt x="22" y="111"/>
                </a:lnTo>
                <a:lnTo>
                  <a:pt x="22" y="111"/>
                </a:lnTo>
                <a:lnTo>
                  <a:pt x="19" y="108"/>
                </a:lnTo>
                <a:lnTo>
                  <a:pt x="19" y="108"/>
                </a:lnTo>
                <a:lnTo>
                  <a:pt x="19" y="106"/>
                </a:lnTo>
                <a:lnTo>
                  <a:pt x="19" y="106"/>
                </a:lnTo>
                <a:lnTo>
                  <a:pt x="22" y="106"/>
                </a:lnTo>
                <a:lnTo>
                  <a:pt x="22" y="106"/>
                </a:lnTo>
                <a:lnTo>
                  <a:pt x="24" y="106"/>
                </a:lnTo>
                <a:lnTo>
                  <a:pt x="24" y="106"/>
                </a:lnTo>
                <a:lnTo>
                  <a:pt x="24" y="103"/>
                </a:lnTo>
                <a:lnTo>
                  <a:pt x="24" y="103"/>
                </a:lnTo>
                <a:lnTo>
                  <a:pt x="22" y="103"/>
                </a:lnTo>
                <a:lnTo>
                  <a:pt x="22" y="103"/>
                </a:lnTo>
                <a:lnTo>
                  <a:pt x="19" y="103"/>
                </a:lnTo>
                <a:lnTo>
                  <a:pt x="19" y="103"/>
                </a:lnTo>
                <a:lnTo>
                  <a:pt x="17" y="103"/>
                </a:lnTo>
                <a:lnTo>
                  <a:pt x="17" y="103"/>
                </a:lnTo>
                <a:lnTo>
                  <a:pt x="17" y="101"/>
                </a:lnTo>
                <a:lnTo>
                  <a:pt x="17" y="101"/>
                </a:lnTo>
                <a:lnTo>
                  <a:pt x="14" y="101"/>
                </a:lnTo>
                <a:lnTo>
                  <a:pt x="14" y="101"/>
                </a:lnTo>
                <a:lnTo>
                  <a:pt x="12" y="98"/>
                </a:lnTo>
                <a:lnTo>
                  <a:pt x="12" y="98"/>
                </a:lnTo>
                <a:lnTo>
                  <a:pt x="9" y="96"/>
                </a:lnTo>
                <a:lnTo>
                  <a:pt x="9" y="96"/>
                </a:lnTo>
                <a:lnTo>
                  <a:pt x="12" y="96"/>
                </a:lnTo>
                <a:lnTo>
                  <a:pt x="12" y="96"/>
                </a:lnTo>
                <a:lnTo>
                  <a:pt x="12" y="93"/>
                </a:lnTo>
                <a:lnTo>
                  <a:pt x="12" y="93"/>
                </a:lnTo>
                <a:lnTo>
                  <a:pt x="9" y="93"/>
                </a:lnTo>
                <a:lnTo>
                  <a:pt x="9" y="93"/>
                </a:lnTo>
                <a:lnTo>
                  <a:pt x="7" y="91"/>
                </a:lnTo>
                <a:lnTo>
                  <a:pt x="7" y="91"/>
                </a:lnTo>
                <a:lnTo>
                  <a:pt x="7" y="88"/>
                </a:lnTo>
                <a:lnTo>
                  <a:pt x="7" y="88"/>
                </a:lnTo>
                <a:lnTo>
                  <a:pt x="7" y="86"/>
                </a:lnTo>
                <a:lnTo>
                  <a:pt x="7" y="86"/>
                </a:lnTo>
                <a:lnTo>
                  <a:pt x="7" y="86"/>
                </a:lnTo>
                <a:lnTo>
                  <a:pt x="12" y="88"/>
                </a:lnTo>
                <a:lnTo>
                  <a:pt x="12" y="88"/>
                </a:lnTo>
                <a:lnTo>
                  <a:pt x="12" y="91"/>
                </a:lnTo>
                <a:lnTo>
                  <a:pt x="12" y="91"/>
                </a:lnTo>
                <a:lnTo>
                  <a:pt x="12" y="91"/>
                </a:lnTo>
                <a:lnTo>
                  <a:pt x="14" y="91"/>
                </a:lnTo>
                <a:lnTo>
                  <a:pt x="14" y="91"/>
                </a:lnTo>
                <a:lnTo>
                  <a:pt x="17" y="91"/>
                </a:lnTo>
                <a:lnTo>
                  <a:pt x="17" y="91"/>
                </a:lnTo>
                <a:lnTo>
                  <a:pt x="17" y="88"/>
                </a:lnTo>
                <a:lnTo>
                  <a:pt x="17" y="88"/>
                </a:lnTo>
                <a:lnTo>
                  <a:pt x="14" y="86"/>
                </a:lnTo>
                <a:lnTo>
                  <a:pt x="14" y="86"/>
                </a:lnTo>
                <a:lnTo>
                  <a:pt x="14" y="88"/>
                </a:lnTo>
                <a:lnTo>
                  <a:pt x="14" y="88"/>
                </a:lnTo>
                <a:lnTo>
                  <a:pt x="12" y="86"/>
                </a:lnTo>
                <a:lnTo>
                  <a:pt x="12" y="86"/>
                </a:lnTo>
                <a:lnTo>
                  <a:pt x="12" y="86"/>
                </a:lnTo>
                <a:lnTo>
                  <a:pt x="9" y="84"/>
                </a:lnTo>
                <a:lnTo>
                  <a:pt x="9" y="84"/>
                </a:lnTo>
                <a:lnTo>
                  <a:pt x="9" y="81"/>
                </a:lnTo>
                <a:lnTo>
                  <a:pt x="9" y="81"/>
                </a:lnTo>
                <a:lnTo>
                  <a:pt x="9" y="81"/>
                </a:lnTo>
                <a:lnTo>
                  <a:pt x="12" y="76"/>
                </a:lnTo>
                <a:lnTo>
                  <a:pt x="12" y="76"/>
                </a:lnTo>
                <a:lnTo>
                  <a:pt x="12" y="74"/>
                </a:lnTo>
                <a:lnTo>
                  <a:pt x="12" y="74"/>
                </a:lnTo>
                <a:lnTo>
                  <a:pt x="12" y="74"/>
                </a:lnTo>
                <a:lnTo>
                  <a:pt x="9" y="74"/>
                </a:lnTo>
                <a:lnTo>
                  <a:pt x="9" y="74"/>
                </a:lnTo>
                <a:lnTo>
                  <a:pt x="7" y="74"/>
                </a:lnTo>
                <a:lnTo>
                  <a:pt x="7" y="74"/>
                </a:lnTo>
                <a:lnTo>
                  <a:pt x="7" y="74"/>
                </a:lnTo>
                <a:lnTo>
                  <a:pt x="7" y="76"/>
                </a:lnTo>
                <a:lnTo>
                  <a:pt x="7" y="76"/>
                </a:lnTo>
                <a:lnTo>
                  <a:pt x="7" y="79"/>
                </a:lnTo>
                <a:lnTo>
                  <a:pt x="7" y="79"/>
                </a:lnTo>
                <a:lnTo>
                  <a:pt x="4" y="81"/>
                </a:lnTo>
                <a:lnTo>
                  <a:pt x="4" y="81"/>
                </a:lnTo>
                <a:lnTo>
                  <a:pt x="2" y="81"/>
                </a:lnTo>
                <a:lnTo>
                  <a:pt x="2" y="81"/>
                </a:lnTo>
                <a:lnTo>
                  <a:pt x="2" y="79"/>
                </a:lnTo>
                <a:lnTo>
                  <a:pt x="2" y="79"/>
                </a:lnTo>
                <a:lnTo>
                  <a:pt x="0" y="74"/>
                </a:lnTo>
                <a:lnTo>
                  <a:pt x="0" y="74"/>
                </a:lnTo>
                <a:lnTo>
                  <a:pt x="0" y="71"/>
                </a:lnTo>
                <a:lnTo>
                  <a:pt x="0" y="71"/>
                </a:lnTo>
                <a:lnTo>
                  <a:pt x="0" y="66"/>
                </a:lnTo>
                <a:lnTo>
                  <a:pt x="0" y="66"/>
                </a:lnTo>
                <a:lnTo>
                  <a:pt x="0" y="64"/>
                </a:lnTo>
                <a:lnTo>
                  <a:pt x="0" y="64"/>
                </a:lnTo>
                <a:lnTo>
                  <a:pt x="0" y="64"/>
                </a:lnTo>
                <a:lnTo>
                  <a:pt x="2" y="61"/>
                </a:lnTo>
                <a:lnTo>
                  <a:pt x="2" y="61"/>
                </a:lnTo>
                <a:lnTo>
                  <a:pt x="4" y="61"/>
                </a:lnTo>
                <a:lnTo>
                  <a:pt x="4" y="61"/>
                </a:lnTo>
                <a:lnTo>
                  <a:pt x="4" y="59"/>
                </a:lnTo>
                <a:lnTo>
                  <a:pt x="4" y="59"/>
                </a:lnTo>
                <a:lnTo>
                  <a:pt x="2" y="56"/>
                </a:lnTo>
                <a:lnTo>
                  <a:pt x="2" y="56"/>
                </a:lnTo>
                <a:lnTo>
                  <a:pt x="2" y="54"/>
                </a:lnTo>
                <a:lnTo>
                  <a:pt x="2" y="54"/>
                </a:lnTo>
                <a:lnTo>
                  <a:pt x="4" y="52"/>
                </a:lnTo>
                <a:lnTo>
                  <a:pt x="4" y="52"/>
                </a:lnTo>
                <a:lnTo>
                  <a:pt x="7" y="52"/>
                </a:lnTo>
                <a:lnTo>
                  <a:pt x="7" y="52"/>
                </a:lnTo>
                <a:lnTo>
                  <a:pt x="9" y="56"/>
                </a:lnTo>
                <a:lnTo>
                  <a:pt x="9" y="56"/>
                </a:lnTo>
                <a:lnTo>
                  <a:pt x="9" y="59"/>
                </a:lnTo>
                <a:lnTo>
                  <a:pt x="9" y="59"/>
                </a:lnTo>
                <a:lnTo>
                  <a:pt x="12" y="59"/>
                </a:lnTo>
                <a:lnTo>
                  <a:pt x="12" y="59"/>
                </a:lnTo>
                <a:lnTo>
                  <a:pt x="14" y="56"/>
                </a:lnTo>
                <a:lnTo>
                  <a:pt x="14" y="56"/>
                </a:lnTo>
                <a:lnTo>
                  <a:pt x="9" y="54"/>
                </a:lnTo>
                <a:lnTo>
                  <a:pt x="9" y="54"/>
                </a:lnTo>
                <a:lnTo>
                  <a:pt x="9" y="52"/>
                </a:lnTo>
                <a:lnTo>
                  <a:pt x="9" y="52"/>
                </a:lnTo>
                <a:lnTo>
                  <a:pt x="12" y="49"/>
                </a:lnTo>
                <a:lnTo>
                  <a:pt x="12" y="49"/>
                </a:lnTo>
                <a:lnTo>
                  <a:pt x="14" y="52"/>
                </a:lnTo>
                <a:lnTo>
                  <a:pt x="14" y="52"/>
                </a:lnTo>
                <a:lnTo>
                  <a:pt x="14" y="52"/>
                </a:lnTo>
                <a:lnTo>
                  <a:pt x="14" y="54"/>
                </a:lnTo>
                <a:lnTo>
                  <a:pt x="14" y="54"/>
                </a:lnTo>
                <a:lnTo>
                  <a:pt x="17" y="52"/>
                </a:lnTo>
                <a:lnTo>
                  <a:pt x="17" y="52"/>
                </a:lnTo>
                <a:lnTo>
                  <a:pt x="24" y="47"/>
                </a:lnTo>
                <a:lnTo>
                  <a:pt x="24" y="47"/>
                </a:lnTo>
                <a:lnTo>
                  <a:pt x="27" y="47"/>
                </a:lnTo>
                <a:lnTo>
                  <a:pt x="27" y="47"/>
                </a:lnTo>
                <a:lnTo>
                  <a:pt x="29" y="49"/>
                </a:lnTo>
                <a:lnTo>
                  <a:pt x="29" y="49"/>
                </a:lnTo>
                <a:lnTo>
                  <a:pt x="29" y="52"/>
                </a:lnTo>
                <a:lnTo>
                  <a:pt x="29" y="52"/>
                </a:lnTo>
                <a:lnTo>
                  <a:pt x="29" y="54"/>
                </a:lnTo>
                <a:lnTo>
                  <a:pt x="29" y="54"/>
                </a:lnTo>
                <a:lnTo>
                  <a:pt x="27" y="56"/>
                </a:lnTo>
                <a:lnTo>
                  <a:pt x="27" y="56"/>
                </a:lnTo>
                <a:lnTo>
                  <a:pt x="27" y="56"/>
                </a:lnTo>
                <a:lnTo>
                  <a:pt x="24" y="54"/>
                </a:lnTo>
                <a:lnTo>
                  <a:pt x="24" y="54"/>
                </a:lnTo>
                <a:lnTo>
                  <a:pt x="24" y="56"/>
                </a:lnTo>
                <a:lnTo>
                  <a:pt x="24" y="56"/>
                </a:lnTo>
                <a:lnTo>
                  <a:pt x="19" y="59"/>
                </a:lnTo>
                <a:lnTo>
                  <a:pt x="19" y="59"/>
                </a:lnTo>
                <a:lnTo>
                  <a:pt x="19" y="59"/>
                </a:lnTo>
                <a:lnTo>
                  <a:pt x="19" y="59"/>
                </a:lnTo>
                <a:lnTo>
                  <a:pt x="17" y="61"/>
                </a:lnTo>
                <a:lnTo>
                  <a:pt x="17" y="61"/>
                </a:lnTo>
                <a:lnTo>
                  <a:pt x="19" y="64"/>
                </a:lnTo>
                <a:lnTo>
                  <a:pt x="19" y="64"/>
                </a:lnTo>
                <a:lnTo>
                  <a:pt x="22" y="61"/>
                </a:lnTo>
                <a:lnTo>
                  <a:pt x="22" y="61"/>
                </a:lnTo>
                <a:lnTo>
                  <a:pt x="27" y="59"/>
                </a:lnTo>
                <a:lnTo>
                  <a:pt x="27" y="59"/>
                </a:lnTo>
                <a:lnTo>
                  <a:pt x="27" y="61"/>
                </a:lnTo>
                <a:lnTo>
                  <a:pt x="27" y="61"/>
                </a:lnTo>
                <a:lnTo>
                  <a:pt x="27" y="61"/>
                </a:lnTo>
                <a:lnTo>
                  <a:pt x="24" y="64"/>
                </a:lnTo>
                <a:lnTo>
                  <a:pt x="24" y="64"/>
                </a:lnTo>
                <a:lnTo>
                  <a:pt x="24" y="66"/>
                </a:lnTo>
                <a:lnTo>
                  <a:pt x="24" y="66"/>
                </a:lnTo>
                <a:lnTo>
                  <a:pt x="27" y="66"/>
                </a:lnTo>
                <a:lnTo>
                  <a:pt x="27" y="66"/>
                </a:lnTo>
                <a:lnTo>
                  <a:pt x="27" y="64"/>
                </a:lnTo>
                <a:lnTo>
                  <a:pt x="27" y="64"/>
                </a:lnTo>
                <a:lnTo>
                  <a:pt x="27" y="64"/>
                </a:lnTo>
                <a:lnTo>
                  <a:pt x="29" y="66"/>
                </a:lnTo>
                <a:lnTo>
                  <a:pt x="29" y="66"/>
                </a:lnTo>
                <a:lnTo>
                  <a:pt x="29" y="69"/>
                </a:lnTo>
                <a:lnTo>
                  <a:pt x="29" y="69"/>
                </a:lnTo>
                <a:lnTo>
                  <a:pt x="29" y="69"/>
                </a:lnTo>
                <a:lnTo>
                  <a:pt x="32" y="74"/>
                </a:lnTo>
                <a:lnTo>
                  <a:pt x="32" y="74"/>
                </a:lnTo>
                <a:lnTo>
                  <a:pt x="32" y="76"/>
                </a:lnTo>
                <a:lnTo>
                  <a:pt x="32" y="76"/>
                </a:lnTo>
                <a:lnTo>
                  <a:pt x="34" y="76"/>
                </a:lnTo>
                <a:lnTo>
                  <a:pt x="34" y="76"/>
                </a:lnTo>
                <a:lnTo>
                  <a:pt x="32" y="71"/>
                </a:lnTo>
                <a:lnTo>
                  <a:pt x="32" y="71"/>
                </a:lnTo>
                <a:lnTo>
                  <a:pt x="32" y="69"/>
                </a:lnTo>
                <a:lnTo>
                  <a:pt x="32" y="69"/>
                </a:lnTo>
                <a:lnTo>
                  <a:pt x="29" y="64"/>
                </a:lnTo>
                <a:lnTo>
                  <a:pt x="29" y="64"/>
                </a:lnTo>
                <a:lnTo>
                  <a:pt x="32" y="61"/>
                </a:lnTo>
                <a:lnTo>
                  <a:pt x="32" y="61"/>
                </a:lnTo>
                <a:lnTo>
                  <a:pt x="34" y="56"/>
                </a:lnTo>
                <a:lnTo>
                  <a:pt x="34" y="56"/>
                </a:lnTo>
                <a:lnTo>
                  <a:pt x="34" y="54"/>
                </a:lnTo>
                <a:lnTo>
                  <a:pt x="34" y="54"/>
                </a:lnTo>
                <a:lnTo>
                  <a:pt x="36" y="52"/>
                </a:lnTo>
                <a:lnTo>
                  <a:pt x="36" y="52"/>
                </a:lnTo>
                <a:lnTo>
                  <a:pt x="36" y="52"/>
                </a:lnTo>
                <a:lnTo>
                  <a:pt x="41" y="56"/>
                </a:lnTo>
                <a:lnTo>
                  <a:pt x="41" y="56"/>
                </a:lnTo>
                <a:lnTo>
                  <a:pt x="44" y="59"/>
                </a:lnTo>
                <a:lnTo>
                  <a:pt x="44" y="59"/>
                </a:lnTo>
                <a:lnTo>
                  <a:pt x="44" y="59"/>
                </a:lnTo>
                <a:lnTo>
                  <a:pt x="44" y="66"/>
                </a:lnTo>
                <a:lnTo>
                  <a:pt x="44" y="66"/>
                </a:lnTo>
                <a:lnTo>
                  <a:pt x="46" y="71"/>
                </a:lnTo>
                <a:lnTo>
                  <a:pt x="46" y="71"/>
                </a:lnTo>
                <a:lnTo>
                  <a:pt x="46" y="74"/>
                </a:lnTo>
                <a:lnTo>
                  <a:pt x="46" y="74"/>
                </a:lnTo>
                <a:lnTo>
                  <a:pt x="46" y="76"/>
                </a:lnTo>
                <a:lnTo>
                  <a:pt x="46" y="76"/>
                </a:lnTo>
                <a:lnTo>
                  <a:pt x="44" y="79"/>
                </a:lnTo>
                <a:lnTo>
                  <a:pt x="44" y="79"/>
                </a:lnTo>
                <a:lnTo>
                  <a:pt x="44" y="79"/>
                </a:lnTo>
                <a:lnTo>
                  <a:pt x="44" y="81"/>
                </a:lnTo>
                <a:lnTo>
                  <a:pt x="44" y="81"/>
                </a:lnTo>
                <a:lnTo>
                  <a:pt x="46" y="79"/>
                </a:lnTo>
                <a:lnTo>
                  <a:pt x="46" y="79"/>
                </a:lnTo>
                <a:lnTo>
                  <a:pt x="49" y="79"/>
                </a:lnTo>
                <a:lnTo>
                  <a:pt x="49" y="79"/>
                </a:lnTo>
                <a:lnTo>
                  <a:pt x="51" y="81"/>
                </a:lnTo>
                <a:lnTo>
                  <a:pt x="51" y="81"/>
                </a:lnTo>
                <a:lnTo>
                  <a:pt x="54" y="86"/>
                </a:lnTo>
                <a:lnTo>
                  <a:pt x="54" y="86"/>
                </a:lnTo>
                <a:lnTo>
                  <a:pt x="54" y="88"/>
                </a:lnTo>
                <a:lnTo>
                  <a:pt x="54" y="88"/>
                </a:lnTo>
                <a:lnTo>
                  <a:pt x="56" y="88"/>
                </a:lnTo>
                <a:lnTo>
                  <a:pt x="56" y="88"/>
                </a:lnTo>
                <a:lnTo>
                  <a:pt x="56" y="86"/>
                </a:lnTo>
                <a:lnTo>
                  <a:pt x="56" y="86"/>
                </a:lnTo>
                <a:lnTo>
                  <a:pt x="54" y="81"/>
                </a:lnTo>
                <a:lnTo>
                  <a:pt x="54" y="81"/>
                </a:lnTo>
                <a:lnTo>
                  <a:pt x="54" y="79"/>
                </a:lnTo>
                <a:lnTo>
                  <a:pt x="54" y="79"/>
                </a:lnTo>
                <a:lnTo>
                  <a:pt x="51" y="74"/>
                </a:lnTo>
                <a:lnTo>
                  <a:pt x="51" y="74"/>
                </a:lnTo>
                <a:lnTo>
                  <a:pt x="49" y="71"/>
                </a:lnTo>
                <a:lnTo>
                  <a:pt x="49" y="71"/>
                </a:lnTo>
                <a:lnTo>
                  <a:pt x="49" y="66"/>
                </a:lnTo>
                <a:lnTo>
                  <a:pt x="49" y="66"/>
                </a:lnTo>
                <a:lnTo>
                  <a:pt x="49" y="59"/>
                </a:lnTo>
                <a:lnTo>
                  <a:pt x="49" y="59"/>
                </a:lnTo>
                <a:lnTo>
                  <a:pt x="49" y="56"/>
                </a:lnTo>
                <a:lnTo>
                  <a:pt x="49" y="56"/>
                </a:lnTo>
                <a:lnTo>
                  <a:pt x="46" y="54"/>
                </a:lnTo>
                <a:lnTo>
                  <a:pt x="46" y="54"/>
                </a:lnTo>
                <a:lnTo>
                  <a:pt x="49" y="52"/>
                </a:lnTo>
                <a:lnTo>
                  <a:pt x="49" y="52"/>
                </a:lnTo>
                <a:lnTo>
                  <a:pt x="49" y="49"/>
                </a:lnTo>
                <a:lnTo>
                  <a:pt x="49" y="49"/>
                </a:lnTo>
                <a:lnTo>
                  <a:pt x="49" y="47"/>
                </a:lnTo>
                <a:lnTo>
                  <a:pt x="49" y="47"/>
                </a:lnTo>
                <a:lnTo>
                  <a:pt x="49" y="42"/>
                </a:lnTo>
                <a:lnTo>
                  <a:pt x="49" y="42"/>
                </a:lnTo>
                <a:lnTo>
                  <a:pt x="51" y="39"/>
                </a:lnTo>
                <a:lnTo>
                  <a:pt x="51" y="39"/>
                </a:lnTo>
                <a:lnTo>
                  <a:pt x="51" y="37"/>
                </a:lnTo>
                <a:lnTo>
                  <a:pt x="51" y="37"/>
                </a:lnTo>
                <a:lnTo>
                  <a:pt x="54" y="39"/>
                </a:lnTo>
                <a:lnTo>
                  <a:pt x="54" y="39"/>
                </a:lnTo>
                <a:lnTo>
                  <a:pt x="56" y="42"/>
                </a:lnTo>
                <a:lnTo>
                  <a:pt x="56" y="42"/>
                </a:lnTo>
                <a:lnTo>
                  <a:pt x="56" y="47"/>
                </a:lnTo>
                <a:lnTo>
                  <a:pt x="56" y="47"/>
                </a:lnTo>
                <a:lnTo>
                  <a:pt x="59" y="47"/>
                </a:lnTo>
                <a:lnTo>
                  <a:pt x="59" y="47"/>
                </a:lnTo>
                <a:lnTo>
                  <a:pt x="59" y="44"/>
                </a:lnTo>
                <a:lnTo>
                  <a:pt x="59" y="44"/>
                </a:lnTo>
                <a:lnTo>
                  <a:pt x="61" y="44"/>
                </a:lnTo>
                <a:lnTo>
                  <a:pt x="61" y="44"/>
                </a:lnTo>
                <a:lnTo>
                  <a:pt x="64" y="44"/>
                </a:lnTo>
                <a:lnTo>
                  <a:pt x="64" y="44"/>
                </a:lnTo>
                <a:lnTo>
                  <a:pt x="68" y="49"/>
                </a:lnTo>
                <a:lnTo>
                  <a:pt x="68" y="49"/>
                </a:lnTo>
                <a:lnTo>
                  <a:pt x="68" y="52"/>
                </a:lnTo>
                <a:lnTo>
                  <a:pt x="68" y="52"/>
                </a:lnTo>
                <a:lnTo>
                  <a:pt x="68" y="56"/>
                </a:lnTo>
                <a:lnTo>
                  <a:pt x="68" y="56"/>
                </a:lnTo>
                <a:lnTo>
                  <a:pt x="68" y="56"/>
                </a:lnTo>
                <a:lnTo>
                  <a:pt x="68" y="64"/>
                </a:lnTo>
                <a:lnTo>
                  <a:pt x="68" y="64"/>
                </a:lnTo>
                <a:lnTo>
                  <a:pt x="68" y="69"/>
                </a:lnTo>
                <a:lnTo>
                  <a:pt x="68" y="69"/>
                </a:lnTo>
                <a:lnTo>
                  <a:pt x="66" y="69"/>
                </a:lnTo>
                <a:lnTo>
                  <a:pt x="66" y="69"/>
                </a:lnTo>
                <a:lnTo>
                  <a:pt x="68" y="71"/>
                </a:lnTo>
                <a:lnTo>
                  <a:pt x="68" y="71"/>
                </a:lnTo>
                <a:lnTo>
                  <a:pt x="71" y="69"/>
                </a:lnTo>
                <a:lnTo>
                  <a:pt x="71" y="69"/>
                </a:lnTo>
                <a:lnTo>
                  <a:pt x="71" y="64"/>
                </a:lnTo>
                <a:lnTo>
                  <a:pt x="71" y="64"/>
                </a:lnTo>
                <a:lnTo>
                  <a:pt x="68" y="59"/>
                </a:lnTo>
                <a:lnTo>
                  <a:pt x="68" y="59"/>
                </a:lnTo>
                <a:lnTo>
                  <a:pt x="71" y="56"/>
                </a:lnTo>
                <a:lnTo>
                  <a:pt x="71" y="56"/>
                </a:lnTo>
                <a:lnTo>
                  <a:pt x="73" y="54"/>
                </a:lnTo>
                <a:lnTo>
                  <a:pt x="73" y="54"/>
                </a:lnTo>
                <a:lnTo>
                  <a:pt x="76" y="59"/>
                </a:lnTo>
                <a:lnTo>
                  <a:pt x="76" y="59"/>
                </a:lnTo>
                <a:lnTo>
                  <a:pt x="78" y="64"/>
                </a:lnTo>
                <a:lnTo>
                  <a:pt x="78" y="64"/>
                </a:lnTo>
                <a:lnTo>
                  <a:pt x="81" y="71"/>
                </a:lnTo>
                <a:lnTo>
                  <a:pt x="81" y="71"/>
                </a:lnTo>
                <a:lnTo>
                  <a:pt x="81" y="74"/>
                </a:lnTo>
                <a:lnTo>
                  <a:pt x="81" y="74"/>
                </a:lnTo>
                <a:lnTo>
                  <a:pt x="83" y="74"/>
                </a:lnTo>
                <a:lnTo>
                  <a:pt x="83" y="74"/>
                </a:lnTo>
                <a:lnTo>
                  <a:pt x="86" y="76"/>
                </a:lnTo>
                <a:lnTo>
                  <a:pt x="86" y="76"/>
                </a:lnTo>
                <a:lnTo>
                  <a:pt x="88" y="76"/>
                </a:lnTo>
                <a:lnTo>
                  <a:pt x="88" y="76"/>
                </a:lnTo>
                <a:lnTo>
                  <a:pt x="91" y="81"/>
                </a:lnTo>
                <a:lnTo>
                  <a:pt x="91" y="81"/>
                </a:lnTo>
                <a:lnTo>
                  <a:pt x="93" y="81"/>
                </a:lnTo>
                <a:lnTo>
                  <a:pt x="93" y="81"/>
                </a:lnTo>
                <a:lnTo>
                  <a:pt x="95" y="86"/>
                </a:lnTo>
                <a:lnTo>
                  <a:pt x="95" y="86"/>
                </a:lnTo>
                <a:lnTo>
                  <a:pt x="100" y="88"/>
                </a:lnTo>
                <a:lnTo>
                  <a:pt x="100" y="88"/>
                </a:lnTo>
                <a:lnTo>
                  <a:pt x="105" y="88"/>
                </a:lnTo>
                <a:lnTo>
                  <a:pt x="105" y="88"/>
                </a:lnTo>
                <a:lnTo>
                  <a:pt x="108" y="91"/>
                </a:lnTo>
                <a:lnTo>
                  <a:pt x="108" y="91"/>
                </a:lnTo>
                <a:lnTo>
                  <a:pt x="108" y="93"/>
                </a:lnTo>
                <a:lnTo>
                  <a:pt x="108" y="93"/>
                </a:lnTo>
                <a:lnTo>
                  <a:pt x="108" y="96"/>
                </a:lnTo>
                <a:lnTo>
                  <a:pt x="108" y="96"/>
                </a:lnTo>
                <a:lnTo>
                  <a:pt x="108" y="98"/>
                </a:lnTo>
                <a:lnTo>
                  <a:pt x="108" y="98"/>
                </a:lnTo>
                <a:lnTo>
                  <a:pt x="105" y="98"/>
                </a:lnTo>
                <a:lnTo>
                  <a:pt x="105" y="98"/>
                </a:lnTo>
                <a:lnTo>
                  <a:pt x="105" y="96"/>
                </a:lnTo>
                <a:lnTo>
                  <a:pt x="105" y="96"/>
                </a:lnTo>
                <a:lnTo>
                  <a:pt x="100" y="96"/>
                </a:lnTo>
                <a:lnTo>
                  <a:pt x="100" y="96"/>
                </a:lnTo>
                <a:lnTo>
                  <a:pt x="100" y="96"/>
                </a:lnTo>
                <a:lnTo>
                  <a:pt x="95" y="98"/>
                </a:lnTo>
                <a:lnTo>
                  <a:pt x="95" y="98"/>
                </a:lnTo>
                <a:lnTo>
                  <a:pt x="93" y="98"/>
                </a:lnTo>
                <a:lnTo>
                  <a:pt x="93" y="98"/>
                </a:lnTo>
                <a:lnTo>
                  <a:pt x="91" y="101"/>
                </a:lnTo>
                <a:lnTo>
                  <a:pt x="91" y="101"/>
                </a:lnTo>
                <a:lnTo>
                  <a:pt x="93" y="103"/>
                </a:lnTo>
                <a:lnTo>
                  <a:pt x="93" y="103"/>
                </a:lnTo>
                <a:lnTo>
                  <a:pt x="93" y="103"/>
                </a:lnTo>
                <a:lnTo>
                  <a:pt x="88" y="106"/>
                </a:lnTo>
                <a:lnTo>
                  <a:pt x="88" y="106"/>
                </a:lnTo>
                <a:lnTo>
                  <a:pt x="88" y="108"/>
                </a:lnTo>
                <a:lnTo>
                  <a:pt x="88" y="108"/>
                </a:lnTo>
                <a:lnTo>
                  <a:pt x="88" y="113"/>
                </a:lnTo>
                <a:lnTo>
                  <a:pt x="88" y="113"/>
                </a:lnTo>
                <a:lnTo>
                  <a:pt x="91" y="118"/>
                </a:lnTo>
                <a:lnTo>
                  <a:pt x="91" y="118"/>
                </a:lnTo>
                <a:lnTo>
                  <a:pt x="88" y="120"/>
                </a:lnTo>
                <a:lnTo>
                  <a:pt x="88" y="120"/>
                </a:lnTo>
                <a:lnTo>
                  <a:pt x="88" y="123"/>
                </a:lnTo>
                <a:lnTo>
                  <a:pt x="88" y="123"/>
                </a:lnTo>
                <a:lnTo>
                  <a:pt x="91" y="125"/>
                </a:lnTo>
                <a:lnTo>
                  <a:pt x="91" y="125"/>
                </a:lnTo>
                <a:lnTo>
                  <a:pt x="88" y="128"/>
                </a:lnTo>
                <a:lnTo>
                  <a:pt x="88" y="128"/>
                </a:lnTo>
                <a:lnTo>
                  <a:pt x="86" y="125"/>
                </a:lnTo>
                <a:lnTo>
                  <a:pt x="86" y="125"/>
                </a:lnTo>
                <a:lnTo>
                  <a:pt x="83" y="128"/>
                </a:lnTo>
                <a:lnTo>
                  <a:pt x="83" y="128"/>
                </a:lnTo>
                <a:lnTo>
                  <a:pt x="83" y="130"/>
                </a:lnTo>
                <a:lnTo>
                  <a:pt x="83" y="130"/>
                </a:lnTo>
                <a:lnTo>
                  <a:pt x="86" y="133"/>
                </a:lnTo>
                <a:lnTo>
                  <a:pt x="86" y="133"/>
                </a:lnTo>
                <a:lnTo>
                  <a:pt x="86" y="138"/>
                </a:lnTo>
                <a:lnTo>
                  <a:pt x="86" y="138"/>
                </a:lnTo>
                <a:lnTo>
                  <a:pt x="86" y="140"/>
                </a:lnTo>
                <a:lnTo>
                  <a:pt x="86" y="140"/>
                </a:lnTo>
                <a:lnTo>
                  <a:pt x="86" y="145"/>
                </a:lnTo>
                <a:lnTo>
                  <a:pt x="86" y="145"/>
                </a:lnTo>
                <a:lnTo>
                  <a:pt x="86" y="147"/>
                </a:lnTo>
                <a:lnTo>
                  <a:pt x="86" y="147"/>
                </a:lnTo>
                <a:lnTo>
                  <a:pt x="83" y="147"/>
                </a:lnTo>
                <a:lnTo>
                  <a:pt x="83" y="147"/>
                </a:lnTo>
                <a:lnTo>
                  <a:pt x="81" y="147"/>
                </a:lnTo>
                <a:lnTo>
                  <a:pt x="81" y="147"/>
                </a:lnTo>
                <a:lnTo>
                  <a:pt x="78" y="150"/>
                </a:lnTo>
                <a:lnTo>
                  <a:pt x="78" y="150"/>
                </a:lnTo>
                <a:lnTo>
                  <a:pt x="81" y="150"/>
                </a:lnTo>
                <a:lnTo>
                  <a:pt x="81" y="150"/>
                </a:lnTo>
                <a:lnTo>
                  <a:pt x="81" y="152"/>
                </a:lnTo>
                <a:lnTo>
                  <a:pt x="81" y="152"/>
                </a:lnTo>
                <a:lnTo>
                  <a:pt x="78" y="155"/>
                </a:lnTo>
                <a:lnTo>
                  <a:pt x="78" y="155"/>
                </a:lnTo>
                <a:lnTo>
                  <a:pt x="78" y="157"/>
                </a:lnTo>
                <a:lnTo>
                  <a:pt x="78" y="157"/>
                </a:lnTo>
                <a:lnTo>
                  <a:pt x="78" y="160"/>
                </a:lnTo>
                <a:lnTo>
                  <a:pt x="78" y="160"/>
                </a:lnTo>
                <a:lnTo>
                  <a:pt x="78" y="167"/>
                </a:lnTo>
                <a:lnTo>
                  <a:pt x="78" y="167"/>
                </a:lnTo>
                <a:lnTo>
                  <a:pt x="76" y="172"/>
                </a:lnTo>
                <a:lnTo>
                  <a:pt x="76" y="172"/>
                </a:lnTo>
                <a:lnTo>
                  <a:pt x="76" y="172"/>
                </a:lnTo>
                <a:lnTo>
                  <a:pt x="76" y="177"/>
                </a:lnTo>
                <a:lnTo>
                  <a:pt x="76" y="177"/>
                </a:lnTo>
                <a:lnTo>
                  <a:pt x="78" y="179"/>
                </a:lnTo>
                <a:lnTo>
                  <a:pt x="78" y="179"/>
                </a:lnTo>
                <a:lnTo>
                  <a:pt x="76" y="182"/>
                </a:lnTo>
                <a:lnTo>
                  <a:pt x="76" y="182"/>
                </a:lnTo>
                <a:lnTo>
                  <a:pt x="76" y="182"/>
                </a:lnTo>
                <a:lnTo>
                  <a:pt x="76" y="187"/>
                </a:lnTo>
                <a:lnTo>
                  <a:pt x="76" y="187"/>
                </a:lnTo>
                <a:lnTo>
                  <a:pt x="73" y="189"/>
                </a:lnTo>
                <a:lnTo>
                  <a:pt x="73" y="189"/>
                </a:lnTo>
                <a:lnTo>
                  <a:pt x="71" y="189"/>
                </a:lnTo>
                <a:lnTo>
                  <a:pt x="71" y="189"/>
                </a:lnTo>
                <a:close/>
                <a:moveTo>
                  <a:pt x="105" y="268"/>
                </a:moveTo>
                <a:lnTo>
                  <a:pt x="105" y="268"/>
                </a:lnTo>
                <a:lnTo>
                  <a:pt x="108" y="266"/>
                </a:lnTo>
                <a:lnTo>
                  <a:pt x="108" y="266"/>
                </a:lnTo>
                <a:lnTo>
                  <a:pt x="108" y="263"/>
                </a:lnTo>
                <a:lnTo>
                  <a:pt x="108" y="263"/>
                </a:lnTo>
                <a:lnTo>
                  <a:pt x="105" y="261"/>
                </a:lnTo>
                <a:lnTo>
                  <a:pt x="105" y="261"/>
                </a:lnTo>
                <a:lnTo>
                  <a:pt x="103" y="261"/>
                </a:lnTo>
                <a:lnTo>
                  <a:pt x="103" y="261"/>
                </a:lnTo>
                <a:lnTo>
                  <a:pt x="103" y="261"/>
                </a:lnTo>
                <a:lnTo>
                  <a:pt x="103" y="263"/>
                </a:lnTo>
                <a:lnTo>
                  <a:pt x="103" y="263"/>
                </a:lnTo>
                <a:lnTo>
                  <a:pt x="105" y="266"/>
                </a:lnTo>
                <a:lnTo>
                  <a:pt x="105" y="266"/>
                </a:lnTo>
                <a:lnTo>
                  <a:pt x="105" y="268"/>
                </a:lnTo>
                <a:lnTo>
                  <a:pt x="105" y="26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 name="Freeform 14"/>
          <p:cNvSpPr>
            <a:spLocks noEditPoints="1"/>
          </p:cNvSpPr>
          <p:nvPr/>
        </p:nvSpPr>
        <p:spPr bwMode="auto">
          <a:xfrm>
            <a:off x="7843059" y="3109950"/>
            <a:ext cx="397953" cy="721938"/>
          </a:xfrm>
          <a:custGeom>
            <a:avLst/>
            <a:gdLst/>
            <a:ahLst/>
            <a:cxnLst>
              <a:cxn ang="0">
                <a:pos x="104" y="224"/>
              </a:cxn>
              <a:cxn ang="0">
                <a:pos x="5" y="470"/>
              </a:cxn>
              <a:cxn ang="0">
                <a:pos x="23" y="460"/>
              </a:cxn>
              <a:cxn ang="0">
                <a:pos x="62" y="419"/>
              </a:cxn>
              <a:cxn ang="0">
                <a:pos x="67" y="401"/>
              </a:cxn>
              <a:cxn ang="0">
                <a:pos x="74" y="387"/>
              </a:cxn>
              <a:cxn ang="0">
                <a:pos x="153" y="82"/>
              </a:cxn>
              <a:cxn ang="0">
                <a:pos x="170" y="89"/>
              </a:cxn>
              <a:cxn ang="0">
                <a:pos x="168" y="62"/>
              </a:cxn>
              <a:cxn ang="0">
                <a:pos x="178" y="52"/>
              </a:cxn>
              <a:cxn ang="0">
                <a:pos x="175" y="23"/>
              </a:cxn>
              <a:cxn ang="0">
                <a:pos x="182" y="8"/>
              </a:cxn>
              <a:cxn ang="0">
                <a:pos x="222" y="32"/>
              </a:cxn>
              <a:cxn ang="0">
                <a:pos x="237" y="45"/>
              </a:cxn>
              <a:cxn ang="0">
                <a:pos x="237" y="55"/>
              </a:cxn>
              <a:cxn ang="0">
                <a:pos x="214" y="79"/>
              </a:cxn>
              <a:cxn ang="0">
                <a:pos x="182" y="69"/>
              </a:cxn>
              <a:cxn ang="0">
                <a:pos x="187" y="84"/>
              </a:cxn>
              <a:cxn ang="0">
                <a:pos x="168" y="185"/>
              </a:cxn>
              <a:cxn ang="0">
                <a:pos x="170" y="182"/>
              </a:cxn>
              <a:cxn ang="0">
                <a:pos x="55" y="291"/>
              </a:cxn>
              <a:cxn ang="0">
                <a:pos x="52" y="293"/>
              </a:cxn>
              <a:cxn ang="0">
                <a:pos x="50" y="301"/>
              </a:cxn>
              <a:cxn ang="0">
                <a:pos x="72" y="305"/>
              </a:cxn>
              <a:cxn ang="0">
                <a:pos x="67" y="308"/>
              </a:cxn>
              <a:cxn ang="0">
                <a:pos x="136" y="256"/>
              </a:cxn>
              <a:cxn ang="0">
                <a:pos x="126" y="264"/>
              </a:cxn>
              <a:cxn ang="0">
                <a:pos x="114" y="283"/>
              </a:cxn>
              <a:cxn ang="0">
                <a:pos x="131" y="266"/>
              </a:cxn>
              <a:cxn ang="0">
                <a:pos x="101" y="273"/>
              </a:cxn>
              <a:cxn ang="0">
                <a:pos x="109" y="296"/>
              </a:cxn>
              <a:cxn ang="0">
                <a:pos x="91" y="337"/>
              </a:cxn>
              <a:cxn ang="0">
                <a:pos x="89" y="325"/>
              </a:cxn>
              <a:cxn ang="0">
                <a:pos x="96" y="293"/>
              </a:cxn>
              <a:cxn ang="0">
                <a:pos x="84" y="281"/>
              </a:cxn>
              <a:cxn ang="0">
                <a:pos x="96" y="264"/>
              </a:cxn>
              <a:cxn ang="0">
                <a:pos x="123" y="256"/>
              </a:cxn>
              <a:cxn ang="0">
                <a:pos x="138" y="271"/>
              </a:cxn>
              <a:cxn ang="0">
                <a:pos x="160" y="261"/>
              </a:cxn>
              <a:cxn ang="0">
                <a:pos x="163" y="251"/>
              </a:cxn>
              <a:cxn ang="0">
                <a:pos x="173" y="251"/>
              </a:cxn>
              <a:cxn ang="0">
                <a:pos x="195" y="249"/>
              </a:cxn>
              <a:cxn ang="0">
                <a:pos x="205" y="237"/>
              </a:cxn>
              <a:cxn ang="0">
                <a:pos x="214" y="219"/>
              </a:cxn>
              <a:cxn ang="0">
                <a:pos x="217" y="168"/>
              </a:cxn>
              <a:cxn ang="0">
                <a:pos x="214" y="143"/>
              </a:cxn>
              <a:cxn ang="0">
                <a:pos x="192" y="99"/>
              </a:cxn>
              <a:cxn ang="0">
                <a:pos x="192" y="106"/>
              </a:cxn>
              <a:cxn ang="0">
                <a:pos x="178" y="104"/>
              </a:cxn>
              <a:cxn ang="0">
                <a:pos x="173" y="133"/>
              </a:cxn>
              <a:cxn ang="0">
                <a:pos x="175" y="185"/>
              </a:cxn>
              <a:cxn ang="0">
                <a:pos x="153" y="195"/>
              </a:cxn>
              <a:cxn ang="0">
                <a:pos x="143" y="219"/>
              </a:cxn>
              <a:cxn ang="0">
                <a:pos x="136" y="237"/>
              </a:cxn>
              <a:cxn ang="0">
                <a:pos x="106" y="239"/>
              </a:cxn>
              <a:cxn ang="0">
                <a:pos x="74" y="266"/>
              </a:cxn>
              <a:cxn ang="0">
                <a:pos x="59" y="288"/>
              </a:cxn>
              <a:cxn ang="0">
                <a:pos x="62" y="301"/>
              </a:cxn>
              <a:cxn ang="0">
                <a:pos x="67" y="293"/>
              </a:cxn>
              <a:cxn ang="0">
                <a:pos x="74" y="323"/>
              </a:cxn>
              <a:cxn ang="0">
                <a:pos x="84" y="320"/>
              </a:cxn>
            </a:cxnLst>
            <a:rect l="0" t="0" r="r" b="b"/>
            <a:pathLst>
              <a:path w="244" h="470">
                <a:moveTo>
                  <a:pt x="99" y="227"/>
                </a:moveTo>
                <a:lnTo>
                  <a:pt x="99" y="227"/>
                </a:lnTo>
                <a:lnTo>
                  <a:pt x="99" y="229"/>
                </a:lnTo>
                <a:lnTo>
                  <a:pt x="99" y="227"/>
                </a:lnTo>
                <a:lnTo>
                  <a:pt x="99" y="227"/>
                </a:lnTo>
                <a:lnTo>
                  <a:pt x="99" y="227"/>
                </a:lnTo>
                <a:lnTo>
                  <a:pt x="99" y="227"/>
                </a:lnTo>
                <a:close/>
                <a:moveTo>
                  <a:pt x="101" y="227"/>
                </a:moveTo>
                <a:lnTo>
                  <a:pt x="101" y="224"/>
                </a:lnTo>
                <a:lnTo>
                  <a:pt x="101" y="222"/>
                </a:lnTo>
                <a:lnTo>
                  <a:pt x="104" y="222"/>
                </a:lnTo>
                <a:lnTo>
                  <a:pt x="104" y="224"/>
                </a:lnTo>
                <a:lnTo>
                  <a:pt x="101" y="227"/>
                </a:lnTo>
                <a:lnTo>
                  <a:pt x="101" y="227"/>
                </a:lnTo>
                <a:lnTo>
                  <a:pt x="101" y="227"/>
                </a:lnTo>
                <a:lnTo>
                  <a:pt x="101" y="227"/>
                </a:lnTo>
                <a:close/>
                <a:moveTo>
                  <a:pt x="5" y="470"/>
                </a:moveTo>
                <a:lnTo>
                  <a:pt x="3" y="468"/>
                </a:lnTo>
                <a:lnTo>
                  <a:pt x="0" y="468"/>
                </a:lnTo>
                <a:lnTo>
                  <a:pt x="0" y="470"/>
                </a:lnTo>
                <a:lnTo>
                  <a:pt x="3" y="470"/>
                </a:lnTo>
                <a:lnTo>
                  <a:pt x="5" y="470"/>
                </a:lnTo>
                <a:lnTo>
                  <a:pt x="5" y="470"/>
                </a:lnTo>
                <a:lnTo>
                  <a:pt x="5" y="470"/>
                </a:lnTo>
                <a:close/>
                <a:moveTo>
                  <a:pt x="5" y="465"/>
                </a:moveTo>
                <a:lnTo>
                  <a:pt x="8" y="465"/>
                </a:lnTo>
                <a:lnTo>
                  <a:pt x="10" y="465"/>
                </a:lnTo>
                <a:lnTo>
                  <a:pt x="8" y="468"/>
                </a:lnTo>
                <a:lnTo>
                  <a:pt x="8" y="468"/>
                </a:lnTo>
                <a:lnTo>
                  <a:pt x="5" y="465"/>
                </a:lnTo>
                <a:lnTo>
                  <a:pt x="5" y="465"/>
                </a:lnTo>
                <a:lnTo>
                  <a:pt x="5" y="465"/>
                </a:lnTo>
                <a:close/>
                <a:moveTo>
                  <a:pt x="20" y="455"/>
                </a:moveTo>
                <a:lnTo>
                  <a:pt x="20" y="458"/>
                </a:lnTo>
                <a:lnTo>
                  <a:pt x="23" y="460"/>
                </a:lnTo>
                <a:lnTo>
                  <a:pt x="23" y="460"/>
                </a:lnTo>
                <a:lnTo>
                  <a:pt x="25" y="458"/>
                </a:lnTo>
                <a:lnTo>
                  <a:pt x="20" y="455"/>
                </a:lnTo>
                <a:lnTo>
                  <a:pt x="20" y="455"/>
                </a:lnTo>
                <a:lnTo>
                  <a:pt x="20" y="455"/>
                </a:lnTo>
                <a:close/>
                <a:moveTo>
                  <a:pt x="55" y="428"/>
                </a:moveTo>
                <a:lnTo>
                  <a:pt x="52" y="423"/>
                </a:lnTo>
                <a:lnTo>
                  <a:pt x="57" y="423"/>
                </a:lnTo>
                <a:lnTo>
                  <a:pt x="57" y="421"/>
                </a:lnTo>
                <a:lnTo>
                  <a:pt x="55" y="421"/>
                </a:lnTo>
                <a:lnTo>
                  <a:pt x="59" y="419"/>
                </a:lnTo>
                <a:lnTo>
                  <a:pt x="59" y="416"/>
                </a:lnTo>
                <a:lnTo>
                  <a:pt x="62" y="419"/>
                </a:lnTo>
                <a:lnTo>
                  <a:pt x="59" y="421"/>
                </a:lnTo>
                <a:lnTo>
                  <a:pt x="59" y="423"/>
                </a:lnTo>
                <a:lnTo>
                  <a:pt x="57" y="426"/>
                </a:lnTo>
                <a:lnTo>
                  <a:pt x="57" y="428"/>
                </a:lnTo>
                <a:lnTo>
                  <a:pt x="55" y="428"/>
                </a:lnTo>
                <a:lnTo>
                  <a:pt x="55" y="428"/>
                </a:lnTo>
                <a:lnTo>
                  <a:pt x="55" y="428"/>
                </a:lnTo>
                <a:close/>
                <a:moveTo>
                  <a:pt x="69" y="396"/>
                </a:moveTo>
                <a:lnTo>
                  <a:pt x="69" y="399"/>
                </a:lnTo>
                <a:lnTo>
                  <a:pt x="72" y="401"/>
                </a:lnTo>
                <a:lnTo>
                  <a:pt x="69" y="401"/>
                </a:lnTo>
                <a:lnTo>
                  <a:pt x="67" y="401"/>
                </a:lnTo>
                <a:lnTo>
                  <a:pt x="67" y="399"/>
                </a:lnTo>
                <a:lnTo>
                  <a:pt x="69" y="396"/>
                </a:lnTo>
                <a:lnTo>
                  <a:pt x="69" y="396"/>
                </a:lnTo>
                <a:lnTo>
                  <a:pt x="69" y="396"/>
                </a:lnTo>
                <a:close/>
                <a:moveTo>
                  <a:pt x="74" y="392"/>
                </a:moveTo>
                <a:lnTo>
                  <a:pt x="74" y="392"/>
                </a:lnTo>
                <a:lnTo>
                  <a:pt x="72" y="392"/>
                </a:lnTo>
                <a:lnTo>
                  <a:pt x="69" y="389"/>
                </a:lnTo>
                <a:lnTo>
                  <a:pt x="72" y="389"/>
                </a:lnTo>
                <a:lnTo>
                  <a:pt x="74" y="387"/>
                </a:lnTo>
                <a:lnTo>
                  <a:pt x="74" y="387"/>
                </a:lnTo>
                <a:lnTo>
                  <a:pt x="74" y="387"/>
                </a:lnTo>
                <a:lnTo>
                  <a:pt x="77" y="384"/>
                </a:lnTo>
                <a:lnTo>
                  <a:pt x="77" y="384"/>
                </a:lnTo>
                <a:lnTo>
                  <a:pt x="79" y="384"/>
                </a:lnTo>
                <a:lnTo>
                  <a:pt x="79" y="387"/>
                </a:lnTo>
                <a:lnTo>
                  <a:pt x="77" y="389"/>
                </a:lnTo>
                <a:lnTo>
                  <a:pt x="74" y="392"/>
                </a:lnTo>
                <a:lnTo>
                  <a:pt x="74" y="392"/>
                </a:lnTo>
                <a:lnTo>
                  <a:pt x="74" y="392"/>
                </a:lnTo>
                <a:lnTo>
                  <a:pt x="74" y="392"/>
                </a:lnTo>
                <a:close/>
                <a:moveTo>
                  <a:pt x="155" y="84"/>
                </a:moveTo>
                <a:lnTo>
                  <a:pt x="153" y="84"/>
                </a:lnTo>
                <a:lnTo>
                  <a:pt x="153" y="82"/>
                </a:lnTo>
                <a:lnTo>
                  <a:pt x="155" y="79"/>
                </a:lnTo>
                <a:lnTo>
                  <a:pt x="158" y="79"/>
                </a:lnTo>
                <a:lnTo>
                  <a:pt x="155" y="82"/>
                </a:lnTo>
                <a:lnTo>
                  <a:pt x="155" y="84"/>
                </a:lnTo>
                <a:lnTo>
                  <a:pt x="155" y="84"/>
                </a:lnTo>
                <a:lnTo>
                  <a:pt x="155" y="84"/>
                </a:lnTo>
                <a:lnTo>
                  <a:pt x="155" y="84"/>
                </a:lnTo>
                <a:close/>
                <a:moveTo>
                  <a:pt x="173" y="101"/>
                </a:moveTo>
                <a:lnTo>
                  <a:pt x="170" y="99"/>
                </a:lnTo>
                <a:lnTo>
                  <a:pt x="170" y="96"/>
                </a:lnTo>
                <a:lnTo>
                  <a:pt x="170" y="96"/>
                </a:lnTo>
                <a:lnTo>
                  <a:pt x="170" y="89"/>
                </a:lnTo>
                <a:lnTo>
                  <a:pt x="168" y="84"/>
                </a:lnTo>
                <a:lnTo>
                  <a:pt x="165" y="82"/>
                </a:lnTo>
                <a:lnTo>
                  <a:pt x="163" y="82"/>
                </a:lnTo>
                <a:lnTo>
                  <a:pt x="160" y="82"/>
                </a:lnTo>
                <a:lnTo>
                  <a:pt x="160" y="79"/>
                </a:lnTo>
                <a:lnTo>
                  <a:pt x="160" y="74"/>
                </a:lnTo>
                <a:lnTo>
                  <a:pt x="160" y="72"/>
                </a:lnTo>
                <a:lnTo>
                  <a:pt x="160" y="69"/>
                </a:lnTo>
                <a:lnTo>
                  <a:pt x="163" y="67"/>
                </a:lnTo>
                <a:lnTo>
                  <a:pt x="163" y="67"/>
                </a:lnTo>
                <a:lnTo>
                  <a:pt x="165" y="67"/>
                </a:lnTo>
                <a:lnTo>
                  <a:pt x="168" y="62"/>
                </a:lnTo>
                <a:lnTo>
                  <a:pt x="168" y="62"/>
                </a:lnTo>
                <a:lnTo>
                  <a:pt x="168" y="59"/>
                </a:lnTo>
                <a:lnTo>
                  <a:pt x="165" y="57"/>
                </a:lnTo>
                <a:lnTo>
                  <a:pt x="163" y="57"/>
                </a:lnTo>
                <a:lnTo>
                  <a:pt x="163" y="57"/>
                </a:lnTo>
                <a:lnTo>
                  <a:pt x="163" y="55"/>
                </a:lnTo>
                <a:lnTo>
                  <a:pt x="165" y="55"/>
                </a:lnTo>
                <a:lnTo>
                  <a:pt x="170" y="57"/>
                </a:lnTo>
                <a:lnTo>
                  <a:pt x="175" y="57"/>
                </a:lnTo>
                <a:lnTo>
                  <a:pt x="178" y="55"/>
                </a:lnTo>
                <a:lnTo>
                  <a:pt x="178" y="52"/>
                </a:lnTo>
                <a:lnTo>
                  <a:pt x="178" y="52"/>
                </a:lnTo>
                <a:lnTo>
                  <a:pt x="178" y="50"/>
                </a:lnTo>
                <a:lnTo>
                  <a:pt x="178" y="50"/>
                </a:lnTo>
                <a:lnTo>
                  <a:pt x="175" y="47"/>
                </a:lnTo>
                <a:lnTo>
                  <a:pt x="175" y="45"/>
                </a:lnTo>
                <a:lnTo>
                  <a:pt x="173" y="42"/>
                </a:lnTo>
                <a:lnTo>
                  <a:pt x="175" y="40"/>
                </a:lnTo>
                <a:lnTo>
                  <a:pt x="178" y="40"/>
                </a:lnTo>
                <a:lnTo>
                  <a:pt x="178" y="37"/>
                </a:lnTo>
                <a:lnTo>
                  <a:pt x="175" y="35"/>
                </a:lnTo>
                <a:lnTo>
                  <a:pt x="175" y="30"/>
                </a:lnTo>
                <a:lnTo>
                  <a:pt x="175" y="28"/>
                </a:lnTo>
                <a:lnTo>
                  <a:pt x="175" y="23"/>
                </a:lnTo>
                <a:lnTo>
                  <a:pt x="173" y="20"/>
                </a:lnTo>
                <a:lnTo>
                  <a:pt x="168" y="10"/>
                </a:lnTo>
                <a:lnTo>
                  <a:pt x="168" y="8"/>
                </a:lnTo>
                <a:lnTo>
                  <a:pt x="165" y="5"/>
                </a:lnTo>
                <a:lnTo>
                  <a:pt x="168" y="3"/>
                </a:lnTo>
                <a:lnTo>
                  <a:pt x="168" y="3"/>
                </a:lnTo>
                <a:lnTo>
                  <a:pt x="170" y="3"/>
                </a:lnTo>
                <a:lnTo>
                  <a:pt x="170" y="0"/>
                </a:lnTo>
                <a:lnTo>
                  <a:pt x="173" y="0"/>
                </a:lnTo>
                <a:lnTo>
                  <a:pt x="173" y="3"/>
                </a:lnTo>
                <a:lnTo>
                  <a:pt x="180" y="8"/>
                </a:lnTo>
                <a:lnTo>
                  <a:pt x="182" y="8"/>
                </a:lnTo>
                <a:lnTo>
                  <a:pt x="185" y="13"/>
                </a:lnTo>
                <a:lnTo>
                  <a:pt x="192" y="20"/>
                </a:lnTo>
                <a:lnTo>
                  <a:pt x="197" y="23"/>
                </a:lnTo>
                <a:lnTo>
                  <a:pt x="197" y="25"/>
                </a:lnTo>
                <a:lnTo>
                  <a:pt x="200" y="25"/>
                </a:lnTo>
                <a:lnTo>
                  <a:pt x="202" y="28"/>
                </a:lnTo>
                <a:lnTo>
                  <a:pt x="207" y="30"/>
                </a:lnTo>
                <a:lnTo>
                  <a:pt x="212" y="30"/>
                </a:lnTo>
                <a:lnTo>
                  <a:pt x="214" y="32"/>
                </a:lnTo>
                <a:lnTo>
                  <a:pt x="217" y="32"/>
                </a:lnTo>
                <a:lnTo>
                  <a:pt x="217" y="32"/>
                </a:lnTo>
                <a:lnTo>
                  <a:pt x="222" y="32"/>
                </a:lnTo>
                <a:lnTo>
                  <a:pt x="227" y="30"/>
                </a:lnTo>
                <a:lnTo>
                  <a:pt x="229" y="28"/>
                </a:lnTo>
                <a:lnTo>
                  <a:pt x="229" y="23"/>
                </a:lnTo>
                <a:lnTo>
                  <a:pt x="232" y="23"/>
                </a:lnTo>
                <a:lnTo>
                  <a:pt x="232" y="25"/>
                </a:lnTo>
                <a:lnTo>
                  <a:pt x="232" y="28"/>
                </a:lnTo>
                <a:lnTo>
                  <a:pt x="229" y="32"/>
                </a:lnTo>
                <a:lnTo>
                  <a:pt x="229" y="35"/>
                </a:lnTo>
                <a:lnTo>
                  <a:pt x="232" y="37"/>
                </a:lnTo>
                <a:lnTo>
                  <a:pt x="234" y="40"/>
                </a:lnTo>
                <a:lnTo>
                  <a:pt x="237" y="42"/>
                </a:lnTo>
                <a:lnTo>
                  <a:pt x="237" y="45"/>
                </a:lnTo>
                <a:lnTo>
                  <a:pt x="237" y="47"/>
                </a:lnTo>
                <a:lnTo>
                  <a:pt x="239" y="47"/>
                </a:lnTo>
                <a:lnTo>
                  <a:pt x="241" y="45"/>
                </a:lnTo>
                <a:lnTo>
                  <a:pt x="244" y="42"/>
                </a:lnTo>
                <a:lnTo>
                  <a:pt x="244" y="42"/>
                </a:lnTo>
                <a:lnTo>
                  <a:pt x="244" y="45"/>
                </a:lnTo>
                <a:lnTo>
                  <a:pt x="241" y="45"/>
                </a:lnTo>
                <a:lnTo>
                  <a:pt x="241" y="47"/>
                </a:lnTo>
                <a:lnTo>
                  <a:pt x="241" y="50"/>
                </a:lnTo>
                <a:lnTo>
                  <a:pt x="237" y="50"/>
                </a:lnTo>
                <a:lnTo>
                  <a:pt x="237" y="52"/>
                </a:lnTo>
                <a:lnTo>
                  <a:pt x="237" y="55"/>
                </a:lnTo>
                <a:lnTo>
                  <a:pt x="234" y="55"/>
                </a:lnTo>
                <a:lnTo>
                  <a:pt x="232" y="55"/>
                </a:lnTo>
                <a:lnTo>
                  <a:pt x="232" y="55"/>
                </a:lnTo>
                <a:lnTo>
                  <a:pt x="232" y="57"/>
                </a:lnTo>
                <a:lnTo>
                  <a:pt x="227" y="57"/>
                </a:lnTo>
                <a:lnTo>
                  <a:pt x="224" y="57"/>
                </a:lnTo>
                <a:lnTo>
                  <a:pt x="222" y="57"/>
                </a:lnTo>
                <a:lnTo>
                  <a:pt x="217" y="62"/>
                </a:lnTo>
                <a:lnTo>
                  <a:pt x="217" y="69"/>
                </a:lnTo>
                <a:lnTo>
                  <a:pt x="214" y="74"/>
                </a:lnTo>
                <a:lnTo>
                  <a:pt x="217" y="77"/>
                </a:lnTo>
                <a:lnTo>
                  <a:pt x="214" y="79"/>
                </a:lnTo>
                <a:lnTo>
                  <a:pt x="214" y="82"/>
                </a:lnTo>
                <a:lnTo>
                  <a:pt x="212" y="82"/>
                </a:lnTo>
                <a:lnTo>
                  <a:pt x="212" y="79"/>
                </a:lnTo>
                <a:lnTo>
                  <a:pt x="207" y="77"/>
                </a:lnTo>
                <a:lnTo>
                  <a:pt x="202" y="74"/>
                </a:lnTo>
                <a:lnTo>
                  <a:pt x="197" y="72"/>
                </a:lnTo>
                <a:lnTo>
                  <a:pt x="195" y="69"/>
                </a:lnTo>
                <a:lnTo>
                  <a:pt x="192" y="69"/>
                </a:lnTo>
                <a:lnTo>
                  <a:pt x="190" y="69"/>
                </a:lnTo>
                <a:lnTo>
                  <a:pt x="190" y="67"/>
                </a:lnTo>
                <a:lnTo>
                  <a:pt x="185" y="67"/>
                </a:lnTo>
                <a:lnTo>
                  <a:pt x="182" y="69"/>
                </a:lnTo>
                <a:lnTo>
                  <a:pt x="178" y="74"/>
                </a:lnTo>
                <a:lnTo>
                  <a:pt x="178" y="74"/>
                </a:lnTo>
                <a:lnTo>
                  <a:pt x="173" y="72"/>
                </a:lnTo>
                <a:lnTo>
                  <a:pt x="170" y="72"/>
                </a:lnTo>
                <a:lnTo>
                  <a:pt x="170" y="74"/>
                </a:lnTo>
                <a:lnTo>
                  <a:pt x="170" y="77"/>
                </a:lnTo>
                <a:lnTo>
                  <a:pt x="170" y="79"/>
                </a:lnTo>
                <a:lnTo>
                  <a:pt x="173" y="82"/>
                </a:lnTo>
                <a:lnTo>
                  <a:pt x="178" y="79"/>
                </a:lnTo>
                <a:lnTo>
                  <a:pt x="180" y="84"/>
                </a:lnTo>
                <a:lnTo>
                  <a:pt x="185" y="84"/>
                </a:lnTo>
                <a:lnTo>
                  <a:pt x="187" y="84"/>
                </a:lnTo>
                <a:lnTo>
                  <a:pt x="190" y="87"/>
                </a:lnTo>
                <a:lnTo>
                  <a:pt x="187" y="89"/>
                </a:lnTo>
                <a:lnTo>
                  <a:pt x="185" y="91"/>
                </a:lnTo>
                <a:lnTo>
                  <a:pt x="182" y="91"/>
                </a:lnTo>
                <a:lnTo>
                  <a:pt x="180" y="89"/>
                </a:lnTo>
                <a:lnTo>
                  <a:pt x="178" y="91"/>
                </a:lnTo>
                <a:lnTo>
                  <a:pt x="178" y="94"/>
                </a:lnTo>
                <a:lnTo>
                  <a:pt x="178" y="96"/>
                </a:lnTo>
                <a:lnTo>
                  <a:pt x="173" y="101"/>
                </a:lnTo>
                <a:lnTo>
                  <a:pt x="173" y="101"/>
                </a:lnTo>
                <a:lnTo>
                  <a:pt x="173" y="101"/>
                </a:lnTo>
                <a:close/>
                <a:moveTo>
                  <a:pt x="168" y="185"/>
                </a:moveTo>
                <a:lnTo>
                  <a:pt x="168" y="182"/>
                </a:lnTo>
                <a:lnTo>
                  <a:pt x="170" y="180"/>
                </a:lnTo>
                <a:lnTo>
                  <a:pt x="168" y="180"/>
                </a:lnTo>
                <a:lnTo>
                  <a:pt x="168" y="182"/>
                </a:lnTo>
                <a:lnTo>
                  <a:pt x="168" y="180"/>
                </a:lnTo>
                <a:lnTo>
                  <a:pt x="168" y="175"/>
                </a:lnTo>
                <a:lnTo>
                  <a:pt x="170" y="173"/>
                </a:lnTo>
                <a:lnTo>
                  <a:pt x="170" y="175"/>
                </a:lnTo>
                <a:lnTo>
                  <a:pt x="170" y="178"/>
                </a:lnTo>
                <a:lnTo>
                  <a:pt x="170" y="178"/>
                </a:lnTo>
                <a:lnTo>
                  <a:pt x="173" y="180"/>
                </a:lnTo>
                <a:lnTo>
                  <a:pt x="170" y="182"/>
                </a:lnTo>
                <a:lnTo>
                  <a:pt x="170" y="185"/>
                </a:lnTo>
                <a:lnTo>
                  <a:pt x="168" y="185"/>
                </a:lnTo>
                <a:lnTo>
                  <a:pt x="168" y="185"/>
                </a:lnTo>
                <a:lnTo>
                  <a:pt x="168" y="185"/>
                </a:lnTo>
                <a:close/>
                <a:moveTo>
                  <a:pt x="55" y="291"/>
                </a:moveTo>
                <a:lnTo>
                  <a:pt x="57" y="291"/>
                </a:lnTo>
                <a:lnTo>
                  <a:pt x="57" y="291"/>
                </a:lnTo>
                <a:lnTo>
                  <a:pt x="55" y="291"/>
                </a:lnTo>
                <a:lnTo>
                  <a:pt x="55" y="291"/>
                </a:lnTo>
                <a:lnTo>
                  <a:pt x="55" y="291"/>
                </a:lnTo>
                <a:lnTo>
                  <a:pt x="55" y="291"/>
                </a:lnTo>
                <a:lnTo>
                  <a:pt x="55" y="291"/>
                </a:lnTo>
                <a:close/>
                <a:moveTo>
                  <a:pt x="55" y="293"/>
                </a:moveTo>
                <a:lnTo>
                  <a:pt x="55" y="293"/>
                </a:lnTo>
                <a:lnTo>
                  <a:pt x="55" y="293"/>
                </a:lnTo>
                <a:lnTo>
                  <a:pt x="55" y="293"/>
                </a:lnTo>
                <a:lnTo>
                  <a:pt x="55" y="293"/>
                </a:lnTo>
                <a:lnTo>
                  <a:pt x="55" y="293"/>
                </a:lnTo>
                <a:close/>
                <a:moveTo>
                  <a:pt x="52" y="293"/>
                </a:moveTo>
                <a:lnTo>
                  <a:pt x="52" y="296"/>
                </a:lnTo>
                <a:lnTo>
                  <a:pt x="55" y="293"/>
                </a:lnTo>
                <a:lnTo>
                  <a:pt x="52" y="293"/>
                </a:lnTo>
                <a:lnTo>
                  <a:pt x="52" y="293"/>
                </a:lnTo>
                <a:lnTo>
                  <a:pt x="52" y="293"/>
                </a:lnTo>
                <a:close/>
                <a:moveTo>
                  <a:pt x="50" y="296"/>
                </a:moveTo>
                <a:lnTo>
                  <a:pt x="50" y="298"/>
                </a:lnTo>
                <a:lnTo>
                  <a:pt x="52" y="296"/>
                </a:lnTo>
                <a:lnTo>
                  <a:pt x="50" y="296"/>
                </a:lnTo>
                <a:lnTo>
                  <a:pt x="50" y="296"/>
                </a:lnTo>
                <a:lnTo>
                  <a:pt x="50" y="296"/>
                </a:lnTo>
                <a:close/>
                <a:moveTo>
                  <a:pt x="47" y="303"/>
                </a:moveTo>
                <a:lnTo>
                  <a:pt x="47" y="301"/>
                </a:lnTo>
                <a:lnTo>
                  <a:pt x="47" y="298"/>
                </a:lnTo>
                <a:lnTo>
                  <a:pt x="47" y="298"/>
                </a:lnTo>
                <a:lnTo>
                  <a:pt x="50" y="298"/>
                </a:lnTo>
                <a:lnTo>
                  <a:pt x="50" y="301"/>
                </a:lnTo>
                <a:lnTo>
                  <a:pt x="52" y="303"/>
                </a:lnTo>
                <a:lnTo>
                  <a:pt x="50" y="303"/>
                </a:lnTo>
                <a:lnTo>
                  <a:pt x="47" y="303"/>
                </a:lnTo>
                <a:lnTo>
                  <a:pt x="47" y="303"/>
                </a:lnTo>
                <a:lnTo>
                  <a:pt x="47" y="303"/>
                </a:lnTo>
                <a:close/>
                <a:moveTo>
                  <a:pt x="72" y="305"/>
                </a:moveTo>
                <a:lnTo>
                  <a:pt x="72" y="303"/>
                </a:lnTo>
                <a:lnTo>
                  <a:pt x="72" y="303"/>
                </a:lnTo>
                <a:lnTo>
                  <a:pt x="74" y="303"/>
                </a:lnTo>
                <a:lnTo>
                  <a:pt x="72" y="305"/>
                </a:lnTo>
                <a:lnTo>
                  <a:pt x="72" y="305"/>
                </a:lnTo>
                <a:lnTo>
                  <a:pt x="72" y="305"/>
                </a:lnTo>
                <a:lnTo>
                  <a:pt x="72" y="305"/>
                </a:lnTo>
                <a:close/>
                <a:moveTo>
                  <a:pt x="69" y="310"/>
                </a:moveTo>
                <a:lnTo>
                  <a:pt x="69" y="308"/>
                </a:lnTo>
                <a:lnTo>
                  <a:pt x="72" y="310"/>
                </a:lnTo>
                <a:lnTo>
                  <a:pt x="69" y="310"/>
                </a:lnTo>
                <a:lnTo>
                  <a:pt x="69" y="310"/>
                </a:lnTo>
                <a:lnTo>
                  <a:pt x="69" y="310"/>
                </a:lnTo>
                <a:lnTo>
                  <a:pt x="69" y="310"/>
                </a:lnTo>
                <a:close/>
                <a:moveTo>
                  <a:pt x="67" y="303"/>
                </a:moveTo>
                <a:lnTo>
                  <a:pt x="67" y="303"/>
                </a:lnTo>
                <a:lnTo>
                  <a:pt x="67" y="305"/>
                </a:lnTo>
                <a:lnTo>
                  <a:pt x="67" y="308"/>
                </a:lnTo>
                <a:lnTo>
                  <a:pt x="69" y="308"/>
                </a:lnTo>
                <a:lnTo>
                  <a:pt x="69" y="305"/>
                </a:lnTo>
                <a:lnTo>
                  <a:pt x="69" y="303"/>
                </a:lnTo>
                <a:lnTo>
                  <a:pt x="67" y="303"/>
                </a:lnTo>
                <a:lnTo>
                  <a:pt x="67" y="303"/>
                </a:lnTo>
                <a:lnTo>
                  <a:pt x="67" y="303"/>
                </a:lnTo>
                <a:lnTo>
                  <a:pt x="67" y="303"/>
                </a:lnTo>
                <a:close/>
                <a:moveTo>
                  <a:pt x="133" y="264"/>
                </a:moveTo>
                <a:lnTo>
                  <a:pt x="133" y="261"/>
                </a:lnTo>
                <a:lnTo>
                  <a:pt x="133" y="259"/>
                </a:lnTo>
                <a:lnTo>
                  <a:pt x="133" y="259"/>
                </a:lnTo>
                <a:lnTo>
                  <a:pt x="136" y="256"/>
                </a:lnTo>
                <a:lnTo>
                  <a:pt x="136" y="259"/>
                </a:lnTo>
                <a:lnTo>
                  <a:pt x="136" y="261"/>
                </a:lnTo>
                <a:lnTo>
                  <a:pt x="136" y="264"/>
                </a:lnTo>
                <a:lnTo>
                  <a:pt x="136" y="264"/>
                </a:lnTo>
                <a:lnTo>
                  <a:pt x="133" y="264"/>
                </a:lnTo>
                <a:lnTo>
                  <a:pt x="133" y="264"/>
                </a:lnTo>
                <a:lnTo>
                  <a:pt x="133" y="264"/>
                </a:lnTo>
                <a:close/>
                <a:moveTo>
                  <a:pt x="123" y="261"/>
                </a:moveTo>
                <a:lnTo>
                  <a:pt x="126" y="259"/>
                </a:lnTo>
                <a:lnTo>
                  <a:pt x="128" y="261"/>
                </a:lnTo>
                <a:lnTo>
                  <a:pt x="128" y="261"/>
                </a:lnTo>
                <a:lnTo>
                  <a:pt x="126" y="264"/>
                </a:lnTo>
                <a:lnTo>
                  <a:pt x="123" y="261"/>
                </a:lnTo>
                <a:lnTo>
                  <a:pt x="123" y="261"/>
                </a:lnTo>
                <a:lnTo>
                  <a:pt x="123" y="261"/>
                </a:lnTo>
                <a:close/>
                <a:moveTo>
                  <a:pt x="109" y="296"/>
                </a:moveTo>
                <a:lnTo>
                  <a:pt x="111" y="296"/>
                </a:lnTo>
                <a:lnTo>
                  <a:pt x="111" y="293"/>
                </a:lnTo>
                <a:lnTo>
                  <a:pt x="114" y="296"/>
                </a:lnTo>
                <a:lnTo>
                  <a:pt x="114" y="293"/>
                </a:lnTo>
                <a:lnTo>
                  <a:pt x="114" y="293"/>
                </a:lnTo>
                <a:lnTo>
                  <a:pt x="111" y="288"/>
                </a:lnTo>
                <a:lnTo>
                  <a:pt x="114" y="286"/>
                </a:lnTo>
                <a:lnTo>
                  <a:pt x="114" y="283"/>
                </a:lnTo>
                <a:lnTo>
                  <a:pt x="118" y="281"/>
                </a:lnTo>
                <a:lnTo>
                  <a:pt x="118" y="278"/>
                </a:lnTo>
                <a:lnTo>
                  <a:pt x="123" y="278"/>
                </a:lnTo>
                <a:lnTo>
                  <a:pt x="126" y="281"/>
                </a:lnTo>
                <a:lnTo>
                  <a:pt x="128" y="283"/>
                </a:lnTo>
                <a:lnTo>
                  <a:pt x="131" y="283"/>
                </a:lnTo>
                <a:lnTo>
                  <a:pt x="131" y="278"/>
                </a:lnTo>
                <a:lnTo>
                  <a:pt x="136" y="273"/>
                </a:lnTo>
                <a:lnTo>
                  <a:pt x="136" y="271"/>
                </a:lnTo>
                <a:lnTo>
                  <a:pt x="133" y="271"/>
                </a:lnTo>
                <a:lnTo>
                  <a:pt x="133" y="269"/>
                </a:lnTo>
                <a:lnTo>
                  <a:pt x="131" y="266"/>
                </a:lnTo>
                <a:lnTo>
                  <a:pt x="128" y="266"/>
                </a:lnTo>
                <a:lnTo>
                  <a:pt x="126" y="264"/>
                </a:lnTo>
                <a:lnTo>
                  <a:pt x="121" y="264"/>
                </a:lnTo>
                <a:lnTo>
                  <a:pt x="118" y="266"/>
                </a:lnTo>
                <a:lnTo>
                  <a:pt x="118" y="269"/>
                </a:lnTo>
                <a:lnTo>
                  <a:pt x="116" y="271"/>
                </a:lnTo>
                <a:lnTo>
                  <a:pt x="114" y="273"/>
                </a:lnTo>
                <a:lnTo>
                  <a:pt x="111" y="273"/>
                </a:lnTo>
                <a:lnTo>
                  <a:pt x="109" y="273"/>
                </a:lnTo>
                <a:lnTo>
                  <a:pt x="109" y="269"/>
                </a:lnTo>
                <a:lnTo>
                  <a:pt x="106" y="269"/>
                </a:lnTo>
                <a:lnTo>
                  <a:pt x="101" y="273"/>
                </a:lnTo>
                <a:lnTo>
                  <a:pt x="101" y="276"/>
                </a:lnTo>
                <a:lnTo>
                  <a:pt x="99" y="278"/>
                </a:lnTo>
                <a:lnTo>
                  <a:pt x="99" y="281"/>
                </a:lnTo>
                <a:lnTo>
                  <a:pt x="104" y="283"/>
                </a:lnTo>
                <a:lnTo>
                  <a:pt x="104" y="286"/>
                </a:lnTo>
                <a:lnTo>
                  <a:pt x="104" y="286"/>
                </a:lnTo>
                <a:lnTo>
                  <a:pt x="104" y="288"/>
                </a:lnTo>
                <a:lnTo>
                  <a:pt x="106" y="293"/>
                </a:lnTo>
                <a:lnTo>
                  <a:pt x="109" y="293"/>
                </a:lnTo>
                <a:lnTo>
                  <a:pt x="109" y="296"/>
                </a:lnTo>
                <a:lnTo>
                  <a:pt x="109" y="296"/>
                </a:lnTo>
                <a:lnTo>
                  <a:pt x="109" y="296"/>
                </a:lnTo>
                <a:close/>
                <a:moveTo>
                  <a:pt x="89" y="347"/>
                </a:moveTo>
                <a:lnTo>
                  <a:pt x="86" y="345"/>
                </a:lnTo>
                <a:lnTo>
                  <a:pt x="84" y="345"/>
                </a:lnTo>
                <a:lnTo>
                  <a:pt x="84" y="347"/>
                </a:lnTo>
                <a:lnTo>
                  <a:pt x="86" y="350"/>
                </a:lnTo>
                <a:lnTo>
                  <a:pt x="89" y="350"/>
                </a:lnTo>
                <a:lnTo>
                  <a:pt x="89" y="350"/>
                </a:lnTo>
                <a:lnTo>
                  <a:pt x="89" y="347"/>
                </a:lnTo>
                <a:lnTo>
                  <a:pt x="89" y="347"/>
                </a:lnTo>
                <a:lnTo>
                  <a:pt x="89" y="347"/>
                </a:lnTo>
                <a:close/>
                <a:moveTo>
                  <a:pt x="91" y="342"/>
                </a:moveTo>
                <a:lnTo>
                  <a:pt x="91" y="337"/>
                </a:lnTo>
                <a:lnTo>
                  <a:pt x="91" y="337"/>
                </a:lnTo>
                <a:lnTo>
                  <a:pt x="91" y="337"/>
                </a:lnTo>
                <a:lnTo>
                  <a:pt x="94" y="340"/>
                </a:lnTo>
                <a:lnTo>
                  <a:pt x="91" y="342"/>
                </a:lnTo>
                <a:lnTo>
                  <a:pt x="91" y="342"/>
                </a:lnTo>
                <a:lnTo>
                  <a:pt x="91" y="342"/>
                </a:lnTo>
                <a:lnTo>
                  <a:pt x="91" y="342"/>
                </a:lnTo>
                <a:close/>
                <a:moveTo>
                  <a:pt x="86" y="335"/>
                </a:moveTo>
                <a:lnTo>
                  <a:pt x="89" y="332"/>
                </a:lnTo>
                <a:lnTo>
                  <a:pt x="91" y="330"/>
                </a:lnTo>
                <a:lnTo>
                  <a:pt x="89" y="325"/>
                </a:lnTo>
                <a:lnTo>
                  <a:pt x="89" y="325"/>
                </a:lnTo>
                <a:lnTo>
                  <a:pt x="91" y="323"/>
                </a:lnTo>
                <a:lnTo>
                  <a:pt x="91" y="325"/>
                </a:lnTo>
                <a:lnTo>
                  <a:pt x="94" y="325"/>
                </a:lnTo>
                <a:lnTo>
                  <a:pt x="94" y="323"/>
                </a:lnTo>
                <a:lnTo>
                  <a:pt x="94" y="318"/>
                </a:lnTo>
                <a:lnTo>
                  <a:pt x="94" y="315"/>
                </a:lnTo>
                <a:lnTo>
                  <a:pt x="94" y="305"/>
                </a:lnTo>
                <a:lnTo>
                  <a:pt x="94" y="301"/>
                </a:lnTo>
                <a:lnTo>
                  <a:pt x="96" y="298"/>
                </a:lnTo>
                <a:lnTo>
                  <a:pt x="99" y="296"/>
                </a:lnTo>
                <a:lnTo>
                  <a:pt x="96" y="293"/>
                </a:lnTo>
                <a:lnTo>
                  <a:pt x="96" y="293"/>
                </a:lnTo>
                <a:lnTo>
                  <a:pt x="96" y="291"/>
                </a:lnTo>
                <a:lnTo>
                  <a:pt x="94" y="291"/>
                </a:lnTo>
                <a:lnTo>
                  <a:pt x="94" y="288"/>
                </a:lnTo>
                <a:lnTo>
                  <a:pt x="89" y="288"/>
                </a:lnTo>
                <a:lnTo>
                  <a:pt x="89" y="286"/>
                </a:lnTo>
                <a:lnTo>
                  <a:pt x="91" y="286"/>
                </a:lnTo>
                <a:lnTo>
                  <a:pt x="91" y="283"/>
                </a:lnTo>
                <a:lnTo>
                  <a:pt x="91" y="278"/>
                </a:lnTo>
                <a:lnTo>
                  <a:pt x="89" y="278"/>
                </a:lnTo>
                <a:lnTo>
                  <a:pt x="86" y="278"/>
                </a:lnTo>
                <a:lnTo>
                  <a:pt x="86" y="278"/>
                </a:lnTo>
                <a:lnTo>
                  <a:pt x="84" y="281"/>
                </a:lnTo>
                <a:lnTo>
                  <a:pt x="82" y="281"/>
                </a:lnTo>
                <a:lnTo>
                  <a:pt x="79" y="276"/>
                </a:lnTo>
                <a:lnTo>
                  <a:pt x="79" y="276"/>
                </a:lnTo>
                <a:lnTo>
                  <a:pt x="84" y="273"/>
                </a:lnTo>
                <a:lnTo>
                  <a:pt x="89" y="271"/>
                </a:lnTo>
                <a:lnTo>
                  <a:pt x="94" y="273"/>
                </a:lnTo>
                <a:lnTo>
                  <a:pt x="96" y="273"/>
                </a:lnTo>
                <a:lnTo>
                  <a:pt x="96" y="273"/>
                </a:lnTo>
                <a:lnTo>
                  <a:pt x="96" y="271"/>
                </a:lnTo>
                <a:lnTo>
                  <a:pt x="96" y="269"/>
                </a:lnTo>
                <a:lnTo>
                  <a:pt x="96" y="266"/>
                </a:lnTo>
                <a:lnTo>
                  <a:pt x="96" y="264"/>
                </a:lnTo>
                <a:lnTo>
                  <a:pt x="99" y="264"/>
                </a:lnTo>
                <a:lnTo>
                  <a:pt x="99" y="266"/>
                </a:lnTo>
                <a:lnTo>
                  <a:pt x="101" y="266"/>
                </a:lnTo>
                <a:lnTo>
                  <a:pt x="104" y="264"/>
                </a:lnTo>
                <a:lnTo>
                  <a:pt x="109" y="264"/>
                </a:lnTo>
                <a:lnTo>
                  <a:pt x="114" y="261"/>
                </a:lnTo>
                <a:lnTo>
                  <a:pt x="118" y="261"/>
                </a:lnTo>
                <a:lnTo>
                  <a:pt x="118" y="261"/>
                </a:lnTo>
                <a:lnTo>
                  <a:pt x="121" y="261"/>
                </a:lnTo>
                <a:lnTo>
                  <a:pt x="121" y="261"/>
                </a:lnTo>
                <a:lnTo>
                  <a:pt x="123" y="259"/>
                </a:lnTo>
                <a:lnTo>
                  <a:pt x="123" y="256"/>
                </a:lnTo>
                <a:lnTo>
                  <a:pt x="128" y="254"/>
                </a:lnTo>
                <a:lnTo>
                  <a:pt x="131" y="254"/>
                </a:lnTo>
                <a:lnTo>
                  <a:pt x="136" y="254"/>
                </a:lnTo>
                <a:lnTo>
                  <a:pt x="138" y="254"/>
                </a:lnTo>
                <a:lnTo>
                  <a:pt x="141" y="254"/>
                </a:lnTo>
                <a:lnTo>
                  <a:pt x="141" y="256"/>
                </a:lnTo>
                <a:lnTo>
                  <a:pt x="138" y="259"/>
                </a:lnTo>
                <a:lnTo>
                  <a:pt x="138" y="264"/>
                </a:lnTo>
                <a:lnTo>
                  <a:pt x="138" y="264"/>
                </a:lnTo>
                <a:lnTo>
                  <a:pt x="138" y="266"/>
                </a:lnTo>
                <a:lnTo>
                  <a:pt x="138" y="269"/>
                </a:lnTo>
                <a:lnTo>
                  <a:pt x="138" y="271"/>
                </a:lnTo>
                <a:lnTo>
                  <a:pt x="141" y="273"/>
                </a:lnTo>
                <a:lnTo>
                  <a:pt x="143" y="273"/>
                </a:lnTo>
                <a:lnTo>
                  <a:pt x="148" y="278"/>
                </a:lnTo>
                <a:lnTo>
                  <a:pt x="150" y="278"/>
                </a:lnTo>
                <a:lnTo>
                  <a:pt x="153" y="278"/>
                </a:lnTo>
                <a:lnTo>
                  <a:pt x="155" y="273"/>
                </a:lnTo>
                <a:lnTo>
                  <a:pt x="155" y="271"/>
                </a:lnTo>
                <a:lnTo>
                  <a:pt x="158" y="271"/>
                </a:lnTo>
                <a:lnTo>
                  <a:pt x="158" y="269"/>
                </a:lnTo>
                <a:lnTo>
                  <a:pt x="158" y="266"/>
                </a:lnTo>
                <a:lnTo>
                  <a:pt x="158" y="264"/>
                </a:lnTo>
                <a:lnTo>
                  <a:pt x="160" y="261"/>
                </a:lnTo>
                <a:lnTo>
                  <a:pt x="163" y="261"/>
                </a:lnTo>
                <a:lnTo>
                  <a:pt x="165" y="261"/>
                </a:lnTo>
                <a:lnTo>
                  <a:pt x="163" y="259"/>
                </a:lnTo>
                <a:lnTo>
                  <a:pt x="163" y="256"/>
                </a:lnTo>
                <a:lnTo>
                  <a:pt x="158" y="254"/>
                </a:lnTo>
                <a:lnTo>
                  <a:pt x="158" y="251"/>
                </a:lnTo>
                <a:lnTo>
                  <a:pt x="158" y="249"/>
                </a:lnTo>
                <a:lnTo>
                  <a:pt x="160" y="246"/>
                </a:lnTo>
                <a:lnTo>
                  <a:pt x="160" y="246"/>
                </a:lnTo>
                <a:lnTo>
                  <a:pt x="160" y="246"/>
                </a:lnTo>
                <a:lnTo>
                  <a:pt x="160" y="251"/>
                </a:lnTo>
                <a:lnTo>
                  <a:pt x="163" y="251"/>
                </a:lnTo>
                <a:lnTo>
                  <a:pt x="163" y="251"/>
                </a:lnTo>
                <a:lnTo>
                  <a:pt x="163" y="249"/>
                </a:lnTo>
                <a:lnTo>
                  <a:pt x="165" y="251"/>
                </a:lnTo>
                <a:lnTo>
                  <a:pt x="168" y="251"/>
                </a:lnTo>
                <a:lnTo>
                  <a:pt x="170" y="251"/>
                </a:lnTo>
                <a:lnTo>
                  <a:pt x="170" y="251"/>
                </a:lnTo>
                <a:lnTo>
                  <a:pt x="170" y="254"/>
                </a:lnTo>
                <a:lnTo>
                  <a:pt x="168" y="254"/>
                </a:lnTo>
                <a:lnTo>
                  <a:pt x="168" y="254"/>
                </a:lnTo>
                <a:lnTo>
                  <a:pt x="168" y="254"/>
                </a:lnTo>
                <a:lnTo>
                  <a:pt x="170" y="254"/>
                </a:lnTo>
                <a:lnTo>
                  <a:pt x="173" y="251"/>
                </a:lnTo>
                <a:lnTo>
                  <a:pt x="182" y="254"/>
                </a:lnTo>
                <a:lnTo>
                  <a:pt x="185" y="251"/>
                </a:lnTo>
                <a:lnTo>
                  <a:pt x="185" y="251"/>
                </a:lnTo>
                <a:lnTo>
                  <a:pt x="182" y="249"/>
                </a:lnTo>
                <a:lnTo>
                  <a:pt x="185" y="244"/>
                </a:lnTo>
                <a:lnTo>
                  <a:pt x="187" y="244"/>
                </a:lnTo>
                <a:lnTo>
                  <a:pt x="190" y="244"/>
                </a:lnTo>
                <a:lnTo>
                  <a:pt x="190" y="246"/>
                </a:lnTo>
                <a:lnTo>
                  <a:pt x="190" y="249"/>
                </a:lnTo>
                <a:lnTo>
                  <a:pt x="192" y="251"/>
                </a:lnTo>
                <a:lnTo>
                  <a:pt x="195" y="251"/>
                </a:lnTo>
                <a:lnTo>
                  <a:pt x="195" y="249"/>
                </a:lnTo>
                <a:lnTo>
                  <a:pt x="195" y="241"/>
                </a:lnTo>
                <a:lnTo>
                  <a:pt x="195" y="239"/>
                </a:lnTo>
                <a:lnTo>
                  <a:pt x="200" y="237"/>
                </a:lnTo>
                <a:lnTo>
                  <a:pt x="200" y="237"/>
                </a:lnTo>
                <a:lnTo>
                  <a:pt x="202" y="234"/>
                </a:lnTo>
                <a:lnTo>
                  <a:pt x="200" y="234"/>
                </a:lnTo>
                <a:lnTo>
                  <a:pt x="200" y="229"/>
                </a:lnTo>
                <a:lnTo>
                  <a:pt x="202" y="229"/>
                </a:lnTo>
                <a:lnTo>
                  <a:pt x="205" y="229"/>
                </a:lnTo>
                <a:lnTo>
                  <a:pt x="207" y="232"/>
                </a:lnTo>
                <a:lnTo>
                  <a:pt x="205" y="232"/>
                </a:lnTo>
                <a:lnTo>
                  <a:pt x="205" y="237"/>
                </a:lnTo>
                <a:lnTo>
                  <a:pt x="205" y="246"/>
                </a:lnTo>
                <a:lnTo>
                  <a:pt x="207" y="246"/>
                </a:lnTo>
                <a:lnTo>
                  <a:pt x="209" y="244"/>
                </a:lnTo>
                <a:lnTo>
                  <a:pt x="209" y="241"/>
                </a:lnTo>
                <a:lnTo>
                  <a:pt x="212" y="241"/>
                </a:lnTo>
                <a:lnTo>
                  <a:pt x="214" y="239"/>
                </a:lnTo>
                <a:lnTo>
                  <a:pt x="217" y="234"/>
                </a:lnTo>
                <a:lnTo>
                  <a:pt x="217" y="232"/>
                </a:lnTo>
                <a:lnTo>
                  <a:pt x="219" y="229"/>
                </a:lnTo>
                <a:lnTo>
                  <a:pt x="219" y="227"/>
                </a:lnTo>
                <a:lnTo>
                  <a:pt x="217" y="224"/>
                </a:lnTo>
                <a:lnTo>
                  <a:pt x="214" y="219"/>
                </a:lnTo>
                <a:lnTo>
                  <a:pt x="212" y="217"/>
                </a:lnTo>
                <a:lnTo>
                  <a:pt x="212" y="210"/>
                </a:lnTo>
                <a:lnTo>
                  <a:pt x="212" y="200"/>
                </a:lnTo>
                <a:lnTo>
                  <a:pt x="212" y="195"/>
                </a:lnTo>
                <a:lnTo>
                  <a:pt x="209" y="185"/>
                </a:lnTo>
                <a:lnTo>
                  <a:pt x="207" y="180"/>
                </a:lnTo>
                <a:lnTo>
                  <a:pt x="205" y="175"/>
                </a:lnTo>
                <a:lnTo>
                  <a:pt x="207" y="170"/>
                </a:lnTo>
                <a:lnTo>
                  <a:pt x="212" y="168"/>
                </a:lnTo>
                <a:lnTo>
                  <a:pt x="214" y="168"/>
                </a:lnTo>
                <a:lnTo>
                  <a:pt x="214" y="170"/>
                </a:lnTo>
                <a:lnTo>
                  <a:pt x="217" y="168"/>
                </a:lnTo>
                <a:lnTo>
                  <a:pt x="214" y="165"/>
                </a:lnTo>
                <a:lnTo>
                  <a:pt x="214" y="163"/>
                </a:lnTo>
                <a:lnTo>
                  <a:pt x="214" y="163"/>
                </a:lnTo>
                <a:lnTo>
                  <a:pt x="212" y="158"/>
                </a:lnTo>
                <a:lnTo>
                  <a:pt x="212" y="158"/>
                </a:lnTo>
                <a:lnTo>
                  <a:pt x="212" y="155"/>
                </a:lnTo>
                <a:lnTo>
                  <a:pt x="214" y="153"/>
                </a:lnTo>
                <a:lnTo>
                  <a:pt x="214" y="153"/>
                </a:lnTo>
                <a:lnTo>
                  <a:pt x="214" y="150"/>
                </a:lnTo>
                <a:lnTo>
                  <a:pt x="214" y="148"/>
                </a:lnTo>
                <a:lnTo>
                  <a:pt x="212" y="143"/>
                </a:lnTo>
                <a:lnTo>
                  <a:pt x="214" y="143"/>
                </a:lnTo>
                <a:lnTo>
                  <a:pt x="212" y="141"/>
                </a:lnTo>
                <a:lnTo>
                  <a:pt x="212" y="133"/>
                </a:lnTo>
                <a:lnTo>
                  <a:pt x="209" y="128"/>
                </a:lnTo>
                <a:lnTo>
                  <a:pt x="207" y="128"/>
                </a:lnTo>
                <a:lnTo>
                  <a:pt x="205" y="128"/>
                </a:lnTo>
                <a:lnTo>
                  <a:pt x="205" y="121"/>
                </a:lnTo>
                <a:lnTo>
                  <a:pt x="202" y="119"/>
                </a:lnTo>
                <a:lnTo>
                  <a:pt x="197" y="111"/>
                </a:lnTo>
                <a:lnTo>
                  <a:pt x="195" y="109"/>
                </a:lnTo>
                <a:lnTo>
                  <a:pt x="192" y="104"/>
                </a:lnTo>
                <a:lnTo>
                  <a:pt x="192" y="99"/>
                </a:lnTo>
                <a:lnTo>
                  <a:pt x="192" y="99"/>
                </a:lnTo>
                <a:lnTo>
                  <a:pt x="192" y="99"/>
                </a:lnTo>
                <a:lnTo>
                  <a:pt x="190" y="99"/>
                </a:lnTo>
                <a:lnTo>
                  <a:pt x="190" y="99"/>
                </a:lnTo>
                <a:lnTo>
                  <a:pt x="187" y="96"/>
                </a:lnTo>
                <a:lnTo>
                  <a:pt x="185" y="96"/>
                </a:lnTo>
                <a:lnTo>
                  <a:pt x="185" y="99"/>
                </a:lnTo>
                <a:lnTo>
                  <a:pt x="185" y="101"/>
                </a:lnTo>
                <a:lnTo>
                  <a:pt x="185" y="104"/>
                </a:lnTo>
                <a:lnTo>
                  <a:pt x="185" y="106"/>
                </a:lnTo>
                <a:lnTo>
                  <a:pt x="187" y="104"/>
                </a:lnTo>
                <a:lnTo>
                  <a:pt x="190" y="101"/>
                </a:lnTo>
                <a:lnTo>
                  <a:pt x="192" y="106"/>
                </a:lnTo>
                <a:lnTo>
                  <a:pt x="190" y="109"/>
                </a:lnTo>
                <a:lnTo>
                  <a:pt x="187" y="109"/>
                </a:lnTo>
                <a:lnTo>
                  <a:pt x="187" y="109"/>
                </a:lnTo>
                <a:lnTo>
                  <a:pt x="185" y="109"/>
                </a:lnTo>
                <a:lnTo>
                  <a:pt x="187" y="111"/>
                </a:lnTo>
                <a:lnTo>
                  <a:pt x="185" y="114"/>
                </a:lnTo>
                <a:lnTo>
                  <a:pt x="182" y="111"/>
                </a:lnTo>
                <a:lnTo>
                  <a:pt x="182" y="109"/>
                </a:lnTo>
                <a:lnTo>
                  <a:pt x="182" y="106"/>
                </a:lnTo>
                <a:lnTo>
                  <a:pt x="182" y="104"/>
                </a:lnTo>
                <a:lnTo>
                  <a:pt x="180" y="106"/>
                </a:lnTo>
                <a:lnTo>
                  <a:pt x="178" y="104"/>
                </a:lnTo>
                <a:lnTo>
                  <a:pt x="178" y="106"/>
                </a:lnTo>
                <a:lnTo>
                  <a:pt x="178" y="111"/>
                </a:lnTo>
                <a:lnTo>
                  <a:pt x="178" y="114"/>
                </a:lnTo>
                <a:lnTo>
                  <a:pt x="178" y="116"/>
                </a:lnTo>
                <a:lnTo>
                  <a:pt x="175" y="119"/>
                </a:lnTo>
                <a:lnTo>
                  <a:pt x="175" y="121"/>
                </a:lnTo>
                <a:lnTo>
                  <a:pt x="178" y="123"/>
                </a:lnTo>
                <a:lnTo>
                  <a:pt x="180" y="126"/>
                </a:lnTo>
                <a:lnTo>
                  <a:pt x="178" y="131"/>
                </a:lnTo>
                <a:lnTo>
                  <a:pt x="178" y="131"/>
                </a:lnTo>
                <a:lnTo>
                  <a:pt x="175" y="131"/>
                </a:lnTo>
                <a:lnTo>
                  <a:pt x="173" y="133"/>
                </a:lnTo>
                <a:lnTo>
                  <a:pt x="175" y="136"/>
                </a:lnTo>
                <a:lnTo>
                  <a:pt x="178" y="136"/>
                </a:lnTo>
                <a:lnTo>
                  <a:pt x="180" y="133"/>
                </a:lnTo>
                <a:lnTo>
                  <a:pt x="182" y="141"/>
                </a:lnTo>
                <a:lnTo>
                  <a:pt x="185" y="148"/>
                </a:lnTo>
                <a:lnTo>
                  <a:pt x="182" y="150"/>
                </a:lnTo>
                <a:lnTo>
                  <a:pt x="185" y="158"/>
                </a:lnTo>
                <a:lnTo>
                  <a:pt x="180" y="170"/>
                </a:lnTo>
                <a:lnTo>
                  <a:pt x="182" y="173"/>
                </a:lnTo>
                <a:lnTo>
                  <a:pt x="180" y="178"/>
                </a:lnTo>
                <a:lnTo>
                  <a:pt x="178" y="180"/>
                </a:lnTo>
                <a:lnTo>
                  <a:pt x="175" y="185"/>
                </a:lnTo>
                <a:lnTo>
                  <a:pt x="175" y="190"/>
                </a:lnTo>
                <a:lnTo>
                  <a:pt x="173" y="192"/>
                </a:lnTo>
                <a:lnTo>
                  <a:pt x="173" y="195"/>
                </a:lnTo>
                <a:lnTo>
                  <a:pt x="170" y="200"/>
                </a:lnTo>
                <a:lnTo>
                  <a:pt x="163" y="205"/>
                </a:lnTo>
                <a:lnTo>
                  <a:pt x="160" y="205"/>
                </a:lnTo>
                <a:lnTo>
                  <a:pt x="158" y="207"/>
                </a:lnTo>
                <a:lnTo>
                  <a:pt x="153" y="205"/>
                </a:lnTo>
                <a:lnTo>
                  <a:pt x="150" y="202"/>
                </a:lnTo>
                <a:lnTo>
                  <a:pt x="150" y="200"/>
                </a:lnTo>
                <a:lnTo>
                  <a:pt x="153" y="197"/>
                </a:lnTo>
                <a:lnTo>
                  <a:pt x="153" y="195"/>
                </a:lnTo>
                <a:lnTo>
                  <a:pt x="153" y="195"/>
                </a:lnTo>
                <a:lnTo>
                  <a:pt x="155" y="192"/>
                </a:lnTo>
                <a:lnTo>
                  <a:pt x="155" y="192"/>
                </a:lnTo>
                <a:lnTo>
                  <a:pt x="150" y="192"/>
                </a:lnTo>
                <a:lnTo>
                  <a:pt x="148" y="195"/>
                </a:lnTo>
                <a:lnTo>
                  <a:pt x="146" y="195"/>
                </a:lnTo>
                <a:lnTo>
                  <a:pt x="146" y="200"/>
                </a:lnTo>
                <a:lnTo>
                  <a:pt x="148" y="202"/>
                </a:lnTo>
                <a:lnTo>
                  <a:pt x="148" y="210"/>
                </a:lnTo>
                <a:lnTo>
                  <a:pt x="148" y="214"/>
                </a:lnTo>
                <a:lnTo>
                  <a:pt x="143" y="217"/>
                </a:lnTo>
                <a:lnTo>
                  <a:pt x="143" y="219"/>
                </a:lnTo>
                <a:lnTo>
                  <a:pt x="143" y="219"/>
                </a:lnTo>
                <a:lnTo>
                  <a:pt x="141" y="227"/>
                </a:lnTo>
                <a:lnTo>
                  <a:pt x="143" y="227"/>
                </a:lnTo>
                <a:lnTo>
                  <a:pt x="143" y="229"/>
                </a:lnTo>
                <a:lnTo>
                  <a:pt x="143" y="232"/>
                </a:lnTo>
                <a:lnTo>
                  <a:pt x="143" y="232"/>
                </a:lnTo>
                <a:lnTo>
                  <a:pt x="143" y="234"/>
                </a:lnTo>
                <a:lnTo>
                  <a:pt x="141" y="234"/>
                </a:lnTo>
                <a:lnTo>
                  <a:pt x="141" y="234"/>
                </a:lnTo>
                <a:lnTo>
                  <a:pt x="141" y="237"/>
                </a:lnTo>
                <a:lnTo>
                  <a:pt x="138" y="234"/>
                </a:lnTo>
                <a:lnTo>
                  <a:pt x="136" y="237"/>
                </a:lnTo>
                <a:lnTo>
                  <a:pt x="133" y="237"/>
                </a:lnTo>
                <a:lnTo>
                  <a:pt x="133" y="232"/>
                </a:lnTo>
                <a:lnTo>
                  <a:pt x="133" y="232"/>
                </a:lnTo>
                <a:lnTo>
                  <a:pt x="131" y="234"/>
                </a:lnTo>
                <a:lnTo>
                  <a:pt x="128" y="234"/>
                </a:lnTo>
                <a:lnTo>
                  <a:pt x="128" y="234"/>
                </a:lnTo>
                <a:lnTo>
                  <a:pt x="121" y="234"/>
                </a:lnTo>
                <a:lnTo>
                  <a:pt x="118" y="237"/>
                </a:lnTo>
                <a:lnTo>
                  <a:pt x="114" y="239"/>
                </a:lnTo>
                <a:lnTo>
                  <a:pt x="111" y="239"/>
                </a:lnTo>
                <a:lnTo>
                  <a:pt x="106" y="239"/>
                </a:lnTo>
                <a:lnTo>
                  <a:pt x="106" y="239"/>
                </a:lnTo>
                <a:lnTo>
                  <a:pt x="101" y="239"/>
                </a:lnTo>
                <a:lnTo>
                  <a:pt x="96" y="244"/>
                </a:lnTo>
                <a:lnTo>
                  <a:pt x="94" y="246"/>
                </a:lnTo>
                <a:lnTo>
                  <a:pt x="94" y="249"/>
                </a:lnTo>
                <a:lnTo>
                  <a:pt x="91" y="251"/>
                </a:lnTo>
                <a:lnTo>
                  <a:pt x="89" y="254"/>
                </a:lnTo>
                <a:lnTo>
                  <a:pt x="86" y="256"/>
                </a:lnTo>
                <a:lnTo>
                  <a:pt x="84" y="259"/>
                </a:lnTo>
                <a:lnTo>
                  <a:pt x="82" y="261"/>
                </a:lnTo>
                <a:lnTo>
                  <a:pt x="82" y="264"/>
                </a:lnTo>
                <a:lnTo>
                  <a:pt x="77" y="264"/>
                </a:lnTo>
                <a:lnTo>
                  <a:pt x="74" y="266"/>
                </a:lnTo>
                <a:lnTo>
                  <a:pt x="77" y="271"/>
                </a:lnTo>
                <a:lnTo>
                  <a:pt x="77" y="271"/>
                </a:lnTo>
                <a:lnTo>
                  <a:pt x="77" y="273"/>
                </a:lnTo>
                <a:lnTo>
                  <a:pt x="77" y="276"/>
                </a:lnTo>
                <a:lnTo>
                  <a:pt x="74" y="276"/>
                </a:lnTo>
                <a:lnTo>
                  <a:pt x="72" y="278"/>
                </a:lnTo>
                <a:lnTo>
                  <a:pt x="69" y="281"/>
                </a:lnTo>
                <a:lnTo>
                  <a:pt x="69" y="281"/>
                </a:lnTo>
                <a:lnTo>
                  <a:pt x="64" y="286"/>
                </a:lnTo>
                <a:lnTo>
                  <a:pt x="64" y="286"/>
                </a:lnTo>
                <a:lnTo>
                  <a:pt x="62" y="288"/>
                </a:lnTo>
                <a:lnTo>
                  <a:pt x="59" y="288"/>
                </a:lnTo>
                <a:lnTo>
                  <a:pt x="59" y="288"/>
                </a:lnTo>
                <a:lnTo>
                  <a:pt x="62" y="288"/>
                </a:lnTo>
                <a:lnTo>
                  <a:pt x="62" y="291"/>
                </a:lnTo>
                <a:lnTo>
                  <a:pt x="64" y="296"/>
                </a:lnTo>
                <a:lnTo>
                  <a:pt x="64" y="296"/>
                </a:lnTo>
                <a:lnTo>
                  <a:pt x="62" y="293"/>
                </a:lnTo>
                <a:lnTo>
                  <a:pt x="62" y="291"/>
                </a:lnTo>
                <a:lnTo>
                  <a:pt x="59" y="293"/>
                </a:lnTo>
                <a:lnTo>
                  <a:pt x="62" y="298"/>
                </a:lnTo>
                <a:lnTo>
                  <a:pt x="64" y="298"/>
                </a:lnTo>
                <a:lnTo>
                  <a:pt x="64" y="301"/>
                </a:lnTo>
                <a:lnTo>
                  <a:pt x="62" y="301"/>
                </a:lnTo>
                <a:lnTo>
                  <a:pt x="64" y="301"/>
                </a:lnTo>
                <a:lnTo>
                  <a:pt x="64" y="298"/>
                </a:lnTo>
                <a:lnTo>
                  <a:pt x="67" y="298"/>
                </a:lnTo>
                <a:lnTo>
                  <a:pt x="69" y="298"/>
                </a:lnTo>
                <a:lnTo>
                  <a:pt x="67" y="301"/>
                </a:lnTo>
                <a:lnTo>
                  <a:pt x="69" y="301"/>
                </a:lnTo>
                <a:lnTo>
                  <a:pt x="72" y="301"/>
                </a:lnTo>
                <a:lnTo>
                  <a:pt x="72" y="298"/>
                </a:lnTo>
                <a:lnTo>
                  <a:pt x="69" y="296"/>
                </a:lnTo>
                <a:lnTo>
                  <a:pt x="67" y="296"/>
                </a:lnTo>
                <a:lnTo>
                  <a:pt x="67" y="296"/>
                </a:lnTo>
                <a:lnTo>
                  <a:pt x="67" y="293"/>
                </a:lnTo>
                <a:lnTo>
                  <a:pt x="67" y="291"/>
                </a:lnTo>
                <a:lnTo>
                  <a:pt x="69" y="291"/>
                </a:lnTo>
                <a:lnTo>
                  <a:pt x="72" y="291"/>
                </a:lnTo>
                <a:lnTo>
                  <a:pt x="74" y="296"/>
                </a:lnTo>
                <a:lnTo>
                  <a:pt x="74" y="298"/>
                </a:lnTo>
                <a:lnTo>
                  <a:pt x="74" y="301"/>
                </a:lnTo>
                <a:lnTo>
                  <a:pt x="74" y="305"/>
                </a:lnTo>
                <a:lnTo>
                  <a:pt x="74" y="310"/>
                </a:lnTo>
                <a:lnTo>
                  <a:pt x="69" y="310"/>
                </a:lnTo>
                <a:lnTo>
                  <a:pt x="72" y="313"/>
                </a:lnTo>
                <a:lnTo>
                  <a:pt x="74" y="315"/>
                </a:lnTo>
                <a:lnTo>
                  <a:pt x="74" y="323"/>
                </a:lnTo>
                <a:lnTo>
                  <a:pt x="77" y="325"/>
                </a:lnTo>
                <a:lnTo>
                  <a:pt x="77" y="328"/>
                </a:lnTo>
                <a:lnTo>
                  <a:pt x="77" y="330"/>
                </a:lnTo>
                <a:lnTo>
                  <a:pt x="77" y="332"/>
                </a:lnTo>
                <a:lnTo>
                  <a:pt x="79" y="330"/>
                </a:lnTo>
                <a:lnTo>
                  <a:pt x="82" y="332"/>
                </a:lnTo>
                <a:lnTo>
                  <a:pt x="84" y="330"/>
                </a:lnTo>
                <a:lnTo>
                  <a:pt x="84" y="330"/>
                </a:lnTo>
                <a:lnTo>
                  <a:pt x="82" y="325"/>
                </a:lnTo>
                <a:lnTo>
                  <a:pt x="82" y="320"/>
                </a:lnTo>
                <a:lnTo>
                  <a:pt x="82" y="320"/>
                </a:lnTo>
                <a:lnTo>
                  <a:pt x="84" y="320"/>
                </a:lnTo>
                <a:lnTo>
                  <a:pt x="84" y="323"/>
                </a:lnTo>
                <a:lnTo>
                  <a:pt x="84" y="323"/>
                </a:lnTo>
                <a:lnTo>
                  <a:pt x="86" y="325"/>
                </a:lnTo>
                <a:lnTo>
                  <a:pt x="86" y="330"/>
                </a:lnTo>
                <a:lnTo>
                  <a:pt x="86" y="332"/>
                </a:lnTo>
                <a:lnTo>
                  <a:pt x="86" y="335"/>
                </a:lnTo>
                <a:lnTo>
                  <a:pt x="86" y="33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 name="Freeform 15"/>
          <p:cNvSpPr>
            <a:spLocks noEditPoints="1"/>
          </p:cNvSpPr>
          <p:nvPr/>
        </p:nvSpPr>
        <p:spPr bwMode="auto">
          <a:xfrm>
            <a:off x="7812071" y="3383365"/>
            <a:ext cx="115798" cy="173573"/>
          </a:xfrm>
          <a:custGeom>
            <a:avLst/>
            <a:gdLst/>
            <a:ahLst/>
            <a:cxnLst>
              <a:cxn ang="0">
                <a:pos x="46" y="81"/>
              </a:cxn>
              <a:cxn ang="0">
                <a:pos x="44" y="81"/>
              </a:cxn>
              <a:cxn ang="0">
                <a:pos x="19" y="91"/>
              </a:cxn>
              <a:cxn ang="0">
                <a:pos x="22" y="86"/>
              </a:cxn>
              <a:cxn ang="0">
                <a:pos x="22" y="91"/>
              </a:cxn>
              <a:cxn ang="0">
                <a:pos x="22" y="93"/>
              </a:cxn>
              <a:cxn ang="0">
                <a:pos x="54" y="78"/>
              </a:cxn>
              <a:cxn ang="0">
                <a:pos x="59" y="78"/>
              </a:cxn>
              <a:cxn ang="0">
                <a:pos x="56" y="76"/>
              </a:cxn>
              <a:cxn ang="0">
                <a:pos x="66" y="93"/>
              </a:cxn>
              <a:cxn ang="0">
                <a:pos x="69" y="93"/>
              </a:cxn>
              <a:cxn ang="0">
                <a:pos x="66" y="95"/>
              </a:cxn>
              <a:cxn ang="0">
                <a:pos x="69" y="91"/>
              </a:cxn>
              <a:cxn ang="0">
                <a:pos x="69" y="83"/>
              </a:cxn>
              <a:cxn ang="0">
                <a:pos x="71" y="86"/>
              </a:cxn>
              <a:cxn ang="0">
                <a:pos x="69" y="88"/>
              </a:cxn>
              <a:cxn ang="0">
                <a:pos x="27" y="108"/>
              </a:cxn>
              <a:cxn ang="0">
                <a:pos x="37" y="108"/>
              </a:cxn>
              <a:cxn ang="0">
                <a:pos x="27" y="113"/>
              </a:cxn>
              <a:cxn ang="0">
                <a:pos x="0" y="19"/>
              </a:cxn>
              <a:cxn ang="0">
                <a:pos x="10" y="19"/>
              </a:cxn>
              <a:cxn ang="0">
                <a:pos x="17" y="32"/>
              </a:cxn>
              <a:cxn ang="0">
                <a:pos x="19" y="36"/>
              </a:cxn>
              <a:cxn ang="0">
                <a:pos x="14" y="34"/>
              </a:cxn>
              <a:cxn ang="0">
                <a:pos x="10" y="41"/>
              </a:cxn>
              <a:cxn ang="0">
                <a:pos x="19" y="49"/>
              </a:cxn>
              <a:cxn ang="0">
                <a:pos x="22" y="54"/>
              </a:cxn>
              <a:cxn ang="0">
                <a:pos x="19" y="63"/>
              </a:cxn>
              <a:cxn ang="0">
                <a:pos x="19" y="71"/>
              </a:cxn>
              <a:cxn ang="0">
                <a:pos x="19" y="76"/>
              </a:cxn>
              <a:cxn ang="0">
                <a:pos x="27" y="88"/>
              </a:cxn>
              <a:cxn ang="0">
                <a:pos x="29" y="88"/>
              </a:cxn>
              <a:cxn ang="0">
                <a:pos x="32" y="83"/>
              </a:cxn>
              <a:cxn ang="0">
                <a:pos x="44" y="78"/>
              </a:cxn>
              <a:cxn ang="0">
                <a:pos x="49" y="78"/>
              </a:cxn>
              <a:cxn ang="0">
                <a:pos x="54" y="78"/>
              </a:cxn>
              <a:cxn ang="0">
                <a:pos x="59" y="73"/>
              </a:cxn>
              <a:cxn ang="0">
                <a:pos x="66" y="66"/>
              </a:cxn>
              <a:cxn ang="0">
                <a:pos x="61" y="54"/>
              </a:cxn>
              <a:cxn ang="0">
                <a:pos x="59" y="39"/>
              </a:cxn>
              <a:cxn ang="0">
                <a:pos x="39" y="12"/>
              </a:cxn>
              <a:cxn ang="0">
                <a:pos x="17" y="4"/>
              </a:cxn>
              <a:cxn ang="0">
                <a:pos x="2" y="17"/>
              </a:cxn>
            </a:cxnLst>
            <a:rect l="0" t="0" r="r" b="b"/>
            <a:pathLst>
              <a:path w="71" h="113">
                <a:moveTo>
                  <a:pt x="44" y="81"/>
                </a:moveTo>
                <a:lnTo>
                  <a:pt x="44" y="81"/>
                </a:lnTo>
                <a:lnTo>
                  <a:pt x="46" y="81"/>
                </a:lnTo>
                <a:lnTo>
                  <a:pt x="44" y="83"/>
                </a:lnTo>
                <a:lnTo>
                  <a:pt x="44" y="81"/>
                </a:lnTo>
                <a:lnTo>
                  <a:pt x="44" y="81"/>
                </a:lnTo>
                <a:lnTo>
                  <a:pt x="44" y="81"/>
                </a:lnTo>
                <a:close/>
                <a:moveTo>
                  <a:pt x="22" y="93"/>
                </a:moveTo>
                <a:lnTo>
                  <a:pt x="19" y="91"/>
                </a:lnTo>
                <a:lnTo>
                  <a:pt x="22" y="88"/>
                </a:lnTo>
                <a:lnTo>
                  <a:pt x="22" y="88"/>
                </a:lnTo>
                <a:lnTo>
                  <a:pt x="22" y="86"/>
                </a:lnTo>
                <a:lnTo>
                  <a:pt x="24" y="88"/>
                </a:lnTo>
                <a:lnTo>
                  <a:pt x="24" y="91"/>
                </a:lnTo>
                <a:lnTo>
                  <a:pt x="22" y="91"/>
                </a:lnTo>
                <a:lnTo>
                  <a:pt x="22" y="93"/>
                </a:lnTo>
                <a:lnTo>
                  <a:pt x="22" y="93"/>
                </a:lnTo>
                <a:lnTo>
                  <a:pt x="22" y="93"/>
                </a:lnTo>
                <a:close/>
                <a:moveTo>
                  <a:pt x="56" y="76"/>
                </a:moveTo>
                <a:lnTo>
                  <a:pt x="54" y="78"/>
                </a:lnTo>
                <a:lnTo>
                  <a:pt x="54" y="78"/>
                </a:lnTo>
                <a:lnTo>
                  <a:pt x="56" y="81"/>
                </a:lnTo>
                <a:lnTo>
                  <a:pt x="56" y="81"/>
                </a:lnTo>
                <a:lnTo>
                  <a:pt x="59" y="78"/>
                </a:lnTo>
                <a:lnTo>
                  <a:pt x="59" y="76"/>
                </a:lnTo>
                <a:lnTo>
                  <a:pt x="56" y="76"/>
                </a:lnTo>
                <a:lnTo>
                  <a:pt x="56" y="76"/>
                </a:lnTo>
                <a:lnTo>
                  <a:pt x="56" y="76"/>
                </a:lnTo>
                <a:close/>
                <a:moveTo>
                  <a:pt x="66" y="95"/>
                </a:moveTo>
                <a:lnTo>
                  <a:pt x="66" y="93"/>
                </a:lnTo>
                <a:lnTo>
                  <a:pt x="69" y="93"/>
                </a:lnTo>
                <a:lnTo>
                  <a:pt x="71" y="93"/>
                </a:lnTo>
                <a:lnTo>
                  <a:pt x="69" y="93"/>
                </a:lnTo>
                <a:lnTo>
                  <a:pt x="69" y="95"/>
                </a:lnTo>
                <a:lnTo>
                  <a:pt x="66" y="95"/>
                </a:lnTo>
                <a:lnTo>
                  <a:pt x="66" y="95"/>
                </a:lnTo>
                <a:lnTo>
                  <a:pt x="66" y="95"/>
                </a:lnTo>
                <a:close/>
                <a:moveTo>
                  <a:pt x="69" y="88"/>
                </a:moveTo>
                <a:lnTo>
                  <a:pt x="69" y="91"/>
                </a:lnTo>
                <a:lnTo>
                  <a:pt x="69" y="88"/>
                </a:lnTo>
                <a:lnTo>
                  <a:pt x="69" y="86"/>
                </a:lnTo>
                <a:lnTo>
                  <a:pt x="69" y="83"/>
                </a:lnTo>
                <a:lnTo>
                  <a:pt x="71" y="83"/>
                </a:lnTo>
                <a:lnTo>
                  <a:pt x="71" y="83"/>
                </a:lnTo>
                <a:lnTo>
                  <a:pt x="71" y="86"/>
                </a:lnTo>
                <a:lnTo>
                  <a:pt x="69" y="88"/>
                </a:lnTo>
                <a:lnTo>
                  <a:pt x="69" y="88"/>
                </a:lnTo>
                <a:lnTo>
                  <a:pt x="69" y="88"/>
                </a:lnTo>
                <a:close/>
                <a:moveTo>
                  <a:pt x="27" y="113"/>
                </a:moveTo>
                <a:lnTo>
                  <a:pt x="24" y="110"/>
                </a:lnTo>
                <a:lnTo>
                  <a:pt x="27" y="108"/>
                </a:lnTo>
                <a:lnTo>
                  <a:pt x="34" y="105"/>
                </a:lnTo>
                <a:lnTo>
                  <a:pt x="37" y="105"/>
                </a:lnTo>
                <a:lnTo>
                  <a:pt x="37" y="108"/>
                </a:lnTo>
                <a:lnTo>
                  <a:pt x="34" y="113"/>
                </a:lnTo>
                <a:lnTo>
                  <a:pt x="29" y="113"/>
                </a:lnTo>
                <a:lnTo>
                  <a:pt x="27" y="113"/>
                </a:lnTo>
                <a:lnTo>
                  <a:pt x="27" y="113"/>
                </a:lnTo>
                <a:lnTo>
                  <a:pt x="27" y="113"/>
                </a:lnTo>
                <a:close/>
                <a:moveTo>
                  <a:pt x="0" y="19"/>
                </a:moveTo>
                <a:lnTo>
                  <a:pt x="2" y="19"/>
                </a:lnTo>
                <a:lnTo>
                  <a:pt x="5" y="19"/>
                </a:lnTo>
                <a:lnTo>
                  <a:pt x="10" y="19"/>
                </a:lnTo>
                <a:lnTo>
                  <a:pt x="7" y="19"/>
                </a:lnTo>
                <a:lnTo>
                  <a:pt x="12" y="24"/>
                </a:lnTo>
                <a:lnTo>
                  <a:pt x="17" y="32"/>
                </a:lnTo>
                <a:lnTo>
                  <a:pt x="19" y="32"/>
                </a:lnTo>
                <a:lnTo>
                  <a:pt x="17" y="32"/>
                </a:lnTo>
                <a:lnTo>
                  <a:pt x="19" y="36"/>
                </a:lnTo>
                <a:lnTo>
                  <a:pt x="22" y="39"/>
                </a:lnTo>
                <a:lnTo>
                  <a:pt x="17" y="36"/>
                </a:lnTo>
                <a:lnTo>
                  <a:pt x="14" y="34"/>
                </a:lnTo>
                <a:lnTo>
                  <a:pt x="14" y="39"/>
                </a:lnTo>
                <a:lnTo>
                  <a:pt x="12" y="36"/>
                </a:lnTo>
                <a:lnTo>
                  <a:pt x="10" y="41"/>
                </a:lnTo>
                <a:lnTo>
                  <a:pt x="14" y="44"/>
                </a:lnTo>
                <a:lnTo>
                  <a:pt x="17" y="44"/>
                </a:lnTo>
                <a:lnTo>
                  <a:pt x="19" y="49"/>
                </a:lnTo>
                <a:lnTo>
                  <a:pt x="19" y="54"/>
                </a:lnTo>
                <a:lnTo>
                  <a:pt x="19" y="56"/>
                </a:lnTo>
                <a:lnTo>
                  <a:pt x="22" y="54"/>
                </a:lnTo>
                <a:lnTo>
                  <a:pt x="24" y="59"/>
                </a:lnTo>
                <a:lnTo>
                  <a:pt x="19" y="63"/>
                </a:lnTo>
                <a:lnTo>
                  <a:pt x="19" y="63"/>
                </a:lnTo>
                <a:lnTo>
                  <a:pt x="22" y="66"/>
                </a:lnTo>
                <a:lnTo>
                  <a:pt x="22" y="68"/>
                </a:lnTo>
                <a:lnTo>
                  <a:pt x="19" y="71"/>
                </a:lnTo>
                <a:lnTo>
                  <a:pt x="19" y="73"/>
                </a:lnTo>
                <a:lnTo>
                  <a:pt x="22" y="76"/>
                </a:lnTo>
                <a:lnTo>
                  <a:pt x="19" y="76"/>
                </a:lnTo>
                <a:lnTo>
                  <a:pt x="22" y="83"/>
                </a:lnTo>
                <a:lnTo>
                  <a:pt x="24" y="83"/>
                </a:lnTo>
                <a:lnTo>
                  <a:pt x="27" y="88"/>
                </a:lnTo>
                <a:lnTo>
                  <a:pt x="27" y="88"/>
                </a:lnTo>
                <a:lnTo>
                  <a:pt x="27" y="91"/>
                </a:lnTo>
                <a:lnTo>
                  <a:pt x="29" y="88"/>
                </a:lnTo>
                <a:lnTo>
                  <a:pt x="29" y="86"/>
                </a:lnTo>
                <a:lnTo>
                  <a:pt x="32" y="86"/>
                </a:lnTo>
                <a:lnTo>
                  <a:pt x="32" y="83"/>
                </a:lnTo>
                <a:lnTo>
                  <a:pt x="39" y="78"/>
                </a:lnTo>
                <a:lnTo>
                  <a:pt x="42" y="78"/>
                </a:lnTo>
                <a:lnTo>
                  <a:pt x="44" y="78"/>
                </a:lnTo>
                <a:lnTo>
                  <a:pt x="44" y="76"/>
                </a:lnTo>
                <a:lnTo>
                  <a:pt x="46" y="76"/>
                </a:lnTo>
                <a:lnTo>
                  <a:pt x="49" y="78"/>
                </a:lnTo>
                <a:lnTo>
                  <a:pt x="51" y="78"/>
                </a:lnTo>
                <a:lnTo>
                  <a:pt x="51" y="81"/>
                </a:lnTo>
                <a:lnTo>
                  <a:pt x="54" y="78"/>
                </a:lnTo>
                <a:lnTo>
                  <a:pt x="51" y="76"/>
                </a:lnTo>
                <a:lnTo>
                  <a:pt x="56" y="73"/>
                </a:lnTo>
                <a:lnTo>
                  <a:pt x="59" y="73"/>
                </a:lnTo>
                <a:lnTo>
                  <a:pt x="64" y="68"/>
                </a:lnTo>
                <a:lnTo>
                  <a:pt x="64" y="66"/>
                </a:lnTo>
                <a:lnTo>
                  <a:pt x="66" y="66"/>
                </a:lnTo>
                <a:lnTo>
                  <a:pt x="64" y="54"/>
                </a:lnTo>
                <a:lnTo>
                  <a:pt x="64" y="54"/>
                </a:lnTo>
                <a:lnTo>
                  <a:pt x="61" y="54"/>
                </a:lnTo>
                <a:lnTo>
                  <a:pt x="61" y="51"/>
                </a:lnTo>
                <a:lnTo>
                  <a:pt x="61" y="41"/>
                </a:lnTo>
                <a:lnTo>
                  <a:pt x="59" y="39"/>
                </a:lnTo>
                <a:lnTo>
                  <a:pt x="56" y="32"/>
                </a:lnTo>
                <a:lnTo>
                  <a:pt x="49" y="19"/>
                </a:lnTo>
                <a:lnTo>
                  <a:pt x="39" y="12"/>
                </a:lnTo>
                <a:lnTo>
                  <a:pt x="34" y="0"/>
                </a:lnTo>
                <a:lnTo>
                  <a:pt x="29" y="4"/>
                </a:lnTo>
                <a:lnTo>
                  <a:pt x="17" y="4"/>
                </a:lnTo>
                <a:lnTo>
                  <a:pt x="12" y="9"/>
                </a:lnTo>
                <a:lnTo>
                  <a:pt x="7" y="12"/>
                </a:lnTo>
                <a:lnTo>
                  <a:pt x="2" y="17"/>
                </a:lnTo>
                <a:lnTo>
                  <a:pt x="0" y="19"/>
                </a:lnTo>
                <a:lnTo>
                  <a:pt x="0" y="1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 name="Freeform 16"/>
          <p:cNvSpPr>
            <a:spLocks/>
          </p:cNvSpPr>
          <p:nvPr/>
        </p:nvSpPr>
        <p:spPr bwMode="auto">
          <a:xfrm>
            <a:off x="7763143" y="3228225"/>
            <a:ext cx="120690" cy="192005"/>
          </a:xfrm>
          <a:custGeom>
            <a:avLst/>
            <a:gdLst/>
            <a:ahLst/>
            <a:cxnLst>
              <a:cxn ang="0">
                <a:pos x="0" y="69"/>
              </a:cxn>
              <a:cxn ang="0">
                <a:pos x="5" y="61"/>
              </a:cxn>
              <a:cxn ang="0">
                <a:pos x="10" y="56"/>
              </a:cxn>
              <a:cxn ang="0">
                <a:pos x="15" y="49"/>
              </a:cxn>
              <a:cxn ang="0">
                <a:pos x="17" y="39"/>
              </a:cxn>
              <a:cxn ang="0">
                <a:pos x="17" y="32"/>
              </a:cxn>
              <a:cxn ang="0">
                <a:pos x="25" y="34"/>
              </a:cxn>
              <a:cxn ang="0">
                <a:pos x="30" y="37"/>
              </a:cxn>
              <a:cxn ang="0">
                <a:pos x="35" y="37"/>
              </a:cxn>
              <a:cxn ang="0">
                <a:pos x="44" y="37"/>
              </a:cxn>
              <a:cxn ang="0">
                <a:pos x="47" y="32"/>
              </a:cxn>
              <a:cxn ang="0">
                <a:pos x="40" y="24"/>
              </a:cxn>
              <a:cxn ang="0">
                <a:pos x="47" y="22"/>
              </a:cxn>
              <a:cxn ang="0">
                <a:pos x="52" y="14"/>
              </a:cxn>
              <a:cxn ang="0">
                <a:pos x="59" y="12"/>
              </a:cxn>
              <a:cxn ang="0">
                <a:pos x="59" y="5"/>
              </a:cxn>
              <a:cxn ang="0">
                <a:pos x="59" y="0"/>
              </a:cxn>
              <a:cxn ang="0">
                <a:pos x="64" y="0"/>
              </a:cxn>
              <a:cxn ang="0">
                <a:pos x="64" y="5"/>
              </a:cxn>
              <a:cxn ang="0">
                <a:pos x="74" y="12"/>
              </a:cxn>
              <a:cxn ang="0">
                <a:pos x="67" y="17"/>
              </a:cxn>
              <a:cxn ang="0">
                <a:pos x="64" y="19"/>
              </a:cxn>
              <a:cxn ang="0">
                <a:pos x="64" y="32"/>
              </a:cxn>
              <a:cxn ang="0">
                <a:pos x="67" y="44"/>
              </a:cxn>
              <a:cxn ang="0">
                <a:pos x="69" y="49"/>
              </a:cxn>
              <a:cxn ang="0">
                <a:pos x="64" y="54"/>
              </a:cxn>
              <a:cxn ang="0">
                <a:pos x="57" y="64"/>
              </a:cxn>
              <a:cxn ang="0">
                <a:pos x="54" y="66"/>
              </a:cxn>
              <a:cxn ang="0">
                <a:pos x="49" y="69"/>
              </a:cxn>
              <a:cxn ang="0">
                <a:pos x="44" y="76"/>
              </a:cxn>
              <a:cxn ang="0">
                <a:pos x="44" y="83"/>
              </a:cxn>
              <a:cxn ang="0">
                <a:pos x="44" y="88"/>
              </a:cxn>
              <a:cxn ang="0">
                <a:pos x="52" y="91"/>
              </a:cxn>
              <a:cxn ang="0">
                <a:pos x="64" y="101"/>
              </a:cxn>
              <a:cxn ang="0">
                <a:pos x="47" y="105"/>
              </a:cxn>
              <a:cxn ang="0">
                <a:pos x="37" y="113"/>
              </a:cxn>
              <a:cxn ang="0">
                <a:pos x="30" y="120"/>
              </a:cxn>
              <a:cxn ang="0">
                <a:pos x="25" y="118"/>
              </a:cxn>
              <a:cxn ang="0">
                <a:pos x="25" y="123"/>
              </a:cxn>
              <a:cxn ang="0">
                <a:pos x="20" y="125"/>
              </a:cxn>
              <a:cxn ang="0">
                <a:pos x="20" y="118"/>
              </a:cxn>
              <a:cxn ang="0">
                <a:pos x="15" y="118"/>
              </a:cxn>
              <a:cxn ang="0">
                <a:pos x="12" y="115"/>
              </a:cxn>
              <a:cxn ang="0">
                <a:pos x="15" y="105"/>
              </a:cxn>
              <a:cxn ang="0">
                <a:pos x="22" y="101"/>
              </a:cxn>
              <a:cxn ang="0">
                <a:pos x="15" y="103"/>
              </a:cxn>
              <a:cxn ang="0">
                <a:pos x="12" y="93"/>
              </a:cxn>
              <a:cxn ang="0">
                <a:pos x="15" y="86"/>
              </a:cxn>
              <a:cxn ang="0">
                <a:pos x="17" y="81"/>
              </a:cxn>
              <a:cxn ang="0">
                <a:pos x="15" y="83"/>
              </a:cxn>
              <a:cxn ang="0">
                <a:pos x="8" y="81"/>
              </a:cxn>
              <a:cxn ang="0">
                <a:pos x="5" y="83"/>
              </a:cxn>
              <a:cxn ang="0">
                <a:pos x="0" y="78"/>
              </a:cxn>
              <a:cxn ang="0">
                <a:pos x="0" y="78"/>
              </a:cxn>
            </a:cxnLst>
            <a:rect l="0" t="0" r="r" b="b"/>
            <a:pathLst>
              <a:path w="74" h="125">
                <a:moveTo>
                  <a:pt x="0" y="78"/>
                </a:moveTo>
                <a:lnTo>
                  <a:pt x="0" y="69"/>
                </a:lnTo>
                <a:lnTo>
                  <a:pt x="3" y="66"/>
                </a:lnTo>
                <a:lnTo>
                  <a:pt x="5" y="61"/>
                </a:lnTo>
                <a:lnTo>
                  <a:pt x="5" y="59"/>
                </a:lnTo>
                <a:lnTo>
                  <a:pt x="10" y="56"/>
                </a:lnTo>
                <a:lnTo>
                  <a:pt x="12" y="51"/>
                </a:lnTo>
                <a:lnTo>
                  <a:pt x="15" y="49"/>
                </a:lnTo>
                <a:lnTo>
                  <a:pt x="17" y="42"/>
                </a:lnTo>
                <a:lnTo>
                  <a:pt x="17" y="39"/>
                </a:lnTo>
                <a:lnTo>
                  <a:pt x="17" y="39"/>
                </a:lnTo>
                <a:lnTo>
                  <a:pt x="17" y="32"/>
                </a:lnTo>
                <a:lnTo>
                  <a:pt x="22" y="29"/>
                </a:lnTo>
                <a:lnTo>
                  <a:pt x="25" y="34"/>
                </a:lnTo>
                <a:lnTo>
                  <a:pt x="27" y="34"/>
                </a:lnTo>
                <a:lnTo>
                  <a:pt x="30" y="37"/>
                </a:lnTo>
                <a:lnTo>
                  <a:pt x="32" y="37"/>
                </a:lnTo>
                <a:lnTo>
                  <a:pt x="35" y="37"/>
                </a:lnTo>
                <a:lnTo>
                  <a:pt x="42" y="37"/>
                </a:lnTo>
                <a:lnTo>
                  <a:pt x="44" y="37"/>
                </a:lnTo>
                <a:lnTo>
                  <a:pt x="47" y="34"/>
                </a:lnTo>
                <a:lnTo>
                  <a:pt x="47" y="32"/>
                </a:lnTo>
                <a:lnTo>
                  <a:pt x="44" y="27"/>
                </a:lnTo>
                <a:lnTo>
                  <a:pt x="40" y="24"/>
                </a:lnTo>
                <a:lnTo>
                  <a:pt x="42" y="24"/>
                </a:lnTo>
                <a:lnTo>
                  <a:pt x="47" y="22"/>
                </a:lnTo>
                <a:lnTo>
                  <a:pt x="52" y="17"/>
                </a:lnTo>
                <a:lnTo>
                  <a:pt x="52" y="14"/>
                </a:lnTo>
                <a:lnTo>
                  <a:pt x="54" y="12"/>
                </a:lnTo>
                <a:lnTo>
                  <a:pt x="59" y="12"/>
                </a:lnTo>
                <a:lnTo>
                  <a:pt x="59" y="7"/>
                </a:lnTo>
                <a:lnTo>
                  <a:pt x="59" y="5"/>
                </a:lnTo>
                <a:lnTo>
                  <a:pt x="59" y="2"/>
                </a:lnTo>
                <a:lnTo>
                  <a:pt x="59" y="0"/>
                </a:lnTo>
                <a:lnTo>
                  <a:pt x="62" y="0"/>
                </a:lnTo>
                <a:lnTo>
                  <a:pt x="64" y="0"/>
                </a:lnTo>
                <a:lnTo>
                  <a:pt x="64" y="5"/>
                </a:lnTo>
                <a:lnTo>
                  <a:pt x="64" y="5"/>
                </a:lnTo>
                <a:lnTo>
                  <a:pt x="69" y="7"/>
                </a:lnTo>
                <a:lnTo>
                  <a:pt x="74" y="12"/>
                </a:lnTo>
                <a:lnTo>
                  <a:pt x="72" y="12"/>
                </a:lnTo>
                <a:lnTo>
                  <a:pt x="67" y="17"/>
                </a:lnTo>
                <a:lnTo>
                  <a:pt x="67" y="17"/>
                </a:lnTo>
                <a:lnTo>
                  <a:pt x="64" y="19"/>
                </a:lnTo>
                <a:lnTo>
                  <a:pt x="64" y="29"/>
                </a:lnTo>
                <a:lnTo>
                  <a:pt x="64" y="32"/>
                </a:lnTo>
                <a:lnTo>
                  <a:pt x="67" y="34"/>
                </a:lnTo>
                <a:lnTo>
                  <a:pt x="67" y="44"/>
                </a:lnTo>
                <a:lnTo>
                  <a:pt x="69" y="44"/>
                </a:lnTo>
                <a:lnTo>
                  <a:pt x="69" y="49"/>
                </a:lnTo>
                <a:lnTo>
                  <a:pt x="64" y="51"/>
                </a:lnTo>
                <a:lnTo>
                  <a:pt x="64" y="54"/>
                </a:lnTo>
                <a:lnTo>
                  <a:pt x="57" y="61"/>
                </a:lnTo>
                <a:lnTo>
                  <a:pt x="57" y="64"/>
                </a:lnTo>
                <a:lnTo>
                  <a:pt x="57" y="66"/>
                </a:lnTo>
                <a:lnTo>
                  <a:pt x="54" y="66"/>
                </a:lnTo>
                <a:lnTo>
                  <a:pt x="52" y="66"/>
                </a:lnTo>
                <a:lnTo>
                  <a:pt x="49" y="69"/>
                </a:lnTo>
                <a:lnTo>
                  <a:pt x="47" y="73"/>
                </a:lnTo>
                <a:lnTo>
                  <a:pt x="44" y="76"/>
                </a:lnTo>
                <a:lnTo>
                  <a:pt x="44" y="78"/>
                </a:lnTo>
                <a:lnTo>
                  <a:pt x="44" y="83"/>
                </a:lnTo>
                <a:lnTo>
                  <a:pt x="42" y="83"/>
                </a:lnTo>
                <a:lnTo>
                  <a:pt x="44" y="88"/>
                </a:lnTo>
                <a:lnTo>
                  <a:pt x="49" y="88"/>
                </a:lnTo>
                <a:lnTo>
                  <a:pt x="52" y="91"/>
                </a:lnTo>
                <a:lnTo>
                  <a:pt x="62" y="98"/>
                </a:lnTo>
                <a:lnTo>
                  <a:pt x="64" y="101"/>
                </a:lnTo>
                <a:lnTo>
                  <a:pt x="59" y="105"/>
                </a:lnTo>
                <a:lnTo>
                  <a:pt x="47" y="105"/>
                </a:lnTo>
                <a:lnTo>
                  <a:pt x="42" y="110"/>
                </a:lnTo>
                <a:lnTo>
                  <a:pt x="37" y="113"/>
                </a:lnTo>
                <a:lnTo>
                  <a:pt x="32" y="118"/>
                </a:lnTo>
                <a:lnTo>
                  <a:pt x="30" y="120"/>
                </a:lnTo>
                <a:lnTo>
                  <a:pt x="27" y="118"/>
                </a:lnTo>
                <a:lnTo>
                  <a:pt x="25" y="118"/>
                </a:lnTo>
                <a:lnTo>
                  <a:pt x="27" y="120"/>
                </a:lnTo>
                <a:lnTo>
                  <a:pt x="25" y="123"/>
                </a:lnTo>
                <a:lnTo>
                  <a:pt x="22" y="123"/>
                </a:lnTo>
                <a:lnTo>
                  <a:pt x="20" y="125"/>
                </a:lnTo>
                <a:lnTo>
                  <a:pt x="17" y="123"/>
                </a:lnTo>
                <a:lnTo>
                  <a:pt x="20" y="118"/>
                </a:lnTo>
                <a:lnTo>
                  <a:pt x="17" y="118"/>
                </a:lnTo>
                <a:lnTo>
                  <a:pt x="15" y="118"/>
                </a:lnTo>
                <a:lnTo>
                  <a:pt x="12" y="118"/>
                </a:lnTo>
                <a:lnTo>
                  <a:pt x="12" y="115"/>
                </a:lnTo>
                <a:lnTo>
                  <a:pt x="15" y="108"/>
                </a:lnTo>
                <a:lnTo>
                  <a:pt x="15" y="105"/>
                </a:lnTo>
                <a:lnTo>
                  <a:pt x="20" y="105"/>
                </a:lnTo>
                <a:lnTo>
                  <a:pt x="22" y="101"/>
                </a:lnTo>
                <a:lnTo>
                  <a:pt x="20" y="103"/>
                </a:lnTo>
                <a:lnTo>
                  <a:pt x="15" y="103"/>
                </a:lnTo>
                <a:lnTo>
                  <a:pt x="12" y="101"/>
                </a:lnTo>
                <a:lnTo>
                  <a:pt x="12" y="93"/>
                </a:lnTo>
                <a:lnTo>
                  <a:pt x="17" y="88"/>
                </a:lnTo>
                <a:lnTo>
                  <a:pt x="15" y="86"/>
                </a:lnTo>
                <a:lnTo>
                  <a:pt x="17" y="83"/>
                </a:lnTo>
                <a:lnTo>
                  <a:pt x="17" y="81"/>
                </a:lnTo>
                <a:lnTo>
                  <a:pt x="15" y="81"/>
                </a:lnTo>
                <a:lnTo>
                  <a:pt x="15" y="83"/>
                </a:lnTo>
                <a:lnTo>
                  <a:pt x="10" y="83"/>
                </a:lnTo>
                <a:lnTo>
                  <a:pt x="8" y="81"/>
                </a:lnTo>
                <a:lnTo>
                  <a:pt x="5" y="81"/>
                </a:lnTo>
                <a:lnTo>
                  <a:pt x="5" y="83"/>
                </a:lnTo>
                <a:lnTo>
                  <a:pt x="3" y="83"/>
                </a:lnTo>
                <a:lnTo>
                  <a:pt x="0" y="78"/>
                </a:lnTo>
                <a:lnTo>
                  <a:pt x="0" y="78"/>
                </a:lnTo>
                <a:lnTo>
                  <a:pt x="0" y="78"/>
                </a:lnTo>
                <a:lnTo>
                  <a:pt x="0" y="7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 name="Freeform 17"/>
          <p:cNvSpPr>
            <a:spLocks/>
          </p:cNvSpPr>
          <p:nvPr/>
        </p:nvSpPr>
        <p:spPr bwMode="auto">
          <a:xfrm>
            <a:off x="6792722" y="2974778"/>
            <a:ext cx="777968" cy="344073"/>
          </a:xfrm>
          <a:custGeom>
            <a:avLst/>
            <a:gdLst/>
            <a:ahLst/>
            <a:cxnLst>
              <a:cxn ang="0">
                <a:pos x="15" y="69"/>
              </a:cxn>
              <a:cxn ang="0">
                <a:pos x="29" y="54"/>
              </a:cxn>
              <a:cxn ang="0">
                <a:pos x="34" y="44"/>
              </a:cxn>
              <a:cxn ang="0">
                <a:pos x="54" y="39"/>
              </a:cxn>
              <a:cxn ang="0">
                <a:pos x="64" y="42"/>
              </a:cxn>
              <a:cxn ang="0">
                <a:pos x="81" y="42"/>
              </a:cxn>
              <a:cxn ang="0">
                <a:pos x="101" y="56"/>
              </a:cxn>
              <a:cxn ang="0">
                <a:pos x="115" y="54"/>
              </a:cxn>
              <a:cxn ang="0">
                <a:pos x="135" y="54"/>
              </a:cxn>
              <a:cxn ang="0">
                <a:pos x="140" y="34"/>
              </a:cxn>
              <a:cxn ang="0">
                <a:pos x="128" y="17"/>
              </a:cxn>
              <a:cxn ang="0">
                <a:pos x="138" y="7"/>
              </a:cxn>
              <a:cxn ang="0">
                <a:pos x="150" y="2"/>
              </a:cxn>
              <a:cxn ang="0">
                <a:pos x="170" y="7"/>
              </a:cxn>
              <a:cxn ang="0">
                <a:pos x="187" y="12"/>
              </a:cxn>
              <a:cxn ang="0">
                <a:pos x="194" y="27"/>
              </a:cxn>
              <a:cxn ang="0">
                <a:pos x="206" y="37"/>
              </a:cxn>
              <a:cxn ang="0">
                <a:pos x="224" y="37"/>
              </a:cxn>
              <a:cxn ang="0">
                <a:pos x="243" y="29"/>
              </a:cxn>
              <a:cxn ang="0">
                <a:pos x="268" y="37"/>
              </a:cxn>
              <a:cxn ang="0">
                <a:pos x="288" y="44"/>
              </a:cxn>
              <a:cxn ang="0">
                <a:pos x="310" y="52"/>
              </a:cxn>
              <a:cxn ang="0">
                <a:pos x="332" y="52"/>
              </a:cxn>
              <a:cxn ang="0">
                <a:pos x="357" y="39"/>
              </a:cxn>
              <a:cxn ang="0">
                <a:pos x="369" y="27"/>
              </a:cxn>
              <a:cxn ang="0">
                <a:pos x="384" y="20"/>
              </a:cxn>
              <a:cxn ang="0">
                <a:pos x="398" y="27"/>
              </a:cxn>
              <a:cxn ang="0">
                <a:pos x="411" y="49"/>
              </a:cxn>
              <a:cxn ang="0">
                <a:pos x="418" y="76"/>
              </a:cxn>
              <a:cxn ang="0">
                <a:pos x="443" y="69"/>
              </a:cxn>
              <a:cxn ang="0">
                <a:pos x="465" y="74"/>
              </a:cxn>
              <a:cxn ang="0">
                <a:pos x="475" y="93"/>
              </a:cxn>
              <a:cxn ang="0">
                <a:pos x="465" y="98"/>
              </a:cxn>
              <a:cxn ang="0">
                <a:pos x="445" y="103"/>
              </a:cxn>
              <a:cxn ang="0">
                <a:pos x="438" y="111"/>
              </a:cxn>
              <a:cxn ang="0">
                <a:pos x="423" y="130"/>
              </a:cxn>
              <a:cxn ang="0">
                <a:pos x="406" y="140"/>
              </a:cxn>
              <a:cxn ang="0">
                <a:pos x="389" y="143"/>
              </a:cxn>
              <a:cxn ang="0">
                <a:pos x="369" y="152"/>
              </a:cxn>
              <a:cxn ang="0">
                <a:pos x="381" y="172"/>
              </a:cxn>
              <a:cxn ang="0">
                <a:pos x="359" y="194"/>
              </a:cxn>
              <a:cxn ang="0">
                <a:pos x="332" y="204"/>
              </a:cxn>
              <a:cxn ang="0">
                <a:pos x="293" y="224"/>
              </a:cxn>
              <a:cxn ang="0">
                <a:pos x="273" y="221"/>
              </a:cxn>
              <a:cxn ang="0">
                <a:pos x="234" y="204"/>
              </a:cxn>
              <a:cxn ang="0">
                <a:pos x="202" y="209"/>
              </a:cxn>
              <a:cxn ang="0">
                <a:pos x="157" y="209"/>
              </a:cxn>
              <a:cxn ang="0">
                <a:pos x="143" y="187"/>
              </a:cxn>
              <a:cxn ang="0">
                <a:pos x="135" y="177"/>
              </a:cxn>
              <a:cxn ang="0">
                <a:pos x="115" y="170"/>
              </a:cxn>
              <a:cxn ang="0">
                <a:pos x="93" y="162"/>
              </a:cxn>
              <a:cxn ang="0">
                <a:pos x="61" y="152"/>
              </a:cxn>
              <a:cxn ang="0">
                <a:pos x="61" y="140"/>
              </a:cxn>
              <a:cxn ang="0">
                <a:pos x="56" y="125"/>
              </a:cxn>
              <a:cxn ang="0">
                <a:pos x="49" y="111"/>
              </a:cxn>
              <a:cxn ang="0">
                <a:pos x="37" y="106"/>
              </a:cxn>
              <a:cxn ang="0">
                <a:pos x="24" y="103"/>
              </a:cxn>
              <a:cxn ang="0">
                <a:pos x="17" y="101"/>
              </a:cxn>
              <a:cxn ang="0">
                <a:pos x="5" y="91"/>
              </a:cxn>
              <a:cxn ang="0">
                <a:pos x="0" y="86"/>
              </a:cxn>
            </a:cxnLst>
            <a:rect l="0" t="0" r="r" b="b"/>
            <a:pathLst>
              <a:path w="477" h="224">
                <a:moveTo>
                  <a:pt x="0" y="79"/>
                </a:moveTo>
                <a:lnTo>
                  <a:pt x="2" y="74"/>
                </a:lnTo>
                <a:lnTo>
                  <a:pt x="5" y="74"/>
                </a:lnTo>
                <a:lnTo>
                  <a:pt x="12" y="74"/>
                </a:lnTo>
                <a:lnTo>
                  <a:pt x="12" y="71"/>
                </a:lnTo>
                <a:lnTo>
                  <a:pt x="15" y="69"/>
                </a:lnTo>
                <a:lnTo>
                  <a:pt x="20" y="66"/>
                </a:lnTo>
                <a:lnTo>
                  <a:pt x="20" y="64"/>
                </a:lnTo>
                <a:lnTo>
                  <a:pt x="22" y="61"/>
                </a:lnTo>
                <a:lnTo>
                  <a:pt x="27" y="59"/>
                </a:lnTo>
                <a:lnTo>
                  <a:pt x="27" y="56"/>
                </a:lnTo>
                <a:lnTo>
                  <a:pt x="29" y="54"/>
                </a:lnTo>
                <a:lnTo>
                  <a:pt x="32" y="54"/>
                </a:lnTo>
                <a:lnTo>
                  <a:pt x="34" y="49"/>
                </a:lnTo>
                <a:lnTo>
                  <a:pt x="34" y="49"/>
                </a:lnTo>
                <a:lnTo>
                  <a:pt x="32" y="47"/>
                </a:lnTo>
                <a:lnTo>
                  <a:pt x="32" y="47"/>
                </a:lnTo>
                <a:lnTo>
                  <a:pt x="34" y="44"/>
                </a:lnTo>
                <a:lnTo>
                  <a:pt x="39" y="47"/>
                </a:lnTo>
                <a:lnTo>
                  <a:pt x="42" y="44"/>
                </a:lnTo>
                <a:lnTo>
                  <a:pt x="42" y="42"/>
                </a:lnTo>
                <a:lnTo>
                  <a:pt x="44" y="39"/>
                </a:lnTo>
                <a:lnTo>
                  <a:pt x="52" y="39"/>
                </a:lnTo>
                <a:lnTo>
                  <a:pt x="54" y="39"/>
                </a:lnTo>
                <a:lnTo>
                  <a:pt x="56" y="39"/>
                </a:lnTo>
                <a:lnTo>
                  <a:pt x="59" y="39"/>
                </a:lnTo>
                <a:lnTo>
                  <a:pt x="61" y="37"/>
                </a:lnTo>
                <a:lnTo>
                  <a:pt x="64" y="37"/>
                </a:lnTo>
                <a:lnTo>
                  <a:pt x="64" y="39"/>
                </a:lnTo>
                <a:lnTo>
                  <a:pt x="64" y="42"/>
                </a:lnTo>
                <a:lnTo>
                  <a:pt x="66" y="44"/>
                </a:lnTo>
                <a:lnTo>
                  <a:pt x="69" y="44"/>
                </a:lnTo>
                <a:lnTo>
                  <a:pt x="71" y="42"/>
                </a:lnTo>
                <a:lnTo>
                  <a:pt x="74" y="42"/>
                </a:lnTo>
                <a:lnTo>
                  <a:pt x="76" y="42"/>
                </a:lnTo>
                <a:lnTo>
                  <a:pt x="81" y="42"/>
                </a:lnTo>
                <a:lnTo>
                  <a:pt x="83" y="44"/>
                </a:lnTo>
                <a:lnTo>
                  <a:pt x="83" y="47"/>
                </a:lnTo>
                <a:lnTo>
                  <a:pt x="83" y="47"/>
                </a:lnTo>
                <a:lnTo>
                  <a:pt x="91" y="52"/>
                </a:lnTo>
                <a:lnTo>
                  <a:pt x="93" y="54"/>
                </a:lnTo>
                <a:lnTo>
                  <a:pt x="101" y="56"/>
                </a:lnTo>
                <a:lnTo>
                  <a:pt x="103" y="56"/>
                </a:lnTo>
                <a:lnTo>
                  <a:pt x="106" y="54"/>
                </a:lnTo>
                <a:lnTo>
                  <a:pt x="108" y="52"/>
                </a:lnTo>
                <a:lnTo>
                  <a:pt x="111" y="52"/>
                </a:lnTo>
                <a:lnTo>
                  <a:pt x="113" y="52"/>
                </a:lnTo>
                <a:lnTo>
                  <a:pt x="115" y="54"/>
                </a:lnTo>
                <a:lnTo>
                  <a:pt x="118" y="54"/>
                </a:lnTo>
                <a:lnTo>
                  <a:pt x="125" y="54"/>
                </a:lnTo>
                <a:lnTo>
                  <a:pt x="128" y="54"/>
                </a:lnTo>
                <a:lnTo>
                  <a:pt x="130" y="54"/>
                </a:lnTo>
                <a:lnTo>
                  <a:pt x="133" y="54"/>
                </a:lnTo>
                <a:lnTo>
                  <a:pt x="135" y="54"/>
                </a:lnTo>
                <a:lnTo>
                  <a:pt x="140" y="54"/>
                </a:lnTo>
                <a:lnTo>
                  <a:pt x="143" y="49"/>
                </a:lnTo>
                <a:lnTo>
                  <a:pt x="140" y="47"/>
                </a:lnTo>
                <a:lnTo>
                  <a:pt x="138" y="44"/>
                </a:lnTo>
                <a:lnTo>
                  <a:pt x="138" y="39"/>
                </a:lnTo>
                <a:lnTo>
                  <a:pt x="140" y="34"/>
                </a:lnTo>
                <a:lnTo>
                  <a:pt x="138" y="34"/>
                </a:lnTo>
                <a:lnTo>
                  <a:pt x="135" y="32"/>
                </a:lnTo>
                <a:lnTo>
                  <a:pt x="133" y="29"/>
                </a:lnTo>
                <a:lnTo>
                  <a:pt x="130" y="29"/>
                </a:lnTo>
                <a:lnTo>
                  <a:pt x="128" y="25"/>
                </a:lnTo>
                <a:lnTo>
                  <a:pt x="128" y="17"/>
                </a:lnTo>
                <a:lnTo>
                  <a:pt x="130" y="15"/>
                </a:lnTo>
                <a:lnTo>
                  <a:pt x="130" y="12"/>
                </a:lnTo>
                <a:lnTo>
                  <a:pt x="133" y="10"/>
                </a:lnTo>
                <a:lnTo>
                  <a:pt x="135" y="7"/>
                </a:lnTo>
                <a:lnTo>
                  <a:pt x="138" y="10"/>
                </a:lnTo>
                <a:lnTo>
                  <a:pt x="138" y="7"/>
                </a:lnTo>
                <a:lnTo>
                  <a:pt x="138" y="5"/>
                </a:lnTo>
                <a:lnTo>
                  <a:pt x="138" y="2"/>
                </a:lnTo>
                <a:lnTo>
                  <a:pt x="140" y="0"/>
                </a:lnTo>
                <a:lnTo>
                  <a:pt x="143" y="0"/>
                </a:lnTo>
                <a:lnTo>
                  <a:pt x="145" y="2"/>
                </a:lnTo>
                <a:lnTo>
                  <a:pt x="150" y="2"/>
                </a:lnTo>
                <a:lnTo>
                  <a:pt x="152" y="5"/>
                </a:lnTo>
                <a:lnTo>
                  <a:pt x="152" y="5"/>
                </a:lnTo>
                <a:lnTo>
                  <a:pt x="157" y="7"/>
                </a:lnTo>
                <a:lnTo>
                  <a:pt x="160" y="7"/>
                </a:lnTo>
                <a:lnTo>
                  <a:pt x="167" y="7"/>
                </a:lnTo>
                <a:lnTo>
                  <a:pt x="170" y="7"/>
                </a:lnTo>
                <a:lnTo>
                  <a:pt x="170" y="10"/>
                </a:lnTo>
                <a:lnTo>
                  <a:pt x="175" y="10"/>
                </a:lnTo>
                <a:lnTo>
                  <a:pt x="177" y="12"/>
                </a:lnTo>
                <a:lnTo>
                  <a:pt x="179" y="12"/>
                </a:lnTo>
                <a:lnTo>
                  <a:pt x="184" y="12"/>
                </a:lnTo>
                <a:lnTo>
                  <a:pt x="187" y="12"/>
                </a:lnTo>
                <a:lnTo>
                  <a:pt x="189" y="15"/>
                </a:lnTo>
                <a:lnTo>
                  <a:pt x="189" y="17"/>
                </a:lnTo>
                <a:lnTo>
                  <a:pt x="192" y="20"/>
                </a:lnTo>
                <a:lnTo>
                  <a:pt x="192" y="22"/>
                </a:lnTo>
                <a:lnTo>
                  <a:pt x="192" y="22"/>
                </a:lnTo>
                <a:lnTo>
                  <a:pt x="194" y="27"/>
                </a:lnTo>
                <a:lnTo>
                  <a:pt x="194" y="29"/>
                </a:lnTo>
                <a:lnTo>
                  <a:pt x="194" y="29"/>
                </a:lnTo>
                <a:lnTo>
                  <a:pt x="197" y="29"/>
                </a:lnTo>
                <a:lnTo>
                  <a:pt x="199" y="34"/>
                </a:lnTo>
                <a:lnTo>
                  <a:pt x="202" y="34"/>
                </a:lnTo>
                <a:lnTo>
                  <a:pt x="206" y="37"/>
                </a:lnTo>
                <a:lnTo>
                  <a:pt x="211" y="39"/>
                </a:lnTo>
                <a:lnTo>
                  <a:pt x="214" y="39"/>
                </a:lnTo>
                <a:lnTo>
                  <a:pt x="214" y="37"/>
                </a:lnTo>
                <a:lnTo>
                  <a:pt x="219" y="39"/>
                </a:lnTo>
                <a:lnTo>
                  <a:pt x="221" y="37"/>
                </a:lnTo>
                <a:lnTo>
                  <a:pt x="224" y="37"/>
                </a:lnTo>
                <a:lnTo>
                  <a:pt x="224" y="37"/>
                </a:lnTo>
                <a:lnTo>
                  <a:pt x="226" y="37"/>
                </a:lnTo>
                <a:lnTo>
                  <a:pt x="229" y="34"/>
                </a:lnTo>
                <a:lnTo>
                  <a:pt x="234" y="32"/>
                </a:lnTo>
                <a:lnTo>
                  <a:pt x="241" y="32"/>
                </a:lnTo>
                <a:lnTo>
                  <a:pt x="243" y="29"/>
                </a:lnTo>
                <a:lnTo>
                  <a:pt x="248" y="29"/>
                </a:lnTo>
                <a:lnTo>
                  <a:pt x="251" y="29"/>
                </a:lnTo>
                <a:lnTo>
                  <a:pt x="256" y="32"/>
                </a:lnTo>
                <a:lnTo>
                  <a:pt x="258" y="32"/>
                </a:lnTo>
                <a:lnTo>
                  <a:pt x="266" y="32"/>
                </a:lnTo>
                <a:lnTo>
                  <a:pt x="268" y="37"/>
                </a:lnTo>
                <a:lnTo>
                  <a:pt x="273" y="37"/>
                </a:lnTo>
                <a:lnTo>
                  <a:pt x="278" y="37"/>
                </a:lnTo>
                <a:lnTo>
                  <a:pt x="280" y="37"/>
                </a:lnTo>
                <a:lnTo>
                  <a:pt x="283" y="39"/>
                </a:lnTo>
                <a:lnTo>
                  <a:pt x="285" y="44"/>
                </a:lnTo>
                <a:lnTo>
                  <a:pt x="288" y="44"/>
                </a:lnTo>
                <a:lnTo>
                  <a:pt x="290" y="47"/>
                </a:lnTo>
                <a:lnTo>
                  <a:pt x="293" y="47"/>
                </a:lnTo>
                <a:lnTo>
                  <a:pt x="295" y="49"/>
                </a:lnTo>
                <a:lnTo>
                  <a:pt x="298" y="49"/>
                </a:lnTo>
                <a:lnTo>
                  <a:pt x="302" y="49"/>
                </a:lnTo>
                <a:lnTo>
                  <a:pt x="310" y="52"/>
                </a:lnTo>
                <a:lnTo>
                  <a:pt x="320" y="52"/>
                </a:lnTo>
                <a:lnTo>
                  <a:pt x="322" y="49"/>
                </a:lnTo>
                <a:lnTo>
                  <a:pt x="325" y="49"/>
                </a:lnTo>
                <a:lnTo>
                  <a:pt x="327" y="49"/>
                </a:lnTo>
                <a:lnTo>
                  <a:pt x="332" y="52"/>
                </a:lnTo>
                <a:lnTo>
                  <a:pt x="332" y="52"/>
                </a:lnTo>
                <a:lnTo>
                  <a:pt x="334" y="47"/>
                </a:lnTo>
                <a:lnTo>
                  <a:pt x="342" y="44"/>
                </a:lnTo>
                <a:lnTo>
                  <a:pt x="344" y="44"/>
                </a:lnTo>
                <a:lnTo>
                  <a:pt x="347" y="42"/>
                </a:lnTo>
                <a:lnTo>
                  <a:pt x="349" y="39"/>
                </a:lnTo>
                <a:lnTo>
                  <a:pt x="357" y="39"/>
                </a:lnTo>
                <a:lnTo>
                  <a:pt x="359" y="37"/>
                </a:lnTo>
                <a:lnTo>
                  <a:pt x="361" y="34"/>
                </a:lnTo>
                <a:lnTo>
                  <a:pt x="361" y="34"/>
                </a:lnTo>
                <a:lnTo>
                  <a:pt x="361" y="29"/>
                </a:lnTo>
                <a:lnTo>
                  <a:pt x="366" y="29"/>
                </a:lnTo>
                <a:lnTo>
                  <a:pt x="369" y="27"/>
                </a:lnTo>
                <a:lnTo>
                  <a:pt x="369" y="22"/>
                </a:lnTo>
                <a:lnTo>
                  <a:pt x="371" y="20"/>
                </a:lnTo>
                <a:lnTo>
                  <a:pt x="374" y="20"/>
                </a:lnTo>
                <a:lnTo>
                  <a:pt x="376" y="22"/>
                </a:lnTo>
                <a:lnTo>
                  <a:pt x="379" y="20"/>
                </a:lnTo>
                <a:lnTo>
                  <a:pt x="384" y="20"/>
                </a:lnTo>
                <a:lnTo>
                  <a:pt x="386" y="22"/>
                </a:lnTo>
                <a:lnTo>
                  <a:pt x="389" y="27"/>
                </a:lnTo>
                <a:lnTo>
                  <a:pt x="391" y="27"/>
                </a:lnTo>
                <a:lnTo>
                  <a:pt x="393" y="25"/>
                </a:lnTo>
                <a:lnTo>
                  <a:pt x="396" y="27"/>
                </a:lnTo>
                <a:lnTo>
                  <a:pt x="398" y="27"/>
                </a:lnTo>
                <a:lnTo>
                  <a:pt x="401" y="25"/>
                </a:lnTo>
                <a:lnTo>
                  <a:pt x="401" y="22"/>
                </a:lnTo>
                <a:lnTo>
                  <a:pt x="406" y="22"/>
                </a:lnTo>
                <a:lnTo>
                  <a:pt x="413" y="25"/>
                </a:lnTo>
                <a:lnTo>
                  <a:pt x="413" y="25"/>
                </a:lnTo>
                <a:lnTo>
                  <a:pt x="411" y="49"/>
                </a:lnTo>
                <a:lnTo>
                  <a:pt x="411" y="54"/>
                </a:lnTo>
                <a:lnTo>
                  <a:pt x="411" y="59"/>
                </a:lnTo>
                <a:lnTo>
                  <a:pt x="411" y="61"/>
                </a:lnTo>
                <a:lnTo>
                  <a:pt x="408" y="69"/>
                </a:lnTo>
                <a:lnTo>
                  <a:pt x="411" y="74"/>
                </a:lnTo>
                <a:lnTo>
                  <a:pt x="418" y="76"/>
                </a:lnTo>
                <a:lnTo>
                  <a:pt x="423" y="74"/>
                </a:lnTo>
                <a:lnTo>
                  <a:pt x="428" y="74"/>
                </a:lnTo>
                <a:lnTo>
                  <a:pt x="435" y="74"/>
                </a:lnTo>
                <a:lnTo>
                  <a:pt x="438" y="79"/>
                </a:lnTo>
                <a:lnTo>
                  <a:pt x="443" y="71"/>
                </a:lnTo>
                <a:lnTo>
                  <a:pt x="443" y="69"/>
                </a:lnTo>
                <a:lnTo>
                  <a:pt x="443" y="66"/>
                </a:lnTo>
                <a:lnTo>
                  <a:pt x="448" y="64"/>
                </a:lnTo>
                <a:lnTo>
                  <a:pt x="448" y="64"/>
                </a:lnTo>
                <a:lnTo>
                  <a:pt x="455" y="64"/>
                </a:lnTo>
                <a:lnTo>
                  <a:pt x="460" y="69"/>
                </a:lnTo>
                <a:lnTo>
                  <a:pt x="465" y="74"/>
                </a:lnTo>
                <a:lnTo>
                  <a:pt x="470" y="81"/>
                </a:lnTo>
                <a:lnTo>
                  <a:pt x="475" y="84"/>
                </a:lnTo>
                <a:lnTo>
                  <a:pt x="475" y="86"/>
                </a:lnTo>
                <a:lnTo>
                  <a:pt x="477" y="88"/>
                </a:lnTo>
                <a:lnTo>
                  <a:pt x="477" y="91"/>
                </a:lnTo>
                <a:lnTo>
                  <a:pt x="475" y="93"/>
                </a:lnTo>
                <a:lnTo>
                  <a:pt x="475" y="96"/>
                </a:lnTo>
                <a:lnTo>
                  <a:pt x="475" y="98"/>
                </a:lnTo>
                <a:lnTo>
                  <a:pt x="472" y="98"/>
                </a:lnTo>
                <a:lnTo>
                  <a:pt x="470" y="96"/>
                </a:lnTo>
                <a:lnTo>
                  <a:pt x="467" y="96"/>
                </a:lnTo>
                <a:lnTo>
                  <a:pt x="465" y="98"/>
                </a:lnTo>
                <a:lnTo>
                  <a:pt x="460" y="96"/>
                </a:lnTo>
                <a:lnTo>
                  <a:pt x="457" y="96"/>
                </a:lnTo>
                <a:lnTo>
                  <a:pt x="455" y="101"/>
                </a:lnTo>
                <a:lnTo>
                  <a:pt x="450" y="103"/>
                </a:lnTo>
                <a:lnTo>
                  <a:pt x="448" y="106"/>
                </a:lnTo>
                <a:lnTo>
                  <a:pt x="445" y="103"/>
                </a:lnTo>
                <a:lnTo>
                  <a:pt x="445" y="103"/>
                </a:lnTo>
                <a:lnTo>
                  <a:pt x="445" y="106"/>
                </a:lnTo>
                <a:lnTo>
                  <a:pt x="443" y="108"/>
                </a:lnTo>
                <a:lnTo>
                  <a:pt x="440" y="108"/>
                </a:lnTo>
                <a:lnTo>
                  <a:pt x="440" y="108"/>
                </a:lnTo>
                <a:lnTo>
                  <a:pt x="438" y="111"/>
                </a:lnTo>
                <a:lnTo>
                  <a:pt x="435" y="113"/>
                </a:lnTo>
                <a:lnTo>
                  <a:pt x="435" y="118"/>
                </a:lnTo>
                <a:lnTo>
                  <a:pt x="435" y="120"/>
                </a:lnTo>
                <a:lnTo>
                  <a:pt x="433" y="123"/>
                </a:lnTo>
                <a:lnTo>
                  <a:pt x="430" y="125"/>
                </a:lnTo>
                <a:lnTo>
                  <a:pt x="423" y="130"/>
                </a:lnTo>
                <a:lnTo>
                  <a:pt x="421" y="130"/>
                </a:lnTo>
                <a:lnTo>
                  <a:pt x="416" y="128"/>
                </a:lnTo>
                <a:lnTo>
                  <a:pt x="413" y="130"/>
                </a:lnTo>
                <a:lnTo>
                  <a:pt x="411" y="135"/>
                </a:lnTo>
                <a:lnTo>
                  <a:pt x="408" y="138"/>
                </a:lnTo>
                <a:lnTo>
                  <a:pt x="406" y="140"/>
                </a:lnTo>
                <a:lnTo>
                  <a:pt x="403" y="143"/>
                </a:lnTo>
                <a:lnTo>
                  <a:pt x="401" y="145"/>
                </a:lnTo>
                <a:lnTo>
                  <a:pt x="401" y="145"/>
                </a:lnTo>
                <a:lnTo>
                  <a:pt x="396" y="145"/>
                </a:lnTo>
                <a:lnTo>
                  <a:pt x="393" y="143"/>
                </a:lnTo>
                <a:lnTo>
                  <a:pt x="389" y="143"/>
                </a:lnTo>
                <a:lnTo>
                  <a:pt x="384" y="138"/>
                </a:lnTo>
                <a:lnTo>
                  <a:pt x="381" y="138"/>
                </a:lnTo>
                <a:lnTo>
                  <a:pt x="374" y="140"/>
                </a:lnTo>
                <a:lnTo>
                  <a:pt x="371" y="143"/>
                </a:lnTo>
                <a:lnTo>
                  <a:pt x="369" y="145"/>
                </a:lnTo>
                <a:lnTo>
                  <a:pt x="369" y="152"/>
                </a:lnTo>
                <a:lnTo>
                  <a:pt x="369" y="155"/>
                </a:lnTo>
                <a:lnTo>
                  <a:pt x="369" y="157"/>
                </a:lnTo>
                <a:lnTo>
                  <a:pt x="376" y="162"/>
                </a:lnTo>
                <a:lnTo>
                  <a:pt x="381" y="167"/>
                </a:lnTo>
                <a:lnTo>
                  <a:pt x="381" y="167"/>
                </a:lnTo>
                <a:lnTo>
                  <a:pt x="381" y="172"/>
                </a:lnTo>
                <a:lnTo>
                  <a:pt x="379" y="175"/>
                </a:lnTo>
                <a:lnTo>
                  <a:pt x="371" y="182"/>
                </a:lnTo>
                <a:lnTo>
                  <a:pt x="369" y="189"/>
                </a:lnTo>
                <a:lnTo>
                  <a:pt x="366" y="194"/>
                </a:lnTo>
                <a:lnTo>
                  <a:pt x="364" y="194"/>
                </a:lnTo>
                <a:lnTo>
                  <a:pt x="359" y="194"/>
                </a:lnTo>
                <a:lnTo>
                  <a:pt x="354" y="194"/>
                </a:lnTo>
                <a:lnTo>
                  <a:pt x="349" y="199"/>
                </a:lnTo>
                <a:lnTo>
                  <a:pt x="347" y="202"/>
                </a:lnTo>
                <a:lnTo>
                  <a:pt x="342" y="202"/>
                </a:lnTo>
                <a:lnTo>
                  <a:pt x="334" y="202"/>
                </a:lnTo>
                <a:lnTo>
                  <a:pt x="332" y="204"/>
                </a:lnTo>
                <a:lnTo>
                  <a:pt x="327" y="204"/>
                </a:lnTo>
                <a:lnTo>
                  <a:pt x="315" y="209"/>
                </a:lnTo>
                <a:lnTo>
                  <a:pt x="307" y="211"/>
                </a:lnTo>
                <a:lnTo>
                  <a:pt x="302" y="216"/>
                </a:lnTo>
                <a:lnTo>
                  <a:pt x="295" y="221"/>
                </a:lnTo>
                <a:lnTo>
                  <a:pt x="293" y="224"/>
                </a:lnTo>
                <a:lnTo>
                  <a:pt x="290" y="224"/>
                </a:lnTo>
                <a:lnTo>
                  <a:pt x="285" y="224"/>
                </a:lnTo>
                <a:lnTo>
                  <a:pt x="285" y="221"/>
                </a:lnTo>
                <a:lnTo>
                  <a:pt x="283" y="219"/>
                </a:lnTo>
                <a:lnTo>
                  <a:pt x="278" y="221"/>
                </a:lnTo>
                <a:lnTo>
                  <a:pt x="273" y="221"/>
                </a:lnTo>
                <a:lnTo>
                  <a:pt x="266" y="219"/>
                </a:lnTo>
                <a:lnTo>
                  <a:pt x="263" y="219"/>
                </a:lnTo>
                <a:lnTo>
                  <a:pt x="253" y="214"/>
                </a:lnTo>
                <a:lnTo>
                  <a:pt x="243" y="211"/>
                </a:lnTo>
                <a:lnTo>
                  <a:pt x="238" y="207"/>
                </a:lnTo>
                <a:lnTo>
                  <a:pt x="234" y="204"/>
                </a:lnTo>
                <a:lnTo>
                  <a:pt x="221" y="204"/>
                </a:lnTo>
                <a:lnTo>
                  <a:pt x="214" y="204"/>
                </a:lnTo>
                <a:lnTo>
                  <a:pt x="211" y="204"/>
                </a:lnTo>
                <a:lnTo>
                  <a:pt x="209" y="204"/>
                </a:lnTo>
                <a:lnTo>
                  <a:pt x="206" y="207"/>
                </a:lnTo>
                <a:lnTo>
                  <a:pt x="202" y="209"/>
                </a:lnTo>
                <a:lnTo>
                  <a:pt x="194" y="209"/>
                </a:lnTo>
                <a:lnTo>
                  <a:pt x="182" y="209"/>
                </a:lnTo>
                <a:lnTo>
                  <a:pt x="172" y="209"/>
                </a:lnTo>
                <a:lnTo>
                  <a:pt x="167" y="209"/>
                </a:lnTo>
                <a:lnTo>
                  <a:pt x="160" y="209"/>
                </a:lnTo>
                <a:lnTo>
                  <a:pt x="157" y="209"/>
                </a:lnTo>
                <a:lnTo>
                  <a:pt x="155" y="209"/>
                </a:lnTo>
                <a:lnTo>
                  <a:pt x="150" y="202"/>
                </a:lnTo>
                <a:lnTo>
                  <a:pt x="150" y="199"/>
                </a:lnTo>
                <a:lnTo>
                  <a:pt x="145" y="194"/>
                </a:lnTo>
                <a:lnTo>
                  <a:pt x="143" y="189"/>
                </a:lnTo>
                <a:lnTo>
                  <a:pt x="143" y="187"/>
                </a:lnTo>
                <a:lnTo>
                  <a:pt x="143" y="184"/>
                </a:lnTo>
                <a:lnTo>
                  <a:pt x="140" y="182"/>
                </a:lnTo>
                <a:lnTo>
                  <a:pt x="138" y="179"/>
                </a:lnTo>
                <a:lnTo>
                  <a:pt x="135" y="179"/>
                </a:lnTo>
                <a:lnTo>
                  <a:pt x="135" y="179"/>
                </a:lnTo>
                <a:lnTo>
                  <a:pt x="135" y="177"/>
                </a:lnTo>
                <a:lnTo>
                  <a:pt x="133" y="175"/>
                </a:lnTo>
                <a:lnTo>
                  <a:pt x="133" y="177"/>
                </a:lnTo>
                <a:lnTo>
                  <a:pt x="128" y="175"/>
                </a:lnTo>
                <a:lnTo>
                  <a:pt x="123" y="175"/>
                </a:lnTo>
                <a:lnTo>
                  <a:pt x="118" y="170"/>
                </a:lnTo>
                <a:lnTo>
                  <a:pt x="115" y="170"/>
                </a:lnTo>
                <a:lnTo>
                  <a:pt x="115" y="170"/>
                </a:lnTo>
                <a:lnTo>
                  <a:pt x="113" y="170"/>
                </a:lnTo>
                <a:lnTo>
                  <a:pt x="111" y="167"/>
                </a:lnTo>
                <a:lnTo>
                  <a:pt x="106" y="165"/>
                </a:lnTo>
                <a:lnTo>
                  <a:pt x="96" y="162"/>
                </a:lnTo>
                <a:lnTo>
                  <a:pt x="93" y="162"/>
                </a:lnTo>
                <a:lnTo>
                  <a:pt x="93" y="162"/>
                </a:lnTo>
                <a:lnTo>
                  <a:pt x="88" y="162"/>
                </a:lnTo>
                <a:lnTo>
                  <a:pt x="81" y="162"/>
                </a:lnTo>
                <a:lnTo>
                  <a:pt x="66" y="160"/>
                </a:lnTo>
                <a:lnTo>
                  <a:pt x="64" y="157"/>
                </a:lnTo>
                <a:lnTo>
                  <a:pt x="61" y="152"/>
                </a:lnTo>
                <a:lnTo>
                  <a:pt x="59" y="150"/>
                </a:lnTo>
                <a:lnTo>
                  <a:pt x="59" y="147"/>
                </a:lnTo>
                <a:lnTo>
                  <a:pt x="61" y="147"/>
                </a:lnTo>
                <a:lnTo>
                  <a:pt x="64" y="145"/>
                </a:lnTo>
                <a:lnTo>
                  <a:pt x="64" y="143"/>
                </a:lnTo>
                <a:lnTo>
                  <a:pt x="61" y="140"/>
                </a:lnTo>
                <a:lnTo>
                  <a:pt x="61" y="135"/>
                </a:lnTo>
                <a:lnTo>
                  <a:pt x="61" y="135"/>
                </a:lnTo>
                <a:lnTo>
                  <a:pt x="61" y="130"/>
                </a:lnTo>
                <a:lnTo>
                  <a:pt x="61" y="128"/>
                </a:lnTo>
                <a:lnTo>
                  <a:pt x="59" y="125"/>
                </a:lnTo>
                <a:lnTo>
                  <a:pt x="56" y="125"/>
                </a:lnTo>
                <a:lnTo>
                  <a:pt x="54" y="123"/>
                </a:lnTo>
                <a:lnTo>
                  <a:pt x="54" y="120"/>
                </a:lnTo>
                <a:lnTo>
                  <a:pt x="52" y="118"/>
                </a:lnTo>
                <a:lnTo>
                  <a:pt x="49" y="116"/>
                </a:lnTo>
                <a:lnTo>
                  <a:pt x="49" y="113"/>
                </a:lnTo>
                <a:lnTo>
                  <a:pt x="49" y="111"/>
                </a:lnTo>
                <a:lnTo>
                  <a:pt x="47" y="108"/>
                </a:lnTo>
                <a:lnTo>
                  <a:pt x="44" y="108"/>
                </a:lnTo>
                <a:lnTo>
                  <a:pt x="42" y="106"/>
                </a:lnTo>
                <a:lnTo>
                  <a:pt x="39" y="106"/>
                </a:lnTo>
                <a:lnTo>
                  <a:pt x="37" y="106"/>
                </a:lnTo>
                <a:lnTo>
                  <a:pt x="37" y="106"/>
                </a:lnTo>
                <a:lnTo>
                  <a:pt x="34" y="106"/>
                </a:lnTo>
                <a:lnTo>
                  <a:pt x="32" y="106"/>
                </a:lnTo>
                <a:lnTo>
                  <a:pt x="29" y="103"/>
                </a:lnTo>
                <a:lnTo>
                  <a:pt x="29" y="103"/>
                </a:lnTo>
                <a:lnTo>
                  <a:pt x="27" y="103"/>
                </a:lnTo>
                <a:lnTo>
                  <a:pt x="24" y="103"/>
                </a:lnTo>
                <a:lnTo>
                  <a:pt x="22" y="106"/>
                </a:lnTo>
                <a:lnTo>
                  <a:pt x="22" y="106"/>
                </a:lnTo>
                <a:lnTo>
                  <a:pt x="20" y="106"/>
                </a:lnTo>
                <a:lnTo>
                  <a:pt x="17" y="106"/>
                </a:lnTo>
                <a:lnTo>
                  <a:pt x="17" y="103"/>
                </a:lnTo>
                <a:lnTo>
                  <a:pt x="17" y="101"/>
                </a:lnTo>
                <a:lnTo>
                  <a:pt x="15" y="98"/>
                </a:lnTo>
                <a:lnTo>
                  <a:pt x="12" y="96"/>
                </a:lnTo>
                <a:lnTo>
                  <a:pt x="10" y="93"/>
                </a:lnTo>
                <a:lnTo>
                  <a:pt x="7" y="93"/>
                </a:lnTo>
                <a:lnTo>
                  <a:pt x="5" y="91"/>
                </a:lnTo>
                <a:lnTo>
                  <a:pt x="5" y="91"/>
                </a:lnTo>
                <a:lnTo>
                  <a:pt x="5" y="88"/>
                </a:lnTo>
                <a:lnTo>
                  <a:pt x="5" y="86"/>
                </a:lnTo>
                <a:lnTo>
                  <a:pt x="2" y="86"/>
                </a:lnTo>
                <a:lnTo>
                  <a:pt x="2" y="88"/>
                </a:lnTo>
                <a:lnTo>
                  <a:pt x="2" y="88"/>
                </a:lnTo>
                <a:lnTo>
                  <a:pt x="0" y="86"/>
                </a:lnTo>
                <a:lnTo>
                  <a:pt x="0" y="86"/>
                </a:lnTo>
                <a:lnTo>
                  <a:pt x="0" y="81"/>
                </a:lnTo>
                <a:lnTo>
                  <a:pt x="0" y="79"/>
                </a:lnTo>
                <a:lnTo>
                  <a:pt x="0" y="7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 name="Freeform 18"/>
          <p:cNvSpPr>
            <a:spLocks/>
          </p:cNvSpPr>
          <p:nvPr/>
        </p:nvSpPr>
        <p:spPr bwMode="auto">
          <a:xfrm>
            <a:off x="5825566" y="2910265"/>
            <a:ext cx="954111" cy="476172"/>
          </a:xfrm>
          <a:custGeom>
            <a:avLst/>
            <a:gdLst/>
            <a:ahLst/>
            <a:cxnLst>
              <a:cxn ang="0">
                <a:pos x="15" y="180"/>
              </a:cxn>
              <a:cxn ang="0">
                <a:pos x="0" y="145"/>
              </a:cxn>
              <a:cxn ang="0">
                <a:pos x="27" y="138"/>
              </a:cxn>
              <a:cxn ang="0">
                <a:pos x="42" y="111"/>
              </a:cxn>
              <a:cxn ang="0">
                <a:pos x="57" y="106"/>
              </a:cxn>
              <a:cxn ang="0">
                <a:pos x="66" y="103"/>
              </a:cxn>
              <a:cxn ang="0">
                <a:pos x="93" y="111"/>
              </a:cxn>
              <a:cxn ang="0">
                <a:pos x="111" y="118"/>
              </a:cxn>
              <a:cxn ang="0">
                <a:pos x="133" y="111"/>
              </a:cxn>
              <a:cxn ang="0">
                <a:pos x="155" y="111"/>
              </a:cxn>
              <a:cxn ang="0">
                <a:pos x="170" y="118"/>
              </a:cxn>
              <a:cxn ang="0">
                <a:pos x="197" y="118"/>
              </a:cxn>
              <a:cxn ang="0">
                <a:pos x="187" y="94"/>
              </a:cxn>
              <a:cxn ang="0">
                <a:pos x="187" y="79"/>
              </a:cxn>
              <a:cxn ang="0">
                <a:pos x="197" y="59"/>
              </a:cxn>
              <a:cxn ang="0">
                <a:pos x="187" y="52"/>
              </a:cxn>
              <a:cxn ang="0">
                <a:pos x="197" y="44"/>
              </a:cxn>
              <a:cxn ang="0">
                <a:pos x="214" y="39"/>
              </a:cxn>
              <a:cxn ang="0">
                <a:pos x="241" y="32"/>
              </a:cxn>
              <a:cxn ang="0">
                <a:pos x="258" y="22"/>
              </a:cxn>
              <a:cxn ang="0">
                <a:pos x="283" y="10"/>
              </a:cxn>
              <a:cxn ang="0">
                <a:pos x="303" y="3"/>
              </a:cxn>
              <a:cxn ang="0">
                <a:pos x="325" y="15"/>
              </a:cxn>
              <a:cxn ang="0">
                <a:pos x="330" y="27"/>
              </a:cxn>
              <a:cxn ang="0">
                <a:pos x="344" y="25"/>
              </a:cxn>
              <a:cxn ang="0">
                <a:pos x="359" y="30"/>
              </a:cxn>
              <a:cxn ang="0">
                <a:pos x="369" y="37"/>
              </a:cxn>
              <a:cxn ang="0">
                <a:pos x="391" y="27"/>
              </a:cxn>
              <a:cxn ang="0">
                <a:pos x="406" y="22"/>
              </a:cxn>
              <a:cxn ang="0">
                <a:pos x="477" y="86"/>
              </a:cxn>
              <a:cxn ang="0">
                <a:pos x="497" y="91"/>
              </a:cxn>
              <a:cxn ang="0">
                <a:pos x="522" y="86"/>
              </a:cxn>
              <a:cxn ang="0">
                <a:pos x="546" y="103"/>
              </a:cxn>
              <a:cxn ang="0">
                <a:pos x="556" y="116"/>
              </a:cxn>
              <a:cxn ang="0">
                <a:pos x="576" y="116"/>
              </a:cxn>
              <a:cxn ang="0">
                <a:pos x="578" y="133"/>
              </a:cxn>
              <a:cxn ang="0">
                <a:pos x="571" y="167"/>
              </a:cxn>
              <a:cxn ang="0">
                <a:pos x="541" y="170"/>
              </a:cxn>
              <a:cxn ang="0">
                <a:pos x="531" y="204"/>
              </a:cxn>
              <a:cxn ang="0">
                <a:pos x="519" y="212"/>
              </a:cxn>
              <a:cxn ang="0">
                <a:pos x="507" y="221"/>
              </a:cxn>
              <a:cxn ang="0">
                <a:pos x="514" y="246"/>
              </a:cxn>
              <a:cxn ang="0">
                <a:pos x="514" y="271"/>
              </a:cxn>
              <a:cxn ang="0">
                <a:pos x="460" y="261"/>
              </a:cxn>
              <a:cxn ang="0">
                <a:pos x="421" y="261"/>
              </a:cxn>
              <a:cxn ang="0">
                <a:pos x="389" y="271"/>
              </a:cxn>
              <a:cxn ang="0">
                <a:pos x="369" y="283"/>
              </a:cxn>
              <a:cxn ang="0">
                <a:pos x="332" y="303"/>
              </a:cxn>
              <a:cxn ang="0">
                <a:pos x="261" y="253"/>
              </a:cxn>
              <a:cxn ang="0">
                <a:pos x="143" y="298"/>
              </a:cxn>
              <a:cxn ang="0">
                <a:pos x="106" y="283"/>
              </a:cxn>
              <a:cxn ang="0">
                <a:pos x="91" y="276"/>
              </a:cxn>
              <a:cxn ang="0">
                <a:pos x="79" y="261"/>
              </a:cxn>
              <a:cxn ang="0">
                <a:pos x="66" y="246"/>
              </a:cxn>
              <a:cxn ang="0">
                <a:pos x="84" y="246"/>
              </a:cxn>
              <a:cxn ang="0">
                <a:pos x="79" y="234"/>
              </a:cxn>
              <a:cxn ang="0">
                <a:pos x="98" y="229"/>
              </a:cxn>
              <a:cxn ang="0">
                <a:pos x="103" y="219"/>
              </a:cxn>
              <a:cxn ang="0">
                <a:pos x="101" y="202"/>
              </a:cxn>
              <a:cxn ang="0">
                <a:pos x="86" y="199"/>
              </a:cxn>
              <a:cxn ang="0">
                <a:pos x="76" y="197"/>
              </a:cxn>
              <a:cxn ang="0">
                <a:pos x="61" y="199"/>
              </a:cxn>
              <a:cxn ang="0">
                <a:pos x="49" y="207"/>
              </a:cxn>
            </a:cxnLst>
            <a:rect l="0" t="0" r="r" b="b"/>
            <a:pathLst>
              <a:path w="585" h="310">
                <a:moveTo>
                  <a:pt x="44" y="207"/>
                </a:moveTo>
                <a:lnTo>
                  <a:pt x="39" y="204"/>
                </a:lnTo>
                <a:lnTo>
                  <a:pt x="37" y="207"/>
                </a:lnTo>
                <a:lnTo>
                  <a:pt x="32" y="202"/>
                </a:lnTo>
                <a:lnTo>
                  <a:pt x="32" y="199"/>
                </a:lnTo>
                <a:lnTo>
                  <a:pt x="37" y="199"/>
                </a:lnTo>
                <a:lnTo>
                  <a:pt x="32" y="189"/>
                </a:lnTo>
                <a:lnTo>
                  <a:pt x="25" y="182"/>
                </a:lnTo>
                <a:lnTo>
                  <a:pt x="15" y="180"/>
                </a:lnTo>
                <a:lnTo>
                  <a:pt x="12" y="182"/>
                </a:lnTo>
                <a:lnTo>
                  <a:pt x="7" y="177"/>
                </a:lnTo>
                <a:lnTo>
                  <a:pt x="7" y="177"/>
                </a:lnTo>
                <a:lnTo>
                  <a:pt x="5" y="172"/>
                </a:lnTo>
                <a:lnTo>
                  <a:pt x="0" y="170"/>
                </a:lnTo>
                <a:lnTo>
                  <a:pt x="2" y="165"/>
                </a:lnTo>
                <a:lnTo>
                  <a:pt x="2" y="155"/>
                </a:lnTo>
                <a:lnTo>
                  <a:pt x="0" y="153"/>
                </a:lnTo>
                <a:lnTo>
                  <a:pt x="0" y="145"/>
                </a:lnTo>
                <a:lnTo>
                  <a:pt x="2" y="143"/>
                </a:lnTo>
                <a:lnTo>
                  <a:pt x="7" y="138"/>
                </a:lnTo>
                <a:lnTo>
                  <a:pt x="7" y="133"/>
                </a:lnTo>
                <a:lnTo>
                  <a:pt x="10" y="130"/>
                </a:lnTo>
                <a:lnTo>
                  <a:pt x="17" y="138"/>
                </a:lnTo>
                <a:lnTo>
                  <a:pt x="20" y="140"/>
                </a:lnTo>
                <a:lnTo>
                  <a:pt x="22" y="145"/>
                </a:lnTo>
                <a:lnTo>
                  <a:pt x="27" y="143"/>
                </a:lnTo>
                <a:lnTo>
                  <a:pt x="27" y="138"/>
                </a:lnTo>
                <a:lnTo>
                  <a:pt x="30" y="138"/>
                </a:lnTo>
                <a:lnTo>
                  <a:pt x="27" y="126"/>
                </a:lnTo>
                <a:lnTo>
                  <a:pt x="30" y="126"/>
                </a:lnTo>
                <a:lnTo>
                  <a:pt x="34" y="126"/>
                </a:lnTo>
                <a:lnTo>
                  <a:pt x="34" y="121"/>
                </a:lnTo>
                <a:lnTo>
                  <a:pt x="34" y="118"/>
                </a:lnTo>
                <a:lnTo>
                  <a:pt x="34" y="116"/>
                </a:lnTo>
                <a:lnTo>
                  <a:pt x="39" y="111"/>
                </a:lnTo>
                <a:lnTo>
                  <a:pt x="42" y="111"/>
                </a:lnTo>
                <a:lnTo>
                  <a:pt x="42" y="108"/>
                </a:lnTo>
                <a:lnTo>
                  <a:pt x="44" y="106"/>
                </a:lnTo>
                <a:lnTo>
                  <a:pt x="49" y="106"/>
                </a:lnTo>
                <a:lnTo>
                  <a:pt x="49" y="103"/>
                </a:lnTo>
                <a:lnTo>
                  <a:pt x="47" y="101"/>
                </a:lnTo>
                <a:lnTo>
                  <a:pt x="49" y="98"/>
                </a:lnTo>
                <a:lnTo>
                  <a:pt x="54" y="101"/>
                </a:lnTo>
                <a:lnTo>
                  <a:pt x="57" y="103"/>
                </a:lnTo>
                <a:lnTo>
                  <a:pt x="57" y="106"/>
                </a:lnTo>
                <a:lnTo>
                  <a:pt x="54" y="108"/>
                </a:lnTo>
                <a:lnTo>
                  <a:pt x="57" y="108"/>
                </a:lnTo>
                <a:lnTo>
                  <a:pt x="59" y="108"/>
                </a:lnTo>
                <a:lnTo>
                  <a:pt x="59" y="106"/>
                </a:lnTo>
                <a:lnTo>
                  <a:pt x="61" y="103"/>
                </a:lnTo>
                <a:lnTo>
                  <a:pt x="61" y="106"/>
                </a:lnTo>
                <a:lnTo>
                  <a:pt x="64" y="103"/>
                </a:lnTo>
                <a:lnTo>
                  <a:pt x="64" y="103"/>
                </a:lnTo>
                <a:lnTo>
                  <a:pt x="66" y="103"/>
                </a:lnTo>
                <a:lnTo>
                  <a:pt x="71" y="101"/>
                </a:lnTo>
                <a:lnTo>
                  <a:pt x="74" y="101"/>
                </a:lnTo>
                <a:lnTo>
                  <a:pt x="74" y="103"/>
                </a:lnTo>
                <a:lnTo>
                  <a:pt x="79" y="106"/>
                </a:lnTo>
                <a:lnTo>
                  <a:pt x="84" y="106"/>
                </a:lnTo>
                <a:lnTo>
                  <a:pt x="86" y="106"/>
                </a:lnTo>
                <a:lnTo>
                  <a:pt x="89" y="108"/>
                </a:lnTo>
                <a:lnTo>
                  <a:pt x="89" y="108"/>
                </a:lnTo>
                <a:lnTo>
                  <a:pt x="93" y="111"/>
                </a:lnTo>
                <a:lnTo>
                  <a:pt x="96" y="111"/>
                </a:lnTo>
                <a:lnTo>
                  <a:pt x="98" y="113"/>
                </a:lnTo>
                <a:lnTo>
                  <a:pt x="103" y="118"/>
                </a:lnTo>
                <a:lnTo>
                  <a:pt x="106" y="118"/>
                </a:lnTo>
                <a:lnTo>
                  <a:pt x="106" y="121"/>
                </a:lnTo>
                <a:lnTo>
                  <a:pt x="106" y="123"/>
                </a:lnTo>
                <a:lnTo>
                  <a:pt x="108" y="123"/>
                </a:lnTo>
                <a:lnTo>
                  <a:pt x="111" y="121"/>
                </a:lnTo>
                <a:lnTo>
                  <a:pt x="111" y="118"/>
                </a:lnTo>
                <a:lnTo>
                  <a:pt x="113" y="116"/>
                </a:lnTo>
                <a:lnTo>
                  <a:pt x="116" y="118"/>
                </a:lnTo>
                <a:lnTo>
                  <a:pt x="121" y="118"/>
                </a:lnTo>
                <a:lnTo>
                  <a:pt x="123" y="123"/>
                </a:lnTo>
                <a:lnTo>
                  <a:pt x="125" y="123"/>
                </a:lnTo>
                <a:lnTo>
                  <a:pt x="130" y="121"/>
                </a:lnTo>
                <a:lnTo>
                  <a:pt x="130" y="116"/>
                </a:lnTo>
                <a:lnTo>
                  <a:pt x="133" y="113"/>
                </a:lnTo>
                <a:lnTo>
                  <a:pt x="133" y="111"/>
                </a:lnTo>
                <a:lnTo>
                  <a:pt x="135" y="111"/>
                </a:lnTo>
                <a:lnTo>
                  <a:pt x="138" y="113"/>
                </a:lnTo>
                <a:lnTo>
                  <a:pt x="138" y="111"/>
                </a:lnTo>
                <a:lnTo>
                  <a:pt x="143" y="111"/>
                </a:lnTo>
                <a:lnTo>
                  <a:pt x="148" y="113"/>
                </a:lnTo>
                <a:lnTo>
                  <a:pt x="148" y="116"/>
                </a:lnTo>
                <a:lnTo>
                  <a:pt x="153" y="116"/>
                </a:lnTo>
                <a:lnTo>
                  <a:pt x="153" y="111"/>
                </a:lnTo>
                <a:lnTo>
                  <a:pt x="155" y="111"/>
                </a:lnTo>
                <a:lnTo>
                  <a:pt x="157" y="111"/>
                </a:lnTo>
                <a:lnTo>
                  <a:pt x="160" y="108"/>
                </a:lnTo>
                <a:lnTo>
                  <a:pt x="162" y="111"/>
                </a:lnTo>
                <a:lnTo>
                  <a:pt x="165" y="111"/>
                </a:lnTo>
                <a:lnTo>
                  <a:pt x="165" y="113"/>
                </a:lnTo>
                <a:lnTo>
                  <a:pt x="162" y="116"/>
                </a:lnTo>
                <a:lnTo>
                  <a:pt x="165" y="118"/>
                </a:lnTo>
                <a:lnTo>
                  <a:pt x="167" y="121"/>
                </a:lnTo>
                <a:lnTo>
                  <a:pt x="170" y="118"/>
                </a:lnTo>
                <a:lnTo>
                  <a:pt x="170" y="121"/>
                </a:lnTo>
                <a:lnTo>
                  <a:pt x="175" y="121"/>
                </a:lnTo>
                <a:lnTo>
                  <a:pt x="182" y="123"/>
                </a:lnTo>
                <a:lnTo>
                  <a:pt x="184" y="123"/>
                </a:lnTo>
                <a:lnTo>
                  <a:pt x="187" y="118"/>
                </a:lnTo>
                <a:lnTo>
                  <a:pt x="187" y="116"/>
                </a:lnTo>
                <a:lnTo>
                  <a:pt x="187" y="113"/>
                </a:lnTo>
                <a:lnTo>
                  <a:pt x="192" y="118"/>
                </a:lnTo>
                <a:lnTo>
                  <a:pt x="197" y="118"/>
                </a:lnTo>
                <a:lnTo>
                  <a:pt x="202" y="116"/>
                </a:lnTo>
                <a:lnTo>
                  <a:pt x="204" y="113"/>
                </a:lnTo>
                <a:lnTo>
                  <a:pt x="202" y="101"/>
                </a:lnTo>
                <a:lnTo>
                  <a:pt x="202" y="101"/>
                </a:lnTo>
                <a:lnTo>
                  <a:pt x="197" y="101"/>
                </a:lnTo>
                <a:lnTo>
                  <a:pt x="194" y="98"/>
                </a:lnTo>
                <a:lnTo>
                  <a:pt x="194" y="96"/>
                </a:lnTo>
                <a:lnTo>
                  <a:pt x="189" y="96"/>
                </a:lnTo>
                <a:lnTo>
                  <a:pt x="187" y="94"/>
                </a:lnTo>
                <a:lnTo>
                  <a:pt x="184" y="94"/>
                </a:lnTo>
                <a:lnTo>
                  <a:pt x="184" y="91"/>
                </a:lnTo>
                <a:lnTo>
                  <a:pt x="182" y="89"/>
                </a:lnTo>
                <a:lnTo>
                  <a:pt x="182" y="89"/>
                </a:lnTo>
                <a:lnTo>
                  <a:pt x="187" y="89"/>
                </a:lnTo>
                <a:lnTo>
                  <a:pt x="187" y="84"/>
                </a:lnTo>
                <a:lnTo>
                  <a:pt x="189" y="81"/>
                </a:lnTo>
                <a:lnTo>
                  <a:pt x="187" y="79"/>
                </a:lnTo>
                <a:lnTo>
                  <a:pt x="187" y="79"/>
                </a:lnTo>
                <a:lnTo>
                  <a:pt x="184" y="74"/>
                </a:lnTo>
                <a:lnTo>
                  <a:pt x="189" y="69"/>
                </a:lnTo>
                <a:lnTo>
                  <a:pt x="192" y="67"/>
                </a:lnTo>
                <a:lnTo>
                  <a:pt x="199" y="67"/>
                </a:lnTo>
                <a:lnTo>
                  <a:pt x="202" y="67"/>
                </a:lnTo>
                <a:lnTo>
                  <a:pt x="204" y="64"/>
                </a:lnTo>
                <a:lnTo>
                  <a:pt x="204" y="62"/>
                </a:lnTo>
                <a:lnTo>
                  <a:pt x="199" y="62"/>
                </a:lnTo>
                <a:lnTo>
                  <a:pt x="197" y="59"/>
                </a:lnTo>
                <a:lnTo>
                  <a:pt x="197" y="59"/>
                </a:lnTo>
                <a:lnTo>
                  <a:pt x="194" y="59"/>
                </a:lnTo>
                <a:lnTo>
                  <a:pt x="189" y="59"/>
                </a:lnTo>
                <a:lnTo>
                  <a:pt x="187" y="59"/>
                </a:lnTo>
                <a:lnTo>
                  <a:pt x="187" y="57"/>
                </a:lnTo>
                <a:lnTo>
                  <a:pt x="187" y="57"/>
                </a:lnTo>
                <a:lnTo>
                  <a:pt x="192" y="54"/>
                </a:lnTo>
                <a:lnTo>
                  <a:pt x="189" y="52"/>
                </a:lnTo>
                <a:lnTo>
                  <a:pt x="187" y="52"/>
                </a:lnTo>
                <a:lnTo>
                  <a:pt x="184" y="52"/>
                </a:lnTo>
                <a:lnTo>
                  <a:pt x="184" y="49"/>
                </a:lnTo>
                <a:lnTo>
                  <a:pt x="184" y="47"/>
                </a:lnTo>
                <a:lnTo>
                  <a:pt x="184" y="44"/>
                </a:lnTo>
                <a:lnTo>
                  <a:pt x="187" y="44"/>
                </a:lnTo>
                <a:lnTo>
                  <a:pt x="189" y="44"/>
                </a:lnTo>
                <a:lnTo>
                  <a:pt x="192" y="44"/>
                </a:lnTo>
                <a:lnTo>
                  <a:pt x="192" y="44"/>
                </a:lnTo>
                <a:lnTo>
                  <a:pt x="197" y="44"/>
                </a:lnTo>
                <a:lnTo>
                  <a:pt x="199" y="47"/>
                </a:lnTo>
                <a:lnTo>
                  <a:pt x="199" y="44"/>
                </a:lnTo>
                <a:lnTo>
                  <a:pt x="199" y="44"/>
                </a:lnTo>
                <a:lnTo>
                  <a:pt x="204" y="42"/>
                </a:lnTo>
                <a:lnTo>
                  <a:pt x="207" y="42"/>
                </a:lnTo>
                <a:lnTo>
                  <a:pt x="207" y="44"/>
                </a:lnTo>
                <a:lnTo>
                  <a:pt x="209" y="42"/>
                </a:lnTo>
                <a:lnTo>
                  <a:pt x="209" y="39"/>
                </a:lnTo>
                <a:lnTo>
                  <a:pt x="214" y="39"/>
                </a:lnTo>
                <a:lnTo>
                  <a:pt x="219" y="39"/>
                </a:lnTo>
                <a:lnTo>
                  <a:pt x="221" y="37"/>
                </a:lnTo>
                <a:lnTo>
                  <a:pt x="226" y="37"/>
                </a:lnTo>
                <a:lnTo>
                  <a:pt x="226" y="35"/>
                </a:lnTo>
                <a:lnTo>
                  <a:pt x="231" y="32"/>
                </a:lnTo>
                <a:lnTo>
                  <a:pt x="236" y="32"/>
                </a:lnTo>
                <a:lnTo>
                  <a:pt x="239" y="30"/>
                </a:lnTo>
                <a:lnTo>
                  <a:pt x="239" y="30"/>
                </a:lnTo>
                <a:lnTo>
                  <a:pt x="241" y="32"/>
                </a:lnTo>
                <a:lnTo>
                  <a:pt x="244" y="30"/>
                </a:lnTo>
                <a:lnTo>
                  <a:pt x="244" y="27"/>
                </a:lnTo>
                <a:lnTo>
                  <a:pt x="244" y="25"/>
                </a:lnTo>
                <a:lnTo>
                  <a:pt x="248" y="25"/>
                </a:lnTo>
                <a:lnTo>
                  <a:pt x="248" y="22"/>
                </a:lnTo>
                <a:lnTo>
                  <a:pt x="251" y="22"/>
                </a:lnTo>
                <a:lnTo>
                  <a:pt x="253" y="22"/>
                </a:lnTo>
                <a:lnTo>
                  <a:pt x="253" y="25"/>
                </a:lnTo>
                <a:lnTo>
                  <a:pt x="258" y="22"/>
                </a:lnTo>
                <a:lnTo>
                  <a:pt x="261" y="20"/>
                </a:lnTo>
                <a:lnTo>
                  <a:pt x="268" y="17"/>
                </a:lnTo>
                <a:lnTo>
                  <a:pt x="268" y="17"/>
                </a:lnTo>
                <a:lnTo>
                  <a:pt x="271" y="15"/>
                </a:lnTo>
                <a:lnTo>
                  <a:pt x="273" y="15"/>
                </a:lnTo>
                <a:lnTo>
                  <a:pt x="276" y="12"/>
                </a:lnTo>
                <a:lnTo>
                  <a:pt x="278" y="12"/>
                </a:lnTo>
                <a:lnTo>
                  <a:pt x="283" y="12"/>
                </a:lnTo>
                <a:lnTo>
                  <a:pt x="283" y="10"/>
                </a:lnTo>
                <a:lnTo>
                  <a:pt x="280" y="7"/>
                </a:lnTo>
                <a:lnTo>
                  <a:pt x="283" y="5"/>
                </a:lnTo>
                <a:lnTo>
                  <a:pt x="285" y="5"/>
                </a:lnTo>
                <a:lnTo>
                  <a:pt x="288" y="3"/>
                </a:lnTo>
                <a:lnTo>
                  <a:pt x="290" y="0"/>
                </a:lnTo>
                <a:lnTo>
                  <a:pt x="293" y="3"/>
                </a:lnTo>
                <a:lnTo>
                  <a:pt x="295" y="0"/>
                </a:lnTo>
                <a:lnTo>
                  <a:pt x="298" y="3"/>
                </a:lnTo>
                <a:lnTo>
                  <a:pt x="303" y="3"/>
                </a:lnTo>
                <a:lnTo>
                  <a:pt x="305" y="5"/>
                </a:lnTo>
                <a:lnTo>
                  <a:pt x="310" y="5"/>
                </a:lnTo>
                <a:lnTo>
                  <a:pt x="312" y="3"/>
                </a:lnTo>
                <a:lnTo>
                  <a:pt x="317" y="3"/>
                </a:lnTo>
                <a:lnTo>
                  <a:pt x="317" y="7"/>
                </a:lnTo>
                <a:lnTo>
                  <a:pt x="320" y="7"/>
                </a:lnTo>
                <a:lnTo>
                  <a:pt x="320" y="10"/>
                </a:lnTo>
                <a:lnTo>
                  <a:pt x="322" y="15"/>
                </a:lnTo>
                <a:lnTo>
                  <a:pt x="325" y="15"/>
                </a:lnTo>
                <a:lnTo>
                  <a:pt x="325" y="17"/>
                </a:lnTo>
                <a:lnTo>
                  <a:pt x="325" y="20"/>
                </a:lnTo>
                <a:lnTo>
                  <a:pt x="325" y="22"/>
                </a:lnTo>
                <a:lnTo>
                  <a:pt x="325" y="22"/>
                </a:lnTo>
                <a:lnTo>
                  <a:pt x="322" y="25"/>
                </a:lnTo>
                <a:lnTo>
                  <a:pt x="322" y="27"/>
                </a:lnTo>
                <a:lnTo>
                  <a:pt x="325" y="27"/>
                </a:lnTo>
                <a:lnTo>
                  <a:pt x="327" y="27"/>
                </a:lnTo>
                <a:lnTo>
                  <a:pt x="330" y="27"/>
                </a:lnTo>
                <a:lnTo>
                  <a:pt x="332" y="27"/>
                </a:lnTo>
                <a:lnTo>
                  <a:pt x="332" y="25"/>
                </a:lnTo>
                <a:lnTo>
                  <a:pt x="335" y="25"/>
                </a:lnTo>
                <a:lnTo>
                  <a:pt x="337" y="27"/>
                </a:lnTo>
                <a:lnTo>
                  <a:pt x="337" y="27"/>
                </a:lnTo>
                <a:lnTo>
                  <a:pt x="337" y="25"/>
                </a:lnTo>
                <a:lnTo>
                  <a:pt x="337" y="22"/>
                </a:lnTo>
                <a:lnTo>
                  <a:pt x="337" y="20"/>
                </a:lnTo>
                <a:lnTo>
                  <a:pt x="344" y="25"/>
                </a:lnTo>
                <a:lnTo>
                  <a:pt x="344" y="30"/>
                </a:lnTo>
                <a:lnTo>
                  <a:pt x="347" y="35"/>
                </a:lnTo>
                <a:lnTo>
                  <a:pt x="347" y="32"/>
                </a:lnTo>
                <a:lnTo>
                  <a:pt x="349" y="32"/>
                </a:lnTo>
                <a:lnTo>
                  <a:pt x="349" y="30"/>
                </a:lnTo>
                <a:lnTo>
                  <a:pt x="347" y="27"/>
                </a:lnTo>
                <a:lnTo>
                  <a:pt x="352" y="27"/>
                </a:lnTo>
                <a:lnTo>
                  <a:pt x="357" y="30"/>
                </a:lnTo>
                <a:lnTo>
                  <a:pt x="359" y="30"/>
                </a:lnTo>
                <a:lnTo>
                  <a:pt x="362" y="30"/>
                </a:lnTo>
                <a:lnTo>
                  <a:pt x="362" y="30"/>
                </a:lnTo>
                <a:lnTo>
                  <a:pt x="362" y="32"/>
                </a:lnTo>
                <a:lnTo>
                  <a:pt x="359" y="35"/>
                </a:lnTo>
                <a:lnTo>
                  <a:pt x="359" y="37"/>
                </a:lnTo>
                <a:lnTo>
                  <a:pt x="362" y="42"/>
                </a:lnTo>
                <a:lnTo>
                  <a:pt x="364" y="42"/>
                </a:lnTo>
                <a:lnTo>
                  <a:pt x="367" y="39"/>
                </a:lnTo>
                <a:lnTo>
                  <a:pt x="369" y="37"/>
                </a:lnTo>
                <a:lnTo>
                  <a:pt x="376" y="39"/>
                </a:lnTo>
                <a:lnTo>
                  <a:pt x="376" y="39"/>
                </a:lnTo>
                <a:lnTo>
                  <a:pt x="379" y="39"/>
                </a:lnTo>
                <a:lnTo>
                  <a:pt x="379" y="35"/>
                </a:lnTo>
                <a:lnTo>
                  <a:pt x="381" y="35"/>
                </a:lnTo>
                <a:lnTo>
                  <a:pt x="386" y="35"/>
                </a:lnTo>
                <a:lnTo>
                  <a:pt x="389" y="32"/>
                </a:lnTo>
                <a:lnTo>
                  <a:pt x="389" y="30"/>
                </a:lnTo>
                <a:lnTo>
                  <a:pt x="391" y="27"/>
                </a:lnTo>
                <a:lnTo>
                  <a:pt x="391" y="25"/>
                </a:lnTo>
                <a:lnTo>
                  <a:pt x="396" y="22"/>
                </a:lnTo>
                <a:lnTo>
                  <a:pt x="399" y="20"/>
                </a:lnTo>
                <a:lnTo>
                  <a:pt x="401" y="17"/>
                </a:lnTo>
                <a:lnTo>
                  <a:pt x="403" y="17"/>
                </a:lnTo>
                <a:lnTo>
                  <a:pt x="408" y="15"/>
                </a:lnTo>
                <a:lnTo>
                  <a:pt x="408" y="17"/>
                </a:lnTo>
                <a:lnTo>
                  <a:pt x="408" y="20"/>
                </a:lnTo>
                <a:lnTo>
                  <a:pt x="406" y="22"/>
                </a:lnTo>
                <a:lnTo>
                  <a:pt x="403" y="22"/>
                </a:lnTo>
                <a:lnTo>
                  <a:pt x="406" y="25"/>
                </a:lnTo>
                <a:lnTo>
                  <a:pt x="433" y="47"/>
                </a:lnTo>
                <a:lnTo>
                  <a:pt x="472" y="94"/>
                </a:lnTo>
                <a:lnTo>
                  <a:pt x="475" y="94"/>
                </a:lnTo>
                <a:lnTo>
                  <a:pt x="477" y="91"/>
                </a:lnTo>
                <a:lnTo>
                  <a:pt x="477" y="89"/>
                </a:lnTo>
                <a:lnTo>
                  <a:pt x="477" y="89"/>
                </a:lnTo>
                <a:lnTo>
                  <a:pt x="477" y="86"/>
                </a:lnTo>
                <a:lnTo>
                  <a:pt x="480" y="84"/>
                </a:lnTo>
                <a:lnTo>
                  <a:pt x="485" y="86"/>
                </a:lnTo>
                <a:lnTo>
                  <a:pt x="485" y="89"/>
                </a:lnTo>
                <a:lnTo>
                  <a:pt x="485" y="91"/>
                </a:lnTo>
                <a:lnTo>
                  <a:pt x="487" y="91"/>
                </a:lnTo>
                <a:lnTo>
                  <a:pt x="490" y="94"/>
                </a:lnTo>
                <a:lnTo>
                  <a:pt x="492" y="94"/>
                </a:lnTo>
                <a:lnTo>
                  <a:pt x="494" y="94"/>
                </a:lnTo>
                <a:lnTo>
                  <a:pt x="497" y="91"/>
                </a:lnTo>
                <a:lnTo>
                  <a:pt x="502" y="94"/>
                </a:lnTo>
                <a:lnTo>
                  <a:pt x="504" y="94"/>
                </a:lnTo>
                <a:lnTo>
                  <a:pt x="507" y="94"/>
                </a:lnTo>
                <a:lnTo>
                  <a:pt x="509" y="91"/>
                </a:lnTo>
                <a:lnTo>
                  <a:pt x="512" y="91"/>
                </a:lnTo>
                <a:lnTo>
                  <a:pt x="509" y="89"/>
                </a:lnTo>
                <a:lnTo>
                  <a:pt x="509" y="89"/>
                </a:lnTo>
                <a:lnTo>
                  <a:pt x="517" y="86"/>
                </a:lnTo>
                <a:lnTo>
                  <a:pt x="522" y="86"/>
                </a:lnTo>
                <a:lnTo>
                  <a:pt x="526" y="89"/>
                </a:lnTo>
                <a:lnTo>
                  <a:pt x="531" y="91"/>
                </a:lnTo>
                <a:lnTo>
                  <a:pt x="534" y="96"/>
                </a:lnTo>
                <a:lnTo>
                  <a:pt x="534" y="98"/>
                </a:lnTo>
                <a:lnTo>
                  <a:pt x="536" y="98"/>
                </a:lnTo>
                <a:lnTo>
                  <a:pt x="539" y="101"/>
                </a:lnTo>
                <a:lnTo>
                  <a:pt x="544" y="103"/>
                </a:lnTo>
                <a:lnTo>
                  <a:pt x="544" y="103"/>
                </a:lnTo>
                <a:lnTo>
                  <a:pt x="546" y="103"/>
                </a:lnTo>
                <a:lnTo>
                  <a:pt x="546" y="106"/>
                </a:lnTo>
                <a:lnTo>
                  <a:pt x="546" y="108"/>
                </a:lnTo>
                <a:lnTo>
                  <a:pt x="546" y="111"/>
                </a:lnTo>
                <a:lnTo>
                  <a:pt x="546" y="111"/>
                </a:lnTo>
                <a:lnTo>
                  <a:pt x="549" y="113"/>
                </a:lnTo>
                <a:lnTo>
                  <a:pt x="549" y="113"/>
                </a:lnTo>
                <a:lnTo>
                  <a:pt x="551" y="113"/>
                </a:lnTo>
                <a:lnTo>
                  <a:pt x="553" y="116"/>
                </a:lnTo>
                <a:lnTo>
                  <a:pt x="556" y="116"/>
                </a:lnTo>
                <a:lnTo>
                  <a:pt x="556" y="116"/>
                </a:lnTo>
                <a:lnTo>
                  <a:pt x="558" y="113"/>
                </a:lnTo>
                <a:lnTo>
                  <a:pt x="566" y="113"/>
                </a:lnTo>
                <a:lnTo>
                  <a:pt x="571" y="113"/>
                </a:lnTo>
                <a:lnTo>
                  <a:pt x="571" y="108"/>
                </a:lnTo>
                <a:lnTo>
                  <a:pt x="573" y="108"/>
                </a:lnTo>
                <a:lnTo>
                  <a:pt x="576" y="108"/>
                </a:lnTo>
                <a:lnTo>
                  <a:pt x="576" y="113"/>
                </a:lnTo>
                <a:lnTo>
                  <a:pt x="576" y="116"/>
                </a:lnTo>
                <a:lnTo>
                  <a:pt x="578" y="116"/>
                </a:lnTo>
                <a:lnTo>
                  <a:pt x="581" y="118"/>
                </a:lnTo>
                <a:lnTo>
                  <a:pt x="585" y="121"/>
                </a:lnTo>
                <a:lnTo>
                  <a:pt x="585" y="121"/>
                </a:lnTo>
                <a:lnTo>
                  <a:pt x="583" y="126"/>
                </a:lnTo>
                <a:lnTo>
                  <a:pt x="581" y="126"/>
                </a:lnTo>
                <a:lnTo>
                  <a:pt x="578" y="130"/>
                </a:lnTo>
                <a:lnTo>
                  <a:pt x="578" y="133"/>
                </a:lnTo>
                <a:lnTo>
                  <a:pt x="578" y="133"/>
                </a:lnTo>
                <a:lnTo>
                  <a:pt x="576" y="138"/>
                </a:lnTo>
                <a:lnTo>
                  <a:pt x="571" y="140"/>
                </a:lnTo>
                <a:lnTo>
                  <a:pt x="568" y="140"/>
                </a:lnTo>
                <a:lnTo>
                  <a:pt x="568" y="145"/>
                </a:lnTo>
                <a:lnTo>
                  <a:pt x="568" y="150"/>
                </a:lnTo>
                <a:lnTo>
                  <a:pt x="571" y="158"/>
                </a:lnTo>
                <a:lnTo>
                  <a:pt x="576" y="162"/>
                </a:lnTo>
                <a:lnTo>
                  <a:pt x="573" y="162"/>
                </a:lnTo>
                <a:lnTo>
                  <a:pt x="571" y="167"/>
                </a:lnTo>
                <a:lnTo>
                  <a:pt x="566" y="170"/>
                </a:lnTo>
                <a:lnTo>
                  <a:pt x="563" y="172"/>
                </a:lnTo>
                <a:lnTo>
                  <a:pt x="561" y="172"/>
                </a:lnTo>
                <a:lnTo>
                  <a:pt x="561" y="172"/>
                </a:lnTo>
                <a:lnTo>
                  <a:pt x="558" y="170"/>
                </a:lnTo>
                <a:lnTo>
                  <a:pt x="556" y="170"/>
                </a:lnTo>
                <a:lnTo>
                  <a:pt x="551" y="172"/>
                </a:lnTo>
                <a:lnTo>
                  <a:pt x="546" y="172"/>
                </a:lnTo>
                <a:lnTo>
                  <a:pt x="541" y="170"/>
                </a:lnTo>
                <a:lnTo>
                  <a:pt x="536" y="170"/>
                </a:lnTo>
                <a:lnTo>
                  <a:pt x="536" y="170"/>
                </a:lnTo>
                <a:lnTo>
                  <a:pt x="534" y="177"/>
                </a:lnTo>
                <a:lnTo>
                  <a:pt x="534" y="180"/>
                </a:lnTo>
                <a:lnTo>
                  <a:pt x="531" y="185"/>
                </a:lnTo>
                <a:lnTo>
                  <a:pt x="531" y="192"/>
                </a:lnTo>
                <a:lnTo>
                  <a:pt x="531" y="199"/>
                </a:lnTo>
                <a:lnTo>
                  <a:pt x="531" y="202"/>
                </a:lnTo>
                <a:lnTo>
                  <a:pt x="531" y="204"/>
                </a:lnTo>
                <a:lnTo>
                  <a:pt x="536" y="204"/>
                </a:lnTo>
                <a:lnTo>
                  <a:pt x="534" y="209"/>
                </a:lnTo>
                <a:lnTo>
                  <a:pt x="534" y="212"/>
                </a:lnTo>
                <a:lnTo>
                  <a:pt x="531" y="212"/>
                </a:lnTo>
                <a:lnTo>
                  <a:pt x="531" y="212"/>
                </a:lnTo>
                <a:lnTo>
                  <a:pt x="529" y="212"/>
                </a:lnTo>
                <a:lnTo>
                  <a:pt x="526" y="209"/>
                </a:lnTo>
                <a:lnTo>
                  <a:pt x="524" y="212"/>
                </a:lnTo>
                <a:lnTo>
                  <a:pt x="519" y="212"/>
                </a:lnTo>
                <a:lnTo>
                  <a:pt x="514" y="214"/>
                </a:lnTo>
                <a:lnTo>
                  <a:pt x="509" y="214"/>
                </a:lnTo>
                <a:lnTo>
                  <a:pt x="507" y="214"/>
                </a:lnTo>
                <a:lnTo>
                  <a:pt x="504" y="214"/>
                </a:lnTo>
                <a:lnTo>
                  <a:pt x="502" y="217"/>
                </a:lnTo>
                <a:lnTo>
                  <a:pt x="499" y="219"/>
                </a:lnTo>
                <a:lnTo>
                  <a:pt x="499" y="219"/>
                </a:lnTo>
                <a:lnTo>
                  <a:pt x="502" y="221"/>
                </a:lnTo>
                <a:lnTo>
                  <a:pt x="507" y="221"/>
                </a:lnTo>
                <a:lnTo>
                  <a:pt x="509" y="221"/>
                </a:lnTo>
                <a:lnTo>
                  <a:pt x="509" y="224"/>
                </a:lnTo>
                <a:lnTo>
                  <a:pt x="507" y="226"/>
                </a:lnTo>
                <a:lnTo>
                  <a:pt x="509" y="231"/>
                </a:lnTo>
                <a:lnTo>
                  <a:pt x="509" y="234"/>
                </a:lnTo>
                <a:lnTo>
                  <a:pt x="512" y="234"/>
                </a:lnTo>
                <a:lnTo>
                  <a:pt x="512" y="239"/>
                </a:lnTo>
                <a:lnTo>
                  <a:pt x="514" y="244"/>
                </a:lnTo>
                <a:lnTo>
                  <a:pt x="514" y="246"/>
                </a:lnTo>
                <a:lnTo>
                  <a:pt x="519" y="249"/>
                </a:lnTo>
                <a:lnTo>
                  <a:pt x="519" y="253"/>
                </a:lnTo>
                <a:lnTo>
                  <a:pt x="517" y="256"/>
                </a:lnTo>
                <a:lnTo>
                  <a:pt x="517" y="258"/>
                </a:lnTo>
                <a:lnTo>
                  <a:pt x="519" y="261"/>
                </a:lnTo>
                <a:lnTo>
                  <a:pt x="517" y="263"/>
                </a:lnTo>
                <a:lnTo>
                  <a:pt x="517" y="263"/>
                </a:lnTo>
                <a:lnTo>
                  <a:pt x="514" y="266"/>
                </a:lnTo>
                <a:lnTo>
                  <a:pt x="514" y="271"/>
                </a:lnTo>
                <a:lnTo>
                  <a:pt x="512" y="271"/>
                </a:lnTo>
                <a:lnTo>
                  <a:pt x="504" y="271"/>
                </a:lnTo>
                <a:lnTo>
                  <a:pt x="497" y="263"/>
                </a:lnTo>
                <a:lnTo>
                  <a:pt x="494" y="263"/>
                </a:lnTo>
                <a:lnTo>
                  <a:pt x="490" y="261"/>
                </a:lnTo>
                <a:lnTo>
                  <a:pt x="480" y="261"/>
                </a:lnTo>
                <a:lnTo>
                  <a:pt x="475" y="261"/>
                </a:lnTo>
                <a:lnTo>
                  <a:pt x="467" y="258"/>
                </a:lnTo>
                <a:lnTo>
                  <a:pt x="460" y="261"/>
                </a:lnTo>
                <a:lnTo>
                  <a:pt x="455" y="261"/>
                </a:lnTo>
                <a:lnTo>
                  <a:pt x="453" y="261"/>
                </a:lnTo>
                <a:lnTo>
                  <a:pt x="450" y="263"/>
                </a:lnTo>
                <a:lnTo>
                  <a:pt x="445" y="263"/>
                </a:lnTo>
                <a:lnTo>
                  <a:pt x="438" y="263"/>
                </a:lnTo>
                <a:lnTo>
                  <a:pt x="430" y="261"/>
                </a:lnTo>
                <a:lnTo>
                  <a:pt x="428" y="261"/>
                </a:lnTo>
                <a:lnTo>
                  <a:pt x="423" y="261"/>
                </a:lnTo>
                <a:lnTo>
                  <a:pt x="421" y="261"/>
                </a:lnTo>
                <a:lnTo>
                  <a:pt x="418" y="261"/>
                </a:lnTo>
                <a:lnTo>
                  <a:pt x="416" y="261"/>
                </a:lnTo>
                <a:lnTo>
                  <a:pt x="413" y="261"/>
                </a:lnTo>
                <a:lnTo>
                  <a:pt x="413" y="263"/>
                </a:lnTo>
                <a:lnTo>
                  <a:pt x="416" y="268"/>
                </a:lnTo>
                <a:lnTo>
                  <a:pt x="416" y="271"/>
                </a:lnTo>
                <a:lnTo>
                  <a:pt x="411" y="273"/>
                </a:lnTo>
                <a:lnTo>
                  <a:pt x="401" y="273"/>
                </a:lnTo>
                <a:lnTo>
                  <a:pt x="389" y="271"/>
                </a:lnTo>
                <a:lnTo>
                  <a:pt x="386" y="271"/>
                </a:lnTo>
                <a:lnTo>
                  <a:pt x="381" y="271"/>
                </a:lnTo>
                <a:lnTo>
                  <a:pt x="379" y="273"/>
                </a:lnTo>
                <a:lnTo>
                  <a:pt x="379" y="276"/>
                </a:lnTo>
                <a:lnTo>
                  <a:pt x="376" y="276"/>
                </a:lnTo>
                <a:lnTo>
                  <a:pt x="376" y="278"/>
                </a:lnTo>
                <a:lnTo>
                  <a:pt x="374" y="278"/>
                </a:lnTo>
                <a:lnTo>
                  <a:pt x="371" y="283"/>
                </a:lnTo>
                <a:lnTo>
                  <a:pt x="369" y="283"/>
                </a:lnTo>
                <a:lnTo>
                  <a:pt x="362" y="290"/>
                </a:lnTo>
                <a:lnTo>
                  <a:pt x="362" y="295"/>
                </a:lnTo>
                <a:lnTo>
                  <a:pt x="359" y="298"/>
                </a:lnTo>
                <a:lnTo>
                  <a:pt x="357" y="303"/>
                </a:lnTo>
                <a:lnTo>
                  <a:pt x="349" y="308"/>
                </a:lnTo>
                <a:lnTo>
                  <a:pt x="347" y="308"/>
                </a:lnTo>
                <a:lnTo>
                  <a:pt x="342" y="303"/>
                </a:lnTo>
                <a:lnTo>
                  <a:pt x="335" y="303"/>
                </a:lnTo>
                <a:lnTo>
                  <a:pt x="332" y="303"/>
                </a:lnTo>
                <a:lnTo>
                  <a:pt x="325" y="308"/>
                </a:lnTo>
                <a:lnTo>
                  <a:pt x="320" y="308"/>
                </a:lnTo>
                <a:lnTo>
                  <a:pt x="315" y="290"/>
                </a:lnTo>
                <a:lnTo>
                  <a:pt x="303" y="288"/>
                </a:lnTo>
                <a:lnTo>
                  <a:pt x="303" y="266"/>
                </a:lnTo>
                <a:lnTo>
                  <a:pt x="298" y="268"/>
                </a:lnTo>
                <a:lnTo>
                  <a:pt x="293" y="258"/>
                </a:lnTo>
                <a:lnTo>
                  <a:pt x="285" y="253"/>
                </a:lnTo>
                <a:lnTo>
                  <a:pt x="261" y="253"/>
                </a:lnTo>
                <a:lnTo>
                  <a:pt x="239" y="256"/>
                </a:lnTo>
                <a:lnTo>
                  <a:pt x="224" y="246"/>
                </a:lnTo>
                <a:lnTo>
                  <a:pt x="214" y="244"/>
                </a:lnTo>
                <a:lnTo>
                  <a:pt x="189" y="226"/>
                </a:lnTo>
                <a:lnTo>
                  <a:pt x="150" y="234"/>
                </a:lnTo>
                <a:lnTo>
                  <a:pt x="162" y="308"/>
                </a:lnTo>
                <a:lnTo>
                  <a:pt x="160" y="308"/>
                </a:lnTo>
                <a:lnTo>
                  <a:pt x="155" y="310"/>
                </a:lnTo>
                <a:lnTo>
                  <a:pt x="143" y="298"/>
                </a:lnTo>
                <a:lnTo>
                  <a:pt x="133" y="290"/>
                </a:lnTo>
                <a:lnTo>
                  <a:pt x="123" y="290"/>
                </a:lnTo>
                <a:lnTo>
                  <a:pt x="116" y="293"/>
                </a:lnTo>
                <a:lnTo>
                  <a:pt x="106" y="300"/>
                </a:lnTo>
                <a:lnTo>
                  <a:pt x="106" y="298"/>
                </a:lnTo>
                <a:lnTo>
                  <a:pt x="103" y="293"/>
                </a:lnTo>
                <a:lnTo>
                  <a:pt x="106" y="288"/>
                </a:lnTo>
                <a:lnTo>
                  <a:pt x="106" y="285"/>
                </a:lnTo>
                <a:lnTo>
                  <a:pt x="106" y="283"/>
                </a:lnTo>
                <a:lnTo>
                  <a:pt x="108" y="283"/>
                </a:lnTo>
                <a:lnTo>
                  <a:pt x="106" y="280"/>
                </a:lnTo>
                <a:lnTo>
                  <a:pt x="103" y="280"/>
                </a:lnTo>
                <a:lnTo>
                  <a:pt x="101" y="280"/>
                </a:lnTo>
                <a:lnTo>
                  <a:pt x="98" y="280"/>
                </a:lnTo>
                <a:lnTo>
                  <a:pt x="96" y="280"/>
                </a:lnTo>
                <a:lnTo>
                  <a:pt x="93" y="280"/>
                </a:lnTo>
                <a:lnTo>
                  <a:pt x="93" y="278"/>
                </a:lnTo>
                <a:lnTo>
                  <a:pt x="91" y="276"/>
                </a:lnTo>
                <a:lnTo>
                  <a:pt x="91" y="273"/>
                </a:lnTo>
                <a:lnTo>
                  <a:pt x="89" y="273"/>
                </a:lnTo>
                <a:lnTo>
                  <a:pt x="89" y="273"/>
                </a:lnTo>
                <a:lnTo>
                  <a:pt x="84" y="276"/>
                </a:lnTo>
                <a:lnTo>
                  <a:pt x="84" y="276"/>
                </a:lnTo>
                <a:lnTo>
                  <a:pt x="84" y="271"/>
                </a:lnTo>
                <a:lnTo>
                  <a:pt x="84" y="268"/>
                </a:lnTo>
                <a:lnTo>
                  <a:pt x="79" y="263"/>
                </a:lnTo>
                <a:lnTo>
                  <a:pt x="79" y="261"/>
                </a:lnTo>
                <a:lnTo>
                  <a:pt x="76" y="261"/>
                </a:lnTo>
                <a:lnTo>
                  <a:pt x="76" y="256"/>
                </a:lnTo>
                <a:lnTo>
                  <a:pt x="74" y="256"/>
                </a:lnTo>
                <a:lnTo>
                  <a:pt x="74" y="253"/>
                </a:lnTo>
                <a:lnTo>
                  <a:pt x="71" y="253"/>
                </a:lnTo>
                <a:lnTo>
                  <a:pt x="69" y="253"/>
                </a:lnTo>
                <a:lnTo>
                  <a:pt x="66" y="251"/>
                </a:lnTo>
                <a:lnTo>
                  <a:pt x="66" y="249"/>
                </a:lnTo>
                <a:lnTo>
                  <a:pt x="66" y="246"/>
                </a:lnTo>
                <a:lnTo>
                  <a:pt x="69" y="249"/>
                </a:lnTo>
                <a:lnTo>
                  <a:pt x="74" y="246"/>
                </a:lnTo>
                <a:lnTo>
                  <a:pt x="74" y="249"/>
                </a:lnTo>
                <a:lnTo>
                  <a:pt x="76" y="249"/>
                </a:lnTo>
                <a:lnTo>
                  <a:pt x="79" y="249"/>
                </a:lnTo>
                <a:lnTo>
                  <a:pt x="79" y="246"/>
                </a:lnTo>
                <a:lnTo>
                  <a:pt x="81" y="246"/>
                </a:lnTo>
                <a:lnTo>
                  <a:pt x="84" y="249"/>
                </a:lnTo>
                <a:lnTo>
                  <a:pt x="84" y="246"/>
                </a:lnTo>
                <a:lnTo>
                  <a:pt x="84" y="246"/>
                </a:lnTo>
                <a:lnTo>
                  <a:pt x="81" y="246"/>
                </a:lnTo>
                <a:lnTo>
                  <a:pt x="79" y="244"/>
                </a:lnTo>
                <a:lnTo>
                  <a:pt x="79" y="244"/>
                </a:lnTo>
                <a:lnTo>
                  <a:pt x="76" y="239"/>
                </a:lnTo>
                <a:lnTo>
                  <a:pt x="76" y="236"/>
                </a:lnTo>
                <a:lnTo>
                  <a:pt x="79" y="236"/>
                </a:lnTo>
                <a:lnTo>
                  <a:pt x="79" y="234"/>
                </a:lnTo>
                <a:lnTo>
                  <a:pt x="79" y="234"/>
                </a:lnTo>
                <a:lnTo>
                  <a:pt x="79" y="231"/>
                </a:lnTo>
                <a:lnTo>
                  <a:pt x="84" y="229"/>
                </a:lnTo>
                <a:lnTo>
                  <a:pt x="86" y="229"/>
                </a:lnTo>
                <a:lnTo>
                  <a:pt x="89" y="229"/>
                </a:lnTo>
                <a:lnTo>
                  <a:pt x="91" y="229"/>
                </a:lnTo>
                <a:lnTo>
                  <a:pt x="93" y="229"/>
                </a:lnTo>
                <a:lnTo>
                  <a:pt x="96" y="229"/>
                </a:lnTo>
                <a:lnTo>
                  <a:pt x="96" y="229"/>
                </a:lnTo>
                <a:lnTo>
                  <a:pt x="98" y="229"/>
                </a:lnTo>
                <a:lnTo>
                  <a:pt x="101" y="231"/>
                </a:lnTo>
                <a:lnTo>
                  <a:pt x="103" y="231"/>
                </a:lnTo>
                <a:lnTo>
                  <a:pt x="106" y="231"/>
                </a:lnTo>
                <a:lnTo>
                  <a:pt x="106" y="229"/>
                </a:lnTo>
                <a:lnTo>
                  <a:pt x="106" y="229"/>
                </a:lnTo>
                <a:lnTo>
                  <a:pt x="101" y="226"/>
                </a:lnTo>
                <a:lnTo>
                  <a:pt x="101" y="224"/>
                </a:lnTo>
                <a:lnTo>
                  <a:pt x="101" y="219"/>
                </a:lnTo>
                <a:lnTo>
                  <a:pt x="103" y="219"/>
                </a:lnTo>
                <a:lnTo>
                  <a:pt x="103" y="217"/>
                </a:lnTo>
                <a:lnTo>
                  <a:pt x="103" y="217"/>
                </a:lnTo>
                <a:lnTo>
                  <a:pt x="101" y="214"/>
                </a:lnTo>
                <a:lnTo>
                  <a:pt x="101" y="214"/>
                </a:lnTo>
                <a:lnTo>
                  <a:pt x="103" y="212"/>
                </a:lnTo>
                <a:lnTo>
                  <a:pt x="103" y="209"/>
                </a:lnTo>
                <a:lnTo>
                  <a:pt x="101" y="207"/>
                </a:lnTo>
                <a:lnTo>
                  <a:pt x="101" y="204"/>
                </a:lnTo>
                <a:lnTo>
                  <a:pt x="101" y="202"/>
                </a:lnTo>
                <a:lnTo>
                  <a:pt x="101" y="202"/>
                </a:lnTo>
                <a:lnTo>
                  <a:pt x="98" y="202"/>
                </a:lnTo>
                <a:lnTo>
                  <a:pt x="98" y="199"/>
                </a:lnTo>
                <a:lnTo>
                  <a:pt x="98" y="197"/>
                </a:lnTo>
                <a:lnTo>
                  <a:pt x="91" y="197"/>
                </a:lnTo>
                <a:lnTo>
                  <a:pt x="91" y="197"/>
                </a:lnTo>
                <a:lnTo>
                  <a:pt x="89" y="197"/>
                </a:lnTo>
                <a:lnTo>
                  <a:pt x="89" y="199"/>
                </a:lnTo>
                <a:lnTo>
                  <a:pt x="86" y="199"/>
                </a:lnTo>
                <a:lnTo>
                  <a:pt x="86" y="202"/>
                </a:lnTo>
                <a:lnTo>
                  <a:pt x="84" y="202"/>
                </a:lnTo>
                <a:lnTo>
                  <a:pt x="81" y="202"/>
                </a:lnTo>
                <a:lnTo>
                  <a:pt x="81" y="199"/>
                </a:lnTo>
                <a:lnTo>
                  <a:pt x="81" y="199"/>
                </a:lnTo>
                <a:lnTo>
                  <a:pt x="79" y="202"/>
                </a:lnTo>
                <a:lnTo>
                  <a:pt x="79" y="199"/>
                </a:lnTo>
                <a:lnTo>
                  <a:pt x="79" y="197"/>
                </a:lnTo>
                <a:lnTo>
                  <a:pt x="76" y="197"/>
                </a:lnTo>
                <a:lnTo>
                  <a:pt x="76" y="197"/>
                </a:lnTo>
                <a:lnTo>
                  <a:pt x="74" y="197"/>
                </a:lnTo>
                <a:lnTo>
                  <a:pt x="71" y="197"/>
                </a:lnTo>
                <a:lnTo>
                  <a:pt x="69" y="197"/>
                </a:lnTo>
                <a:lnTo>
                  <a:pt x="66" y="197"/>
                </a:lnTo>
                <a:lnTo>
                  <a:pt x="66" y="199"/>
                </a:lnTo>
                <a:lnTo>
                  <a:pt x="64" y="202"/>
                </a:lnTo>
                <a:lnTo>
                  <a:pt x="64" y="199"/>
                </a:lnTo>
                <a:lnTo>
                  <a:pt x="61" y="199"/>
                </a:lnTo>
                <a:lnTo>
                  <a:pt x="61" y="202"/>
                </a:lnTo>
                <a:lnTo>
                  <a:pt x="59" y="202"/>
                </a:lnTo>
                <a:lnTo>
                  <a:pt x="57" y="204"/>
                </a:lnTo>
                <a:lnTo>
                  <a:pt x="54" y="207"/>
                </a:lnTo>
                <a:lnTo>
                  <a:pt x="54" y="207"/>
                </a:lnTo>
                <a:lnTo>
                  <a:pt x="54" y="207"/>
                </a:lnTo>
                <a:lnTo>
                  <a:pt x="52" y="209"/>
                </a:lnTo>
                <a:lnTo>
                  <a:pt x="52" y="207"/>
                </a:lnTo>
                <a:lnTo>
                  <a:pt x="49" y="207"/>
                </a:lnTo>
                <a:lnTo>
                  <a:pt x="49" y="209"/>
                </a:lnTo>
                <a:lnTo>
                  <a:pt x="47" y="209"/>
                </a:lnTo>
                <a:lnTo>
                  <a:pt x="44" y="207"/>
                </a:lnTo>
                <a:lnTo>
                  <a:pt x="44" y="207"/>
                </a:lnTo>
                <a:lnTo>
                  <a:pt x="44" y="20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 name="Freeform 19"/>
          <p:cNvSpPr>
            <a:spLocks/>
          </p:cNvSpPr>
          <p:nvPr/>
        </p:nvSpPr>
        <p:spPr bwMode="auto">
          <a:xfrm>
            <a:off x="6070209" y="3257409"/>
            <a:ext cx="406109" cy="238086"/>
          </a:xfrm>
          <a:custGeom>
            <a:avLst/>
            <a:gdLst/>
            <a:ahLst/>
            <a:cxnLst>
              <a:cxn ang="0">
                <a:pos x="197" y="145"/>
              </a:cxn>
              <a:cxn ang="0">
                <a:pos x="202" y="136"/>
              </a:cxn>
              <a:cxn ang="0">
                <a:pos x="199" y="131"/>
              </a:cxn>
              <a:cxn ang="0">
                <a:pos x="199" y="123"/>
              </a:cxn>
              <a:cxn ang="0">
                <a:pos x="194" y="118"/>
              </a:cxn>
              <a:cxn ang="0">
                <a:pos x="187" y="116"/>
              </a:cxn>
              <a:cxn ang="0">
                <a:pos x="189" y="109"/>
              </a:cxn>
              <a:cxn ang="0">
                <a:pos x="199" y="109"/>
              </a:cxn>
              <a:cxn ang="0">
                <a:pos x="207" y="101"/>
              </a:cxn>
              <a:cxn ang="0">
                <a:pos x="204" y="99"/>
              </a:cxn>
              <a:cxn ang="0">
                <a:pos x="217" y="94"/>
              </a:cxn>
              <a:cxn ang="0">
                <a:pos x="212" y="89"/>
              </a:cxn>
              <a:cxn ang="0">
                <a:pos x="214" y="84"/>
              </a:cxn>
              <a:cxn ang="0">
                <a:pos x="221" y="82"/>
              </a:cxn>
              <a:cxn ang="0">
                <a:pos x="231" y="79"/>
              </a:cxn>
              <a:cxn ang="0">
                <a:pos x="239" y="82"/>
              </a:cxn>
              <a:cxn ang="0">
                <a:pos x="249" y="77"/>
              </a:cxn>
              <a:cxn ang="0">
                <a:pos x="241" y="67"/>
              </a:cxn>
              <a:cxn ang="0">
                <a:pos x="239" y="72"/>
              </a:cxn>
              <a:cxn ang="0">
                <a:pos x="234" y="74"/>
              </a:cxn>
              <a:cxn ang="0">
                <a:pos x="224" y="69"/>
              </a:cxn>
              <a:cxn ang="0">
                <a:pos x="221" y="62"/>
              </a:cxn>
              <a:cxn ang="0">
                <a:pos x="226" y="52"/>
              </a:cxn>
              <a:cxn ang="0">
                <a:pos x="221" y="57"/>
              </a:cxn>
              <a:cxn ang="0">
                <a:pos x="212" y="64"/>
              </a:cxn>
              <a:cxn ang="0">
                <a:pos x="209" y="72"/>
              </a:cxn>
              <a:cxn ang="0">
                <a:pos x="199" y="82"/>
              </a:cxn>
              <a:cxn ang="0">
                <a:pos x="192" y="77"/>
              </a:cxn>
              <a:cxn ang="0">
                <a:pos x="182" y="77"/>
              </a:cxn>
              <a:cxn ang="0">
                <a:pos x="170" y="82"/>
              </a:cxn>
              <a:cxn ang="0">
                <a:pos x="153" y="62"/>
              </a:cxn>
              <a:cxn ang="0">
                <a:pos x="148" y="42"/>
              </a:cxn>
              <a:cxn ang="0">
                <a:pos x="135" y="27"/>
              </a:cxn>
              <a:cxn ang="0">
                <a:pos x="89" y="30"/>
              </a:cxn>
              <a:cxn ang="0">
                <a:pos x="64" y="18"/>
              </a:cxn>
              <a:cxn ang="0">
                <a:pos x="0" y="8"/>
              </a:cxn>
              <a:cxn ang="0">
                <a:pos x="20" y="82"/>
              </a:cxn>
              <a:cxn ang="0">
                <a:pos x="27" y="79"/>
              </a:cxn>
              <a:cxn ang="0">
                <a:pos x="25" y="69"/>
              </a:cxn>
              <a:cxn ang="0">
                <a:pos x="32" y="62"/>
              </a:cxn>
              <a:cxn ang="0">
                <a:pos x="37" y="57"/>
              </a:cxn>
              <a:cxn ang="0">
                <a:pos x="44" y="57"/>
              </a:cxn>
              <a:cxn ang="0">
                <a:pos x="47" y="54"/>
              </a:cxn>
              <a:cxn ang="0">
                <a:pos x="66" y="64"/>
              </a:cxn>
              <a:cxn ang="0">
                <a:pos x="79" y="74"/>
              </a:cxn>
              <a:cxn ang="0">
                <a:pos x="91" y="79"/>
              </a:cxn>
              <a:cxn ang="0">
                <a:pos x="101" y="84"/>
              </a:cxn>
              <a:cxn ang="0">
                <a:pos x="106" y="94"/>
              </a:cxn>
              <a:cxn ang="0">
                <a:pos x="111" y="106"/>
              </a:cxn>
              <a:cxn ang="0">
                <a:pos x="128" y="114"/>
              </a:cxn>
              <a:cxn ang="0">
                <a:pos x="150" y="126"/>
              </a:cxn>
              <a:cxn ang="0">
                <a:pos x="167" y="136"/>
              </a:cxn>
              <a:cxn ang="0">
                <a:pos x="172" y="138"/>
              </a:cxn>
              <a:cxn ang="0">
                <a:pos x="177" y="145"/>
              </a:cxn>
              <a:cxn ang="0">
                <a:pos x="182" y="150"/>
              </a:cxn>
              <a:cxn ang="0">
                <a:pos x="187" y="155"/>
              </a:cxn>
              <a:cxn ang="0">
                <a:pos x="192" y="153"/>
              </a:cxn>
              <a:cxn ang="0">
                <a:pos x="197" y="155"/>
              </a:cxn>
            </a:cxnLst>
            <a:rect l="0" t="0" r="r" b="b"/>
            <a:pathLst>
              <a:path w="249" h="155">
                <a:moveTo>
                  <a:pt x="197" y="155"/>
                </a:moveTo>
                <a:lnTo>
                  <a:pt x="197" y="145"/>
                </a:lnTo>
                <a:lnTo>
                  <a:pt x="202" y="138"/>
                </a:lnTo>
                <a:lnTo>
                  <a:pt x="202" y="136"/>
                </a:lnTo>
                <a:lnTo>
                  <a:pt x="202" y="131"/>
                </a:lnTo>
                <a:lnTo>
                  <a:pt x="199" y="131"/>
                </a:lnTo>
                <a:lnTo>
                  <a:pt x="197" y="126"/>
                </a:lnTo>
                <a:lnTo>
                  <a:pt x="199" y="123"/>
                </a:lnTo>
                <a:lnTo>
                  <a:pt x="197" y="118"/>
                </a:lnTo>
                <a:lnTo>
                  <a:pt x="194" y="118"/>
                </a:lnTo>
                <a:lnTo>
                  <a:pt x="192" y="121"/>
                </a:lnTo>
                <a:lnTo>
                  <a:pt x="187" y="116"/>
                </a:lnTo>
                <a:lnTo>
                  <a:pt x="187" y="111"/>
                </a:lnTo>
                <a:lnTo>
                  <a:pt x="189" y="109"/>
                </a:lnTo>
                <a:lnTo>
                  <a:pt x="197" y="109"/>
                </a:lnTo>
                <a:lnTo>
                  <a:pt x="199" y="109"/>
                </a:lnTo>
                <a:lnTo>
                  <a:pt x="199" y="104"/>
                </a:lnTo>
                <a:lnTo>
                  <a:pt x="207" y="101"/>
                </a:lnTo>
                <a:lnTo>
                  <a:pt x="204" y="99"/>
                </a:lnTo>
                <a:lnTo>
                  <a:pt x="204" y="99"/>
                </a:lnTo>
                <a:lnTo>
                  <a:pt x="209" y="96"/>
                </a:lnTo>
                <a:lnTo>
                  <a:pt x="217" y="94"/>
                </a:lnTo>
                <a:lnTo>
                  <a:pt x="217" y="91"/>
                </a:lnTo>
                <a:lnTo>
                  <a:pt x="212" y="89"/>
                </a:lnTo>
                <a:lnTo>
                  <a:pt x="212" y="86"/>
                </a:lnTo>
                <a:lnTo>
                  <a:pt x="214" y="84"/>
                </a:lnTo>
                <a:lnTo>
                  <a:pt x="219" y="82"/>
                </a:lnTo>
                <a:lnTo>
                  <a:pt x="221" y="82"/>
                </a:lnTo>
                <a:lnTo>
                  <a:pt x="226" y="77"/>
                </a:lnTo>
                <a:lnTo>
                  <a:pt x="231" y="79"/>
                </a:lnTo>
                <a:lnTo>
                  <a:pt x="231" y="82"/>
                </a:lnTo>
                <a:lnTo>
                  <a:pt x="239" y="82"/>
                </a:lnTo>
                <a:lnTo>
                  <a:pt x="244" y="82"/>
                </a:lnTo>
                <a:lnTo>
                  <a:pt x="249" y="77"/>
                </a:lnTo>
                <a:lnTo>
                  <a:pt x="249" y="74"/>
                </a:lnTo>
                <a:lnTo>
                  <a:pt x="241" y="67"/>
                </a:lnTo>
                <a:lnTo>
                  <a:pt x="239" y="67"/>
                </a:lnTo>
                <a:lnTo>
                  <a:pt x="239" y="72"/>
                </a:lnTo>
                <a:lnTo>
                  <a:pt x="236" y="74"/>
                </a:lnTo>
                <a:lnTo>
                  <a:pt x="234" y="74"/>
                </a:lnTo>
                <a:lnTo>
                  <a:pt x="229" y="72"/>
                </a:lnTo>
                <a:lnTo>
                  <a:pt x="224" y="69"/>
                </a:lnTo>
                <a:lnTo>
                  <a:pt x="219" y="67"/>
                </a:lnTo>
                <a:lnTo>
                  <a:pt x="221" y="62"/>
                </a:lnTo>
                <a:lnTo>
                  <a:pt x="226" y="54"/>
                </a:lnTo>
                <a:lnTo>
                  <a:pt x="226" y="52"/>
                </a:lnTo>
                <a:lnTo>
                  <a:pt x="224" y="52"/>
                </a:lnTo>
                <a:lnTo>
                  <a:pt x="221" y="57"/>
                </a:lnTo>
                <a:lnTo>
                  <a:pt x="219" y="57"/>
                </a:lnTo>
                <a:lnTo>
                  <a:pt x="212" y="64"/>
                </a:lnTo>
                <a:lnTo>
                  <a:pt x="212" y="69"/>
                </a:lnTo>
                <a:lnTo>
                  <a:pt x="209" y="72"/>
                </a:lnTo>
                <a:lnTo>
                  <a:pt x="207" y="77"/>
                </a:lnTo>
                <a:lnTo>
                  <a:pt x="199" y="82"/>
                </a:lnTo>
                <a:lnTo>
                  <a:pt x="197" y="82"/>
                </a:lnTo>
                <a:lnTo>
                  <a:pt x="192" y="77"/>
                </a:lnTo>
                <a:lnTo>
                  <a:pt x="185" y="77"/>
                </a:lnTo>
                <a:lnTo>
                  <a:pt x="182" y="77"/>
                </a:lnTo>
                <a:lnTo>
                  <a:pt x="175" y="82"/>
                </a:lnTo>
                <a:lnTo>
                  <a:pt x="170" y="82"/>
                </a:lnTo>
                <a:lnTo>
                  <a:pt x="165" y="64"/>
                </a:lnTo>
                <a:lnTo>
                  <a:pt x="153" y="62"/>
                </a:lnTo>
                <a:lnTo>
                  <a:pt x="153" y="40"/>
                </a:lnTo>
                <a:lnTo>
                  <a:pt x="148" y="42"/>
                </a:lnTo>
                <a:lnTo>
                  <a:pt x="143" y="32"/>
                </a:lnTo>
                <a:lnTo>
                  <a:pt x="135" y="27"/>
                </a:lnTo>
                <a:lnTo>
                  <a:pt x="111" y="27"/>
                </a:lnTo>
                <a:lnTo>
                  <a:pt x="89" y="30"/>
                </a:lnTo>
                <a:lnTo>
                  <a:pt x="74" y="20"/>
                </a:lnTo>
                <a:lnTo>
                  <a:pt x="64" y="18"/>
                </a:lnTo>
                <a:lnTo>
                  <a:pt x="39" y="0"/>
                </a:lnTo>
                <a:lnTo>
                  <a:pt x="0" y="8"/>
                </a:lnTo>
                <a:lnTo>
                  <a:pt x="12" y="82"/>
                </a:lnTo>
                <a:lnTo>
                  <a:pt x="20" y="82"/>
                </a:lnTo>
                <a:lnTo>
                  <a:pt x="25" y="82"/>
                </a:lnTo>
                <a:lnTo>
                  <a:pt x="27" y="79"/>
                </a:lnTo>
                <a:lnTo>
                  <a:pt x="25" y="77"/>
                </a:lnTo>
                <a:lnTo>
                  <a:pt x="25" y="69"/>
                </a:lnTo>
                <a:lnTo>
                  <a:pt x="27" y="64"/>
                </a:lnTo>
                <a:lnTo>
                  <a:pt x="32" y="62"/>
                </a:lnTo>
                <a:lnTo>
                  <a:pt x="34" y="59"/>
                </a:lnTo>
                <a:lnTo>
                  <a:pt x="37" y="57"/>
                </a:lnTo>
                <a:lnTo>
                  <a:pt x="42" y="59"/>
                </a:lnTo>
                <a:lnTo>
                  <a:pt x="44" y="57"/>
                </a:lnTo>
                <a:lnTo>
                  <a:pt x="39" y="54"/>
                </a:lnTo>
                <a:lnTo>
                  <a:pt x="47" y="54"/>
                </a:lnTo>
                <a:lnTo>
                  <a:pt x="59" y="59"/>
                </a:lnTo>
                <a:lnTo>
                  <a:pt x="66" y="64"/>
                </a:lnTo>
                <a:lnTo>
                  <a:pt x="69" y="69"/>
                </a:lnTo>
                <a:lnTo>
                  <a:pt x="79" y="74"/>
                </a:lnTo>
                <a:lnTo>
                  <a:pt x="89" y="79"/>
                </a:lnTo>
                <a:lnTo>
                  <a:pt x="91" y="79"/>
                </a:lnTo>
                <a:lnTo>
                  <a:pt x="94" y="79"/>
                </a:lnTo>
                <a:lnTo>
                  <a:pt x="101" y="84"/>
                </a:lnTo>
                <a:lnTo>
                  <a:pt x="103" y="94"/>
                </a:lnTo>
                <a:lnTo>
                  <a:pt x="106" y="94"/>
                </a:lnTo>
                <a:lnTo>
                  <a:pt x="108" y="99"/>
                </a:lnTo>
                <a:lnTo>
                  <a:pt x="111" y="106"/>
                </a:lnTo>
                <a:lnTo>
                  <a:pt x="116" y="109"/>
                </a:lnTo>
                <a:lnTo>
                  <a:pt x="128" y="114"/>
                </a:lnTo>
                <a:lnTo>
                  <a:pt x="138" y="121"/>
                </a:lnTo>
                <a:lnTo>
                  <a:pt x="150" y="126"/>
                </a:lnTo>
                <a:lnTo>
                  <a:pt x="160" y="133"/>
                </a:lnTo>
                <a:lnTo>
                  <a:pt x="167" y="136"/>
                </a:lnTo>
                <a:lnTo>
                  <a:pt x="170" y="138"/>
                </a:lnTo>
                <a:lnTo>
                  <a:pt x="172" y="138"/>
                </a:lnTo>
                <a:lnTo>
                  <a:pt x="177" y="141"/>
                </a:lnTo>
                <a:lnTo>
                  <a:pt x="177" y="145"/>
                </a:lnTo>
                <a:lnTo>
                  <a:pt x="177" y="153"/>
                </a:lnTo>
                <a:lnTo>
                  <a:pt x="182" y="150"/>
                </a:lnTo>
                <a:lnTo>
                  <a:pt x="187" y="153"/>
                </a:lnTo>
                <a:lnTo>
                  <a:pt x="187" y="155"/>
                </a:lnTo>
                <a:lnTo>
                  <a:pt x="189" y="155"/>
                </a:lnTo>
                <a:lnTo>
                  <a:pt x="192" y="153"/>
                </a:lnTo>
                <a:lnTo>
                  <a:pt x="194" y="153"/>
                </a:lnTo>
                <a:lnTo>
                  <a:pt x="197" y="155"/>
                </a:lnTo>
                <a:lnTo>
                  <a:pt x="197" y="15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1" name="Freeform 20"/>
          <p:cNvSpPr>
            <a:spLocks/>
          </p:cNvSpPr>
          <p:nvPr/>
        </p:nvSpPr>
        <p:spPr bwMode="auto">
          <a:xfrm>
            <a:off x="5998447" y="3340355"/>
            <a:ext cx="360443" cy="216582"/>
          </a:xfrm>
          <a:custGeom>
            <a:avLst/>
            <a:gdLst/>
            <a:ahLst/>
            <a:cxnLst>
              <a:cxn ang="0">
                <a:pos x="221" y="87"/>
              </a:cxn>
              <a:cxn ang="0">
                <a:pos x="211" y="82"/>
              </a:cxn>
              <a:cxn ang="0">
                <a:pos x="182" y="67"/>
              </a:cxn>
              <a:cxn ang="0">
                <a:pos x="155" y="52"/>
              </a:cxn>
              <a:cxn ang="0">
                <a:pos x="147" y="40"/>
              </a:cxn>
              <a:cxn ang="0">
                <a:pos x="135" y="25"/>
              </a:cxn>
              <a:cxn ang="0">
                <a:pos x="113" y="15"/>
              </a:cxn>
              <a:cxn ang="0">
                <a:pos x="91" y="0"/>
              </a:cxn>
              <a:cxn ang="0">
                <a:pos x="86" y="5"/>
              </a:cxn>
              <a:cxn ang="0">
                <a:pos x="76" y="8"/>
              </a:cxn>
              <a:cxn ang="0">
                <a:pos x="69" y="23"/>
              </a:cxn>
              <a:cxn ang="0">
                <a:pos x="64" y="28"/>
              </a:cxn>
              <a:cxn ang="0">
                <a:pos x="37" y="18"/>
              </a:cxn>
              <a:cxn ang="0">
                <a:pos x="10" y="13"/>
              </a:cxn>
              <a:cxn ang="0">
                <a:pos x="2" y="25"/>
              </a:cxn>
              <a:cxn ang="0">
                <a:pos x="7" y="32"/>
              </a:cxn>
              <a:cxn ang="0">
                <a:pos x="7" y="45"/>
              </a:cxn>
              <a:cxn ang="0">
                <a:pos x="10" y="57"/>
              </a:cxn>
              <a:cxn ang="0">
                <a:pos x="15" y="57"/>
              </a:cxn>
              <a:cxn ang="0">
                <a:pos x="22" y="57"/>
              </a:cxn>
              <a:cxn ang="0">
                <a:pos x="22" y="64"/>
              </a:cxn>
              <a:cxn ang="0">
                <a:pos x="27" y="67"/>
              </a:cxn>
              <a:cxn ang="0">
                <a:pos x="19" y="64"/>
              </a:cxn>
              <a:cxn ang="0">
                <a:pos x="19" y="74"/>
              </a:cxn>
              <a:cxn ang="0">
                <a:pos x="22" y="69"/>
              </a:cxn>
              <a:cxn ang="0">
                <a:pos x="29" y="74"/>
              </a:cxn>
              <a:cxn ang="0">
                <a:pos x="32" y="87"/>
              </a:cxn>
              <a:cxn ang="0">
                <a:pos x="37" y="106"/>
              </a:cxn>
              <a:cxn ang="0">
                <a:pos x="47" y="99"/>
              </a:cxn>
              <a:cxn ang="0">
                <a:pos x="59" y="91"/>
              </a:cxn>
              <a:cxn ang="0">
                <a:pos x="71" y="89"/>
              </a:cxn>
              <a:cxn ang="0">
                <a:pos x="81" y="89"/>
              </a:cxn>
              <a:cxn ang="0">
                <a:pos x="101" y="99"/>
              </a:cxn>
              <a:cxn ang="0">
                <a:pos x="113" y="101"/>
              </a:cxn>
              <a:cxn ang="0">
                <a:pos x="118" y="106"/>
              </a:cxn>
              <a:cxn ang="0">
                <a:pos x="133" y="116"/>
              </a:cxn>
              <a:cxn ang="0">
                <a:pos x="145" y="123"/>
              </a:cxn>
              <a:cxn ang="0">
                <a:pos x="147" y="131"/>
              </a:cxn>
              <a:cxn ang="0">
                <a:pos x="152" y="133"/>
              </a:cxn>
              <a:cxn ang="0">
                <a:pos x="160" y="133"/>
              </a:cxn>
              <a:cxn ang="0">
                <a:pos x="167" y="138"/>
              </a:cxn>
              <a:cxn ang="0">
                <a:pos x="174" y="138"/>
              </a:cxn>
              <a:cxn ang="0">
                <a:pos x="179" y="131"/>
              </a:cxn>
              <a:cxn ang="0">
                <a:pos x="189" y="126"/>
              </a:cxn>
              <a:cxn ang="0">
                <a:pos x="194" y="121"/>
              </a:cxn>
              <a:cxn ang="0">
                <a:pos x="199" y="109"/>
              </a:cxn>
              <a:cxn ang="0">
                <a:pos x="197" y="104"/>
              </a:cxn>
              <a:cxn ang="0">
                <a:pos x="204" y="101"/>
              </a:cxn>
              <a:cxn ang="0">
                <a:pos x="214" y="96"/>
              </a:cxn>
              <a:cxn ang="0">
                <a:pos x="221" y="99"/>
              </a:cxn>
            </a:cxnLst>
            <a:rect l="0" t="0" r="r" b="b"/>
            <a:pathLst>
              <a:path w="221" h="141">
                <a:moveTo>
                  <a:pt x="221" y="99"/>
                </a:moveTo>
                <a:lnTo>
                  <a:pt x="221" y="91"/>
                </a:lnTo>
                <a:lnTo>
                  <a:pt x="221" y="87"/>
                </a:lnTo>
                <a:lnTo>
                  <a:pt x="216" y="84"/>
                </a:lnTo>
                <a:lnTo>
                  <a:pt x="214" y="84"/>
                </a:lnTo>
                <a:lnTo>
                  <a:pt x="211" y="82"/>
                </a:lnTo>
                <a:lnTo>
                  <a:pt x="204" y="79"/>
                </a:lnTo>
                <a:lnTo>
                  <a:pt x="194" y="72"/>
                </a:lnTo>
                <a:lnTo>
                  <a:pt x="182" y="67"/>
                </a:lnTo>
                <a:lnTo>
                  <a:pt x="172" y="60"/>
                </a:lnTo>
                <a:lnTo>
                  <a:pt x="160" y="55"/>
                </a:lnTo>
                <a:lnTo>
                  <a:pt x="155" y="52"/>
                </a:lnTo>
                <a:lnTo>
                  <a:pt x="152" y="45"/>
                </a:lnTo>
                <a:lnTo>
                  <a:pt x="150" y="40"/>
                </a:lnTo>
                <a:lnTo>
                  <a:pt x="147" y="40"/>
                </a:lnTo>
                <a:lnTo>
                  <a:pt x="145" y="30"/>
                </a:lnTo>
                <a:lnTo>
                  <a:pt x="138" y="25"/>
                </a:lnTo>
                <a:lnTo>
                  <a:pt x="135" y="25"/>
                </a:lnTo>
                <a:lnTo>
                  <a:pt x="133" y="25"/>
                </a:lnTo>
                <a:lnTo>
                  <a:pt x="123" y="20"/>
                </a:lnTo>
                <a:lnTo>
                  <a:pt x="113" y="15"/>
                </a:lnTo>
                <a:lnTo>
                  <a:pt x="110" y="10"/>
                </a:lnTo>
                <a:lnTo>
                  <a:pt x="103" y="5"/>
                </a:lnTo>
                <a:lnTo>
                  <a:pt x="91" y="0"/>
                </a:lnTo>
                <a:lnTo>
                  <a:pt x="83" y="0"/>
                </a:lnTo>
                <a:lnTo>
                  <a:pt x="88" y="3"/>
                </a:lnTo>
                <a:lnTo>
                  <a:pt x="86" y="5"/>
                </a:lnTo>
                <a:lnTo>
                  <a:pt x="81" y="3"/>
                </a:lnTo>
                <a:lnTo>
                  <a:pt x="78" y="5"/>
                </a:lnTo>
                <a:lnTo>
                  <a:pt x="76" y="8"/>
                </a:lnTo>
                <a:lnTo>
                  <a:pt x="71" y="10"/>
                </a:lnTo>
                <a:lnTo>
                  <a:pt x="69" y="15"/>
                </a:lnTo>
                <a:lnTo>
                  <a:pt x="69" y="23"/>
                </a:lnTo>
                <a:lnTo>
                  <a:pt x="71" y="25"/>
                </a:lnTo>
                <a:lnTo>
                  <a:pt x="69" y="28"/>
                </a:lnTo>
                <a:lnTo>
                  <a:pt x="64" y="28"/>
                </a:lnTo>
                <a:lnTo>
                  <a:pt x="54" y="28"/>
                </a:lnTo>
                <a:lnTo>
                  <a:pt x="49" y="30"/>
                </a:lnTo>
                <a:lnTo>
                  <a:pt x="37" y="18"/>
                </a:lnTo>
                <a:lnTo>
                  <a:pt x="27" y="10"/>
                </a:lnTo>
                <a:lnTo>
                  <a:pt x="17" y="10"/>
                </a:lnTo>
                <a:lnTo>
                  <a:pt x="10" y="13"/>
                </a:lnTo>
                <a:lnTo>
                  <a:pt x="0" y="20"/>
                </a:lnTo>
                <a:lnTo>
                  <a:pt x="0" y="23"/>
                </a:lnTo>
                <a:lnTo>
                  <a:pt x="2" y="25"/>
                </a:lnTo>
                <a:lnTo>
                  <a:pt x="2" y="28"/>
                </a:lnTo>
                <a:lnTo>
                  <a:pt x="5" y="30"/>
                </a:lnTo>
                <a:lnTo>
                  <a:pt x="7" y="32"/>
                </a:lnTo>
                <a:lnTo>
                  <a:pt x="10" y="37"/>
                </a:lnTo>
                <a:lnTo>
                  <a:pt x="10" y="42"/>
                </a:lnTo>
                <a:lnTo>
                  <a:pt x="7" y="45"/>
                </a:lnTo>
                <a:lnTo>
                  <a:pt x="7" y="52"/>
                </a:lnTo>
                <a:lnTo>
                  <a:pt x="10" y="55"/>
                </a:lnTo>
                <a:lnTo>
                  <a:pt x="10" y="57"/>
                </a:lnTo>
                <a:lnTo>
                  <a:pt x="17" y="62"/>
                </a:lnTo>
                <a:lnTo>
                  <a:pt x="15" y="60"/>
                </a:lnTo>
                <a:lnTo>
                  <a:pt x="15" y="57"/>
                </a:lnTo>
                <a:lnTo>
                  <a:pt x="15" y="57"/>
                </a:lnTo>
                <a:lnTo>
                  <a:pt x="19" y="57"/>
                </a:lnTo>
                <a:lnTo>
                  <a:pt x="22" y="57"/>
                </a:lnTo>
                <a:lnTo>
                  <a:pt x="22" y="57"/>
                </a:lnTo>
                <a:lnTo>
                  <a:pt x="22" y="60"/>
                </a:lnTo>
                <a:lnTo>
                  <a:pt x="22" y="64"/>
                </a:lnTo>
                <a:lnTo>
                  <a:pt x="24" y="62"/>
                </a:lnTo>
                <a:lnTo>
                  <a:pt x="27" y="67"/>
                </a:lnTo>
                <a:lnTo>
                  <a:pt x="27" y="67"/>
                </a:lnTo>
                <a:lnTo>
                  <a:pt x="24" y="67"/>
                </a:lnTo>
                <a:lnTo>
                  <a:pt x="22" y="67"/>
                </a:lnTo>
                <a:lnTo>
                  <a:pt x="19" y="64"/>
                </a:lnTo>
                <a:lnTo>
                  <a:pt x="17" y="67"/>
                </a:lnTo>
                <a:lnTo>
                  <a:pt x="17" y="69"/>
                </a:lnTo>
                <a:lnTo>
                  <a:pt x="19" y="74"/>
                </a:lnTo>
                <a:lnTo>
                  <a:pt x="19" y="69"/>
                </a:lnTo>
                <a:lnTo>
                  <a:pt x="19" y="69"/>
                </a:lnTo>
                <a:lnTo>
                  <a:pt x="22" y="69"/>
                </a:lnTo>
                <a:lnTo>
                  <a:pt x="24" y="69"/>
                </a:lnTo>
                <a:lnTo>
                  <a:pt x="27" y="74"/>
                </a:lnTo>
                <a:lnTo>
                  <a:pt x="29" y="74"/>
                </a:lnTo>
                <a:lnTo>
                  <a:pt x="32" y="79"/>
                </a:lnTo>
                <a:lnTo>
                  <a:pt x="32" y="84"/>
                </a:lnTo>
                <a:lnTo>
                  <a:pt x="32" y="87"/>
                </a:lnTo>
                <a:lnTo>
                  <a:pt x="32" y="94"/>
                </a:lnTo>
                <a:lnTo>
                  <a:pt x="32" y="99"/>
                </a:lnTo>
                <a:lnTo>
                  <a:pt x="37" y="106"/>
                </a:lnTo>
                <a:lnTo>
                  <a:pt x="39" y="104"/>
                </a:lnTo>
                <a:lnTo>
                  <a:pt x="47" y="104"/>
                </a:lnTo>
                <a:lnTo>
                  <a:pt x="47" y="99"/>
                </a:lnTo>
                <a:lnTo>
                  <a:pt x="49" y="96"/>
                </a:lnTo>
                <a:lnTo>
                  <a:pt x="51" y="96"/>
                </a:lnTo>
                <a:lnTo>
                  <a:pt x="59" y="91"/>
                </a:lnTo>
                <a:lnTo>
                  <a:pt x="66" y="91"/>
                </a:lnTo>
                <a:lnTo>
                  <a:pt x="71" y="91"/>
                </a:lnTo>
                <a:lnTo>
                  <a:pt x="71" y="89"/>
                </a:lnTo>
                <a:lnTo>
                  <a:pt x="76" y="87"/>
                </a:lnTo>
                <a:lnTo>
                  <a:pt x="78" y="89"/>
                </a:lnTo>
                <a:lnTo>
                  <a:pt x="81" y="89"/>
                </a:lnTo>
                <a:lnTo>
                  <a:pt x="88" y="94"/>
                </a:lnTo>
                <a:lnTo>
                  <a:pt x="91" y="94"/>
                </a:lnTo>
                <a:lnTo>
                  <a:pt x="101" y="99"/>
                </a:lnTo>
                <a:lnTo>
                  <a:pt x="103" y="99"/>
                </a:lnTo>
                <a:lnTo>
                  <a:pt x="106" y="99"/>
                </a:lnTo>
                <a:lnTo>
                  <a:pt x="113" y="101"/>
                </a:lnTo>
                <a:lnTo>
                  <a:pt x="115" y="101"/>
                </a:lnTo>
                <a:lnTo>
                  <a:pt x="115" y="106"/>
                </a:lnTo>
                <a:lnTo>
                  <a:pt x="118" y="106"/>
                </a:lnTo>
                <a:lnTo>
                  <a:pt x="120" y="106"/>
                </a:lnTo>
                <a:lnTo>
                  <a:pt x="128" y="109"/>
                </a:lnTo>
                <a:lnTo>
                  <a:pt x="133" y="116"/>
                </a:lnTo>
                <a:lnTo>
                  <a:pt x="140" y="116"/>
                </a:lnTo>
                <a:lnTo>
                  <a:pt x="142" y="119"/>
                </a:lnTo>
                <a:lnTo>
                  <a:pt x="145" y="123"/>
                </a:lnTo>
                <a:lnTo>
                  <a:pt x="145" y="126"/>
                </a:lnTo>
                <a:lnTo>
                  <a:pt x="147" y="128"/>
                </a:lnTo>
                <a:lnTo>
                  <a:pt x="147" y="131"/>
                </a:lnTo>
                <a:lnTo>
                  <a:pt x="147" y="133"/>
                </a:lnTo>
                <a:lnTo>
                  <a:pt x="150" y="133"/>
                </a:lnTo>
                <a:lnTo>
                  <a:pt x="152" y="133"/>
                </a:lnTo>
                <a:lnTo>
                  <a:pt x="155" y="136"/>
                </a:lnTo>
                <a:lnTo>
                  <a:pt x="157" y="136"/>
                </a:lnTo>
                <a:lnTo>
                  <a:pt x="160" y="133"/>
                </a:lnTo>
                <a:lnTo>
                  <a:pt x="162" y="133"/>
                </a:lnTo>
                <a:lnTo>
                  <a:pt x="165" y="136"/>
                </a:lnTo>
                <a:lnTo>
                  <a:pt x="167" y="138"/>
                </a:lnTo>
                <a:lnTo>
                  <a:pt x="167" y="141"/>
                </a:lnTo>
                <a:lnTo>
                  <a:pt x="170" y="138"/>
                </a:lnTo>
                <a:lnTo>
                  <a:pt x="174" y="138"/>
                </a:lnTo>
                <a:lnTo>
                  <a:pt x="177" y="136"/>
                </a:lnTo>
                <a:lnTo>
                  <a:pt x="177" y="133"/>
                </a:lnTo>
                <a:lnTo>
                  <a:pt x="179" y="131"/>
                </a:lnTo>
                <a:lnTo>
                  <a:pt x="177" y="128"/>
                </a:lnTo>
                <a:lnTo>
                  <a:pt x="182" y="126"/>
                </a:lnTo>
                <a:lnTo>
                  <a:pt x="189" y="126"/>
                </a:lnTo>
                <a:lnTo>
                  <a:pt x="189" y="123"/>
                </a:lnTo>
                <a:lnTo>
                  <a:pt x="192" y="121"/>
                </a:lnTo>
                <a:lnTo>
                  <a:pt x="194" y="121"/>
                </a:lnTo>
                <a:lnTo>
                  <a:pt x="194" y="116"/>
                </a:lnTo>
                <a:lnTo>
                  <a:pt x="194" y="114"/>
                </a:lnTo>
                <a:lnTo>
                  <a:pt x="199" y="109"/>
                </a:lnTo>
                <a:lnTo>
                  <a:pt x="199" y="106"/>
                </a:lnTo>
                <a:lnTo>
                  <a:pt x="197" y="106"/>
                </a:lnTo>
                <a:lnTo>
                  <a:pt x="197" y="104"/>
                </a:lnTo>
                <a:lnTo>
                  <a:pt x="199" y="104"/>
                </a:lnTo>
                <a:lnTo>
                  <a:pt x="201" y="101"/>
                </a:lnTo>
                <a:lnTo>
                  <a:pt x="204" y="101"/>
                </a:lnTo>
                <a:lnTo>
                  <a:pt x="206" y="101"/>
                </a:lnTo>
                <a:lnTo>
                  <a:pt x="211" y="96"/>
                </a:lnTo>
                <a:lnTo>
                  <a:pt x="214" y="96"/>
                </a:lnTo>
                <a:lnTo>
                  <a:pt x="216" y="99"/>
                </a:lnTo>
                <a:lnTo>
                  <a:pt x="221" y="96"/>
                </a:lnTo>
                <a:lnTo>
                  <a:pt x="221" y="99"/>
                </a:lnTo>
                <a:lnTo>
                  <a:pt x="221" y="99"/>
                </a:lnTo>
                <a:lnTo>
                  <a:pt x="221" y="9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2" name="Freeform 21"/>
          <p:cNvSpPr>
            <a:spLocks noEditPoints="1"/>
          </p:cNvSpPr>
          <p:nvPr/>
        </p:nvSpPr>
        <p:spPr bwMode="auto">
          <a:xfrm>
            <a:off x="9211434" y="4871786"/>
            <a:ext cx="76655" cy="59906"/>
          </a:xfrm>
          <a:custGeom>
            <a:avLst/>
            <a:gdLst/>
            <a:ahLst/>
            <a:cxnLst>
              <a:cxn ang="0">
                <a:pos x="22" y="14"/>
              </a:cxn>
              <a:cxn ang="0">
                <a:pos x="25" y="9"/>
              </a:cxn>
              <a:cxn ang="0">
                <a:pos x="27" y="9"/>
              </a:cxn>
              <a:cxn ang="0">
                <a:pos x="32" y="7"/>
              </a:cxn>
              <a:cxn ang="0">
                <a:pos x="35" y="7"/>
              </a:cxn>
              <a:cxn ang="0">
                <a:pos x="40" y="4"/>
              </a:cxn>
              <a:cxn ang="0">
                <a:pos x="42" y="4"/>
              </a:cxn>
              <a:cxn ang="0">
                <a:pos x="47" y="0"/>
              </a:cxn>
              <a:cxn ang="0">
                <a:pos x="47" y="2"/>
              </a:cxn>
              <a:cxn ang="0">
                <a:pos x="45" y="4"/>
              </a:cxn>
              <a:cxn ang="0">
                <a:pos x="45" y="7"/>
              </a:cxn>
              <a:cxn ang="0">
                <a:pos x="40" y="12"/>
              </a:cxn>
              <a:cxn ang="0">
                <a:pos x="42" y="12"/>
              </a:cxn>
              <a:cxn ang="0">
                <a:pos x="45" y="9"/>
              </a:cxn>
              <a:cxn ang="0">
                <a:pos x="47" y="12"/>
              </a:cxn>
              <a:cxn ang="0">
                <a:pos x="45" y="14"/>
              </a:cxn>
              <a:cxn ang="0">
                <a:pos x="37" y="14"/>
              </a:cxn>
              <a:cxn ang="0">
                <a:pos x="35" y="12"/>
              </a:cxn>
              <a:cxn ang="0">
                <a:pos x="32" y="12"/>
              </a:cxn>
              <a:cxn ang="0">
                <a:pos x="32" y="14"/>
              </a:cxn>
              <a:cxn ang="0">
                <a:pos x="27" y="14"/>
              </a:cxn>
              <a:cxn ang="0">
                <a:pos x="25" y="17"/>
              </a:cxn>
              <a:cxn ang="0">
                <a:pos x="22" y="14"/>
              </a:cxn>
              <a:cxn ang="0">
                <a:pos x="22" y="14"/>
              </a:cxn>
              <a:cxn ang="0">
                <a:pos x="22" y="14"/>
              </a:cxn>
              <a:cxn ang="0">
                <a:pos x="5" y="27"/>
              </a:cxn>
              <a:cxn ang="0">
                <a:pos x="10" y="24"/>
              </a:cxn>
              <a:cxn ang="0">
                <a:pos x="17" y="22"/>
              </a:cxn>
              <a:cxn ang="0">
                <a:pos x="22" y="27"/>
              </a:cxn>
              <a:cxn ang="0">
                <a:pos x="25" y="36"/>
              </a:cxn>
              <a:cxn ang="0">
                <a:pos x="20" y="39"/>
              </a:cxn>
              <a:cxn ang="0">
                <a:pos x="15" y="36"/>
              </a:cxn>
              <a:cxn ang="0">
                <a:pos x="13" y="39"/>
              </a:cxn>
              <a:cxn ang="0">
                <a:pos x="5" y="39"/>
              </a:cxn>
              <a:cxn ang="0">
                <a:pos x="0" y="36"/>
              </a:cxn>
              <a:cxn ang="0">
                <a:pos x="0" y="32"/>
              </a:cxn>
              <a:cxn ang="0">
                <a:pos x="5" y="32"/>
              </a:cxn>
              <a:cxn ang="0">
                <a:pos x="5" y="27"/>
              </a:cxn>
              <a:cxn ang="0">
                <a:pos x="5" y="27"/>
              </a:cxn>
            </a:cxnLst>
            <a:rect l="0" t="0" r="r" b="b"/>
            <a:pathLst>
              <a:path w="47" h="39">
                <a:moveTo>
                  <a:pt x="22" y="14"/>
                </a:moveTo>
                <a:lnTo>
                  <a:pt x="25" y="9"/>
                </a:lnTo>
                <a:lnTo>
                  <a:pt x="27" y="9"/>
                </a:lnTo>
                <a:lnTo>
                  <a:pt x="32" y="7"/>
                </a:lnTo>
                <a:lnTo>
                  <a:pt x="35" y="7"/>
                </a:lnTo>
                <a:lnTo>
                  <a:pt x="40" y="4"/>
                </a:lnTo>
                <a:lnTo>
                  <a:pt x="42" y="4"/>
                </a:lnTo>
                <a:lnTo>
                  <a:pt x="47" y="0"/>
                </a:lnTo>
                <a:lnTo>
                  <a:pt x="47" y="2"/>
                </a:lnTo>
                <a:lnTo>
                  <a:pt x="45" y="4"/>
                </a:lnTo>
                <a:lnTo>
                  <a:pt x="45" y="7"/>
                </a:lnTo>
                <a:lnTo>
                  <a:pt x="40" y="12"/>
                </a:lnTo>
                <a:lnTo>
                  <a:pt x="42" y="12"/>
                </a:lnTo>
                <a:lnTo>
                  <a:pt x="45" y="9"/>
                </a:lnTo>
                <a:lnTo>
                  <a:pt x="47" y="12"/>
                </a:lnTo>
                <a:lnTo>
                  <a:pt x="45" y="14"/>
                </a:lnTo>
                <a:lnTo>
                  <a:pt x="37" y="14"/>
                </a:lnTo>
                <a:lnTo>
                  <a:pt x="35" y="12"/>
                </a:lnTo>
                <a:lnTo>
                  <a:pt x="32" y="12"/>
                </a:lnTo>
                <a:lnTo>
                  <a:pt x="32" y="14"/>
                </a:lnTo>
                <a:lnTo>
                  <a:pt x="27" y="14"/>
                </a:lnTo>
                <a:lnTo>
                  <a:pt x="25" y="17"/>
                </a:lnTo>
                <a:lnTo>
                  <a:pt x="22" y="14"/>
                </a:lnTo>
                <a:lnTo>
                  <a:pt x="22" y="14"/>
                </a:lnTo>
                <a:lnTo>
                  <a:pt x="22" y="14"/>
                </a:lnTo>
                <a:close/>
                <a:moveTo>
                  <a:pt x="5" y="27"/>
                </a:moveTo>
                <a:lnTo>
                  <a:pt x="10" y="24"/>
                </a:lnTo>
                <a:lnTo>
                  <a:pt x="17" y="22"/>
                </a:lnTo>
                <a:lnTo>
                  <a:pt x="22" y="27"/>
                </a:lnTo>
                <a:lnTo>
                  <a:pt x="25" y="36"/>
                </a:lnTo>
                <a:lnTo>
                  <a:pt x="20" y="39"/>
                </a:lnTo>
                <a:lnTo>
                  <a:pt x="15" y="36"/>
                </a:lnTo>
                <a:lnTo>
                  <a:pt x="13" y="39"/>
                </a:lnTo>
                <a:lnTo>
                  <a:pt x="5" y="39"/>
                </a:lnTo>
                <a:lnTo>
                  <a:pt x="0" y="36"/>
                </a:lnTo>
                <a:lnTo>
                  <a:pt x="0" y="32"/>
                </a:lnTo>
                <a:lnTo>
                  <a:pt x="5" y="32"/>
                </a:lnTo>
                <a:lnTo>
                  <a:pt x="5" y="27"/>
                </a:lnTo>
                <a:lnTo>
                  <a:pt x="5" y="2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3" name="Freeform 22"/>
          <p:cNvSpPr>
            <a:spLocks noEditPoints="1"/>
          </p:cNvSpPr>
          <p:nvPr/>
        </p:nvSpPr>
        <p:spPr bwMode="auto">
          <a:xfrm>
            <a:off x="8950481" y="4825705"/>
            <a:ext cx="57085" cy="144388"/>
          </a:xfrm>
          <a:custGeom>
            <a:avLst/>
            <a:gdLst/>
            <a:ahLst/>
            <a:cxnLst>
              <a:cxn ang="0">
                <a:pos x="35" y="91"/>
              </a:cxn>
              <a:cxn ang="0">
                <a:pos x="35" y="94"/>
              </a:cxn>
              <a:cxn ang="0">
                <a:pos x="35" y="89"/>
              </a:cxn>
              <a:cxn ang="0">
                <a:pos x="32" y="74"/>
              </a:cxn>
              <a:cxn ang="0">
                <a:pos x="35" y="81"/>
              </a:cxn>
              <a:cxn ang="0">
                <a:pos x="32" y="79"/>
              </a:cxn>
              <a:cxn ang="0">
                <a:pos x="32" y="74"/>
              </a:cxn>
              <a:cxn ang="0">
                <a:pos x="25" y="52"/>
              </a:cxn>
              <a:cxn ang="0">
                <a:pos x="27" y="54"/>
              </a:cxn>
              <a:cxn ang="0">
                <a:pos x="25" y="59"/>
              </a:cxn>
              <a:cxn ang="0">
                <a:pos x="22" y="57"/>
              </a:cxn>
              <a:cxn ang="0">
                <a:pos x="25" y="5"/>
              </a:cxn>
              <a:cxn ang="0">
                <a:pos x="27" y="10"/>
              </a:cxn>
              <a:cxn ang="0">
                <a:pos x="27" y="10"/>
              </a:cxn>
              <a:cxn ang="0">
                <a:pos x="25" y="5"/>
              </a:cxn>
              <a:cxn ang="0">
                <a:pos x="20" y="15"/>
              </a:cxn>
              <a:cxn ang="0">
                <a:pos x="22" y="12"/>
              </a:cxn>
              <a:cxn ang="0">
                <a:pos x="18" y="15"/>
              </a:cxn>
              <a:cxn ang="0">
                <a:pos x="25" y="17"/>
              </a:cxn>
              <a:cxn ang="0">
                <a:pos x="27" y="22"/>
              </a:cxn>
              <a:cxn ang="0">
                <a:pos x="27" y="25"/>
              </a:cxn>
              <a:cxn ang="0">
                <a:pos x="25" y="22"/>
              </a:cxn>
              <a:cxn ang="0">
                <a:pos x="22" y="39"/>
              </a:cxn>
              <a:cxn ang="0">
                <a:pos x="25" y="37"/>
              </a:cxn>
              <a:cxn ang="0">
                <a:pos x="27" y="42"/>
              </a:cxn>
              <a:cxn ang="0">
                <a:pos x="22" y="42"/>
              </a:cxn>
              <a:cxn ang="0">
                <a:pos x="20" y="32"/>
              </a:cxn>
              <a:cxn ang="0">
                <a:pos x="25" y="30"/>
              </a:cxn>
              <a:cxn ang="0">
                <a:pos x="27" y="32"/>
              </a:cxn>
              <a:cxn ang="0">
                <a:pos x="25" y="34"/>
              </a:cxn>
              <a:cxn ang="0">
                <a:pos x="22" y="34"/>
              </a:cxn>
              <a:cxn ang="0">
                <a:pos x="20" y="34"/>
              </a:cxn>
              <a:cxn ang="0">
                <a:pos x="10" y="25"/>
              </a:cxn>
              <a:cxn ang="0">
                <a:pos x="13" y="25"/>
              </a:cxn>
              <a:cxn ang="0">
                <a:pos x="15" y="30"/>
              </a:cxn>
              <a:cxn ang="0">
                <a:pos x="18" y="32"/>
              </a:cxn>
              <a:cxn ang="0">
                <a:pos x="15" y="37"/>
              </a:cxn>
              <a:cxn ang="0">
                <a:pos x="13" y="37"/>
              </a:cxn>
              <a:cxn ang="0">
                <a:pos x="13" y="32"/>
              </a:cxn>
              <a:cxn ang="0">
                <a:pos x="13" y="30"/>
              </a:cxn>
              <a:cxn ang="0">
                <a:pos x="10" y="27"/>
              </a:cxn>
              <a:cxn ang="0">
                <a:pos x="10" y="25"/>
              </a:cxn>
              <a:cxn ang="0">
                <a:pos x="3" y="0"/>
              </a:cxn>
              <a:cxn ang="0">
                <a:pos x="0" y="12"/>
              </a:cxn>
              <a:cxn ang="0">
                <a:pos x="0" y="15"/>
              </a:cxn>
              <a:cxn ang="0">
                <a:pos x="5" y="20"/>
              </a:cxn>
              <a:cxn ang="0">
                <a:pos x="8" y="17"/>
              </a:cxn>
              <a:cxn ang="0">
                <a:pos x="10" y="17"/>
              </a:cxn>
              <a:cxn ang="0">
                <a:pos x="10" y="10"/>
              </a:cxn>
              <a:cxn ang="0">
                <a:pos x="10" y="7"/>
              </a:cxn>
              <a:cxn ang="0">
                <a:pos x="8" y="7"/>
              </a:cxn>
              <a:cxn ang="0">
                <a:pos x="8" y="10"/>
              </a:cxn>
              <a:cxn ang="0">
                <a:pos x="5" y="10"/>
              </a:cxn>
              <a:cxn ang="0">
                <a:pos x="3" y="0"/>
              </a:cxn>
            </a:cxnLst>
            <a:rect l="0" t="0" r="r" b="b"/>
            <a:pathLst>
              <a:path w="35" h="94">
                <a:moveTo>
                  <a:pt x="35" y="89"/>
                </a:moveTo>
                <a:lnTo>
                  <a:pt x="35" y="89"/>
                </a:lnTo>
                <a:lnTo>
                  <a:pt x="35" y="91"/>
                </a:lnTo>
                <a:lnTo>
                  <a:pt x="35" y="91"/>
                </a:lnTo>
                <a:lnTo>
                  <a:pt x="35" y="94"/>
                </a:lnTo>
                <a:lnTo>
                  <a:pt x="35" y="94"/>
                </a:lnTo>
                <a:lnTo>
                  <a:pt x="35" y="91"/>
                </a:lnTo>
                <a:lnTo>
                  <a:pt x="35" y="91"/>
                </a:lnTo>
                <a:lnTo>
                  <a:pt x="35" y="89"/>
                </a:lnTo>
                <a:lnTo>
                  <a:pt x="35" y="89"/>
                </a:lnTo>
                <a:close/>
                <a:moveTo>
                  <a:pt x="32" y="74"/>
                </a:moveTo>
                <a:lnTo>
                  <a:pt x="32" y="74"/>
                </a:lnTo>
                <a:lnTo>
                  <a:pt x="35" y="76"/>
                </a:lnTo>
                <a:lnTo>
                  <a:pt x="35" y="76"/>
                </a:lnTo>
                <a:lnTo>
                  <a:pt x="35" y="81"/>
                </a:lnTo>
                <a:lnTo>
                  <a:pt x="35" y="81"/>
                </a:lnTo>
                <a:lnTo>
                  <a:pt x="32" y="79"/>
                </a:lnTo>
                <a:lnTo>
                  <a:pt x="32" y="79"/>
                </a:lnTo>
                <a:lnTo>
                  <a:pt x="32" y="74"/>
                </a:lnTo>
                <a:lnTo>
                  <a:pt x="32" y="74"/>
                </a:lnTo>
                <a:lnTo>
                  <a:pt x="32" y="74"/>
                </a:lnTo>
                <a:close/>
                <a:moveTo>
                  <a:pt x="22" y="54"/>
                </a:moveTo>
                <a:lnTo>
                  <a:pt x="22" y="54"/>
                </a:lnTo>
                <a:lnTo>
                  <a:pt x="25" y="52"/>
                </a:lnTo>
                <a:lnTo>
                  <a:pt x="25" y="52"/>
                </a:lnTo>
                <a:lnTo>
                  <a:pt x="27" y="54"/>
                </a:lnTo>
                <a:lnTo>
                  <a:pt x="27" y="54"/>
                </a:lnTo>
                <a:lnTo>
                  <a:pt x="27" y="59"/>
                </a:lnTo>
                <a:lnTo>
                  <a:pt x="27" y="59"/>
                </a:lnTo>
                <a:lnTo>
                  <a:pt x="25" y="59"/>
                </a:lnTo>
                <a:lnTo>
                  <a:pt x="25" y="59"/>
                </a:lnTo>
                <a:lnTo>
                  <a:pt x="22" y="57"/>
                </a:lnTo>
                <a:lnTo>
                  <a:pt x="22" y="57"/>
                </a:lnTo>
                <a:lnTo>
                  <a:pt x="22" y="54"/>
                </a:lnTo>
                <a:lnTo>
                  <a:pt x="22" y="54"/>
                </a:lnTo>
                <a:close/>
                <a:moveTo>
                  <a:pt x="25" y="5"/>
                </a:moveTo>
                <a:lnTo>
                  <a:pt x="25" y="5"/>
                </a:lnTo>
                <a:lnTo>
                  <a:pt x="27" y="10"/>
                </a:lnTo>
                <a:lnTo>
                  <a:pt x="27" y="10"/>
                </a:lnTo>
                <a:lnTo>
                  <a:pt x="25" y="12"/>
                </a:lnTo>
                <a:lnTo>
                  <a:pt x="25" y="12"/>
                </a:lnTo>
                <a:lnTo>
                  <a:pt x="27" y="10"/>
                </a:lnTo>
                <a:lnTo>
                  <a:pt x="27" y="10"/>
                </a:lnTo>
                <a:lnTo>
                  <a:pt x="25" y="5"/>
                </a:lnTo>
                <a:lnTo>
                  <a:pt x="25" y="5"/>
                </a:lnTo>
                <a:close/>
                <a:moveTo>
                  <a:pt x="18" y="15"/>
                </a:moveTo>
                <a:lnTo>
                  <a:pt x="18" y="15"/>
                </a:lnTo>
                <a:lnTo>
                  <a:pt x="20" y="15"/>
                </a:lnTo>
                <a:lnTo>
                  <a:pt x="20" y="15"/>
                </a:lnTo>
                <a:lnTo>
                  <a:pt x="22" y="12"/>
                </a:lnTo>
                <a:lnTo>
                  <a:pt x="22" y="12"/>
                </a:lnTo>
                <a:lnTo>
                  <a:pt x="22" y="12"/>
                </a:lnTo>
                <a:lnTo>
                  <a:pt x="20" y="12"/>
                </a:lnTo>
                <a:lnTo>
                  <a:pt x="18" y="15"/>
                </a:lnTo>
                <a:lnTo>
                  <a:pt x="18" y="15"/>
                </a:lnTo>
                <a:close/>
                <a:moveTo>
                  <a:pt x="25" y="17"/>
                </a:moveTo>
                <a:lnTo>
                  <a:pt x="25" y="17"/>
                </a:lnTo>
                <a:lnTo>
                  <a:pt x="27" y="20"/>
                </a:lnTo>
                <a:lnTo>
                  <a:pt x="27" y="20"/>
                </a:lnTo>
                <a:lnTo>
                  <a:pt x="27" y="22"/>
                </a:lnTo>
                <a:lnTo>
                  <a:pt x="27" y="22"/>
                </a:lnTo>
                <a:lnTo>
                  <a:pt x="27" y="25"/>
                </a:lnTo>
                <a:lnTo>
                  <a:pt x="27" y="25"/>
                </a:lnTo>
                <a:lnTo>
                  <a:pt x="25" y="25"/>
                </a:lnTo>
                <a:lnTo>
                  <a:pt x="25" y="25"/>
                </a:lnTo>
                <a:lnTo>
                  <a:pt x="25" y="22"/>
                </a:lnTo>
                <a:lnTo>
                  <a:pt x="25" y="17"/>
                </a:lnTo>
                <a:lnTo>
                  <a:pt x="25" y="17"/>
                </a:lnTo>
                <a:close/>
                <a:moveTo>
                  <a:pt x="22" y="39"/>
                </a:moveTo>
                <a:lnTo>
                  <a:pt x="22" y="39"/>
                </a:lnTo>
                <a:lnTo>
                  <a:pt x="25" y="37"/>
                </a:lnTo>
                <a:lnTo>
                  <a:pt x="25" y="37"/>
                </a:lnTo>
                <a:lnTo>
                  <a:pt x="27" y="39"/>
                </a:lnTo>
                <a:lnTo>
                  <a:pt x="27" y="39"/>
                </a:lnTo>
                <a:lnTo>
                  <a:pt x="27" y="42"/>
                </a:lnTo>
                <a:lnTo>
                  <a:pt x="27" y="42"/>
                </a:lnTo>
                <a:lnTo>
                  <a:pt x="22" y="42"/>
                </a:lnTo>
                <a:lnTo>
                  <a:pt x="22" y="42"/>
                </a:lnTo>
                <a:lnTo>
                  <a:pt x="22" y="39"/>
                </a:lnTo>
                <a:lnTo>
                  <a:pt x="22" y="39"/>
                </a:lnTo>
                <a:close/>
                <a:moveTo>
                  <a:pt x="20" y="32"/>
                </a:moveTo>
                <a:lnTo>
                  <a:pt x="20" y="32"/>
                </a:lnTo>
                <a:lnTo>
                  <a:pt x="25" y="30"/>
                </a:lnTo>
                <a:lnTo>
                  <a:pt x="25" y="30"/>
                </a:lnTo>
                <a:lnTo>
                  <a:pt x="25" y="32"/>
                </a:lnTo>
                <a:lnTo>
                  <a:pt x="25" y="32"/>
                </a:lnTo>
                <a:lnTo>
                  <a:pt x="27" y="32"/>
                </a:lnTo>
                <a:lnTo>
                  <a:pt x="27" y="32"/>
                </a:lnTo>
                <a:lnTo>
                  <a:pt x="25" y="34"/>
                </a:lnTo>
                <a:lnTo>
                  <a:pt x="25" y="34"/>
                </a:lnTo>
                <a:lnTo>
                  <a:pt x="25" y="34"/>
                </a:lnTo>
                <a:lnTo>
                  <a:pt x="22" y="34"/>
                </a:lnTo>
                <a:lnTo>
                  <a:pt x="22" y="34"/>
                </a:lnTo>
                <a:lnTo>
                  <a:pt x="22" y="34"/>
                </a:lnTo>
                <a:lnTo>
                  <a:pt x="20" y="34"/>
                </a:lnTo>
                <a:lnTo>
                  <a:pt x="20" y="34"/>
                </a:lnTo>
                <a:lnTo>
                  <a:pt x="20" y="32"/>
                </a:lnTo>
                <a:lnTo>
                  <a:pt x="20" y="32"/>
                </a:lnTo>
                <a:close/>
                <a:moveTo>
                  <a:pt x="10" y="25"/>
                </a:moveTo>
                <a:lnTo>
                  <a:pt x="10" y="25"/>
                </a:lnTo>
                <a:lnTo>
                  <a:pt x="13" y="25"/>
                </a:lnTo>
                <a:lnTo>
                  <a:pt x="13" y="25"/>
                </a:lnTo>
                <a:lnTo>
                  <a:pt x="15" y="27"/>
                </a:lnTo>
                <a:lnTo>
                  <a:pt x="15" y="27"/>
                </a:lnTo>
                <a:lnTo>
                  <a:pt x="15" y="30"/>
                </a:lnTo>
                <a:lnTo>
                  <a:pt x="15" y="30"/>
                </a:lnTo>
                <a:lnTo>
                  <a:pt x="18" y="32"/>
                </a:lnTo>
                <a:lnTo>
                  <a:pt x="18" y="32"/>
                </a:lnTo>
                <a:lnTo>
                  <a:pt x="18" y="34"/>
                </a:lnTo>
                <a:lnTo>
                  <a:pt x="18" y="34"/>
                </a:lnTo>
                <a:lnTo>
                  <a:pt x="15" y="37"/>
                </a:lnTo>
                <a:lnTo>
                  <a:pt x="15" y="37"/>
                </a:lnTo>
                <a:lnTo>
                  <a:pt x="13" y="37"/>
                </a:lnTo>
                <a:lnTo>
                  <a:pt x="13" y="37"/>
                </a:lnTo>
                <a:lnTo>
                  <a:pt x="10" y="34"/>
                </a:lnTo>
                <a:lnTo>
                  <a:pt x="10" y="34"/>
                </a:lnTo>
                <a:lnTo>
                  <a:pt x="13" y="32"/>
                </a:lnTo>
                <a:lnTo>
                  <a:pt x="13" y="32"/>
                </a:lnTo>
                <a:lnTo>
                  <a:pt x="13" y="30"/>
                </a:lnTo>
                <a:lnTo>
                  <a:pt x="13" y="30"/>
                </a:lnTo>
                <a:lnTo>
                  <a:pt x="10" y="27"/>
                </a:lnTo>
                <a:lnTo>
                  <a:pt x="10" y="27"/>
                </a:lnTo>
                <a:lnTo>
                  <a:pt x="10" y="27"/>
                </a:lnTo>
                <a:lnTo>
                  <a:pt x="8" y="25"/>
                </a:lnTo>
                <a:lnTo>
                  <a:pt x="8" y="25"/>
                </a:lnTo>
                <a:lnTo>
                  <a:pt x="10" y="25"/>
                </a:lnTo>
                <a:lnTo>
                  <a:pt x="10" y="25"/>
                </a:lnTo>
                <a:close/>
                <a:moveTo>
                  <a:pt x="3" y="0"/>
                </a:moveTo>
                <a:lnTo>
                  <a:pt x="3" y="0"/>
                </a:lnTo>
                <a:lnTo>
                  <a:pt x="0" y="7"/>
                </a:lnTo>
                <a:lnTo>
                  <a:pt x="0" y="7"/>
                </a:lnTo>
                <a:lnTo>
                  <a:pt x="0" y="12"/>
                </a:lnTo>
                <a:lnTo>
                  <a:pt x="0" y="12"/>
                </a:lnTo>
                <a:lnTo>
                  <a:pt x="0" y="15"/>
                </a:lnTo>
                <a:lnTo>
                  <a:pt x="0" y="15"/>
                </a:lnTo>
                <a:lnTo>
                  <a:pt x="3" y="20"/>
                </a:lnTo>
                <a:lnTo>
                  <a:pt x="3" y="20"/>
                </a:lnTo>
                <a:lnTo>
                  <a:pt x="5" y="20"/>
                </a:lnTo>
                <a:lnTo>
                  <a:pt x="5" y="20"/>
                </a:lnTo>
                <a:lnTo>
                  <a:pt x="8" y="17"/>
                </a:lnTo>
                <a:lnTo>
                  <a:pt x="8" y="17"/>
                </a:lnTo>
                <a:lnTo>
                  <a:pt x="8" y="17"/>
                </a:lnTo>
                <a:lnTo>
                  <a:pt x="10" y="17"/>
                </a:lnTo>
                <a:lnTo>
                  <a:pt x="10" y="17"/>
                </a:lnTo>
                <a:lnTo>
                  <a:pt x="10" y="12"/>
                </a:lnTo>
                <a:lnTo>
                  <a:pt x="10" y="12"/>
                </a:lnTo>
                <a:lnTo>
                  <a:pt x="10" y="10"/>
                </a:lnTo>
                <a:lnTo>
                  <a:pt x="10" y="10"/>
                </a:lnTo>
                <a:lnTo>
                  <a:pt x="10" y="7"/>
                </a:lnTo>
                <a:lnTo>
                  <a:pt x="10" y="7"/>
                </a:lnTo>
                <a:lnTo>
                  <a:pt x="8" y="5"/>
                </a:lnTo>
                <a:lnTo>
                  <a:pt x="8" y="5"/>
                </a:lnTo>
                <a:lnTo>
                  <a:pt x="8" y="7"/>
                </a:lnTo>
                <a:lnTo>
                  <a:pt x="8" y="7"/>
                </a:lnTo>
                <a:lnTo>
                  <a:pt x="8" y="10"/>
                </a:lnTo>
                <a:lnTo>
                  <a:pt x="8" y="10"/>
                </a:lnTo>
                <a:lnTo>
                  <a:pt x="5" y="10"/>
                </a:lnTo>
                <a:lnTo>
                  <a:pt x="5" y="10"/>
                </a:lnTo>
                <a:lnTo>
                  <a:pt x="5" y="10"/>
                </a:lnTo>
                <a:lnTo>
                  <a:pt x="3" y="3"/>
                </a:lnTo>
                <a:lnTo>
                  <a:pt x="3" y="0"/>
                </a:lnTo>
                <a:lnTo>
                  <a:pt x="3"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4" name="Freeform 23"/>
          <p:cNvSpPr>
            <a:spLocks noEditPoints="1"/>
          </p:cNvSpPr>
          <p:nvPr/>
        </p:nvSpPr>
        <p:spPr bwMode="auto">
          <a:xfrm>
            <a:off x="8705836" y="4606051"/>
            <a:ext cx="244643" cy="139780"/>
          </a:xfrm>
          <a:custGeom>
            <a:avLst/>
            <a:gdLst/>
            <a:ahLst/>
            <a:cxnLst>
              <a:cxn ang="0">
                <a:pos x="148" y="74"/>
              </a:cxn>
              <a:cxn ang="0">
                <a:pos x="148" y="79"/>
              </a:cxn>
              <a:cxn ang="0">
                <a:pos x="57" y="89"/>
              </a:cxn>
              <a:cxn ang="0">
                <a:pos x="62" y="89"/>
              </a:cxn>
              <a:cxn ang="0">
                <a:pos x="59" y="91"/>
              </a:cxn>
              <a:cxn ang="0">
                <a:pos x="57" y="89"/>
              </a:cxn>
              <a:cxn ang="0">
                <a:pos x="81" y="67"/>
              </a:cxn>
              <a:cxn ang="0">
                <a:pos x="91" y="74"/>
              </a:cxn>
              <a:cxn ang="0">
                <a:pos x="91" y="79"/>
              </a:cxn>
              <a:cxn ang="0">
                <a:pos x="79" y="72"/>
              </a:cxn>
              <a:cxn ang="0">
                <a:pos x="77" y="67"/>
              </a:cxn>
              <a:cxn ang="0">
                <a:pos x="62" y="52"/>
              </a:cxn>
              <a:cxn ang="0">
                <a:pos x="69" y="57"/>
              </a:cxn>
              <a:cxn ang="0">
                <a:pos x="69" y="62"/>
              </a:cxn>
              <a:cxn ang="0">
                <a:pos x="59" y="59"/>
              </a:cxn>
              <a:cxn ang="0">
                <a:pos x="52" y="55"/>
              </a:cxn>
              <a:cxn ang="0">
                <a:pos x="64" y="47"/>
              </a:cxn>
              <a:cxn ang="0">
                <a:pos x="67" y="50"/>
              </a:cxn>
              <a:cxn ang="0">
                <a:pos x="67" y="35"/>
              </a:cxn>
              <a:cxn ang="0">
                <a:pos x="69" y="40"/>
              </a:cxn>
              <a:cxn ang="0">
                <a:pos x="72" y="47"/>
              </a:cxn>
              <a:cxn ang="0">
                <a:pos x="81" y="57"/>
              </a:cxn>
              <a:cxn ang="0">
                <a:pos x="84" y="55"/>
              </a:cxn>
              <a:cxn ang="0">
                <a:pos x="77" y="47"/>
              </a:cxn>
              <a:cxn ang="0">
                <a:pos x="74" y="40"/>
              </a:cxn>
              <a:cxn ang="0">
                <a:pos x="35" y="23"/>
              </a:cxn>
              <a:cxn ang="0">
                <a:pos x="45" y="25"/>
              </a:cxn>
              <a:cxn ang="0">
                <a:pos x="54" y="35"/>
              </a:cxn>
              <a:cxn ang="0">
                <a:pos x="52" y="37"/>
              </a:cxn>
              <a:cxn ang="0">
                <a:pos x="49" y="35"/>
              </a:cxn>
              <a:cxn ang="0">
                <a:pos x="35" y="23"/>
              </a:cxn>
              <a:cxn ang="0">
                <a:pos x="30" y="42"/>
              </a:cxn>
              <a:cxn ang="0">
                <a:pos x="27" y="40"/>
              </a:cxn>
              <a:cxn ang="0">
                <a:pos x="20" y="37"/>
              </a:cxn>
              <a:cxn ang="0">
                <a:pos x="18" y="37"/>
              </a:cxn>
              <a:cxn ang="0">
                <a:pos x="22" y="35"/>
              </a:cxn>
              <a:cxn ang="0">
                <a:pos x="25" y="37"/>
              </a:cxn>
              <a:cxn ang="0">
                <a:pos x="25" y="32"/>
              </a:cxn>
              <a:cxn ang="0">
                <a:pos x="20" y="27"/>
              </a:cxn>
              <a:cxn ang="0">
                <a:pos x="18" y="35"/>
              </a:cxn>
              <a:cxn ang="0">
                <a:pos x="18" y="27"/>
              </a:cxn>
              <a:cxn ang="0">
                <a:pos x="15" y="30"/>
              </a:cxn>
              <a:cxn ang="0">
                <a:pos x="8" y="23"/>
              </a:cxn>
              <a:cxn ang="0">
                <a:pos x="8" y="27"/>
              </a:cxn>
              <a:cxn ang="0">
                <a:pos x="8" y="23"/>
              </a:cxn>
              <a:cxn ang="0">
                <a:pos x="3" y="5"/>
              </a:cxn>
              <a:cxn ang="0">
                <a:pos x="8" y="5"/>
              </a:cxn>
              <a:cxn ang="0">
                <a:pos x="8" y="13"/>
              </a:cxn>
              <a:cxn ang="0">
                <a:pos x="20" y="20"/>
              </a:cxn>
              <a:cxn ang="0">
                <a:pos x="22" y="18"/>
              </a:cxn>
              <a:cxn ang="0">
                <a:pos x="18" y="10"/>
              </a:cxn>
              <a:cxn ang="0">
                <a:pos x="10" y="10"/>
              </a:cxn>
              <a:cxn ang="0">
                <a:pos x="0" y="10"/>
              </a:cxn>
            </a:cxnLst>
            <a:rect l="0" t="0" r="r" b="b"/>
            <a:pathLst>
              <a:path w="150" h="91">
                <a:moveTo>
                  <a:pt x="143" y="77"/>
                </a:moveTo>
                <a:lnTo>
                  <a:pt x="143" y="77"/>
                </a:lnTo>
                <a:lnTo>
                  <a:pt x="145" y="74"/>
                </a:lnTo>
                <a:lnTo>
                  <a:pt x="145" y="74"/>
                </a:lnTo>
                <a:lnTo>
                  <a:pt x="148" y="74"/>
                </a:lnTo>
                <a:lnTo>
                  <a:pt x="148" y="74"/>
                </a:lnTo>
                <a:lnTo>
                  <a:pt x="150" y="77"/>
                </a:lnTo>
                <a:lnTo>
                  <a:pt x="150" y="77"/>
                </a:lnTo>
                <a:lnTo>
                  <a:pt x="148" y="79"/>
                </a:lnTo>
                <a:lnTo>
                  <a:pt x="148" y="79"/>
                </a:lnTo>
                <a:lnTo>
                  <a:pt x="143" y="79"/>
                </a:lnTo>
                <a:lnTo>
                  <a:pt x="143" y="79"/>
                </a:lnTo>
                <a:lnTo>
                  <a:pt x="143" y="77"/>
                </a:lnTo>
                <a:lnTo>
                  <a:pt x="143" y="77"/>
                </a:lnTo>
                <a:close/>
                <a:moveTo>
                  <a:pt x="57" y="89"/>
                </a:moveTo>
                <a:lnTo>
                  <a:pt x="57" y="89"/>
                </a:lnTo>
                <a:lnTo>
                  <a:pt x="59" y="89"/>
                </a:lnTo>
                <a:lnTo>
                  <a:pt x="59" y="89"/>
                </a:lnTo>
                <a:lnTo>
                  <a:pt x="62" y="89"/>
                </a:lnTo>
                <a:lnTo>
                  <a:pt x="62" y="89"/>
                </a:lnTo>
                <a:lnTo>
                  <a:pt x="64" y="91"/>
                </a:lnTo>
                <a:lnTo>
                  <a:pt x="64" y="91"/>
                </a:lnTo>
                <a:lnTo>
                  <a:pt x="62" y="91"/>
                </a:lnTo>
                <a:lnTo>
                  <a:pt x="62" y="91"/>
                </a:lnTo>
                <a:lnTo>
                  <a:pt x="59" y="91"/>
                </a:lnTo>
                <a:lnTo>
                  <a:pt x="59" y="91"/>
                </a:lnTo>
                <a:lnTo>
                  <a:pt x="57" y="91"/>
                </a:lnTo>
                <a:lnTo>
                  <a:pt x="57" y="91"/>
                </a:lnTo>
                <a:lnTo>
                  <a:pt x="57" y="89"/>
                </a:lnTo>
                <a:lnTo>
                  <a:pt x="57" y="89"/>
                </a:lnTo>
                <a:lnTo>
                  <a:pt x="57" y="89"/>
                </a:lnTo>
                <a:close/>
                <a:moveTo>
                  <a:pt x="77" y="67"/>
                </a:moveTo>
                <a:lnTo>
                  <a:pt x="77" y="67"/>
                </a:lnTo>
                <a:lnTo>
                  <a:pt x="81" y="67"/>
                </a:lnTo>
                <a:lnTo>
                  <a:pt x="81" y="67"/>
                </a:lnTo>
                <a:lnTo>
                  <a:pt x="84" y="72"/>
                </a:lnTo>
                <a:lnTo>
                  <a:pt x="84" y="72"/>
                </a:lnTo>
                <a:lnTo>
                  <a:pt x="89" y="72"/>
                </a:lnTo>
                <a:lnTo>
                  <a:pt x="89" y="72"/>
                </a:lnTo>
                <a:lnTo>
                  <a:pt x="91" y="74"/>
                </a:lnTo>
                <a:lnTo>
                  <a:pt x="91" y="74"/>
                </a:lnTo>
                <a:lnTo>
                  <a:pt x="91" y="77"/>
                </a:lnTo>
                <a:lnTo>
                  <a:pt x="91" y="77"/>
                </a:lnTo>
                <a:lnTo>
                  <a:pt x="91" y="79"/>
                </a:lnTo>
                <a:lnTo>
                  <a:pt x="91" y="79"/>
                </a:lnTo>
                <a:lnTo>
                  <a:pt x="89" y="79"/>
                </a:lnTo>
                <a:lnTo>
                  <a:pt x="89" y="79"/>
                </a:lnTo>
                <a:lnTo>
                  <a:pt x="84" y="77"/>
                </a:lnTo>
                <a:lnTo>
                  <a:pt x="84" y="77"/>
                </a:lnTo>
                <a:lnTo>
                  <a:pt x="79" y="72"/>
                </a:lnTo>
                <a:lnTo>
                  <a:pt x="79" y="72"/>
                </a:lnTo>
                <a:lnTo>
                  <a:pt x="79" y="69"/>
                </a:lnTo>
                <a:lnTo>
                  <a:pt x="79" y="69"/>
                </a:lnTo>
                <a:lnTo>
                  <a:pt x="77" y="67"/>
                </a:lnTo>
                <a:lnTo>
                  <a:pt x="77" y="67"/>
                </a:lnTo>
                <a:close/>
                <a:moveTo>
                  <a:pt x="54" y="50"/>
                </a:moveTo>
                <a:lnTo>
                  <a:pt x="54" y="50"/>
                </a:lnTo>
                <a:lnTo>
                  <a:pt x="57" y="52"/>
                </a:lnTo>
                <a:lnTo>
                  <a:pt x="57" y="52"/>
                </a:lnTo>
                <a:lnTo>
                  <a:pt x="62" y="52"/>
                </a:lnTo>
                <a:lnTo>
                  <a:pt x="62" y="52"/>
                </a:lnTo>
                <a:lnTo>
                  <a:pt x="67" y="55"/>
                </a:lnTo>
                <a:lnTo>
                  <a:pt x="67" y="55"/>
                </a:lnTo>
                <a:lnTo>
                  <a:pt x="69" y="57"/>
                </a:lnTo>
                <a:lnTo>
                  <a:pt x="69" y="57"/>
                </a:lnTo>
                <a:lnTo>
                  <a:pt x="69" y="57"/>
                </a:lnTo>
                <a:lnTo>
                  <a:pt x="72" y="59"/>
                </a:lnTo>
                <a:lnTo>
                  <a:pt x="72" y="59"/>
                </a:lnTo>
                <a:lnTo>
                  <a:pt x="69" y="62"/>
                </a:lnTo>
                <a:lnTo>
                  <a:pt x="69" y="62"/>
                </a:lnTo>
                <a:lnTo>
                  <a:pt x="67" y="62"/>
                </a:lnTo>
                <a:lnTo>
                  <a:pt x="67" y="62"/>
                </a:lnTo>
                <a:lnTo>
                  <a:pt x="64" y="59"/>
                </a:lnTo>
                <a:lnTo>
                  <a:pt x="64" y="59"/>
                </a:lnTo>
                <a:lnTo>
                  <a:pt x="59" y="59"/>
                </a:lnTo>
                <a:lnTo>
                  <a:pt x="59" y="59"/>
                </a:lnTo>
                <a:lnTo>
                  <a:pt x="57" y="59"/>
                </a:lnTo>
                <a:lnTo>
                  <a:pt x="57" y="59"/>
                </a:lnTo>
                <a:lnTo>
                  <a:pt x="52" y="55"/>
                </a:lnTo>
                <a:lnTo>
                  <a:pt x="52" y="55"/>
                </a:lnTo>
                <a:lnTo>
                  <a:pt x="54" y="50"/>
                </a:lnTo>
                <a:lnTo>
                  <a:pt x="54" y="50"/>
                </a:lnTo>
                <a:lnTo>
                  <a:pt x="54" y="50"/>
                </a:lnTo>
                <a:close/>
                <a:moveTo>
                  <a:pt x="64" y="47"/>
                </a:moveTo>
                <a:lnTo>
                  <a:pt x="64" y="47"/>
                </a:lnTo>
                <a:lnTo>
                  <a:pt x="62" y="45"/>
                </a:lnTo>
                <a:lnTo>
                  <a:pt x="62" y="45"/>
                </a:lnTo>
                <a:lnTo>
                  <a:pt x="62" y="47"/>
                </a:lnTo>
                <a:lnTo>
                  <a:pt x="62" y="47"/>
                </a:lnTo>
                <a:lnTo>
                  <a:pt x="67" y="50"/>
                </a:lnTo>
                <a:lnTo>
                  <a:pt x="67" y="50"/>
                </a:lnTo>
                <a:lnTo>
                  <a:pt x="64" y="47"/>
                </a:lnTo>
                <a:lnTo>
                  <a:pt x="64" y="47"/>
                </a:lnTo>
                <a:close/>
                <a:moveTo>
                  <a:pt x="67" y="35"/>
                </a:moveTo>
                <a:lnTo>
                  <a:pt x="67" y="35"/>
                </a:lnTo>
                <a:lnTo>
                  <a:pt x="67" y="37"/>
                </a:lnTo>
                <a:lnTo>
                  <a:pt x="67" y="37"/>
                </a:lnTo>
                <a:lnTo>
                  <a:pt x="69" y="37"/>
                </a:lnTo>
                <a:lnTo>
                  <a:pt x="69" y="37"/>
                </a:lnTo>
                <a:lnTo>
                  <a:pt x="69" y="40"/>
                </a:lnTo>
                <a:lnTo>
                  <a:pt x="69" y="40"/>
                </a:lnTo>
                <a:lnTo>
                  <a:pt x="72" y="42"/>
                </a:lnTo>
                <a:lnTo>
                  <a:pt x="72" y="42"/>
                </a:lnTo>
                <a:lnTo>
                  <a:pt x="72" y="47"/>
                </a:lnTo>
                <a:lnTo>
                  <a:pt x="72" y="47"/>
                </a:lnTo>
                <a:lnTo>
                  <a:pt x="77" y="52"/>
                </a:lnTo>
                <a:lnTo>
                  <a:pt x="77" y="52"/>
                </a:lnTo>
                <a:lnTo>
                  <a:pt x="79" y="55"/>
                </a:lnTo>
                <a:lnTo>
                  <a:pt x="79" y="55"/>
                </a:lnTo>
                <a:lnTo>
                  <a:pt x="81" y="57"/>
                </a:lnTo>
                <a:lnTo>
                  <a:pt x="81" y="57"/>
                </a:lnTo>
                <a:lnTo>
                  <a:pt x="84" y="57"/>
                </a:lnTo>
                <a:lnTo>
                  <a:pt x="84" y="57"/>
                </a:lnTo>
                <a:lnTo>
                  <a:pt x="84" y="55"/>
                </a:lnTo>
                <a:lnTo>
                  <a:pt x="84" y="55"/>
                </a:lnTo>
                <a:lnTo>
                  <a:pt x="81" y="50"/>
                </a:lnTo>
                <a:lnTo>
                  <a:pt x="81" y="50"/>
                </a:lnTo>
                <a:lnTo>
                  <a:pt x="79" y="50"/>
                </a:lnTo>
                <a:lnTo>
                  <a:pt x="79" y="50"/>
                </a:lnTo>
                <a:lnTo>
                  <a:pt x="77" y="47"/>
                </a:lnTo>
                <a:lnTo>
                  <a:pt x="77" y="47"/>
                </a:lnTo>
                <a:lnTo>
                  <a:pt x="74" y="42"/>
                </a:lnTo>
                <a:lnTo>
                  <a:pt x="74" y="42"/>
                </a:lnTo>
                <a:lnTo>
                  <a:pt x="74" y="40"/>
                </a:lnTo>
                <a:lnTo>
                  <a:pt x="74" y="40"/>
                </a:lnTo>
                <a:lnTo>
                  <a:pt x="72" y="35"/>
                </a:lnTo>
                <a:lnTo>
                  <a:pt x="72" y="35"/>
                </a:lnTo>
                <a:lnTo>
                  <a:pt x="67" y="35"/>
                </a:lnTo>
                <a:lnTo>
                  <a:pt x="67" y="35"/>
                </a:lnTo>
                <a:close/>
                <a:moveTo>
                  <a:pt x="35" y="23"/>
                </a:moveTo>
                <a:lnTo>
                  <a:pt x="35" y="23"/>
                </a:lnTo>
                <a:lnTo>
                  <a:pt x="42" y="23"/>
                </a:lnTo>
                <a:lnTo>
                  <a:pt x="42" y="23"/>
                </a:lnTo>
                <a:lnTo>
                  <a:pt x="45" y="25"/>
                </a:lnTo>
                <a:lnTo>
                  <a:pt x="45" y="25"/>
                </a:lnTo>
                <a:lnTo>
                  <a:pt x="49" y="27"/>
                </a:lnTo>
                <a:lnTo>
                  <a:pt x="49" y="27"/>
                </a:lnTo>
                <a:lnTo>
                  <a:pt x="57" y="35"/>
                </a:lnTo>
                <a:lnTo>
                  <a:pt x="57" y="35"/>
                </a:lnTo>
                <a:lnTo>
                  <a:pt x="54" y="35"/>
                </a:lnTo>
                <a:lnTo>
                  <a:pt x="54" y="35"/>
                </a:lnTo>
                <a:lnTo>
                  <a:pt x="54" y="37"/>
                </a:lnTo>
                <a:lnTo>
                  <a:pt x="54" y="37"/>
                </a:lnTo>
                <a:lnTo>
                  <a:pt x="54" y="37"/>
                </a:lnTo>
                <a:lnTo>
                  <a:pt x="52" y="37"/>
                </a:lnTo>
                <a:lnTo>
                  <a:pt x="52" y="37"/>
                </a:lnTo>
                <a:lnTo>
                  <a:pt x="52" y="35"/>
                </a:lnTo>
                <a:lnTo>
                  <a:pt x="52" y="35"/>
                </a:lnTo>
                <a:lnTo>
                  <a:pt x="49" y="35"/>
                </a:lnTo>
                <a:lnTo>
                  <a:pt x="49" y="35"/>
                </a:lnTo>
                <a:lnTo>
                  <a:pt x="47" y="32"/>
                </a:lnTo>
                <a:lnTo>
                  <a:pt x="47" y="32"/>
                </a:lnTo>
                <a:lnTo>
                  <a:pt x="40" y="25"/>
                </a:lnTo>
                <a:lnTo>
                  <a:pt x="35" y="23"/>
                </a:lnTo>
                <a:lnTo>
                  <a:pt x="35" y="23"/>
                </a:lnTo>
                <a:close/>
                <a:moveTo>
                  <a:pt x="27" y="40"/>
                </a:moveTo>
                <a:lnTo>
                  <a:pt x="27" y="40"/>
                </a:lnTo>
                <a:lnTo>
                  <a:pt x="30" y="40"/>
                </a:lnTo>
                <a:lnTo>
                  <a:pt x="30" y="40"/>
                </a:lnTo>
                <a:lnTo>
                  <a:pt x="30" y="42"/>
                </a:lnTo>
                <a:lnTo>
                  <a:pt x="30" y="42"/>
                </a:lnTo>
                <a:lnTo>
                  <a:pt x="27" y="42"/>
                </a:lnTo>
                <a:lnTo>
                  <a:pt x="27" y="42"/>
                </a:lnTo>
                <a:lnTo>
                  <a:pt x="27" y="40"/>
                </a:lnTo>
                <a:lnTo>
                  <a:pt x="27" y="40"/>
                </a:lnTo>
                <a:lnTo>
                  <a:pt x="27" y="40"/>
                </a:lnTo>
                <a:close/>
                <a:moveTo>
                  <a:pt x="18" y="37"/>
                </a:moveTo>
                <a:lnTo>
                  <a:pt x="18" y="37"/>
                </a:lnTo>
                <a:lnTo>
                  <a:pt x="18" y="37"/>
                </a:lnTo>
                <a:lnTo>
                  <a:pt x="20" y="37"/>
                </a:lnTo>
                <a:lnTo>
                  <a:pt x="20" y="37"/>
                </a:lnTo>
                <a:lnTo>
                  <a:pt x="20" y="40"/>
                </a:lnTo>
                <a:lnTo>
                  <a:pt x="20" y="40"/>
                </a:lnTo>
                <a:lnTo>
                  <a:pt x="18" y="37"/>
                </a:lnTo>
                <a:lnTo>
                  <a:pt x="18" y="37"/>
                </a:lnTo>
                <a:close/>
                <a:moveTo>
                  <a:pt x="18" y="35"/>
                </a:moveTo>
                <a:lnTo>
                  <a:pt x="18" y="35"/>
                </a:lnTo>
                <a:lnTo>
                  <a:pt x="20" y="35"/>
                </a:lnTo>
                <a:lnTo>
                  <a:pt x="20" y="35"/>
                </a:lnTo>
                <a:lnTo>
                  <a:pt x="22" y="35"/>
                </a:lnTo>
                <a:lnTo>
                  <a:pt x="22" y="35"/>
                </a:lnTo>
                <a:lnTo>
                  <a:pt x="22" y="37"/>
                </a:lnTo>
                <a:lnTo>
                  <a:pt x="22" y="37"/>
                </a:lnTo>
                <a:lnTo>
                  <a:pt x="25" y="37"/>
                </a:lnTo>
                <a:lnTo>
                  <a:pt x="25" y="37"/>
                </a:lnTo>
                <a:lnTo>
                  <a:pt x="25" y="37"/>
                </a:lnTo>
                <a:lnTo>
                  <a:pt x="27" y="35"/>
                </a:lnTo>
                <a:lnTo>
                  <a:pt x="27" y="35"/>
                </a:lnTo>
                <a:lnTo>
                  <a:pt x="25" y="32"/>
                </a:lnTo>
                <a:lnTo>
                  <a:pt x="25" y="32"/>
                </a:lnTo>
                <a:lnTo>
                  <a:pt x="22" y="32"/>
                </a:lnTo>
                <a:lnTo>
                  <a:pt x="22" y="32"/>
                </a:lnTo>
                <a:lnTo>
                  <a:pt x="22" y="30"/>
                </a:lnTo>
                <a:lnTo>
                  <a:pt x="22" y="30"/>
                </a:lnTo>
                <a:lnTo>
                  <a:pt x="20" y="27"/>
                </a:lnTo>
                <a:lnTo>
                  <a:pt x="20" y="27"/>
                </a:lnTo>
                <a:lnTo>
                  <a:pt x="18" y="30"/>
                </a:lnTo>
                <a:lnTo>
                  <a:pt x="18" y="30"/>
                </a:lnTo>
                <a:lnTo>
                  <a:pt x="18" y="35"/>
                </a:lnTo>
                <a:lnTo>
                  <a:pt x="18" y="35"/>
                </a:lnTo>
                <a:close/>
                <a:moveTo>
                  <a:pt x="13" y="27"/>
                </a:moveTo>
                <a:lnTo>
                  <a:pt x="13" y="27"/>
                </a:lnTo>
                <a:lnTo>
                  <a:pt x="15" y="27"/>
                </a:lnTo>
                <a:lnTo>
                  <a:pt x="15" y="27"/>
                </a:lnTo>
                <a:lnTo>
                  <a:pt x="18" y="27"/>
                </a:lnTo>
                <a:lnTo>
                  <a:pt x="18" y="27"/>
                </a:lnTo>
                <a:lnTo>
                  <a:pt x="18" y="30"/>
                </a:lnTo>
                <a:lnTo>
                  <a:pt x="18" y="30"/>
                </a:lnTo>
                <a:lnTo>
                  <a:pt x="15" y="30"/>
                </a:lnTo>
                <a:lnTo>
                  <a:pt x="15" y="30"/>
                </a:lnTo>
                <a:lnTo>
                  <a:pt x="13" y="30"/>
                </a:lnTo>
                <a:lnTo>
                  <a:pt x="13" y="27"/>
                </a:lnTo>
                <a:lnTo>
                  <a:pt x="13" y="27"/>
                </a:lnTo>
                <a:close/>
                <a:moveTo>
                  <a:pt x="8" y="23"/>
                </a:moveTo>
                <a:lnTo>
                  <a:pt x="8" y="23"/>
                </a:lnTo>
                <a:lnTo>
                  <a:pt x="10" y="25"/>
                </a:lnTo>
                <a:lnTo>
                  <a:pt x="10" y="25"/>
                </a:lnTo>
                <a:lnTo>
                  <a:pt x="10" y="27"/>
                </a:lnTo>
                <a:lnTo>
                  <a:pt x="10" y="27"/>
                </a:lnTo>
                <a:lnTo>
                  <a:pt x="8" y="27"/>
                </a:lnTo>
                <a:lnTo>
                  <a:pt x="8" y="27"/>
                </a:lnTo>
                <a:lnTo>
                  <a:pt x="8" y="27"/>
                </a:lnTo>
                <a:lnTo>
                  <a:pt x="8" y="25"/>
                </a:lnTo>
                <a:lnTo>
                  <a:pt x="8" y="25"/>
                </a:lnTo>
                <a:lnTo>
                  <a:pt x="8" y="23"/>
                </a:lnTo>
                <a:lnTo>
                  <a:pt x="8" y="23"/>
                </a:lnTo>
                <a:close/>
                <a:moveTo>
                  <a:pt x="8" y="0"/>
                </a:moveTo>
                <a:lnTo>
                  <a:pt x="8" y="0"/>
                </a:lnTo>
                <a:lnTo>
                  <a:pt x="3" y="5"/>
                </a:lnTo>
                <a:lnTo>
                  <a:pt x="3" y="5"/>
                </a:lnTo>
                <a:lnTo>
                  <a:pt x="8" y="3"/>
                </a:lnTo>
                <a:lnTo>
                  <a:pt x="8" y="3"/>
                </a:lnTo>
                <a:lnTo>
                  <a:pt x="8" y="0"/>
                </a:lnTo>
                <a:lnTo>
                  <a:pt x="8" y="0"/>
                </a:lnTo>
                <a:close/>
                <a:moveTo>
                  <a:pt x="8" y="5"/>
                </a:moveTo>
                <a:lnTo>
                  <a:pt x="8" y="5"/>
                </a:lnTo>
                <a:lnTo>
                  <a:pt x="5" y="8"/>
                </a:lnTo>
                <a:lnTo>
                  <a:pt x="5" y="8"/>
                </a:lnTo>
                <a:lnTo>
                  <a:pt x="8" y="13"/>
                </a:lnTo>
                <a:lnTo>
                  <a:pt x="8" y="13"/>
                </a:lnTo>
                <a:lnTo>
                  <a:pt x="13" y="15"/>
                </a:lnTo>
                <a:lnTo>
                  <a:pt x="13" y="15"/>
                </a:lnTo>
                <a:lnTo>
                  <a:pt x="15" y="18"/>
                </a:lnTo>
                <a:lnTo>
                  <a:pt x="15" y="18"/>
                </a:lnTo>
                <a:lnTo>
                  <a:pt x="20" y="20"/>
                </a:lnTo>
                <a:lnTo>
                  <a:pt x="20" y="20"/>
                </a:lnTo>
                <a:lnTo>
                  <a:pt x="22" y="20"/>
                </a:lnTo>
                <a:lnTo>
                  <a:pt x="22" y="20"/>
                </a:lnTo>
                <a:lnTo>
                  <a:pt x="22" y="18"/>
                </a:lnTo>
                <a:lnTo>
                  <a:pt x="22" y="18"/>
                </a:lnTo>
                <a:lnTo>
                  <a:pt x="20" y="15"/>
                </a:lnTo>
                <a:lnTo>
                  <a:pt x="20" y="15"/>
                </a:lnTo>
                <a:lnTo>
                  <a:pt x="18" y="13"/>
                </a:lnTo>
                <a:lnTo>
                  <a:pt x="18" y="13"/>
                </a:lnTo>
                <a:lnTo>
                  <a:pt x="18" y="10"/>
                </a:lnTo>
                <a:lnTo>
                  <a:pt x="18" y="10"/>
                </a:lnTo>
                <a:lnTo>
                  <a:pt x="15" y="10"/>
                </a:lnTo>
                <a:lnTo>
                  <a:pt x="15" y="10"/>
                </a:lnTo>
                <a:lnTo>
                  <a:pt x="10" y="10"/>
                </a:lnTo>
                <a:lnTo>
                  <a:pt x="10" y="10"/>
                </a:lnTo>
                <a:lnTo>
                  <a:pt x="8" y="5"/>
                </a:lnTo>
                <a:lnTo>
                  <a:pt x="8" y="5"/>
                </a:lnTo>
                <a:lnTo>
                  <a:pt x="8" y="5"/>
                </a:lnTo>
                <a:close/>
                <a:moveTo>
                  <a:pt x="0" y="10"/>
                </a:moveTo>
                <a:lnTo>
                  <a:pt x="0" y="10"/>
                </a:lnTo>
                <a:lnTo>
                  <a:pt x="0" y="10"/>
                </a:lnTo>
                <a:lnTo>
                  <a:pt x="0" y="13"/>
                </a:lnTo>
                <a:lnTo>
                  <a:pt x="0" y="1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5" name="Freeform 24"/>
          <p:cNvSpPr>
            <a:spLocks noEditPoints="1"/>
          </p:cNvSpPr>
          <p:nvPr/>
        </p:nvSpPr>
        <p:spPr bwMode="auto">
          <a:xfrm>
            <a:off x="8320930" y="4481632"/>
            <a:ext cx="381643" cy="264199"/>
          </a:xfrm>
          <a:custGeom>
            <a:avLst/>
            <a:gdLst/>
            <a:ahLst/>
            <a:cxnLst>
              <a:cxn ang="0">
                <a:pos x="187" y="167"/>
              </a:cxn>
              <a:cxn ang="0">
                <a:pos x="187" y="167"/>
              </a:cxn>
              <a:cxn ang="0">
                <a:pos x="99" y="17"/>
              </a:cxn>
              <a:cxn ang="0">
                <a:pos x="222" y="76"/>
              </a:cxn>
              <a:cxn ang="0">
                <a:pos x="226" y="91"/>
              </a:cxn>
              <a:cxn ang="0">
                <a:pos x="214" y="72"/>
              </a:cxn>
              <a:cxn ang="0">
                <a:pos x="214" y="62"/>
              </a:cxn>
              <a:cxn ang="0">
                <a:pos x="207" y="54"/>
              </a:cxn>
              <a:cxn ang="0">
                <a:pos x="182" y="40"/>
              </a:cxn>
              <a:cxn ang="0">
                <a:pos x="185" y="57"/>
              </a:cxn>
              <a:cxn ang="0">
                <a:pos x="158" y="27"/>
              </a:cxn>
              <a:cxn ang="0">
                <a:pos x="135" y="0"/>
              </a:cxn>
              <a:cxn ang="0">
                <a:pos x="143" y="62"/>
              </a:cxn>
              <a:cxn ang="0">
                <a:pos x="116" y="72"/>
              </a:cxn>
              <a:cxn ang="0">
                <a:pos x="138" y="84"/>
              </a:cxn>
              <a:cxn ang="0">
                <a:pos x="158" y="79"/>
              </a:cxn>
              <a:cxn ang="0">
                <a:pos x="172" y="64"/>
              </a:cxn>
              <a:cxn ang="0">
                <a:pos x="175" y="49"/>
              </a:cxn>
              <a:cxn ang="0">
                <a:pos x="165" y="62"/>
              </a:cxn>
              <a:cxn ang="0">
                <a:pos x="148" y="69"/>
              </a:cxn>
              <a:cxn ang="0">
                <a:pos x="138" y="69"/>
              </a:cxn>
              <a:cxn ang="0">
                <a:pos x="116" y="69"/>
              </a:cxn>
              <a:cxn ang="0">
                <a:pos x="96" y="67"/>
              </a:cxn>
              <a:cxn ang="0">
                <a:pos x="79" y="59"/>
              </a:cxn>
              <a:cxn ang="0">
                <a:pos x="185" y="133"/>
              </a:cxn>
              <a:cxn ang="0">
                <a:pos x="158" y="123"/>
              </a:cxn>
              <a:cxn ang="0">
                <a:pos x="158" y="143"/>
              </a:cxn>
              <a:cxn ang="0">
                <a:pos x="153" y="140"/>
              </a:cxn>
              <a:cxn ang="0">
                <a:pos x="153" y="136"/>
              </a:cxn>
              <a:cxn ang="0">
                <a:pos x="143" y="136"/>
              </a:cxn>
              <a:cxn ang="0">
                <a:pos x="64" y="108"/>
              </a:cxn>
              <a:cxn ang="0">
                <a:pos x="54" y="108"/>
              </a:cxn>
              <a:cxn ang="0">
                <a:pos x="57" y="106"/>
              </a:cxn>
              <a:cxn ang="0">
                <a:pos x="39" y="118"/>
              </a:cxn>
              <a:cxn ang="0">
                <a:pos x="37" y="118"/>
              </a:cxn>
              <a:cxn ang="0">
                <a:pos x="39" y="113"/>
              </a:cxn>
              <a:cxn ang="0">
                <a:pos x="3" y="25"/>
              </a:cxn>
              <a:cxn ang="0">
                <a:pos x="10" y="128"/>
              </a:cxn>
              <a:cxn ang="0">
                <a:pos x="32" y="131"/>
              </a:cxn>
              <a:cxn ang="0">
                <a:pos x="22" y="116"/>
              </a:cxn>
              <a:cxn ang="0">
                <a:pos x="10" y="104"/>
              </a:cxn>
              <a:cxn ang="0">
                <a:pos x="25" y="118"/>
              </a:cxn>
              <a:cxn ang="0">
                <a:pos x="37" y="113"/>
              </a:cxn>
              <a:cxn ang="0">
                <a:pos x="42" y="111"/>
              </a:cxn>
              <a:cxn ang="0">
                <a:pos x="44" y="104"/>
              </a:cxn>
              <a:cxn ang="0">
                <a:pos x="52" y="99"/>
              </a:cxn>
              <a:cxn ang="0">
                <a:pos x="64" y="104"/>
              </a:cxn>
              <a:cxn ang="0">
                <a:pos x="84" y="121"/>
              </a:cxn>
              <a:cxn ang="0">
                <a:pos x="101" y="143"/>
              </a:cxn>
              <a:cxn ang="0">
                <a:pos x="123" y="148"/>
              </a:cxn>
              <a:cxn ang="0">
                <a:pos x="140" y="153"/>
              </a:cxn>
              <a:cxn ang="0">
                <a:pos x="145" y="148"/>
              </a:cxn>
              <a:cxn ang="0">
                <a:pos x="138" y="140"/>
              </a:cxn>
              <a:cxn ang="0">
                <a:pos x="128" y="128"/>
              </a:cxn>
              <a:cxn ang="0">
                <a:pos x="113" y="118"/>
              </a:cxn>
              <a:cxn ang="0">
                <a:pos x="99" y="99"/>
              </a:cxn>
              <a:cxn ang="0">
                <a:pos x="106" y="84"/>
              </a:cxn>
              <a:cxn ang="0">
                <a:pos x="76" y="69"/>
              </a:cxn>
              <a:cxn ang="0">
                <a:pos x="67" y="52"/>
              </a:cxn>
              <a:cxn ang="0">
                <a:pos x="49" y="42"/>
              </a:cxn>
              <a:cxn ang="0">
                <a:pos x="20" y="32"/>
              </a:cxn>
            </a:cxnLst>
            <a:rect l="0" t="0" r="r" b="b"/>
            <a:pathLst>
              <a:path w="234" h="172">
                <a:moveTo>
                  <a:pt x="199" y="167"/>
                </a:moveTo>
                <a:lnTo>
                  <a:pt x="199" y="167"/>
                </a:lnTo>
                <a:lnTo>
                  <a:pt x="202" y="165"/>
                </a:lnTo>
                <a:lnTo>
                  <a:pt x="202" y="165"/>
                </a:lnTo>
                <a:lnTo>
                  <a:pt x="204" y="165"/>
                </a:lnTo>
                <a:lnTo>
                  <a:pt x="204" y="165"/>
                </a:lnTo>
                <a:lnTo>
                  <a:pt x="204" y="167"/>
                </a:lnTo>
                <a:lnTo>
                  <a:pt x="204" y="167"/>
                </a:lnTo>
                <a:lnTo>
                  <a:pt x="202" y="167"/>
                </a:lnTo>
                <a:lnTo>
                  <a:pt x="202" y="167"/>
                </a:lnTo>
                <a:lnTo>
                  <a:pt x="199" y="167"/>
                </a:lnTo>
                <a:lnTo>
                  <a:pt x="199" y="167"/>
                </a:lnTo>
                <a:lnTo>
                  <a:pt x="199" y="167"/>
                </a:lnTo>
                <a:close/>
                <a:moveTo>
                  <a:pt x="187" y="167"/>
                </a:moveTo>
                <a:lnTo>
                  <a:pt x="187" y="167"/>
                </a:lnTo>
                <a:lnTo>
                  <a:pt x="192" y="170"/>
                </a:lnTo>
                <a:lnTo>
                  <a:pt x="192" y="170"/>
                </a:lnTo>
                <a:lnTo>
                  <a:pt x="192" y="170"/>
                </a:lnTo>
                <a:lnTo>
                  <a:pt x="194" y="172"/>
                </a:lnTo>
                <a:lnTo>
                  <a:pt x="194" y="172"/>
                </a:lnTo>
                <a:lnTo>
                  <a:pt x="197" y="170"/>
                </a:lnTo>
                <a:lnTo>
                  <a:pt x="197" y="170"/>
                </a:lnTo>
                <a:lnTo>
                  <a:pt x="194" y="170"/>
                </a:lnTo>
                <a:lnTo>
                  <a:pt x="194" y="170"/>
                </a:lnTo>
                <a:lnTo>
                  <a:pt x="192" y="170"/>
                </a:lnTo>
                <a:lnTo>
                  <a:pt x="192" y="170"/>
                </a:lnTo>
                <a:lnTo>
                  <a:pt x="190" y="167"/>
                </a:lnTo>
                <a:lnTo>
                  <a:pt x="190" y="167"/>
                </a:lnTo>
                <a:lnTo>
                  <a:pt x="187" y="167"/>
                </a:lnTo>
                <a:lnTo>
                  <a:pt x="187" y="167"/>
                </a:lnTo>
                <a:close/>
                <a:moveTo>
                  <a:pt x="91" y="15"/>
                </a:moveTo>
                <a:lnTo>
                  <a:pt x="91" y="15"/>
                </a:lnTo>
                <a:lnTo>
                  <a:pt x="91" y="13"/>
                </a:lnTo>
                <a:lnTo>
                  <a:pt x="91" y="13"/>
                </a:lnTo>
                <a:lnTo>
                  <a:pt x="94" y="13"/>
                </a:lnTo>
                <a:lnTo>
                  <a:pt x="94" y="13"/>
                </a:lnTo>
                <a:lnTo>
                  <a:pt x="96" y="13"/>
                </a:lnTo>
                <a:lnTo>
                  <a:pt x="96" y="13"/>
                </a:lnTo>
                <a:lnTo>
                  <a:pt x="99" y="15"/>
                </a:lnTo>
                <a:lnTo>
                  <a:pt x="99" y="15"/>
                </a:lnTo>
                <a:lnTo>
                  <a:pt x="101" y="13"/>
                </a:lnTo>
                <a:lnTo>
                  <a:pt x="101" y="13"/>
                </a:lnTo>
                <a:lnTo>
                  <a:pt x="101" y="15"/>
                </a:lnTo>
                <a:lnTo>
                  <a:pt x="101" y="15"/>
                </a:lnTo>
                <a:lnTo>
                  <a:pt x="99" y="17"/>
                </a:lnTo>
                <a:lnTo>
                  <a:pt x="99" y="17"/>
                </a:lnTo>
                <a:lnTo>
                  <a:pt x="96" y="17"/>
                </a:lnTo>
                <a:lnTo>
                  <a:pt x="96" y="17"/>
                </a:lnTo>
                <a:lnTo>
                  <a:pt x="94" y="17"/>
                </a:lnTo>
                <a:lnTo>
                  <a:pt x="94" y="17"/>
                </a:lnTo>
                <a:lnTo>
                  <a:pt x="91" y="17"/>
                </a:lnTo>
                <a:lnTo>
                  <a:pt x="91" y="15"/>
                </a:lnTo>
                <a:lnTo>
                  <a:pt x="91" y="15"/>
                </a:lnTo>
                <a:close/>
                <a:moveTo>
                  <a:pt x="217" y="69"/>
                </a:moveTo>
                <a:lnTo>
                  <a:pt x="217" y="69"/>
                </a:lnTo>
                <a:lnTo>
                  <a:pt x="219" y="69"/>
                </a:lnTo>
                <a:lnTo>
                  <a:pt x="219" y="69"/>
                </a:lnTo>
                <a:lnTo>
                  <a:pt x="222" y="72"/>
                </a:lnTo>
                <a:lnTo>
                  <a:pt x="222" y="72"/>
                </a:lnTo>
                <a:lnTo>
                  <a:pt x="222" y="76"/>
                </a:lnTo>
                <a:lnTo>
                  <a:pt x="222" y="76"/>
                </a:lnTo>
                <a:lnTo>
                  <a:pt x="226" y="76"/>
                </a:lnTo>
                <a:lnTo>
                  <a:pt x="226" y="76"/>
                </a:lnTo>
                <a:lnTo>
                  <a:pt x="231" y="81"/>
                </a:lnTo>
                <a:lnTo>
                  <a:pt x="231" y="81"/>
                </a:lnTo>
                <a:lnTo>
                  <a:pt x="234" y="84"/>
                </a:lnTo>
                <a:lnTo>
                  <a:pt x="234" y="84"/>
                </a:lnTo>
                <a:lnTo>
                  <a:pt x="234" y="89"/>
                </a:lnTo>
                <a:lnTo>
                  <a:pt x="234" y="89"/>
                </a:lnTo>
                <a:lnTo>
                  <a:pt x="231" y="89"/>
                </a:lnTo>
                <a:lnTo>
                  <a:pt x="231" y="89"/>
                </a:lnTo>
                <a:lnTo>
                  <a:pt x="231" y="91"/>
                </a:lnTo>
                <a:lnTo>
                  <a:pt x="231" y="91"/>
                </a:lnTo>
                <a:lnTo>
                  <a:pt x="226" y="91"/>
                </a:lnTo>
                <a:lnTo>
                  <a:pt x="226" y="91"/>
                </a:lnTo>
                <a:lnTo>
                  <a:pt x="224" y="91"/>
                </a:lnTo>
                <a:lnTo>
                  <a:pt x="224" y="91"/>
                </a:lnTo>
                <a:lnTo>
                  <a:pt x="222" y="91"/>
                </a:lnTo>
                <a:lnTo>
                  <a:pt x="222" y="91"/>
                </a:lnTo>
                <a:lnTo>
                  <a:pt x="222" y="89"/>
                </a:lnTo>
                <a:lnTo>
                  <a:pt x="222" y="89"/>
                </a:lnTo>
                <a:lnTo>
                  <a:pt x="222" y="86"/>
                </a:lnTo>
                <a:lnTo>
                  <a:pt x="222" y="86"/>
                </a:lnTo>
                <a:lnTo>
                  <a:pt x="219" y="81"/>
                </a:lnTo>
                <a:lnTo>
                  <a:pt x="219" y="81"/>
                </a:lnTo>
                <a:lnTo>
                  <a:pt x="217" y="79"/>
                </a:lnTo>
                <a:lnTo>
                  <a:pt x="217" y="79"/>
                </a:lnTo>
                <a:lnTo>
                  <a:pt x="217" y="74"/>
                </a:lnTo>
                <a:lnTo>
                  <a:pt x="217" y="74"/>
                </a:lnTo>
                <a:lnTo>
                  <a:pt x="214" y="72"/>
                </a:lnTo>
                <a:lnTo>
                  <a:pt x="214" y="72"/>
                </a:lnTo>
                <a:lnTo>
                  <a:pt x="217" y="69"/>
                </a:lnTo>
                <a:lnTo>
                  <a:pt x="217" y="69"/>
                </a:lnTo>
                <a:close/>
                <a:moveTo>
                  <a:pt x="212" y="62"/>
                </a:moveTo>
                <a:lnTo>
                  <a:pt x="212" y="62"/>
                </a:lnTo>
                <a:lnTo>
                  <a:pt x="212" y="64"/>
                </a:lnTo>
                <a:lnTo>
                  <a:pt x="212" y="64"/>
                </a:lnTo>
                <a:lnTo>
                  <a:pt x="214" y="67"/>
                </a:lnTo>
                <a:lnTo>
                  <a:pt x="214" y="67"/>
                </a:lnTo>
                <a:lnTo>
                  <a:pt x="214" y="69"/>
                </a:lnTo>
                <a:lnTo>
                  <a:pt x="214" y="69"/>
                </a:lnTo>
                <a:lnTo>
                  <a:pt x="214" y="67"/>
                </a:lnTo>
                <a:lnTo>
                  <a:pt x="214" y="67"/>
                </a:lnTo>
                <a:lnTo>
                  <a:pt x="214" y="62"/>
                </a:lnTo>
                <a:lnTo>
                  <a:pt x="214" y="62"/>
                </a:lnTo>
                <a:lnTo>
                  <a:pt x="212" y="62"/>
                </a:lnTo>
                <a:lnTo>
                  <a:pt x="212" y="62"/>
                </a:lnTo>
                <a:close/>
                <a:moveTo>
                  <a:pt x="207" y="54"/>
                </a:moveTo>
                <a:lnTo>
                  <a:pt x="207" y="54"/>
                </a:lnTo>
                <a:lnTo>
                  <a:pt x="209" y="54"/>
                </a:lnTo>
                <a:lnTo>
                  <a:pt x="209" y="54"/>
                </a:lnTo>
                <a:lnTo>
                  <a:pt x="209" y="52"/>
                </a:lnTo>
                <a:lnTo>
                  <a:pt x="209" y="52"/>
                </a:lnTo>
                <a:lnTo>
                  <a:pt x="212" y="54"/>
                </a:lnTo>
                <a:lnTo>
                  <a:pt x="212" y="54"/>
                </a:lnTo>
                <a:lnTo>
                  <a:pt x="209" y="57"/>
                </a:lnTo>
                <a:lnTo>
                  <a:pt x="209" y="57"/>
                </a:lnTo>
                <a:lnTo>
                  <a:pt x="207" y="57"/>
                </a:lnTo>
                <a:lnTo>
                  <a:pt x="207" y="57"/>
                </a:lnTo>
                <a:lnTo>
                  <a:pt x="207" y="54"/>
                </a:lnTo>
                <a:lnTo>
                  <a:pt x="207" y="54"/>
                </a:lnTo>
                <a:close/>
                <a:moveTo>
                  <a:pt x="155" y="25"/>
                </a:moveTo>
                <a:lnTo>
                  <a:pt x="155" y="25"/>
                </a:lnTo>
                <a:lnTo>
                  <a:pt x="162" y="27"/>
                </a:lnTo>
                <a:lnTo>
                  <a:pt x="162" y="27"/>
                </a:lnTo>
                <a:lnTo>
                  <a:pt x="167" y="30"/>
                </a:lnTo>
                <a:lnTo>
                  <a:pt x="167" y="30"/>
                </a:lnTo>
                <a:lnTo>
                  <a:pt x="172" y="35"/>
                </a:lnTo>
                <a:lnTo>
                  <a:pt x="172" y="35"/>
                </a:lnTo>
                <a:lnTo>
                  <a:pt x="177" y="35"/>
                </a:lnTo>
                <a:lnTo>
                  <a:pt x="177" y="35"/>
                </a:lnTo>
                <a:lnTo>
                  <a:pt x="180" y="37"/>
                </a:lnTo>
                <a:lnTo>
                  <a:pt x="180" y="37"/>
                </a:lnTo>
                <a:lnTo>
                  <a:pt x="182" y="40"/>
                </a:lnTo>
                <a:lnTo>
                  <a:pt x="182" y="40"/>
                </a:lnTo>
                <a:lnTo>
                  <a:pt x="185" y="45"/>
                </a:lnTo>
                <a:lnTo>
                  <a:pt x="185" y="45"/>
                </a:lnTo>
                <a:lnTo>
                  <a:pt x="187" y="45"/>
                </a:lnTo>
                <a:lnTo>
                  <a:pt x="187" y="45"/>
                </a:lnTo>
                <a:lnTo>
                  <a:pt x="190" y="49"/>
                </a:lnTo>
                <a:lnTo>
                  <a:pt x="190" y="49"/>
                </a:lnTo>
                <a:lnTo>
                  <a:pt x="192" y="52"/>
                </a:lnTo>
                <a:lnTo>
                  <a:pt x="192" y="52"/>
                </a:lnTo>
                <a:lnTo>
                  <a:pt x="192" y="54"/>
                </a:lnTo>
                <a:lnTo>
                  <a:pt x="192" y="54"/>
                </a:lnTo>
                <a:lnTo>
                  <a:pt x="190" y="57"/>
                </a:lnTo>
                <a:lnTo>
                  <a:pt x="190" y="57"/>
                </a:lnTo>
                <a:lnTo>
                  <a:pt x="190" y="59"/>
                </a:lnTo>
                <a:lnTo>
                  <a:pt x="190" y="59"/>
                </a:lnTo>
                <a:lnTo>
                  <a:pt x="185" y="57"/>
                </a:lnTo>
                <a:lnTo>
                  <a:pt x="185" y="57"/>
                </a:lnTo>
                <a:lnTo>
                  <a:pt x="185" y="54"/>
                </a:lnTo>
                <a:lnTo>
                  <a:pt x="185" y="54"/>
                </a:lnTo>
                <a:lnTo>
                  <a:pt x="185" y="52"/>
                </a:lnTo>
                <a:lnTo>
                  <a:pt x="185" y="52"/>
                </a:lnTo>
                <a:lnTo>
                  <a:pt x="182" y="42"/>
                </a:lnTo>
                <a:lnTo>
                  <a:pt x="182" y="42"/>
                </a:lnTo>
                <a:lnTo>
                  <a:pt x="177" y="37"/>
                </a:lnTo>
                <a:lnTo>
                  <a:pt x="177" y="37"/>
                </a:lnTo>
                <a:lnTo>
                  <a:pt x="175" y="37"/>
                </a:lnTo>
                <a:lnTo>
                  <a:pt x="175" y="37"/>
                </a:lnTo>
                <a:lnTo>
                  <a:pt x="167" y="35"/>
                </a:lnTo>
                <a:lnTo>
                  <a:pt x="167" y="35"/>
                </a:lnTo>
                <a:lnTo>
                  <a:pt x="158" y="27"/>
                </a:lnTo>
                <a:lnTo>
                  <a:pt x="158" y="27"/>
                </a:lnTo>
                <a:lnTo>
                  <a:pt x="155" y="25"/>
                </a:lnTo>
                <a:lnTo>
                  <a:pt x="155" y="25"/>
                </a:lnTo>
                <a:lnTo>
                  <a:pt x="155" y="25"/>
                </a:lnTo>
                <a:close/>
                <a:moveTo>
                  <a:pt x="135" y="0"/>
                </a:moveTo>
                <a:lnTo>
                  <a:pt x="135" y="0"/>
                </a:lnTo>
                <a:lnTo>
                  <a:pt x="138" y="0"/>
                </a:lnTo>
                <a:lnTo>
                  <a:pt x="138" y="0"/>
                </a:lnTo>
                <a:lnTo>
                  <a:pt x="138" y="3"/>
                </a:lnTo>
                <a:lnTo>
                  <a:pt x="138" y="3"/>
                </a:lnTo>
                <a:lnTo>
                  <a:pt x="138" y="5"/>
                </a:lnTo>
                <a:lnTo>
                  <a:pt x="138" y="5"/>
                </a:lnTo>
                <a:lnTo>
                  <a:pt x="135" y="3"/>
                </a:lnTo>
                <a:lnTo>
                  <a:pt x="135" y="3"/>
                </a:lnTo>
                <a:lnTo>
                  <a:pt x="135" y="0"/>
                </a:lnTo>
                <a:lnTo>
                  <a:pt x="135" y="0"/>
                </a:lnTo>
                <a:close/>
                <a:moveTo>
                  <a:pt x="143" y="22"/>
                </a:moveTo>
                <a:lnTo>
                  <a:pt x="143" y="22"/>
                </a:lnTo>
                <a:lnTo>
                  <a:pt x="148" y="22"/>
                </a:lnTo>
                <a:lnTo>
                  <a:pt x="148" y="22"/>
                </a:lnTo>
                <a:lnTo>
                  <a:pt x="150" y="22"/>
                </a:lnTo>
                <a:lnTo>
                  <a:pt x="150" y="22"/>
                </a:lnTo>
                <a:lnTo>
                  <a:pt x="150" y="27"/>
                </a:lnTo>
                <a:lnTo>
                  <a:pt x="150" y="27"/>
                </a:lnTo>
                <a:lnTo>
                  <a:pt x="145" y="27"/>
                </a:lnTo>
                <a:lnTo>
                  <a:pt x="145" y="27"/>
                </a:lnTo>
                <a:lnTo>
                  <a:pt x="143" y="25"/>
                </a:lnTo>
                <a:lnTo>
                  <a:pt x="143" y="25"/>
                </a:lnTo>
                <a:lnTo>
                  <a:pt x="143" y="22"/>
                </a:lnTo>
                <a:lnTo>
                  <a:pt x="143" y="22"/>
                </a:lnTo>
                <a:close/>
                <a:moveTo>
                  <a:pt x="143" y="62"/>
                </a:moveTo>
                <a:lnTo>
                  <a:pt x="143" y="62"/>
                </a:lnTo>
                <a:lnTo>
                  <a:pt x="145" y="64"/>
                </a:lnTo>
                <a:lnTo>
                  <a:pt x="145" y="64"/>
                </a:lnTo>
                <a:lnTo>
                  <a:pt x="148" y="62"/>
                </a:lnTo>
                <a:lnTo>
                  <a:pt x="148" y="62"/>
                </a:lnTo>
                <a:lnTo>
                  <a:pt x="145" y="59"/>
                </a:lnTo>
                <a:lnTo>
                  <a:pt x="145" y="59"/>
                </a:lnTo>
                <a:lnTo>
                  <a:pt x="143" y="59"/>
                </a:lnTo>
                <a:lnTo>
                  <a:pt x="143" y="59"/>
                </a:lnTo>
                <a:lnTo>
                  <a:pt x="143" y="62"/>
                </a:lnTo>
                <a:lnTo>
                  <a:pt x="143" y="62"/>
                </a:lnTo>
                <a:close/>
                <a:moveTo>
                  <a:pt x="116" y="69"/>
                </a:moveTo>
                <a:lnTo>
                  <a:pt x="116" y="69"/>
                </a:lnTo>
                <a:lnTo>
                  <a:pt x="116" y="72"/>
                </a:lnTo>
                <a:lnTo>
                  <a:pt x="116" y="72"/>
                </a:lnTo>
                <a:lnTo>
                  <a:pt x="118" y="76"/>
                </a:lnTo>
                <a:lnTo>
                  <a:pt x="118" y="76"/>
                </a:lnTo>
                <a:lnTo>
                  <a:pt x="121" y="76"/>
                </a:lnTo>
                <a:lnTo>
                  <a:pt x="121" y="76"/>
                </a:lnTo>
                <a:lnTo>
                  <a:pt x="126" y="79"/>
                </a:lnTo>
                <a:lnTo>
                  <a:pt x="126" y="79"/>
                </a:lnTo>
                <a:lnTo>
                  <a:pt x="126" y="81"/>
                </a:lnTo>
                <a:lnTo>
                  <a:pt x="126" y="81"/>
                </a:lnTo>
                <a:lnTo>
                  <a:pt x="128" y="81"/>
                </a:lnTo>
                <a:lnTo>
                  <a:pt x="128" y="81"/>
                </a:lnTo>
                <a:lnTo>
                  <a:pt x="133" y="81"/>
                </a:lnTo>
                <a:lnTo>
                  <a:pt x="133" y="81"/>
                </a:lnTo>
                <a:lnTo>
                  <a:pt x="135" y="84"/>
                </a:lnTo>
                <a:lnTo>
                  <a:pt x="135" y="84"/>
                </a:lnTo>
                <a:lnTo>
                  <a:pt x="138" y="84"/>
                </a:lnTo>
                <a:lnTo>
                  <a:pt x="138" y="84"/>
                </a:lnTo>
                <a:lnTo>
                  <a:pt x="140" y="84"/>
                </a:lnTo>
                <a:lnTo>
                  <a:pt x="140" y="84"/>
                </a:lnTo>
                <a:lnTo>
                  <a:pt x="148" y="81"/>
                </a:lnTo>
                <a:lnTo>
                  <a:pt x="148" y="81"/>
                </a:lnTo>
                <a:lnTo>
                  <a:pt x="150" y="84"/>
                </a:lnTo>
                <a:lnTo>
                  <a:pt x="150" y="84"/>
                </a:lnTo>
                <a:lnTo>
                  <a:pt x="153" y="81"/>
                </a:lnTo>
                <a:lnTo>
                  <a:pt x="153" y="81"/>
                </a:lnTo>
                <a:lnTo>
                  <a:pt x="155" y="84"/>
                </a:lnTo>
                <a:lnTo>
                  <a:pt x="155" y="84"/>
                </a:lnTo>
                <a:lnTo>
                  <a:pt x="158" y="81"/>
                </a:lnTo>
                <a:lnTo>
                  <a:pt x="158" y="81"/>
                </a:lnTo>
                <a:lnTo>
                  <a:pt x="158" y="79"/>
                </a:lnTo>
                <a:lnTo>
                  <a:pt x="158" y="79"/>
                </a:lnTo>
                <a:lnTo>
                  <a:pt x="162" y="79"/>
                </a:lnTo>
                <a:lnTo>
                  <a:pt x="162" y="79"/>
                </a:lnTo>
                <a:lnTo>
                  <a:pt x="167" y="74"/>
                </a:lnTo>
                <a:lnTo>
                  <a:pt x="167" y="74"/>
                </a:lnTo>
                <a:lnTo>
                  <a:pt x="167" y="72"/>
                </a:lnTo>
                <a:lnTo>
                  <a:pt x="167" y="72"/>
                </a:lnTo>
                <a:lnTo>
                  <a:pt x="170" y="69"/>
                </a:lnTo>
                <a:lnTo>
                  <a:pt x="170" y="69"/>
                </a:lnTo>
                <a:lnTo>
                  <a:pt x="170" y="72"/>
                </a:lnTo>
                <a:lnTo>
                  <a:pt x="170" y="72"/>
                </a:lnTo>
                <a:lnTo>
                  <a:pt x="175" y="72"/>
                </a:lnTo>
                <a:lnTo>
                  <a:pt x="175" y="72"/>
                </a:lnTo>
                <a:lnTo>
                  <a:pt x="177" y="67"/>
                </a:lnTo>
                <a:lnTo>
                  <a:pt x="177" y="67"/>
                </a:lnTo>
                <a:lnTo>
                  <a:pt x="172" y="64"/>
                </a:lnTo>
                <a:lnTo>
                  <a:pt x="172" y="64"/>
                </a:lnTo>
                <a:lnTo>
                  <a:pt x="172" y="62"/>
                </a:lnTo>
                <a:lnTo>
                  <a:pt x="172" y="62"/>
                </a:lnTo>
                <a:lnTo>
                  <a:pt x="175" y="62"/>
                </a:lnTo>
                <a:lnTo>
                  <a:pt x="175" y="62"/>
                </a:lnTo>
                <a:lnTo>
                  <a:pt x="177" y="62"/>
                </a:lnTo>
                <a:lnTo>
                  <a:pt x="177" y="62"/>
                </a:lnTo>
                <a:lnTo>
                  <a:pt x="180" y="59"/>
                </a:lnTo>
                <a:lnTo>
                  <a:pt x="180" y="59"/>
                </a:lnTo>
                <a:lnTo>
                  <a:pt x="180" y="52"/>
                </a:lnTo>
                <a:lnTo>
                  <a:pt x="180" y="52"/>
                </a:lnTo>
                <a:lnTo>
                  <a:pt x="177" y="49"/>
                </a:lnTo>
                <a:lnTo>
                  <a:pt x="177" y="49"/>
                </a:lnTo>
                <a:lnTo>
                  <a:pt x="175" y="49"/>
                </a:lnTo>
                <a:lnTo>
                  <a:pt x="175" y="49"/>
                </a:lnTo>
                <a:lnTo>
                  <a:pt x="175" y="52"/>
                </a:lnTo>
                <a:lnTo>
                  <a:pt x="175" y="52"/>
                </a:lnTo>
                <a:lnTo>
                  <a:pt x="172" y="49"/>
                </a:lnTo>
                <a:lnTo>
                  <a:pt x="172" y="49"/>
                </a:lnTo>
                <a:lnTo>
                  <a:pt x="167" y="49"/>
                </a:lnTo>
                <a:lnTo>
                  <a:pt x="167" y="49"/>
                </a:lnTo>
                <a:lnTo>
                  <a:pt x="167" y="52"/>
                </a:lnTo>
                <a:lnTo>
                  <a:pt x="167" y="52"/>
                </a:lnTo>
                <a:lnTo>
                  <a:pt x="167" y="59"/>
                </a:lnTo>
                <a:lnTo>
                  <a:pt x="167" y="59"/>
                </a:lnTo>
                <a:lnTo>
                  <a:pt x="170" y="59"/>
                </a:lnTo>
                <a:lnTo>
                  <a:pt x="170" y="59"/>
                </a:lnTo>
                <a:lnTo>
                  <a:pt x="167" y="62"/>
                </a:lnTo>
                <a:lnTo>
                  <a:pt x="167" y="62"/>
                </a:lnTo>
                <a:lnTo>
                  <a:pt x="165" y="62"/>
                </a:lnTo>
                <a:lnTo>
                  <a:pt x="165" y="62"/>
                </a:lnTo>
                <a:lnTo>
                  <a:pt x="160" y="67"/>
                </a:lnTo>
                <a:lnTo>
                  <a:pt x="160" y="67"/>
                </a:lnTo>
                <a:lnTo>
                  <a:pt x="158" y="69"/>
                </a:lnTo>
                <a:lnTo>
                  <a:pt x="158" y="69"/>
                </a:lnTo>
                <a:lnTo>
                  <a:pt x="155" y="72"/>
                </a:lnTo>
                <a:lnTo>
                  <a:pt x="155" y="72"/>
                </a:lnTo>
                <a:lnTo>
                  <a:pt x="155" y="69"/>
                </a:lnTo>
                <a:lnTo>
                  <a:pt x="155" y="69"/>
                </a:lnTo>
                <a:lnTo>
                  <a:pt x="153" y="72"/>
                </a:lnTo>
                <a:lnTo>
                  <a:pt x="153" y="72"/>
                </a:lnTo>
                <a:lnTo>
                  <a:pt x="150" y="69"/>
                </a:lnTo>
                <a:lnTo>
                  <a:pt x="150" y="69"/>
                </a:lnTo>
                <a:lnTo>
                  <a:pt x="148" y="69"/>
                </a:lnTo>
                <a:lnTo>
                  <a:pt x="148" y="69"/>
                </a:lnTo>
                <a:lnTo>
                  <a:pt x="145" y="72"/>
                </a:lnTo>
                <a:lnTo>
                  <a:pt x="145" y="72"/>
                </a:lnTo>
                <a:lnTo>
                  <a:pt x="143" y="72"/>
                </a:lnTo>
                <a:lnTo>
                  <a:pt x="143" y="72"/>
                </a:lnTo>
                <a:lnTo>
                  <a:pt x="143" y="69"/>
                </a:lnTo>
                <a:lnTo>
                  <a:pt x="143" y="69"/>
                </a:lnTo>
                <a:lnTo>
                  <a:pt x="143" y="67"/>
                </a:lnTo>
                <a:lnTo>
                  <a:pt x="143" y="67"/>
                </a:lnTo>
                <a:lnTo>
                  <a:pt x="140" y="64"/>
                </a:lnTo>
                <a:lnTo>
                  <a:pt x="140" y="64"/>
                </a:lnTo>
                <a:lnTo>
                  <a:pt x="140" y="67"/>
                </a:lnTo>
                <a:lnTo>
                  <a:pt x="140" y="67"/>
                </a:lnTo>
                <a:lnTo>
                  <a:pt x="140" y="69"/>
                </a:lnTo>
                <a:lnTo>
                  <a:pt x="140" y="69"/>
                </a:lnTo>
                <a:lnTo>
                  <a:pt x="138" y="69"/>
                </a:lnTo>
                <a:lnTo>
                  <a:pt x="138" y="69"/>
                </a:lnTo>
                <a:lnTo>
                  <a:pt x="135" y="69"/>
                </a:lnTo>
                <a:lnTo>
                  <a:pt x="135" y="69"/>
                </a:lnTo>
                <a:lnTo>
                  <a:pt x="131" y="72"/>
                </a:lnTo>
                <a:lnTo>
                  <a:pt x="131" y="72"/>
                </a:lnTo>
                <a:lnTo>
                  <a:pt x="128" y="72"/>
                </a:lnTo>
                <a:lnTo>
                  <a:pt x="128" y="72"/>
                </a:lnTo>
                <a:lnTo>
                  <a:pt x="126" y="69"/>
                </a:lnTo>
                <a:lnTo>
                  <a:pt x="126" y="69"/>
                </a:lnTo>
                <a:lnTo>
                  <a:pt x="123" y="69"/>
                </a:lnTo>
                <a:lnTo>
                  <a:pt x="123" y="69"/>
                </a:lnTo>
                <a:lnTo>
                  <a:pt x="121" y="69"/>
                </a:lnTo>
                <a:lnTo>
                  <a:pt x="121" y="69"/>
                </a:lnTo>
                <a:lnTo>
                  <a:pt x="116" y="69"/>
                </a:lnTo>
                <a:lnTo>
                  <a:pt x="116" y="69"/>
                </a:lnTo>
                <a:close/>
                <a:moveTo>
                  <a:pt x="106" y="72"/>
                </a:moveTo>
                <a:lnTo>
                  <a:pt x="106" y="72"/>
                </a:lnTo>
                <a:lnTo>
                  <a:pt x="108" y="69"/>
                </a:lnTo>
                <a:lnTo>
                  <a:pt x="108" y="69"/>
                </a:lnTo>
                <a:lnTo>
                  <a:pt x="111" y="72"/>
                </a:lnTo>
                <a:lnTo>
                  <a:pt x="111" y="72"/>
                </a:lnTo>
                <a:lnTo>
                  <a:pt x="111" y="74"/>
                </a:lnTo>
                <a:lnTo>
                  <a:pt x="111" y="74"/>
                </a:lnTo>
                <a:lnTo>
                  <a:pt x="111" y="76"/>
                </a:lnTo>
                <a:lnTo>
                  <a:pt x="111" y="76"/>
                </a:lnTo>
                <a:lnTo>
                  <a:pt x="108" y="74"/>
                </a:lnTo>
                <a:lnTo>
                  <a:pt x="108" y="74"/>
                </a:lnTo>
                <a:lnTo>
                  <a:pt x="106" y="72"/>
                </a:lnTo>
                <a:lnTo>
                  <a:pt x="106" y="72"/>
                </a:lnTo>
                <a:close/>
                <a:moveTo>
                  <a:pt x="96" y="67"/>
                </a:moveTo>
                <a:lnTo>
                  <a:pt x="96" y="67"/>
                </a:lnTo>
                <a:lnTo>
                  <a:pt x="96" y="69"/>
                </a:lnTo>
                <a:lnTo>
                  <a:pt x="96" y="69"/>
                </a:lnTo>
                <a:lnTo>
                  <a:pt x="96" y="69"/>
                </a:lnTo>
                <a:lnTo>
                  <a:pt x="99" y="69"/>
                </a:lnTo>
                <a:lnTo>
                  <a:pt x="99" y="69"/>
                </a:lnTo>
                <a:lnTo>
                  <a:pt x="99" y="67"/>
                </a:lnTo>
                <a:lnTo>
                  <a:pt x="99" y="67"/>
                </a:lnTo>
                <a:lnTo>
                  <a:pt x="96" y="67"/>
                </a:lnTo>
                <a:lnTo>
                  <a:pt x="96" y="67"/>
                </a:lnTo>
                <a:close/>
                <a:moveTo>
                  <a:pt x="81" y="54"/>
                </a:moveTo>
                <a:lnTo>
                  <a:pt x="81" y="54"/>
                </a:lnTo>
                <a:lnTo>
                  <a:pt x="79" y="57"/>
                </a:lnTo>
                <a:lnTo>
                  <a:pt x="79" y="57"/>
                </a:lnTo>
                <a:lnTo>
                  <a:pt x="79" y="59"/>
                </a:lnTo>
                <a:lnTo>
                  <a:pt x="79" y="59"/>
                </a:lnTo>
                <a:lnTo>
                  <a:pt x="81" y="57"/>
                </a:lnTo>
                <a:lnTo>
                  <a:pt x="81" y="57"/>
                </a:lnTo>
                <a:lnTo>
                  <a:pt x="81" y="54"/>
                </a:lnTo>
                <a:lnTo>
                  <a:pt x="81" y="54"/>
                </a:lnTo>
                <a:close/>
                <a:moveTo>
                  <a:pt x="180" y="126"/>
                </a:moveTo>
                <a:lnTo>
                  <a:pt x="180" y="126"/>
                </a:lnTo>
                <a:lnTo>
                  <a:pt x="180" y="128"/>
                </a:lnTo>
                <a:lnTo>
                  <a:pt x="180" y="128"/>
                </a:lnTo>
                <a:lnTo>
                  <a:pt x="180" y="131"/>
                </a:lnTo>
                <a:lnTo>
                  <a:pt x="180" y="131"/>
                </a:lnTo>
                <a:lnTo>
                  <a:pt x="182" y="131"/>
                </a:lnTo>
                <a:lnTo>
                  <a:pt x="182" y="131"/>
                </a:lnTo>
                <a:lnTo>
                  <a:pt x="185" y="133"/>
                </a:lnTo>
                <a:lnTo>
                  <a:pt x="185" y="133"/>
                </a:lnTo>
                <a:lnTo>
                  <a:pt x="185" y="131"/>
                </a:lnTo>
                <a:lnTo>
                  <a:pt x="185" y="131"/>
                </a:lnTo>
                <a:lnTo>
                  <a:pt x="180" y="126"/>
                </a:lnTo>
                <a:lnTo>
                  <a:pt x="180" y="126"/>
                </a:lnTo>
                <a:close/>
                <a:moveTo>
                  <a:pt x="158" y="116"/>
                </a:moveTo>
                <a:lnTo>
                  <a:pt x="158" y="116"/>
                </a:lnTo>
                <a:lnTo>
                  <a:pt x="155" y="118"/>
                </a:lnTo>
                <a:lnTo>
                  <a:pt x="155" y="118"/>
                </a:lnTo>
                <a:lnTo>
                  <a:pt x="158" y="121"/>
                </a:lnTo>
                <a:lnTo>
                  <a:pt x="158" y="121"/>
                </a:lnTo>
                <a:lnTo>
                  <a:pt x="158" y="121"/>
                </a:lnTo>
                <a:lnTo>
                  <a:pt x="158" y="123"/>
                </a:lnTo>
                <a:lnTo>
                  <a:pt x="158" y="123"/>
                </a:lnTo>
                <a:lnTo>
                  <a:pt x="158" y="123"/>
                </a:lnTo>
                <a:lnTo>
                  <a:pt x="158" y="123"/>
                </a:lnTo>
                <a:lnTo>
                  <a:pt x="160" y="121"/>
                </a:lnTo>
                <a:lnTo>
                  <a:pt x="160" y="121"/>
                </a:lnTo>
                <a:lnTo>
                  <a:pt x="158" y="116"/>
                </a:lnTo>
                <a:lnTo>
                  <a:pt x="158" y="116"/>
                </a:lnTo>
                <a:lnTo>
                  <a:pt x="158" y="116"/>
                </a:lnTo>
                <a:close/>
                <a:moveTo>
                  <a:pt x="150" y="140"/>
                </a:moveTo>
                <a:lnTo>
                  <a:pt x="150" y="140"/>
                </a:lnTo>
                <a:lnTo>
                  <a:pt x="153" y="140"/>
                </a:lnTo>
                <a:lnTo>
                  <a:pt x="153" y="140"/>
                </a:lnTo>
                <a:lnTo>
                  <a:pt x="153" y="140"/>
                </a:lnTo>
                <a:lnTo>
                  <a:pt x="155" y="143"/>
                </a:lnTo>
                <a:lnTo>
                  <a:pt x="155" y="143"/>
                </a:lnTo>
                <a:lnTo>
                  <a:pt x="155" y="143"/>
                </a:lnTo>
                <a:lnTo>
                  <a:pt x="155" y="143"/>
                </a:lnTo>
                <a:lnTo>
                  <a:pt x="158" y="143"/>
                </a:lnTo>
                <a:lnTo>
                  <a:pt x="158" y="143"/>
                </a:lnTo>
                <a:lnTo>
                  <a:pt x="160" y="143"/>
                </a:lnTo>
                <a:lnTo>
                  <a:pt x="160" y="143"/>
                </a:lnTo>
                <a:lnTo>
                  <a:pt x="160" y="143"/>
                </a:lnTo>
                <a:lnTo>
                  <a:pt x="158" y="145"/>
                </a:lnTo>
                <a:lnTo>
                  <a:pt x="158" y="145"/>
                </a:lnTo>
                <a:lnTo>
                  <a:pt x="158" y="145"/>
                </a:lnTo>
                <a:lnTo>
                  <a:pt x="155" y="145"/>
                </a:lnTo>
                <a:lnTo>
                  <a:pt x="155" y="145"/>
                </a:lnTo>
                <a:lnTo>
                  <a:pt x="153" y="145"/>
                </a:lnTo>
                <a:lnTo>
                  <a:pt x="153" y="145"/>
                </a:lnTo>
                <a:lnTo>
                  <a:pt x="153" y="143"/>
                </a:lnTo>
                <a:lnTo>
                  <a:pt x="153" y="143"/>
                </a:lnTo>
                <a:lnTo>
                  <a:pt x="153" y="143"/>
                </a:lnTo>
                <a:lnTo>
                  <a:pt x="153" y="140"/>
                </a:lnTo>
                <a:lnTo>
                  <a:pt x="153" y="140"/>
                </a:lnTo>
                <a:lnTo>
                  <a:pt x="150" y="140"/>
                </a:lnTo>
                <a:lnTo>
                  <a:pt x="150" y="140"/>
                </a:lnTo>
                <a:lnTo>
                  <a:pt x="150" y="140"/>
                </a:lnTo>
                <a:close/>
                <a:moveTo>
                  <a:pt x="148" y="136"/>
                </a:moveTo>
                <a:lnTo>
                  <a:pt x="148" y="136"/>
                </a:lnTo>
                <a:lnTo>
                  <a:pt x="148" y="138"/>
                </a:lnTo>
                <a:lnTo>
                  <a:pt x="148" y="138"/>
                </a:lnTo>
                <a:lnTo>
                  <a:pt x="150" y="138"/>
                </a:lnTo>
                <a:lnTo>
                  <a:pt x="150" y="138"/>
                </a:lnTo>
                <a:lnTo>
                  <a:pt x="153" y="138"/>
                </a:lnTo>
                <a:lnTo>
                  <a:pt x="153" y="138"/>
                </a:lnTo>
                <a:lnTo>
                  <a:pt x="153" y="138"/>
                </a:lnTo>
                <a:lnTo>
                  <a:pt x="153" y="138"/>
                </a:lnTo>
                <a:lnTo>
                  <a:pt x="153" y="136"/>
                </a:lnTo>
                <a:lnTo>
                  <a:pt x="153" y="136"/>
                </a:lnTo>
                <a:lnTo>
                  <a:pt x="153" y="136"/>
                </a:lnTo>
                <a:lnTo>
                  <a:pt x="153" y="136"/>
                </a:lnTo>
                <a:lnTo>
                  <a:pt x="150" y="136"/>
                </a:lnTo>
                <a:lnTo>
                  <a:pt x="150" y="136"/>
                </a:lnTo>
                <a:lnTo>
                  <a:pt x="150" y="136"/>
                </a:lnTo>
                <a:lnTo>
                  <a:pt x="148" y="133"/>
                </a:lnTo>
                <a:lnTo>
                  <a:pt x="148" y="133"/>
                </a:lnTo>
                <a:lnTo>
                  <a:pt x="148" y="136"/>
                </a:lnTo>
                <a:lnTo>
                  <a:pt x="148" y="136"/>
                </a:lnTo>
                <a:close/>
                <a:moveTo>
                  <a:pt x="140" y="133"/>
                </a:moveTo>
                <a:lnTo>
                  <a:pt x="140" y="133"/>
                </a:lnTo>
                <a:lnTo>
                  <a:pt x="143" y="136"/>
                </a:lnTo>
                <a:lnTo>
                  <a:pt x="143" y="136"/>
                </a:lnTo>
                <a:lnTo>
                  <a:pt x="143" y="136"/>
                </a:lnTo>
                <a:lnTo>
                  <a:pt x="145" y="136"/>
                </a:lnTo>
                <a:lnTo>
                  <a:pt x="145" y="136"/>
                </a:lnTo>
                <a:lnTo>
                  <a:pt x="145" y="136"/>
                </a:lnTo>
                <a:lnTo>
                  <a:pt x="145" y="136"/>
                </a:lnTo>
                <a:lnTo>
                  <a:pt x="145" y="131"/>
                </a:lnTo>
                <a:lnTo>
                  <a:pt x="145" y="131"/>
                </a:lnTo>
                <a:lnTo>
                  <a:pt x="143" y="131"/>
                </a:lnTo>
                <a:lnTo>
                  <a:pt x="143" y="131"/>
                </a:lnTo>
                <a:lnTo>
                  <a:pt x="140" y="133"/>
                </a:lnTo>
                <a:lnTo>
                  <a:pt x="140" y="133"/>
                </a:lnTo>
                <a:close/>
                <a:moveTo>
                  <a:pt x="64" y="106"/>
                </a:moveTo>
                <a:lnTo>
                  <a:pt x="64" y="106"/>
                </a:lnTo>
                <a:lnTo>
                  <a:pt x="62" y="106"/>
                </a:lnTo>
                <a:lnTo>
                  <a:pt x="62" y="106"/>
                </a:lnTo>
                <a:lnTo>
                  <a:pt x="64" y="108"/>
                </a:lnTo>
                <a:lnTo>
                  <a:pt x="64" y="106"/>
                </a:lnTo>
                <a:lnTo>
                  <a:pt x="64" y="106"/>
                </a:lnTo>
                <a:close/>
                <a:moveTo>
                  <a:pt x="57" y="106"/>
                </a:moveTo>
                <a:lnTo>
                  <a:pt x="57" y="106"/>
                </a:lnTo>
                <a:lnTo>
                  <a:pt x="57" y="106"/>
                </a:lnTo>
                <a:lnTo>
                  <a:pt x="59" y="106"/>
                </a:lnTo>
                <a:lnTo>
                  <a:pt x="59" y="106"/>
                </a:lnTo>
                <a:lnTo>
                  <a:pt x="57" y="106"/>
                </a:lnTo>
                <a:lnTo>
                  <a:pt x="57" y="106"/>
                </a:lnTo>
                <a:close/>
                <a:moveTo>
                  <a:pt x="52" y="106"/>
                </a:moveTo>
                <a:lnTo>
                  <a:pt x="52" y="106"/>
                </a:lnTo>
                <a:lnTo>
                  <a:pt x="52" y="108"/>
                </a:lnTo>
                <a:lnTo>
                  <a:pt x="52" y="108"/>
                </a:lnTo>
                <a:lnTo>
                  <a:pt x="54" y="108"/>
                </a:lnTo>
                <a:lnTo>
                  <a:pt x="54" y="108"/>
                </a:lnTo>
                <a:lnTo>
                  <a:pt x="54" y="106"/>
                </a:lnTo>
                <a:lnTo>
                  <a:pt x="54" y="106"/>
                </a:lnTo>
                <a:lnTo>
                  <a:pt x="52" y="106"/>
                </a:lnTo>
                <a:lnTo>
                  <a:pt x="52" y="106"/>
                </a:lnTo>
                <a:close/>
                <a:moveTo>
                  <a:pt x="57" y="106"/>
                </a:moveTo>
                <a:lnTo>
                  <a:pt x="57" y="106"/>
                </a:lnTo>
                <a:lnTo>
                  <a:pt x="54" y="106"/>
                </a:lnTo>
                <a:lnTo>
                  <a:pt x="54" y="106"/>
                </a:lnTo>
                <a:lnTo>
                  <a:pt x="54" y="104"/>
                </a:lnTo>
                <a:lnTo>
                  <a:pt x="54" y="104"/>
                </a:lnTo>
                <a:lnTo>
                  <a:pt x="57" y="104"/>
                </a:lnTo>
                <a:lnTo>
                  <a:pt x="57" y="104"/>
                </a:lnTo>
                <a:lnTo>
                  <a:pt x="57" y="106"/>
                </a:lnTo>
                <a:lnTo>
                  <a:pt x="57" y="106"/>
                </a:lnTo>
                <a:lnTo>
                  <a:pt x="57" y="106"/>
                </a:lnTo>
                <a:close/>
                <a:moveTo>
                  <a:pt x="44" y="106"/>
                </a:moveTo>
                <a:lnTo>
                  <a:pt x="44" y="106"/>
                </a:lnTo>
                <a:lnTo>
                  <a:pt x="47" y="108"/>
                </a:lnTo>
                <a:lnTo>
                  <a:pt x="47" y="108"/>
                </a:lnTo>
                <a:lnTo>
                  <a:pt x="47" y="108"/>
                </a:lnTo>
                <a:lnTo>
                  <a:pt x="47" y="108"/>
                </a:lnTo>
                <a:lnTo>
                  <a:pt x="44" y="106"/>
                </a:lnTo>
                <a:lnTo>
                  <a:pt x="44" y="106"/>
                </a:lnTo>
                <a:close/>
                <a:moveTo>
                  <a:pt x="39" y="118"/>
                </a:moveTo>
                <a:lnTo>
                  <a:pt x="39" y="118"/>
                </a:lnTo>
                <a:lnTo>
                  <a:pt x="42" y="118"/>
                </a:lnTo>
                <a:lnTo>
                  <a:pt x="42" y="118"/>
                </a:lnTo>
                <a:lnTo>
                  <a:pt x="44" y="118"/>
                </a:lnTo>
                <a:lnTo>
                  <a:pt x="44" y="118"/>
                </a:lnTo>
                <a:lnTo>
                  <a:pt x="39" y="118"/>
                </a:lnTo>
                <a:lnTo>
                  <a:pt x="39" y="118"/>
                </a:lnTo>
                <a:close/>
                <a:moveTo>
                  <a:pt x="39" y="121"/>
                </a:moveTo>
                <a:lnTo>
                  <a:pt x="39" y="121"/>
                </a:lnTo>
                <a:lnTo>
                  <a:pt x="42" y="121"/>
                </a:lnTo>
                <a:lnTo>
                  <a:pt x="42" y="121"/>
                </a:lnTo>
                <a:lnTo>
                  <a:pt x="42" y="121"/>
                </a:lnTo>
                <a:lnTo>
                  <a:pt x="39" y="121"/>
                </a:lnTo>
                <a:lnTo>
                  <a:pt x="39" y="121"/>
                </a:lnTo>
                <a:close/>
                <a:moveTo>
                  <a:pt x="37" y="118"/>
                </a:moveTo>
                <a:lnTo>
                  <a:pt x="37" y="118"/>
                </a:lnTo>
                <a:lnTo>
                  <a:pt x="37" y="121"/>
                </a:lnTo>
                <a:lnTo>
                  <a:pt x="37" y="121"/>
                </a:lnTo>
                <a:lnTo>
                  <a:pt x="39" y="118"/>
                </a:lnTo>
                <a:lnTo>
                  <a:pt x="39" y="118"/>
                </a:lnTo>
                <a:lnTo>
                  <a:pt x="37" y="118"/>
                </a:lnTo>
                <a:lnTo>
                  <a:pt x="37" y="118"/>
                </a:lnTo>
                <a:close/>
                <a:moveTo>
                  <a:pt x="35" y="121"/>
                </a:moveTo>
                <a:lnTo>
                  <a:pt x="39" y="123"/>
                </a:lnTo>
                <a:lnTo>
                  <a:pt x="39" y="123"/>
                </a:lnTo>
                <a:lnTo>
                  <a:pt x="42" y="126"/>
                </a:lnTo>
                <a:lnTo>
                  <a:pt x="42" y="126"/>
                </a:lnTo>
                <a:lnTo>
                  <a:pt x="35" y="121"/>
                </a:lnTo>
                <a:lnTo>
                  <a:pt x="35" y="121"/>
                </a:lnTo>
                <a:close/>
                <a:moveTo>
                  <a:pt x="39" y="113"/>
                </a:moveTo>
                <a:lnTo>
                  <a:pt x="39" y="113"/>
                </a:lnTo>
                <a:lnTo>
                  <a:pt x="42" y="113"/>
                </a:lnTo>
                <a:lnTo>
                  <a:pt x="42" y="113"/>
                </a:lnTo>
                <a:lnTo>
                  <a:pt x="42" y="113"/>
                </a:lnTo>
                <a:lnTo>
                  <a:pt x="39" y="113"/>
                </a:lnTo>
                <a:lnTo>
                  <a:pt x="39" y="113"/>
                </a:lnTo>
                <a:lnTo>
                  <a:pt x="39" y="113"/>
                </a:lnTo>
                <a:close/>
                <a:moveTo>
                  <a:pt x="44" y="113"/>
                </a:moveTo>
                <a:lnTo>
                  <a:pt x="44" y="113"/>
                </a:lnTo>
                <a:lnTo>
                  <a:pt x="42" y="111"/>
                </a:lnTo>
                <a:lnTo>
                  <a:pt x="42" y="111"/>
                </a:lnTo>
                <a:lnTo>
                  <a:pt x="42" y="108"/>
                </a:lnTo>
                <a:lnTo>
                  <a:pt x="42" y="108"/>
                </a:lnTo>
                <a:lnTo>
                  <a:pt x="44" y="108"/>
                </a:lnTo>
                <a:lnTo>
                  <a:pt x="44" y="108"/>
                </a:lnTo>
                <a:lnTo>
                  <a:pt x="44" y="111"/>
                </a:lnTo>
                <a:lnTo>
                  <a:pt x="44" y="111"/>
                </a:lnTo>
                <a:lnTo>
                  <a:pt x="44" y="113"/>
                </a:lnTo>
                <a:lnTo>
                  <a:pt x="44" y="113"/>
                </a:lnTo>
                <a:lnTo>
                  <a:pt x="44" y="113"/>
                </a:lnTo>
                <a:close/>
                <a:moveTo>
                  <a:pt x="3" y="25"/>
                </a:moveTo>
                <a:lnTo>
                  <a:pt x="3" y="25"/>
                </a:lnTo>
                <a:lnTo>
                  <a:pt x="0" y="84"/>
                </a:lnTo>
                <a:lnTo>
                  <a:pt x="0" y="84"/>
                </a:lnTo>
                <a:lnTo>
                  <a:pt x="0" y="89"/>
                </a:lnTo>
                <a:lnTo>
                  <a:pt x="0" y="89"/>
                </a:lnTo>
                <a:lnTo>
                  <a:pt x="0" y="91"/>
                </a:lnTo>
                <a:lnTo>
                  <a:pt x="0" y="91"/>
                </a:lnTo>
                <a:lnTo>
                  <a:pt x="0" y="91"/>
                </a:lnTo>
                <a:lnTo>
                  <a:pt x="0" y="128"/>
                </a:lnTo>
                <a:lnTo>
                  <a:pt x="0" y="128"/>
                </a:lnTo>
                <a:lnTo>
                  <a:pt x="5" y="128"/>
                </a:lnTo>
                <a:lnTo>
                  <a:pt x="5" y="128"/>
                </a:lnTo>
                <a:lnTo>
                  <a:pt x="8" y="131"/>
                </a:lnTo>
                <a:lnTo>
                  <a:pt x="8" y="131"/>
                </a:lnTo>
                <a:lnTo>
                  <a:pt x="10" y="128"/>
                </a:lnTo>
                <a:lnTo>
                  <a:pt x="10" y="128"/>
                </a:lnTo>
                <a:lnTo>
                  <a:pt x="17" y="131"/>
                </a:lnTo>
                <a:lnTo>
                  <a:pt x="17" y="131"/>
                </a:lnTo>
                <a:lnTo>
                  <a:pt x="20" y="128"/>
                </a:lnTo>
                <a:lnTo>
                  <a:pt x="20" y="128"/>
                </a:lnTo>
                <a:lnTo>
                  <a:pt x="20" y="131"/>
                </a:lnTo>
                <a:lnTo>
                  <a:pt x="20" y="131"/>
                </a:lnTo>
                <a:lnTo>
                  <a:pt x="22" y="133"/>
                </a:lnTo>
                <a:lnTo>
                  <a:pt x="22" y="133"/>
                </a:lnTo>
                <a:lnTo>
                  <a:pt x="25" y="133"/>
                </a:lnTo>
                <a:lnTo>
                  <a:pt x="25" y="133"/>
                </a:lnTo>
                <a:lnTo>
                  <a:pt x="27" y="131"/>
                </a:lnTo>
                <a:lnTo>
                  <a:pt x="27" y="131"/>
                </a:lnTo>
                <a:lnTo>
                  <a:pt x="32" y="131"/>
                </a:lnTo>
                <a:lnTo>
                  <a:pt x="32" y="131"/>
                </a:lnTo>
                <a:lnTo>
                  <a:pt x="35" y="128"/>
                </a:lnTo>
                <a:lnTo>
                  <a:pt x="35" y="128"/>
                </a:lnTo>
                <a:lnTo>
                  <a:pt x="35" y="131"/>
                </a:lnTo>
                <a:lnTo>
                  <a:pt x="35" y="131"/>
                </a:lnTo>
                <a:lnTo>
                  <a:pt x="37" y="128"/>
                </a:lnTo>
                <a:lnTo>
                  <a:pt x="37" y="128"/>
                </a:lnTo>
                <a:lnTo>
                  <a:pt x="37" y="123"/>
                </a:lnTo>
                <a:lnTo>
                  <a:pt x="37" y="123"/>
                </a:lnTo>
                <a:lnTo>
                  <a:pt x="32" y="121"/>
                </a:lnTo>
                <a:lnTo>
                  <a:pt x="32" y="121"/>
                </a:lnTo>
                <a:lnTo>
                  <a:pt x="27" y="118"/>
                </a:lnTo>
                <a:lnTo>
                  <a:pt x="27" y="118"/>
                </a:lnTo>
                <a:lnTo>
                  <a:pt x="25" y="118"/>
                </a:lnTo>
                <a:lnTo>
                  <a:pt x="25" y="118"/>
                </a:lnTo>
                <a:lnTo>
                  <a:pt x="22" y="116"/>
                </a:lnTo>
                <a:lnTo>
                  <a:pt x="22" y="116"/>
                </a:lnTo>
                <a:lnTo>
                  <a:pt x="20" y="116"/>
                </a:lnTo>
                <a:lnTo>
                  <a:pt x="20" y="116"/>
                </a:lnTo>
                <a:lnTo>
                  <a:pt x="20" y="116"/>
                </a:lnTo>
                <a:lnTo>
                  <a:pt x="17" y="116"/>
                </a:lnTo>
                <a:lnTo>
                  <a:pt x="17" y="116"/>
                </a:lnTo>
                <a:lnTo>
                  <a:pt x="17" y="111"/>
                </a:lnTo>
                <a:lnTo>
                  <a:pt x="17" y="111"/>
                </a:lnTo>
                <a:lnTo>
                  <a:pt x="15" y="108"/>
                </a:lnTo>
                <a:lnTo>
                  <a:pt x="15" y="108"/>
                </a:lnTo>
                <a:lnTo>
                  <a:pt x="12" y="106"/>
                </a:lnTo>
                <a:lnTo>
                  <a:pt x="12" y="106"/>
                </a:lnTo>
                <a:lnTo>
                  <a:pt x="10" y="104"/>
                </a:lnTo>
                <a:lnTo>
                  <a:pt x="10" y="104"/>
                </a:lnTo>
                <a:lnTo>
                  <a:pt x="10" y="104"/>
                </a:lnTo>
                <a:lnTo>
                  <a:pt x="10" y="104"/>
                </a:lnTo>
                <a:lnTo>
                  <a:pt x="12" y="106"/>
                </a:lnTo>
                <a:lnTo>
                  <a:pt x="12" y="106"/>
                </a:lnTo>
                <a:lnTo>
                  <a:pt x="12" y="106"/>
                </a:lnTo>
                <a:lnTo>
                  <a:pt x="17" y="108"/>
                </a:lnTo>
                <a:lnTo>
                  <a:pt x="17" y="108"/>
                </a:lnTo>
                <a:lnTo>
                  <a:pt x="17" y="111"/>
                </a:lnTo>
                <a:lnTo>
                  <a:pt x="17" y="111"/>
                </a:lnTo>
                <a:lnTo>
                  <a:pt x="17" y="113"/>
                </a:lnTo>
                <a:lnTo>
                  <a:pt x="17" y="113"/>
                </a:lnTo>
                <a:lnTo>
                  <a:pt x="20" y="113"/>
                </a:lnTo>
                <a:lnTo>
                  <a:pt x="20" y="113"/>
                </a:lnTo>
                <a:lnTo>
                  <a:pt x="22" y="116"/>
                </a:lnTo>
                <a:lnTo>
                  <a:pt x="22" y="116"/>
                </a:lnTo>
                <a:lnTo>
                  <a:pt x="25" y="118"/>
                </a:lnTo>
                <a:lnTo>
                  <a:pt x="25" y="118"/>
                </a:lnTo>
                <a:lnTo>
                  <a:pt x="27" y="118"/>
                </a:lnTo>
                <a:lnTo>
                  <a:pt x="27" y="118"/>
                </a:lnTo>
                <a:lnTo>
                  <a:pt x="30" y="118"/>
                </a:lnTo>
                <a:lnTo>
                  <a:pt x="30" y="118"/>
                </a:lnTo>
                <a:lnTo>
                  <a:pt x="35" y="116"/>
                </a:lnTo>
                <a:lnTo>
                  <a:pt x="35" y="116"/>
                </a:lnTo>
                <a:lnTo>
                  <a:pt x="37" y="116"/>
                </a:lnTo>
                <a:lnTo>
                  <a:pt x="37" y="116"/>
                </a:lnTo>
                <a:lnTo>
                  <a:pt x="39" y="116"/>
                </a:lnTo>
                <a:lnTo>
                  <a:pt x="39" y="116"/>
                </a:lnTo>
                <a:lnTo>
                  <a:pt x="39" y="113"/>
                </a:lnTo>
                <a:lnTo>
                  <a:pt x="39" y="113"/>
                </a:lnTo>
                <a:lnTo>
                  <a:pt x="37" y="113"/>
                </a:lnTo>
                <a:lnTo>
                  <a:pt x="37" y="113"/>
                </a:lnTo>
                <a:lnTo>
                  <a:pt x="37" y="111"/>
                </a:lnTo>
                <a:lnTo>
                  <a:pt x="37" y="111"/>
                </a:lnTo>
                <a:lnTo>
                  <a:pt x="35" y="111"/>
                </a:lnTo>
                <a:lnTo>
                  <a:pt x="35" y="111"/>
                </a:lnTo>
                <a:lnTo>
                  <a:pt x="32" y="108"/>
                </a:lnTo>
                <a:lnTo>
                  <a:pt x="32" y="108"/>
                </a:lnTo>
                <a:lnTo>
                  <a:pt x="35" y="111"/>
                </a:lnTo>
                <a:lnTo>
                  <a:pt x="35" y="111"/>
                </a:lnTo>
                <a:lnTo>
                  <a:pt x="37" y="108"/>
                </a:lnTo>
                <a:lnTo>
                  <a:pt x="37" y="108"/>
                </a:lnTo>
                <a:lnTo>
                  <a:pt x="39" y="113"/>
                </a:lnTo>
                <a:lnTo>
                  <a:pt x="39" y="113"/>
                </a:lnTo>
                <a:lnTo>
                  <a:pt x="42" y="113"/>
                </a:lnTo>
                <a:lnTo>
                  <a:pt x="42" y="113"/>
                </a:lnTo>
                <a:lnTo>
                  <a:pt x="42" y="111"/>
                </a:lnTo>
                <a:lnTo>
                  <a:pt x="42" y="111"/>
                </a:lnTo>
                <a:lnTo>
                  <a:pt x="42" y="108"/>
                </a:lnTo>
                <a:lnTo>
                  <a:pt x="42" y="108"/>
                </a:lnTo>
                <a:lnTo>
                  <a:pt x="42" y="108"/>
                </a:lnTo>
                <a:lnTo>
                  <a:pt x="44" y="106"/>
                </a:lnTo>
                <a:lnTo>
                  <a:pt x="44" y="106"/>
                </a:lnTo>
                <a:lnTo>
                  <a:pt x="42" y="104"/>
                </a:lnTo>
                <a:lnTo>
                  <a:pt x="42" y="104"/>
                </a:lnTo>
                <a:lnTo>
                  <a:pt x="42" y="101"/>
                </a:lnTo>
                <a:lnTo>
                  <a:pt x="42" y="101"/>
                </a:lnTo>
                <a:lnTo>
                  <a:pt x="42" y="101"/>
                </a:lnTo>
                <a:lnTo>
                  <a:pt x="44" y="101"/>
                </a:lnTo>
                <a:lnTo>
                  <a:pt x="44" y="101"/>
                </a:lnTo>
                <a:lnTo>
                  <a:pt x="44" y="104"/>
                </a:lnTo>
                <a:lnTo>
                  <a:pt x="44" y="104"/>
                </a:lnTo>
                <a:lnTo>
                  <a:pt x="47" y="106"/>
                </a:lnTo>
                <a:lnTo>
                  <a:pt x="47" y="106"/>
                </a:lnTo>
                <a:lnTo>
                  <a:pt x="49" y="106"/>
                </a:lnTo>
                <a:lnTo>
                  <a:pt x="49" y="106"/>
                </a:lnTo>
                <a:lnTo>
                  <a:pt x="49" y="106"/>
                </a:lnTo>
                <a:lnTo>
                  <a:pt x="49" y="104"/>
                </a:lnTo>
                <a:lnTo>
                  <a:pt x="49" y="104"/>
                </a:lnTo>
                <a:lnTo>
                  <a:pt x="49" y="104"/>
                </a:lnTo>
                <a:lnTo>
                  <a:pt x="52" y="106"/>
                </a:lnTo>
                <a:lnTo>
                  <a:pt x="52" y="106"/>
                </a:lnTo>
                <a:lnTo>
                  <a:pt x="52" y="106"/>
                </a:lnTo>
                <a:lnTo>
                  <a:pt x="52" y="104"/>
                </a:lnTo>
                <a:lnTo>
                  <a:pt x="52" y="104"/>
                </a:lnTo>
                <a:lnTo>
                  <a:pt x="52" y="104"/>
                </a:lnTo>
                <a:lnTo>
                  <a:pt x="52" y="99"/>
                </a:lnTo>
                <a:lnTo>
                  <a:pt x="52" y="99"/>
                </a:lnTo>
                <a:lnTo>
                  <a:pt x="54" y="101"/>
                </a:lnTo>
                <a:lnTo>
                  <a:pt x="54" y="101"/>
                </a:lnTo>
                <a:lnTo>
                  <a:pt x="57" y="104"/>
                </a:lnTo>
                <a:lnTo>
                  <a:pt x="57" y="104"/>
                </a:lnTo>
                <a:lnTo>
                  <a:pt x="59" y="104"/>
                </a:lnTo>
                <a:lnTo>
                  <a:pt x="59" y="104"/>
                </a:lnTo>
                <a:lnTo>
                  <a:pt x="59" y="106"/>
                </a:lnTo>
                <a:lnTo>
                  <a:pt x="59" y="106"/>
                </a:lnTo>
                <a:lnTo>
                  <a:pt x="62" y="106"/>
                </a:lnTo>
                <a:lnTo>
                  <a:pt x="62" y="106"/>
                </a:lnTo>
                <a:lnTo>
                  <a:pt x="64" y="106"/>
                </a:lnTo>
                <a:lnTo>
                  <a:pt x="64" y="106"/>
                </a:lnTo>
                <a:lnTo>
                  <a:pt x="64" y="104"/>
                </a:lnTo>
                <a:lnTo>
                  <a:pt x="64" y="104"/>
                </a:lnTo>
                <a:lnTo>
                  <a:pt x="64" y="106"/>
                </a:lnTo>
                <a:lnTo>
                  <a:pt x="64" y="106"/>
                </a:lnTo>
                <a:lnTo>
                  <a:pt x="64" y="108"/>
                </a:lnTo>
                <a:lnTo>
                  <a:pt x="64" y="108"/>
                </a:lnTo>
                <a:lnTo>
                  <a:pt x="67" y="108"/>
                </a:lnTo>
                <a:lnTo>
                  <a:pt x="67" y="108"/>
                </a:lnTo>
                <a:lnTo>
                  <a:pt x="69" y="111"/>
                </a:lnTo>
                <a:lnTo>
                  <a:pt x="69" y="111"/>
                </a:lnTo>
                <a:lnTo>
                  <a:pt x="76" y="113"/>
                </a:lnTo>
                <a:lnTo>
                  <a:pt x="76" y="113"/>
                </a:lnTo>
                <a:lnTo>
                  <a:pt x="79" y="113"/>
                </a:lnTo>
                <a:lnTo>
                  <a:pt x="79" y="113"/>
                </a:lnTo>
                <a:lnTo>
                  <a:pt x="81" y="116"/>
                </a:lnTo>
                <a:lnTo>
                  <a:pt x="81" y="116"/>
                </a:lnTo>
                <a:lnTo>
                  <a:pt x="84" y="121"/>
                </a:lnTo>
                <a:lnTo>
                  <a:pt x="84" y="121"/>
                </a:lnTo>
                <a:lnTo>
                  <a:pt x="86" y="126"/>
                </a:lnTo>
                <a:lnTo>
                  <a:pt x="86" y="126"/>
                </a:lnTo>
                <a:lnTo>
                  <a:pt x="86" y="128"/>
                </a:lnTo>
                <a:lnTo>
                  <a:pt x="86" y="128"/>
                </a:lnTo>
                <a:lnTo>
                  <a:pt x="91" y="128"/>
                </a:lnTo>
                <a:lnTo>
                  <a:pt x="91" y="128"/>
                </a:lnTo>
                <a:lnTo>
                  <a:pt x="91" y="131"/>
                </a:lnTo>
                <a:lnTo>
                  <a:pt x="91" y="131"/>
                </a:lnTo>
                <a:lnTo>
                  <a:pt x="94" y="133"/>
                </a:lnTo>
                <a:lnTo>
                  <a:pt x="94" y="133"/>
                </a:lnTo>
                <a:lnTo>
                  <a:pt x="99" y="140"/>
                </a:lnTo>
                <a:lnTo>
                  <a:pt x="99" y="140"/>
                </a:lnTo>
                <a:lnTo>
                  <a:pt x="101" y="143"/>
                </a:lnTo>
                <a:lnTo>
                  <a:pt x="101" y="143"/>
                </a:lnTo>
                <a:lnTo>
                  <a:pt x="103" y="145"/>
                </a:lnTo>
                <a:lnTo>
                  <a:pt x="103" y="145"/>
                </a:lnTo>
                <a:lnTo>
                  <a:pt x="106" y="145"/>
                </a:lnTo>
                <a:lnTo>
                  <a:pt x="106" y="145"/>
                </a:lnTo>
                <a:lnTo>
                  <a:pt x="108" y="145"/>
                </a:lnTo>
                <a:lnTo>
                  <a:pt x="108" y="145"/>
                </a:lnTo>
                <a:lnTo>
                  <a:pt x="111" y="145"/>
                </a:lnTo>
                <a:lnTo>
                  <a:pt x="111" y="145"/>
                </a:lnTo>
                <a:lnTo>
                  <a:pt x="113" y="148"/>
                </a:lnTo>
                <a:lnTo>
                  <a:pt x="113" y="148"/>
                </a:lnTo>
                <a:lnTo>
                  <a:pt x="118" y="145"/>
                </a:lnTo>
                <a:lnTo>
                  <a:pt x="118" y="145"/>
                </a:lnTo>
                <a:lnTo>
                  <a:pt x="121" y="148"/>
                </a:lnTo>
                <a:lnTo>
                  <a:pt x="121" y="148"/>
                </a:lnTo>
                <a:lnTo>
                  <a:pt x="123" y="148"/>
                </a:lnTo>
                <a:lnTo>
                  <a:pt x="123" y="148"/>
                </a:lnTo>
                <a:lnTo>
                  <a:pt x="128" y="148"/>
                </a:lnTo>
                <a:lnTo>
                  <a:pt x="128" y="148"/>
                </a:lnTo>
                <a:lnTo>
                  <a:pt x="131" y="150"/>
                </a:lnTo>
                <a:lnTo>
                  <a:pt x="131" y="150"/>
                </a:lnTo>
                <a:lnTo>
                  <a:pt x="133" y="148"/>
                </a:lnTo>
                <a:lnTo>
                  <a:pt x="133" y="148"/>
                </a:lnTo>
                <a:lnTo>
                  <a:pt x="135" y="150"/>
                </a:lnTo>
                <a:lnTo>
                  <a:pt x="135" y="150"/>
                </a:lnTo>
                <a:lnTo>
                  <a:pt x="138" y="150"/>
                </a:lnTo>
                <a:lnTo>
                  <a:pt x="138" y="150"/>
                </a:lnTo>
                <a:lnTo>
                  <a:pt x="138" y="150"/>
                </a:lnTo>
                <a:lnTo>
                  <a:pt x="138" y="153"/>
                </a:lnTo>
                <a:lnTo>
                  <a:pt x="138" y="153"/>
                </a:lnTo>
                <a:lnTo>
                  <a:pt x="140" y="153"/>
                </a:lnTo>
                <a:lnTo>
                  <a:pt x="140" y="153"/>
                </a:lnTo>
                <a:lnTo>
                  <a:pt x="143" y="155"/>
                </a:lnTo>
                <a:lnTo>
                  <a:pt x="143" y="155"/>
                </a:lnTo>
                <a:lnTo>
                  <a:pt x="148" y="155"/>
                </a:lnTo>
                <a:lnTo>
                  <a:pt x="148" y="155"/>
                </a:lnTo>
                <a:lnTo>
                  <a:pt x="148" y="153"/>
                </a:lnTo>
                <a:lnTo>
                  <a:pt x="148" y="153"/>
                </a:lnTo>
                <a:lnTo>
                  <a:pt x="145" y="150"/>
                </a:lnTo>
                <a:lnTo>
                  <a:pt x="145" y="150"/>
                </a:lnTo>
                <a:lnTo>
                  <a:pt x="143" y="150"/>
                </a:lnTo>
                <a:lnTo>
                  <a:pt x="143" y="150"/>
                </a:lnTo>
                <a:lnTo>
                  <a:pt x="143" y="148"/>
                </a:lnTo>
                <a:lnTo>
                  <a:pt x="143" y="148"/>
                </a:lnTo>
                <a:lnTo>
                  <a:pt x="145" y="148"/>
                </a:lnTo>
                <a:lnTo>
                  <a:pt x="145" y="148"/>
                </a:lnTo>
                <a:lnTo>
                  <a:pt x="148" y="150"/>
                </a:lnTo>
                <a:lnTo>
                  <a:pt x="148" y="150"/>
                </a:lnTo>
                <a:lnTo>
                  <a:pt x="150" y="148"/>
                </a:lnTo>
                <a:lnTo>
                  <a:pt x="150" y="148"/>
                </a:lnTo>
                <a:lnTo>
                  <a:pt x="145" y="145"/>
                </a:lnTo>
                <a:lnTo>
                  <a:pt x="145" y="145"/>
                </a:lnTo>
                <a:lnTo>
                  <a:pt x="138" y="145"/>
                </a:lnTo>
                <a:lnTo>
                  <a:pt x="138" y="145"/>
                </a:lnTo>
                <a:lnTo>
                  <a:pt x="135" y="143"/>
                </a:lnTo>
                <a:lnTo>
                  <a:pt x="135" y="143"/>
                </a:lnTo>
                <a:lnTo>
                  <a:pt x="133" y="140"/>
                </a:lnTo>
                <a:lnTo>
                  <a:pt x="133" y="140"/>
                </a:lnTo>
                <a:lnTo>
                  <a:pt x="138" y="140"/>
                </a:lnTo>
                <a:lnTo>
                  <a:pt x="138" y="140"/>
                </a:lnTo>
                <a:lnTo>
                  <a:pt x="138" y="140"/>
                </a:lnTo>
                <a:lnTo>
                  <a:pt x="140" y="138"/>
                </a:lnTo>
                <a:lnTo>
                  <a:pt x="140" y="138"/>
                </a:lnTo>
                <a:lnTo>
                  <a:pt x="138" y="138"/>
                </a:lnTo>
                <a:lnTo>
                  <a:pt x="138" y="138"/>
                </a:lnTo>
                <a:lnTo>
                  <a:pt x="133" y="138"/>
                </a:lnTo>
                <a:lnTo>
                  <a:pt x="133" y="138"/>
                </a:lnTo>
                <a:lnTo>
                  <a:pt x="128" y="138"/>
                </a:lnTo>
                <a:lnTo>
                  <a:pt x="128" y="138"/>
                </a:lnTo>
                <a:lnTo>
                  <a:pt x="126" y="136"/>
                </a:lnTo>
                <a:lnTo>
                  <a:pt x="126" y="136"/>
                </a:lnTo>
                <a:lnTo>
                  <a:pt x="126" y="133"/>
                </a:lnTo>
                <a:lnTo>
                  <a:pt x="126" y="133"/>
                </a:lnTo>
                <a:lnTo>
                  <a:pt x="128" y="131"/>
                </a:lnTo>
                <a:lnTo>
                  <a:pt x="128" y="131"/>
                </a:lnTo>
                <a:lnTo>
                  <a:pt x="128" y="128"/>
                </a:lnTo>
                <a:lnTo>
                  <a:pt x="128" y="128"/>
                </a:lnTo>
                <a:lnTo>
                  <a:pt x="128" y="128"/>
                </a:lnTo>
                <a:lnTo>
                  <a:pt x="126" y="128"/>
                </a:lnTo>
                <a:lnTo>
                  <a:pt x="126" y="128"/>
                </a:lnTo>
                <a:lnTo>
                  <a:pt x="123" y="128"/>
                </a:lnTo>
                <a:lnTo>
                  <a:pt x="123" y="128"/>
                </a:lnTo>
                <a:lnTo>
                  <a:pt x="121" y="128"/>
                </a:lnTo>
                <a:lnTo>
                  <a:pt x="121" y="128"/>
                </a:lnTo>
                <a:lnTo>
                  <a:pt x="121" y="128"/>
                </a:lnTo>
                <a:lnTo>
                  <a:pt x="116" y="126"/>
                </a:lnTo>
                <a:lnTo>
                  <a:pt x="116" y="126"/>
                </a:lnTo>
                <a:lnTo>
                  <a:pt x="116" y="121"/>
                </a:lnTo>
                <a:lnTo>
                  <a:pt x="116" y="121"/>
                </a:lnTo>
                <a:lnTo>
                  <a:pt x="113" y="118"/>
                </a:lnTo>
                <a:lnTo>
                  <a:pt x="113" y="118"/>
                </a:lnTo>
                <a:lnTo>
                  <a:pt x="111" y="113"/>
                </a:lnTo>
                <a:lnTo>
                  <a:pt x="111" y="113"/>
                </a:lnTo>
                <a:lnTo>
                  <a:pt x="111" y="111"/>
                </a:lnTo>
                <a:lnTo>
                  <a:pt x="111" y="111"/>
                </a:lnTo>
                <a:lnTo>
                  <a:pt x="108" y="108"/>
                </a:lnTo>
                <a:lnTo>
                  <a:pt x="108" y="108"/>
                </a:lnTo>
                <a:lnTo>
                  <a:pt x="106" y="108"/>
                </a:lnTo>
                <a:lnTo>
                  <a:pt x="106" y="108"/>
                </a:lnTo>
                <a:lnTo>
                  <a:pt x="103" y="108"/>
                </a:lnTo>
                <a:lnTo>
                  <a:pt x="103" y="108"/>
                </a:lnTo>
                <a:lnTo>
                  <a:pt x="101" y="106"/>
                </a:lnTo>
                <a:lnTo>
                  <a:pt x="101" y="106"/>
                </a:lnTo>
                <a:lnTo>
                  <a:pt x="99" y="101"/>
                </a:lnTo>
                <a:lnTo>
                  <a:pt x="99" y="101"/>
                </a:lnTo>
                <a:lnTo>
                  <a:pt x="99" y="99"/>
                </a:lnTo>
                <a:lnTo>
                  <a:pt x="99" y="99"/>
                </a:lnTo>
                <a:lnTo>
                  <a:pt x="96" y="96"/>
                </a:lnTo>
                <a:lnTo>
                  <a:pt x="96" y="96"/>
                </a:lnTo>
                <a:lnTo>
                  <a:pt x="94" y="94"/>
                </a:lnTo>
                <a:lnTo>
                  <a:pt x="94" y="94"/>
                </a:lnTo>
                <a:lnTo>
                  <a:pt x="94" y="91"/>
                </a:lnTo>
                <a:lnTo>
                  <a:pt x="94" y="91"/>
                </a:lnTo>
                <a:lnTo>
                  <a:pt x="101" y="91"/>
                </a:lnTo>
                <a:lnTo>
                  <a:pt x="101" y="91"/>
                </a:lnTo>
                <a:lnTo>
                  <a:pt x="106" y="89"/>
                </a:lnTo>
                <a:lnTo>
                  <a:pt x="106" y="89"/>
                </a:lnTo>
                <a:lnTo>
                  <a:pt x="108" y="86"/>
                </a:lnTo>
                <a:lnTo>
                  <a:pt x="108" y="86"/>
                </a:lnTo>
                <a:lnTo>
                  <a:pt x="106" y="84"/>
                </a:lnTo>
                <a:lnTo>
                  <a:pt x="106" y="84"/>
                </a:lnTo>
                <a:lnTo>
                  <a:pt x="103" y="79"/>
                </a:lnTo>
                <a:lnTo>
                  <a:pt x="103" y="79"/>
                </a:lnTo>
                <a:lnTo>
                  <a:pt x="99" y="79"/>
                </a:lnTo>
                <a:lnTo>
                  <a:pt x="99" y="79"/>
                </a:lnTo>
                <a:lnTo>
                  <a:pt x="99" y="79"/>
                </a:lnTo>
                <a:lnTo>
                  <a:pt x="94" y="76"/>
                </a:lnTo>
                <a:lnTo>
                  <a:pt x="94" y="76"/>
                </a:lnTo>
                <a:lnTo>
                  <a:pt x="89" y="74"/>
                </a:lnTo>
                <a:lnTo>
                  <a:pt x="89" y="74"/>
                </a:lnTo>
                <a:lnTo>
                  <a:pt x="86" y="72"/>
                </a:lnTo>
                <a:lnTo>
                  <a:pt x="86" y="72"/>
                </a:lnTo>
                <a:lnTo>
                  <a:pt x="84" y="72"/>
                </a:lnTo>
                <a:lnTo>
                  <a:pt x="84" y="72"/>
                </a:lnTo>
                <a:lnTo>
                  <a:pt x="76" y="69"/>
                </a:lnTo>
                <a:lnTo>
                  <a:pt x="76" y="69"/>
                </a:lnTo>
                <a:lnTo>
                  <a:pt x="74" y="67"/>
                </a:lnTo>
                <a:lnTo>
                  <a:pt x="74" y="67"/>
                </a:lnTo>
                <a:lnTo>
                  <a:pt x="76" y="64"/>
                </a:lnTo>
                <a:lnTo>
                  <a:pt x="76" y="64"/>
                </a:lnTo>
                <a:lnTo>
                  <a:pt x="76" y="62"/>
                </a:lnTo>
                <a:lnTo>
                  <a:pt x="76" y="62"/>
                </a:lnTo>
                <a:lnTo>
                  <a:pt x="76" y="59"/>
                </a:lnTo>
                <a:lnTo>
                  <a:pt x="76" y="59"/>
                </a:lnTo>
                <a:lnTo>
                  <a:pt x="69" y="52"/>
                </a:lnTo>
                <a:lnTo>
                  <a:pt x="69" y="52"/>
                </a:lnTo>
                <a:lnTo>
                  <a:pt x="69" y="54"/>
                </a:lnTo>
                <a:lnTo>
                  <a:pt x="69" y="54"/>
                </a:lnTo>
                <a:lnTo>
                  <a:pt x="67" y="54"/>
                </a:lnTo>
                <a:lnTo>
                  <a:pt x="67" y="54"/>
                </a:lnTo>
                <a:lnTo>
                  <a:pt x="67" y="52"/>
                </a:lnTo>
                <a:lnTo>
                  <a:pt x="67" y="52"/>
                </a:lnTo>
                <a:lnTo>
                  <a:pt x="62" y="49"/>
                </a:lnTo>
                <a:lnTo>
                  <a:pt x="62" y="49"/>
                </a:lnTo>
                <a:lnTo>
                  <a:pt x="62" y="47"/>
                </a:lnTo>
                <a:lnTo>
                  <a:pt x="62" y="47"/>
                </a:lnTo>
                <a:lnTo>
                  <a:pt x="59" y="47"/>
                </a:lnTo>
                <a:lnTo>
                  <a:pt x="59" y="47"/>
                </a:lnTo>
                <a:lnTo>
                  <a:pt x="57" y="45"/>
                </a:lnTo>
                <a:lnTo>
                  <a:pt x="57" y="45"/>
                </a:lnTo>
                <a:lnTo>
                  <a:pt x="54" y="45"/>
                </a:lnTo>
                <a:lnTo>
                  <a:pt x="54" y="45"/>
                </a:lnTo>
                <a:lnTo>
                  <a:pt x="52" y="45"/>
                </a:lnTo>
                <a:lnTo>
                  <a:pt x="52" y="45"/>
                </a:lnTo>
                <a:lnTo>
                  <a:pt x="49" y="42"/>
                </a:lnTo>
                <a:lnTo>
                  <a:pt x="49" y="42"/>
                </a:lnTo>
                <a:lnTo>
                  <a:pt x="47" y="40"/>
                </a:lnTo>
                <a:lnTo>
                  <a:pt x="47" y="40"/>
                </a:lnTo>
                <a:lnTo>
                  <a:pt x="42" y="40"/>
                </a:lnTo>
                <a:lnTo>
                  <a:pt x="42" y="40"/>
                </a:lnTo>
                <a:lnTo>
                  <a:pt x="37" y="37"/>
                </a:lnTo>
                <a:lnTo>
                  <a:pt x="37" y="37"/>
                </a:lnTo>
                <a:lnTo>
                  <a:pt x="30" y="35"/>
                </a:lnTo>
                <a:lnTo>
                  <a:pt x="30" y="35"/>
                </a:lnTo>
                <a:lnTo>
                  <a:pt x="25" y="35"/>
                </a:lnTo>
                <a:lnTo>
                  <a:pt x="25" y="35"/>
                </a:lnTo>
                <a:lnTo>
                  <a:pt x="25" y="32"/>
                </a:lnTo>
                <a:lnTo>
                  <a:pt x="25" y="32"/>
                </a:lnTo>
                <a:lnTo>
                  <a:pt x="22" y="32"/>
                </a:lnTo>
                <a:lnTo>
                  <a:pt x="22" y="32"/>
                </a:lnTo>
                <a:lnTo>
                  <a:pt x="20" y="32"/>
                </a:lnTo>
                <a:lnTo>
                  <a:pt x="20" y="32"/>
                </a:lnTo>
                <a:lnTo>
                  <a:pt x="15" y="30"/>
                </a:lnTo>
                <a:lnTo>
                  <a:pt x="15" y="30"/>
                </a:lnTo>
                <a:lnTo>
                  <a:pt x="12" y="30"/>
                </a:lnTo>
                <a:lnTo>
                  <a:pt x="12" y="30"/>
                </a:lnTo>
                <a:lnTo>
                  <a:pt x="10" y="27"/>
                </a:lnTo>
                <a:lnTo>
                  <a:pt x="10" y="27"/>
                </a:lnTo>
                <a:lnTo>
                  <a:pt x="5" y="25"/>
                </a:lnTo>
                <a:lnTo>
                  <a:pt x="3" y="2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6" name="Freeform 25"/>
          <p:cNvSpPr>
            <a:spLocks noEditPoints="1"/>
          </p:cNvSpPr>
          <p:nvPr/>
        </p:nvSpPr>
        <p:spPr bwMode="auto">
          <a:xfrm>
            <a:off x="7707691" y="3960915"/>
            <a:ext cx="252800" cy="354825"/>
          </a:xfrm>
          <a:custGeom>
            <a:avLst/>
            <a:gdLst/>
            <a:ahLst/>
            <a:cxnLst>
              <a:cxn ang="0">
                <a:pos x="59" y="2"/>
              </a:cxn>
              <a:cxn ang="0">
                <a:pos x="78" y="91"/>
              </a:cxn>
              <a:cxn ang="0">
                <a:pos x="98" y="93"/>
              </a:cxn>
              <a:cxn ang="0">
                <a:pos x="106" y="108"/>
              </a:cxn>
              <a:cxn ang="0">
                <a:pos x="106" y="111"/>
              </a:cxn>
              <a:cxn ang="0">
                <a:pos x="83" y="93"/>
              </a:cxn>
              <a:cxn ang="0">
                <a:pos x="69" y="98"/>
              </a:cxn>
              <a:cxn ang="0">
                <a:pos x="51" y="91"/>
              </a:cxn>
              <a:cxn ang="0">
                <a:pos x="46" y="79"/>
              </a:cxn>
              <a:cxn ang="0">
                <a:pos x="37" y="54"/>
              </a:cxn>
              <a:cxn ang="0">
                <a:pos x="46" y="17"/>
              </a:cxn>
              <a:cxn ang="0">
                <a:pos x="71" y="22"/>
              </a:cxn>
              <a:cxn ang="0">
                <a:pos x="74" y="56"/>
              </a:cxn>
              <a:cxn ang="0">
                <a:pos x="69" y="83"/>
              </a:cxn>
              <a:cxn ang="0">
                <a:pos x="74" y="83"/>
              </a:cxn>
              <a:cxn ang="0">
                <a:pos x="49" y="101"/>
              </a:cxn>
              <a:cxn ang="0">
                <a:pos x="64" y="123"/>
              </a:cxn>
              <a:cxn ang="0">
                <a:pos x="51" y="101"/>
              </a:cxn>
              <a:cxn ang="0">
                <a:pos x="110" y="91"/>
              </a:cxn>
              <a:cxn ang="0">
                <a:pos x="76" y="120"/>
              </a:cxn>
              <a:cxn ang="0">
                <a:pos x="88" y="118"/>
              </a:cxn>
              <a:cxn ang="0">
                <a:pos x="106" y="120"/>
              </a:cxn>
              <a:cxn ang="0">
                <a:pos x="108" y="123"/>
              </a:cxn>
              <a:cxn ang="0">
                <a:pos x="81" y="150"/>
              </a:cxn>
              <a:cxn ang="0">
                <a:pos x="78" y="128"/>
              </a:cxn>
              <a:cxn ang="0">
                <a:pos x="96" y="138"/>
              </a:cxn>
              <a:cxn ang="0">
                <a:pos x="88" y="152"/>
              </a:cxn>
              <a:cxn ang="0">
                <a:pos x="106" y="157"/>
              </a:cxn>
              <a:cxn ang="0">
                <a:pos x="101" y="162"/>
              </a:cxn>
              <a:cxn ang="0">
                <a:pos x="98" y="142"/>
              </a:cxn>
              <a:cxn ang="0">
                <a:pos x="96" y="170"/>
              </a:cxn>
              <a:cxn ang="0">
                <a:pos x="103" y="172"/>
              </a:cxn>
              <a:cxn ang="0">
                <a:pos x="110" y="160"/>
              </a:cxn>
              <a:cxn ang="0">
                <a:pos x="120" y="172"/>
              </a:cxn>
              <a:cxn ang="0">
                <a:pos x="128" y="140"/>
              </a:cxn>
              <a:cxn ang="0">
                <a:pos x="130" y="123"/>
              </a:cxn>
              <a:cxn ang="0">
                <a:pos x="113" y="118"/>
              </a:cxn>
              <a:cxn ang="0">
                <a:pos x="120" y="138"/>
              </a:cxn>
              <a:cxn ang="0">
                <a:pos x="125" y="157"/>
              </a:cxn>
              <a:cxn ang="0">
                <a:pos x="140" y="145"/>
              </a:cxn>
              <a:cxn ang="0">
                <a:pos x="138" y="155"/>
              </a:cxn>
              <a:cxn ang="0">
                <a:pos x="142" y="167"/>
              </a:cxn>
              <a:cxn ang="0">
                <a:pos x="81" y="204"/>
              </a:cxn>
              <a:cxn ang="0">
                <a:pos x="101" y="182"/>
              </a:cxn>
              <a:cxn ang="0">
                <a:pos x="123" y="184"/>
              </a:cxn>
              <a:cxn ang="0">
                <a:pos x="135" y="172"/>
              </a:cxn>
              <a:cxn ang="0">
                <a:pos x="147" y="179"/>
              </a:cxn>
              <a:cxn ang="0">
                <a:pos x="155" y="199"/>
              </a:cxn>
              <a:cxn ang="0">
                <a:pos x="147" y="219"/>
              </a:cxn>
              <a:cxn ang="0">
                <a:pos x="142" y="221"/>
              </a:cxn>
              <a:cxn ang="0">
                <a:pos x="125" y="226"/>
              </a:cxn>
              <a:cxn ang="0">
                <a:pos x="115" y="206"/>
              </a:cxn>
              <a:cxn ang="0">
                <a:pos x="106" y="204"/>
              </a:cxn>
              <a:cxn ang="0">
                <a:pos x="91" y="197"/>
              </a:cxn>
              <a:cxn ang="0">
                <a:pos x="86" y="214"/>
              </a:cxn>
              <a:cxn ang="0">
                <a:pos x="49" y="123"/>
              </a:cxn>
              <a:cxn ang="0">
                <a:pos x="42" y="128"/>
              </a:cxn>
              <a:cxn ang="0">
                <a:pos x="10" y="182"/>
              </a:cxn>
              <a:cxn ang="0">
                <a:pos x="34" y="160"/>
              </a:cxn>
              <a:cxn ang="0">
                <a:pos x="37" y="147"/>
              </a:cxn>
              <a:cxn ang="0">
                <a:pos x="15" y="172"/>
              </a:cxn>
              <a:cxn ang="0">
                <a:pos x="7" y="189"/>
              </a:cxn>
            </a:cxnLst>
            <a:rect l="0" t="0" r="r" b="b"/>
            <a:pathLst>
              <a:path w="155" h="231">
                <a:moveTo>
                  <a:pt x="56" y="10"/>
                </a:moveTo>
                <a:lnTo>
                  <a:pt x="56" y="10"/>
                </a:lnTo>
                <a:lnTo>
                  <a:pt x="59" y="10"/>
                </a:lnTo>
                <a:lnTo>
                  <a:pt x="59" y="10"/>
                </a:lnTo>
                <a:lnTo>
                  <a:pt x="56" y="12"/>
                </a:lnTo>
                <a:lnTo>
                  <a:pt x="56" y="12"/>
                </a:lnTo>
                <a:lnTo>
                  <a:pt x="56" y="10"/>
                </a:lnTo>
                <a:lnTo>
                  <a:pt x="56" y="10"/>
                </a:lnTo>
                <a:close/>
                <a:moveTo>
                  <a:pt x="54" y="5"/>
                </a:moveTo>
                <a:lnTo>
                  <a:pt x="54" y="5"/>
                </a:lnTo>
                <a:lnTo>
                  <a:pt x="56" y="5"/>
                </a:lnTo>
                <a:lnTo>
                  <a:pt x="56" y="5"/>
                </a:lnTo>
                <a:lnTo>
                  <a:pt x="54" y="7"/>
                </a:lnTo>
                <a:lnTo>
                  <a:pt x="54" y="7"/>
                </a:lnTo>
                <a:lnTo>
                  <a:pt x="54" y="5"/>
                </a:lnTo>
                <a:lnTo>
                  <a:pt x="54" y="5"/>
                </a:lnTo>
                <a:close/>
                <a:moveTo>
                  <a:pt x="59" y="0"/>
                </a:moveTo>
                <a:lnTo>
                  <a:pt x="59" y="0"/>
                </a:lnTo>
                <a:lnTo>
                  <a:pt x="59" y="2"/>
                </a:lnTo>
                <a:lnTo>
                  <a:pt x="59" y="2"/>
                </a:lnTo>
                <a:lnTo>
                  <a:pt x="59" y="2"/>
                </a:lnTo>
                <a:lnTo>
                  <a:pt x="59" y="0"/>
                </a:lnTo>
                <a:lnTo>
                  <a:pt x="59" y="0"/>
                </a:lnTo>
                <a:close/>
                <a:moveTo>
                  <a:pt x="66" y="7"/>
                </a:moveTo>
                <a:lnTo>
                  <a:pt x="66" y="7"/>
                </a:lnTo>
                <a:lnTo>
                  <a:pt x="64" y="10"/>
                </a:lnTo>
                <a:lnTo>
                  <a:pt x="64" y="10"/>
                </a:lnTo>
                <a:lnTo>
                  <a:pt x="66" y="12"/>
                </a:lnTo>
                <a:lnTo>
                  <a:pt x="66" y="12"/>
                </a:lnTo>
                <a:lnTo>
                  <a:pt x="69" y="10"/>
                </a:lnTo>
                <a:lnTo>
                  <a:pt x="66" y="7"/>
                </a:lnTo>
                <a:lnTo>
                  <a:pt x="66" y="7"/>
                </a:lnTo>
                <a:close/>
                <a:moveTo>
                  <a:pt x="69" y="86"/>
                </a:moveTo>
                <a:lnTo>
                  <a:pt x="69" y="86"/>
                </a:lnTo>
                <a:lnTo>
                  <a:pt x="71" y="88"/>
                </a:lnTo>
                <a:lnTo>
                  <a:pt x="71" y="88"/>
                </a:lnTo>
                <a:lnTo>
                  <a:pt x="71" y="91"/>
                </a:lnTo>
                <a:lnTo>
                  <a:pt x="71" y="91"/>
                </a:lnTo>
                <a:lnTo>
                  <a:pt x="76" y="91"/>
                </a:lnTo>
                <a:lnTo>
                  <a:pt x="76" y="91"/>
                </a:lnTo>
                <a:lnTo>
                  <a:pt x="78" y="91"/>
                </a:lnTo>
                <a:lnTo>
                  <a:pt x="78" y="91"/>
                </a:lnTo>
                <a:lnTo>
                  <a:pt x="78" y="88"/>
                </a:lnTo>
                <a:lnTo>
                  <a:pt x="78" y="88"/>
                </a:lnTo>
                <a:lnTo>
                  <a:pt x="83" y="86"/>
                </a:lnTo>
                <a:lnTo>
                  <a:pt x="83" y="86"/>
                </a:lnTo>
                <a:lnTo>
                  <a:pt x="86" y="86"/>
                </a:lnTo>
                <a:lnTo>
                  <a:pt x="86" y="86"/>
                </a:lnTo>
                <a:lnTo>
                  <a:pt x="91" y="88"/>
                </a:lnTo>
                <a:lnTo>
                  <a:pt x="91" y="88"/>
                </a:lnTo>
                <a:lnTo>
                  <a:pt x="93" y="91"/>
                </a:lnTo>
                <a:lnTo>
                  <a:pt x="93" y="91"/>
                </a:lnTo>
                <a:lnTo>
                  <a:pt x="91" y="96"/>
                </a:lnTo>
                <a:lnTo>
                  <a:pt x="91" y="96"/>
                </a:lnTo>
                <a:lnTo>
                  <a:pt x="93" y="96"/>
                </a:lnTo>
                <a:lnTo>
                  <a:pt x="93" y="96"/>
                </a:lnTo>
                <a:lnTo>
                  <a:pt x="96" y="96"/>
                </a:lnTo>
                <a:lnTo>
                  <a:pt x="96" y="96"/>
                </a:lnTo>
                <a:lnTo>
                  <a:pt x="96" y="93"/>
                </a:lnTo>
                <a:lnTo>
                  <a:pt x="96" y="93"/>
                </a:lnTo>
                <a:lnTo>
                  <a:pt x="96" y="91"/>
                </a:lnTo>
                <a:lnTo>
                  <a:pt x="96" y="91"/>
                </a:lnTo>
                <a:lnTo>
                  <a:pt x="98" y="93"/>
                </a:lnTo>
                <a:lnTo>
                  <a:pt x="98" y="93"/>
                </a:lnTo>
                <a:lnTo>
                  <a:pt x="101" y="93"/>
                </a:lnTo>
                <a:lnTo>
                  <a:pt x="101" y="93"/>
                </a:lnTo>
                <a:lnTo>
                  <a:pt x="106" y="96"/>
                </a:lnTo>
                <a:lnTo>
                  <a:pt x="106" y="96"/>
                </a:lnTo>
                <a:lnTo>
                  <a:pt x="106" y="98"/>
                </a:lnTo>
                <a:lnTo>
                  <a:pt x="106" y="98"/>
                </a:lnTo>
                <a:lnTo>
                  <a:pt x="103" y="98"/>
                </a:lnTo>
                <a:lnTo>
                  <a:pt x="103" y="98"/>
                </a:lnTo>
                <a:lnTo>
                  <a:pt x="101" y="96"/>
                </a:lnTo>
                <a:lnTo>
                  <a:pt x="101" y="96"/>
                </a:lnTo>
                <a:lnTo>
                  <a:pt x="101" y="98"/>
                </a:lnTo>
                <a:lnTo>
                  <a:pt x="101" y="98"/>
                </a:lnTo>
                <a:lnTo>
                  <a:pt x="101" y="101"/>
                </a:lnTo>
                <a:lnTo>
                  <a:pt x="101" y="101"/>
                </a:lnTo>
                <a:lnTo>
                  <a:pt x="103" y="106"/>
                </a:lnTo>
                <a:lnTo>
                  <a:pt x="103" y="106"/>
                </a:lnTo>
                <a:lnTo>
                  <a:pt x="103" y="108"/>
                </a:lnTo>
                <a:lnTo>
                  <a:pt x="103" y="108"/>
                </a:lnTo>
                <a:lnTo>
                  <a:pt x="106" y="108"/>
                </a:lnTo>
                <a:lnTo>
                  <a:pt x="106" y="108"/>
                </a:lnTo>
                <a:lnTo>
                  <a:pt x="108" y="108"/>
                </a:lnTo>
                <a:lnTo>
                  <a:pt x="108" y="108"/>
                </a:lnTo>
                <a:lnTo>
                  <a:pt x="110" y="108"/>
                </a:lnTo>
                <a:lnTo>
                  <a:pt x="110" y="108"/>
                </a:lnTo>
                <a:lnTo>
                  <a:pt x="113" y="111"/>
                </a:lnTo>
                <a:lnTo>
                  <a:pt x="113" y="111"/>
                </a:lnTo>
                <a:lnTo>
                  <a:pt x="110" y="113"/>
                </a:lnTo>
                <a:lnTo>
                  <a:pt x="110" y="113"/>
                </a:lnTo>
                <a:lnTo>
                  <a:pt x="110" y="113"/>
                </a:lnTo>
                <a:lnTo>
                  <a:pt x="110" y="118"/>
                </a:lnTo>
                <a:lnTo>
                  <a:pt x="110" y="118"/>
                </a:lnTo>
                <a:lnTo>
                  <a:pt x="108" y="118"/>
                </a:lnTo>
                <a:lnTo>
                  <a:pt x="108" y="118"/>
                </a:lnTo>
                <a:lnTo>
                  <a:pt x="106" y="115"/>
                </a:lnTo>
                <a:lnTo>
                  <a:pt x="106" y="115"/>
                </a:lnTo>
                <a:lnTo>
                  <a:pt x="108" y="113"/>
                </a:lnTo>
                <a:lnTo>
                  <a:pt x="108" y="113"/>
                </a:lnTo>
                <a:lnTo>
                  <a:pt x="108" y="111"/>
                </a:lnTo>
                <a:lnTo>
                  <a:pt x="108" y="111"/>
                </a:lnTo>
                <a:lnTo>
                  <a:pt x="106" y="111"/>
                </a:lnTo>
                <a:lnTo>
                  <a:pt x="106" y="111"/>
                </a:lnTo>
                <a:lnTo>
                  <a:pt x="106" y="113"/>
                </a:lnTo>
                <a:lnTo>
                  <a:pt x="106" y="113"/>
                </a:lnTo>
                <a:lnTo>
                  <a:pt x="103" y="113"/>
                </a:lnTo>
                <a:lnTo>
                  <a:pt x="103" y="113"/>
                </a:lnTo>
                <a:lnTo>
                  <a:pt x="98" y="108"/>
                </a:lnTo>
                <a:lnTo>
                  <a:pt x="98" y="108"/>
                </a:lnTo>
                <a:lnTo>
                  <a:pt x="96" y="108"/>
                </a:lnTo>
                <a:lnTo>
                  <a:pt x="96" y="108"/>
                </a:lnTo>
                <a:lnTo>
                  <a:pt x="96" y="106"/>
                </a:lnTo>
                <a:lnTo>
                  <a:pt x="96" y="106"/>
                </a:lnTo>
                <a:lnTo>
                  <a:pt x="96" y="101"/>
                </a:lnTo>
                <a:lnTo>
                  <a:pt x="96" y="101"/>
                </a:lnTo>
                <a:lnTo>
                  <a:pt x="91" y="101"/>
                </a:lnTo>
                <a:lnTo>
                  <a:pt x="91" y="101"/>
                </a:lnTo>
                <a:lnTo>
                  <a:pt x="88" y="96"/>
                </a:lnTo>
                <a:lnTo>
                  <a:pt x="88" y="96"/>
                </a:lnTo>
                <a:lnTo>
                  <a:pt x="86" y="96"/>
                </a:lnTo>
                <a:lnTo>
                  <a:pt x="86" y="96"/>
                </a:lnTo>
                <a:lnTo>
                  <a:pt x="86" y="93"/>
                </a:lnTo>
                <a:lnTo>
                  <a:pt x="86" y="93"/>
                </a:lnTo>
                <a:lnTo>
                  <a:pt x="83" y="93"/>
                </a:lnTo>
                <a:lnTo>
                  <a:pt x="83" y="93"/>
                </a:lnTo>
                <a:lnTo>
                  <a:pt x="83" y="96"/>
                </a:lnTo>
                <a:lnTo>
                  <a:pt x="83" y="96"/>
                </a:lnTo>
                <a:lnTo>
                  <a:pt x="86" y="101"/>
                </a:lnTo>
                <a:lnTo>
                  <a:pt x="86" y="101"/>
                </a:lnTo>
                <a:lnTo>
                  <a:pt x="86" y="106"/>
                </a:lnTo>
                <a:lnTo>
                  <a:pt x="86" y="106"/>
                </a:lnTo>
                <a:lnTo>
                  <a:pt x="86" y="106"/>
                </a:lnTo>
                <a:lnTo>
                  <a:pt x="83" y="101"/>
                </a:lnTo>
                <a:lnTo>
                  <a:pt x="83" y="101"/>
                </a:lnTo>
                <a:lnTo>
                  <a:pt x="78" y="98"/>
                </a:lnTo>
                <a:lnTo>
                  <a:pt x="78" y="98"/>
                </a:lnTo>
                <a:lnTo>
                  <a:pt x="78" y="96"/>
                </a:lnTo>
                <a:lnTo>
                  <a:pt x="78" y="96"/>
                </a:lnTo>
                <a:lnTo>
                  <a:pt x="71" y="93"/>
                </a:lnTo>
                <a:lnTo>
                  <a:pt x="71" y="93"/>
                </a:lnTo>
                <a:lnTo>
                  <a:pt x="69" y="93"/>
                </a:lnTo>
                <a:lnTo>
                  <a:pt x="69" y="93"/>
                </a:lnTo>
                <a:lnTo>
                  <a:pt x="66" y="96"/>
                </a:lnTo>
                <a:lnTo>
                  <a:pt x="66" y="96"/>
                </a:lnTo>
                <a:lnTo>
                  <a:pt x="69" y="98"/>
                </a:lnTo>
                <a:lnTo>
                  <a:pt x="69" y="98"/>
                </a:lnTo>
                <a:lnTo>
                  <a:pt x="64" y="101"/>
                </a:lnTo>
                <a:lnTo>
                  <a:pt x="64" y="101"/>
                </a:lnTo>
                <a:lnTo>
                  <a:pt x="61" y="96"/>
                </a:lnTo>
                <a:lnTo>
                  <a:pt x="61" y="96"/>
                </a:lnTo>
                <a:lnTo>
                  <a:pt x="59" y="98"/>
                </a:lnTo>
                <a:lnTo>
                  <a:pt x="59" y="98"/>
                </a:lnTo>
                <a:lnTo>
                  <a:pt x="56" y="98"/>
                </a:lnTo>
                <a:lnTo>
                  <a:pt x="56" y="98"/>
                </a:lnTo>
                <a:lnTo>
                  <a:pt x="59" y="96"/>
                </a:lnTo>
                <a:lnTo>
                  <a:pt x="59" y="96"/>
                </a:lnTo>
                <a:lnTo>
                  <a:pt x="56" y="93"/>
                </a:lnTo>
                <a:lnTo>
                  <a:pt x="56" y="93"/>
                </a:lnTo>
                <a:lnTo>
                  <a:pt x="54" y="93"/>
                </a:lnTo>
                <a:lnTo>
                  <a:pt x="54" y="93"/>
                </a:lnTo>
                <a:lnTo>
                  <a:pt x="54" y="98"/>
                </a:lnTo>
                <a:lnTo>
                  <a:pt x="54" y="98"/>
                </a:lnTo>
                <a:lnTo>
                  <a:pt x="51" y="93"/>
                </a:lnTo>
                <a:lnTo>
                  <a:pt x="51" y="93"/>
                </a:lnTo>
                <a:lnTo>
                  <a:pt x="51" y="91"/>
                </a:lnTo>
                <a:lnTo>
                  <a:pt x="51" y="91"/>
                </a:lnTo>
                <a:lnTo>
                  <a:pt x="51" y="88"/>
                </a:lnTo>
                <a:lnTo>
                  <a:pt x="51" y="88"/>
                </a:lnTo>
                <a:lnTo>
                  <a:pt x="54" y="86"/>
                </a:lnTo>
                <a:lnTo>
                  <a:pt x="54" y="86"/>
                </a:lnTo>
                <a:lnTo>
                  <a:pt x="56" y="81"/>
                </a:lnTo>
                <a:lnTo>
                  <a:pt x="56" y="81"/>
                </a:lnTo>
                <a:lnTo>
                  <a:pt x="54" y="81"/>
                </a:lnTo>
                <a:lnTo>
                  <a:pt x="54" y="81"/>
                </a:lnTo>
                <a:lnTo>
                  <a:pt x="51" y="79"/>
                </a:lnTo>
                <a:lnTo>
                  <a:pt x="51" y="79"/>
                </a:lnTo>
                <a:lnTo>
                  <a:pt x="51" y="81"/>
                </a:lnTo>
                <a:lnTo>
                  <a:pt x="51" y="81"/>
                </a:lnTo>
                <a:lnTo>
                  <a:pt x="51" y="83"/>
                </a:lnTo>
                <a:lnTo>
                  <a:pt x="51" y="83"/>
                </a:lnTo>
                <a:lnTo>
                  <a:pt x="51" y="86"/>
                </a:lnTo>
                <a:lnTo>
                  <a:pt x="51" y="86"/>
                </a:lnTo>
                <a:lnTo>
                  <a:pt x="49" y="86"/>
                </a:lnTo>
                <a:lnTo>
                  <a:pt x="49" y="86"/>
                </a:lnTo>
                <a:lnTo>
                  <a:pt x="46" y="81"/>
                </a:lnTo>
                <a:lnTo>
                  <a:pt x="46" y="81"/>
                </a:lnTo>
                <a:lnTo>
                  <a:pt x="46" y="79"/>
                </a:lnTo>
                <a:lnTo>
                  <a:pt x="46" y="79"/>
                </a:lnTo>
                <a:lnTo>
                  <a:pt x="44" y="79"/>
                </a:lnTo>
                <a:lnTo>
                  <a:pt x="44" y="79"/>
                </a:lnTo>
                <a:lnTo>
                  <a:pt x="44" y="79"/>
                </a:lnTo>
                <a:lnTo>
                  <a:pt x="42" y="79"/>
                </a:lnTo>
                <a:lnTo>
                  <a:pt x="42" y="79"/>
                </a:lnTo>
                <a:lnTo>
                  <a:pt x="42" y="71"/>
                </a:lnTo>
                <a:lnTo>
                  <a:pt x="42" y="71"/>
                </a:lnTo>
                <a:lnTo>
                  <a:pt x="39" y="69"/>
                </a:lnTo>
                <a:lnTo>
                  <a:pt x="39" y="69"/>
                </a:lnTo>
                <a:lnTo>
                  <a:pt x="39" y="64"/>
                </a:lnTo>
                <a:lnTo>
                  <a:pt x="39" y="64"/>
                </a:lnTo>
                <a:lnTo>
                  <a:pt x="39" y="61"/>
                </a:lnTo>
                <a:lnTo>
                  <a:pt x="39" y="61"/>
                </a:lnTo>
                <a:lnTo>
                  <a:pt x="39" y="61"/>
                </a:lnTo>
                <a:lnTo>
                  <a:pt x="37" y="61"/>
                </a:lnTo>
                <a:lnTo>
                  <a:pt x="37" y="61"/>
                </a:lnTo>
                <a:lnTo>
                  <a:pt x="37" y="56"/>
                </a:lnTo>
                <a:lnTo>
                  <a:pt x="37" y="56"/>
                </a:lnTo>
                <a:lnTo>
                  <a:pt x="37" y="54"/>
                </a:lnTo>
                <a:lnTo>
                  <a:pt x="37" y="54"/>
                </a:lnTo>
                <a:lnTo>
                  <a:pt x="39" y="56"/>
                </a:lnTo>
                <a:lnTo>
                  <a:pt x="39" y="56"/>
                </a:lnTo>
                <a:lnTo>
                  <a:pt x="42" y="56"/>
                </a:lnTo>
                <a:lnTo>
                  <a:pt x="42" y="56"/>
                </a:lnTo>
                <a:lnTo>
                  <a:pt x="44" y="54"/>
                </a:lnTo>
                <a:lnTo>
                  <a:pt x="44" y="54"/>
                </a:lnTo>
                <a:lnTo>
                  <a:pt x="44" y="54"/>
                </a:lnTo>
                <a:lnTo>
                  <a:pt x="42" y="47"/>
                </a:lnTo>
                <a:lnTo>
                  <a:pt x="42" y="47"/>
                </a:lnTo>
                <a:lnTo>
                  <a:pt x="44" y="44"/>
                </a:lnTo>
                <a:lnTo>
                  <a:pt x="44" y="44"/>
                </a:lnTo>
                <a:lnTo>
                  <a:pt x="44" y="37"/>
                </a:lnTo>
                <a:lnTo>
                  <a:pt x="44" y="37"/>
                </a:lnTo>
                <a:lnTo>
                  <a:pt x="44" y="29"/>
                </a:lnTo>
                <a:lnTo>
                  <a:pt x="44" y="29"/>
                </a:lnTo>
                <a:lnTo>
                  <a:pt x="44" y="27"/>
                </a:lnTo>
                <a:lnTo>
                  <a:pt x="44" y="27"/>
                </a:lnTo>
                <a:lnTo>
                  <a:pt x="46" y="20"/>
                </a:lnTo>
                <a:lnTo>
                  <a:pt x="46" y="20"/>
                </a:lnTo>
                <a:lnTo>
                  <a:pt x="46" y="17"/>
                </a:lnTo>
                <a:lnTo>
                  <a:pt x="46" y="17"/>
                </a:lnTo>
                <a:lnTo>
                  <a:pt x="51" y="15"/>
                </a:lnTo>
                <a:lnTo>
                  <a:pt x="51" y="15"/>
                </a:lnTo>
                <a:lnTo>
                  <a:pt x="59" y="17"/>
                </a:lnTo>
                <a:lnTo>
                  <a:pt x="59" y="17"/>
                </a:lnTo>
                <a:lnTo>
                  <a:pt x="61" y="20"/>
                </a:lnTo>
                <a:lnTo>
                  <a:pt x="61" y="20"/>
                </a:lnTo>
                <a:lnTo>
                  <a:pt x="61" y="20"/>
                </a:lnTo>
                <a:lnTo>
                  <a:pt x="64" y="20"/>
                </a:lnTo>
                <a:lnTo>
                  <a:pt x="64" y="20"/>
                </a:lnTo>
                <a:lnTo>
                  <a:pt x="69" y="20"/>
                </a:lnTo>
                <a:lnTo>
                  <a:pt x="69" y="20"/>
                </a:lnTo>
                <a:lnTo>
                  <a:pt x="69" y="17"/>
                </a:lnTo>
                <a:lnTo>
                  <a:pt x="69" y="17"/>
                </a:lnTo>
                <a:lnTo>
                  <a:pt x="71" y="15"/>
                </a:lnTo>
                <a:lnTo>
                  <a:pt x="71" y="15"/>
                </a:lnTo>
                <a:lnTo>
                  <a:pt x="71" y="15"/>
                </a:lnTo>
                <a:lnTo>
                  <a:pt x="74" y="17"/>
                </a:lnTo>
                <a:lnTo>
                  <a:pt x="74" y="17"/>
                </a:lnTo>
                <a:lnTo>
                  <a:pt x="74" y="20"/>
                </a:lnTo>
                <a:lnTo>
                  <a:pt x="74" y="20"/>
                </a:lnTo>
                <a:lnTo>
                  <a:pt x="71" y="22"/>
                </a:lnTo>
                <a:lnTo>
                  <a:pt x="71" y="22"/>
                </a:lnTo>
                <a:lnTo>
                  <a:pt x="71" y="29"/>
                </a:lnTo>
                <a:lnTo>
                  <a:pt x="71" y="29"/>
                </a:lnTo>
                <a:lnTo>
                  <a:pt x="74" y="32"/>
                </a:lnTo>
                <a:lnTo>
                  <a:pt x="74" y="32"/>
                </a:lnTo>
                <a:lnTo>
                  <a:pt x="76" y="34"/>
                </a:lnTo>
                <a:lnTo>
                  <a:pt x="76" y="34"/>
                </a:lnTo>
                <a:lnTo>
                  <a:pt x="76" y="37"/>
                </a:lnTo>
                <a:lnTo>
                  <a:pt x="76" y="37"/>
                </a:lnTo>
                <a:lnTo>
                  <a:pt x="78" y="39"/>
                </a:lnTo>
                <a:lnTo>
                  <a:pt x="78" y="39"/>
                </a:lnTo>
                <a:lnTo>
                  <a:pt x="76" y="47"/>
                </a:lnTo>
                <a:lnTo>
                  <a:pt x="76" y="47"/>
                </a:lnTo>
                <a:lnTo>
                  <a:pt x="74" y="51"/>
                </a:lnTo>
                <a:lnTo>
                  <a:pt x="74" y="51"/>
                </a:lnTo>
                <a:lnTo>
                  <a:pt x="76" y="54"/>
                </a:lnTo>
                <a:lnTo>
                  <a:pt x="76" y="54"/>
                </a:lnTo>
                <a:lnTo>
                  <a:pt x="74" y="59"/>
                </a:lnTo>
                <a:lnTo>
                  <a:pt x="74" y="59"/>
                </a:lnTo>
                <a:lnTo>
                  <a:pt x="74" y="56"/>
                </a:lnTo>
                <a:lnTo>
                  <a:pt x="74" y="56"/>
                </a:lnTo>
                <a:lnTo>
                  <a:pt x="74" y="54"/>
                </a:lnTo>
                <a:lnTo>
                  <a:pt x="74" y="54"/>
                </a:lnTo>
                <a:lnTo>
                  <a:pt x="71" y="56"/>
                </a:lnTo>
                <a:lnTo>
                  <a:pt x="71" y="56"/>
                </a:lnTo>
                <a:lnTo>
                  <a:pt x="66" y="61"/>
                </a:lnTo>
                <a:lnTo>
                  <a:pt x="66" y="61"/>
                </a:lnTo>
                <a:lnTo>
                  <a:pt x="66" y="64"/>
                </a:lnTo>
                <a:lnTo>
                  <a:pt x="66" y="64"/>
                </a:lnTo>
                <a:lnTo>
                  <a:pt x="66" y="66"/>
                </a:lnTo>
                <a:lnTo>
                  <a:pt x="66" y="66"/>
                </a:lnTo>
                <a:lnTo>
                  <a:pt x="64" y="69"/>
                </a:lnTo>
                <a:lnTo>
                  <a:pt x="64" y="69"/>
                </a:lnTo>
                <a:lnTo>
                  <a:pt x="64" y="74"/>
                </a:lnTo>
                <a:lnTo>
                  <a:pt x="64" y="74"/>
                </a:lnTo>
                <a:lnTo>
                  <a:pt x="66" y="74"/>
                </a:lnTo>
                <a:lnTo>
                  <a:pt x="66" y="74"/>
                </a:lnTo>
                <a:lnTo>
                  <a:pt x="66" y="79"/>
                </a:lnTo>
                <a:lnTo>
                  <a:pt x="66" y="79"/>
                </a:lnTo>
                <a:lnTo>
                  <a:pt x="69" y="81"/>
                </a:lnTo>
                <a:lnTo>
                  <a:pt x="69" y="81"/>
                </a:lnTo>
                <a:lnTo>
                  <a:pt x="69" y="83"/>
                </a:lnTo>
                <a:lnTo>
                  <a:pt x="69" y="83"/>
                </a:lnTo>
                <a:lnTo>
                  <a:pt x="69" y="86"/>
                </a:lnTo>
                <a:lnTo>
                  <a:pt x="69" y="86"/>
                </a:lnTo>
                <a:close/>
                <a:moveTo>
                  <a:pt x="74" y="86"/>
                </a:moveTo>
                <a:lnTo>
                  <a:pt x="74" y="86"/>
                </a:lnTo>
                <a:lnTo>
                  <a:pt x="74" y="88"/>
                </a:lnTo>
                <a:lnTo>
                  <a:pt x="74" y="88"/>
                </a:lnTo>
                <a:lnTo>
                  <a:pt x="76" y="91"/>
                </a:lnTo>
                <a:lnTo>
                  <a:pt x="76" y="91"/>
                </a:lnTo>
                <a:lnTo>
                  <a:pt x="76" y="88"/>
                </a:lnTo>
                <a:lnTo>
                  <a:pt x="76" y="88"/>
                </a:lnTo>
                <a:lnTo>
                  <a:pt x="74" y="86"/>
                </a:lnTo>
                <a:lnTo>
                  <a:pt x="74" y="86"/>
                </a:lnTo>
                <a:close/>
                <a:moveTo>
                  <a:pt x="71" y="76"/>
                </a:moveTo>
                <a:lnTo>
                  <a:pt x="71" y="76"/>
                </a:lnTo>
                <a:lnTo>
                  <a:pt x="74" y="79"/>
                </a:lnTo>
                <a:lnTo>
                  <a:pt x="74" y="79"/>
                </a:lnTo>
                <a:lnTo>
                  <a:pt x="71" y="81"/>
                </a:lnTo>
                <a:lnTo>
                  <a:pt x="71" y="81"/>
                </a:lnTo>
                <a:lnTo>
                  <a:pt x="74" y="83"/>
                </a:lnTo>
                <a:lnTo>
                  <a:pt x="74" y="83"/>
                </a:lnTo>
                <a:lnTo>
                  <a:pt x="76" y="81"/>
                </a:lnTo>
                <a:lnTo>
                  <a:pt x="76" y="81"/>
                </a:lnTo>
                <a:lnTo>
                  <a:pt x="76" y="76"/>
                </a:lnTo>
                <a:lnTo>
                  <a:pt x="76" y="76"/>
                </a:lnTo>
                <a:lnTo>
                  <a:pt x="76" y="74"/>
                </a:lnTo>
                <a:lnTo>
                  <a:pt x="76" y="74"/>
                </a:lnTo>
                <a:lnTo>
                  <a:pt x="74" y="74"/>
                </a:lnTo>
                <a:lnTo>
                  <a:pt x="74" y="74"/>
                </a:lnTo>
                <a:lnTo>
                  <a:pt x="71" y="76"/>
                </a:lnTo>
                <a:lnTo>
                  <a:pt x="71" y="76"/>
                </a:lnTo>
                <a:close/>
                <a:moveTo>
                  <a:pt x="44" y="96"/>
                </a:moveTo>
                <a:lnTo>
                  <a:pt x="44" y="96"/>
                </a:lnTo>
                <a:lnTo>
                  <a:pt x="44" y="96"/>
                </a:lnTo>
                <a:lnTo>
                  <a:pt x="49" y="98"/>
                </a:lnTo>
                <a:lnTo>
                  <a:pt x="49" y="98"/>
                </a:lnTo>
                <a:lnTo>
                  <a:pt x="49" y="98"/>
                </a:lnTo>
                <a:lnTo>
                  <a:pt x="46" y="96"/>
                </a:lnTo>
                <a:lnTo>
                  <a:pt x="46" y="96"/>
                </a:lnTo>
                <a:lnTo>
                  <a:pt x="44" y="96"/>
                </a:lnTo>
                <a:lnTo>
                  <a:pt x="44" y="96"/>
                </a:lnTo>
                <a:close/>
                <a:moveTo>
                  <a:pt x="49" y="101"/>
                </a:moveTo>
                <a:lnTo>
                  <a:pt x="49" y="101"/>
                </a:lnTo>
                <a:lnTo>
                  <a:pt x="49" y="103"/>
                </a:lnTo>
                <a:lnTo>
                  <a:pt x="49" y="103"/>
                </a:lnTo>
                <a:lnTo>
                  <a:pt x="51" y="103"/>
                </a:lnTo>
                <a:lnTo>
                  <a:pt x="51" y="103"/>
                </a:lnTo>
                <a:lnTo>
                  <a:pt x="51" y="106"/>
                </a:lnTo>
                <a:lnTo>
                  <a:pt x="51" y="106"/>
                </a:lnTo>
                <a:lnTo>
                  <a:pt x="54" y="108"/>
                </a:lnTo>
                <a:lnTo>
                  <a:pt x="54" y="108"/>
                </a:lnTo>
                <a:lnTo>
                  <a:pt x="56" y="111"/>
                </a:lnTo>
                <a:lnTo>
                  <a:pt x="56" y="111"/>
                </a:lnTo>
                <a:lnTo>
                  <a:pt x="56" y="115"/>
                </a:lnTo>
                <a:lnTo>
                  <a:pt x="56" y="115"/>
                </a:lnTo>
                <a:lnTo>
                  <a:pt x="59" y="115"/>
                </a:lnTo>
                <a:lnTo>
                  <a:pt x="59" y="115"/>
                </a:lnTo>
                <a:lnTo>
                  <a:pt x="59" y="118"/>
                </a:lnTo>
                <a:lnTo>
                  <a:pt x="59" y="118"/>
                </a:lnTo>
                <a:lnTo>
                  <a:pt x="61" y="123"/>
                </a:lnTo>
                <a:lnTo>
                  <a:pt x="61" y="123"/>
                </a:lnTo>
                <a:lnTo>
                  <a:pt x="64" y="123"/>
                </a:lnTo>
                <a:lnTo>
                  <a:pt x="64" y="123"/>
                </a:lnTo>
                <a:lnTo>
                  <a:pt x="69" y="120"/>
                </a:lnTo>
                <a:lnTo>
                  <a:pt x="69" y="120"/>
                </a:lnTo>
                <a:lnTo>
                  <a:pt x="69" y="118"/>
                </a:lnTo>
                <a:lnTo>
                  <a:pt x="69" y="118"/>
                </a:lnTo>
                <a:lnTo>
                  <a:pt x="69" y="118"/>
                </a:lnTo>
                <a:lnTo>
                  <a:pt x="69" y="115"/>
                </a:lnTo>
                <a:lnTo>
                  <a:pt x="69" y="115"/>
                </a:lnTo>
                <a:lnTo>
                  <a:pt x="69" y="113"/>
                </a:lnTo>
                <a:lnTo>
                  <a:pt x="69" y="113"/>
                </a:lnTo>
                <a:lnTo>
                  <a:pt x="69" y="111"/>
                </a:lnTo>
                <a:lnTo>
                  <a:pt x="69" y="111"/>
                </a:lnTo>
                <a:lnTo>
                  <a:pt x="69" y="108"/>
                </a:lnTo>
                <a:lnTo>
                  <a:pt x="69" y="108"/>
                </a:lnTo>
                <a:lnTo>
                  <a:pt x="66" y="106"/>
                </a:lnTo>
                <a:lnTo>
                  <a:pt x="66" y="106"/>
                </a:lnTo>
                <a:lnTo>
                  <a:pt x="59" y="101"/>
                </a:lnTo>
                <a:lnTo>
                  <a:pt x="59" y="101"/>
                </a:lnTo>
                <a:lnTo>
                  <a:pt x="56" y="101"/>
                </a:lnTo>
                <a:lnTo>
                  <a:pt x="56" y="101"/>
                </a:lnTo>
                <a:lnTo>
                  <a:pt x="51" y="101"/>
                </a:lnTo>
                <a:lnTo>
                  <a:pt x="51" y="101"/>
                </a:lnTo>
                <a:lnTo>
                  <a:pt x="49" y="101"/>
                </a:lnTo>
                <a:lnTo>
                  <a:pt x="49" y="101"/>
                </a:lnTo>
                <a:close/>
                <a:moveTo>
                  <a:pt x="110" y="91"/>
                </a:moveTo>
                <a:lnTo>
                  <a:pt x="110" y="91"/>
                </a:lnTo>
                <a:lnTo>
                  <a:pt x="108" y="91"/>
                </a:lnTo>
                <a:lnTo>
                  <a:pt x="108" y="91"/>
                </a:lnTo>
                <a:lnTo>
                  <a:pt x="110" y="96"/>
                </a:lnTo>
                <a:lnTo>
                  <a:pt x="110" y="96"/>
                </a:lnTo>
                <a:lnTo>
                  <a:pt x="108" y="98"/>
                </a:lnTo>
                <a:lnTo>
                  <a:pt x="108" y="98"/>
                </a:lnTo>
                <a:lnTo>
                  <a:pt x="108" y="98"/>
                </a:lnTo>
                <a:lnTo>
                  <a:pt x="108" y="101"/>
                </a:lnTo>
                <a:lnTo>
                  <a:pt x="108" y="101"/>
                </a:lnTo>
                <a:lnTo>
                  <a:pt x="113" y="98"/>
                </a:lnTo>
                <a:lnTo>
                  <a:pt x="113" y="98"/>
                </a:lnTo>
                <a:lnTo>
                  <a:pt x="113" y="96"/>
                </a:lnTo>
                <a:lnTo>
                  <a:pt x="113" y="96"/>
                </a:lnTo>
                <a:lnTo>
                  <a:pt x="113" y="93"/>
                </a:lnTo>
                <a:lnTo>
                  <a:pt x="113" y="93"/>
                </a:lnTo>
                <a:lnTo>
                  <a:pt x="110" y="91"/>
                </a:lnTo>
                <a:lnTo>
                  <a:pt x="110" y="91"/>
                </a:lnTo>
                <a:close/>
                <a:moveTo>
                  <a:pt x="74" y="103"/>
                </a:moveTo>
                <a:lnTo>
                  <a:pt x="74" y="103"/>
                </a:lnTo>
                <a:lnTo>
                  <a:pt x="76" y="106"/>
                </a:lnTo>
                <a:lnTo>
                  <a:pt x="76" y="106"/>
                </a:lnTo>
                <a:lnTo>
                  <a:pt x="76" y="103"/>
                </a:lnTo>
                <a:lnTo>
                  <a:pt x="76" y="103"/>
                </a:lnTo>
                <a:lnTo>
                  <a:pt x="78" y="103"/>
                </a:lnTo>
                <a:lnTo>
                  <a:pt x="78" y="103"/>
                </a:lnTo>
                <a:lnTo>
                  <a:pt x="76" y="101"/>
                </a:lnTo>
                <a:lnTo>
                  <a:pt x="76" y="101"/>
                </a:lnTo>
                <a:lnTo>
                  <a:pt x="74" y="98"/>
                </a:lnTo>
                <a:lnTo>
                  <a:pt x="74" y="98"/>
                </a:lnTo>
                <a:lnTo>
                  <a:pt x="74" y="101"/>
                </a:lnTo>
                <a:lnTo>
                  <a:pt x="74" y="101"/>
                </a:lnTo>
                <a:lnTo>
                  <a:pt x="74" y="103"/>
                </a:lnTo>
                <a:lnTo>
                  <a:pt x="74" y="103"/>
                </a:lnTo>
                <a:close/>
                <a:moveTo>
                  <a:pt x="78" y="115"/>
                </a:moveTo>
                <a:lnTo>
                  <a:pt x="78" y="115"/>
                </a:lnTo>
                <a:lnTo>
                  <a:pt x="78" y="118"/>
                </a:lnTo>
                <a:lnTo>
                  <a:pt x="78" y="118"/>
                </a:lnTo>
                <a:lnTo>
                  <a:pt x="76" y="120"/>
                </a:lnTo>
                <a:lnTo>
                  <a:pt x="76" y="120"/>
                </a:lnTo>
                <a:lnTo>
                  <a:pt x="78" y="125"/>
                </a:lnTo>
                <a:lnTo>
                  <a:pt x="78" y="125"/>
                </a:lnTo>
                <a:lnTo>
                  <a:pt x="78" y="123"/>
                </a:lnTo>
                <a:lnTo>
                  <a:pt x="78" y="123"/>
                </a:lnTo>
                <a:lnTo>
                  <a:pt x="81" y="120"/>
                </a:lnTo>
                <a:lnTo>
                  <a:pt x="81" y="120"/>
                </a:lnTo>
                <a:lnTo>
                  <a:pt x="78" y="118"/>
                </a:lnTo>
                <a:lnTo>
                  <a:pt x="78" y="118"/>
                </a:lnTo>
                <a:lnTo>
                  <a:pt x="81" y="113"/>
                </a:lnTo>
                <a:lnTo>
                  <a:pt x="81" y="113"/>
                </a:lnTo>
                <a:lnTo>
                  <a:pt x="78" y="115"/>
                </a:lnTo>
                <a:lnTo>
                  <a:pt x="78" y="115"/>
                </a:lnTo>
                <a:close/>
                <a:moveTo>
                  <a:pt x="86" y="118"/>
                </a:moveTo>
                <a:lnTo>
                  <a:pt x="86" y="118"/>
                </a:lnTo>
                <a:lnTo>
                  <a:pt x="86" y="118"/>
                </a:lnTo>
                <a:lnTo>
                  <a:pt x="86" y="120"/>
                </a:lnTo>
                <a:lnTo>
                  <a:pt x="86" y="120"/>
                </a:lnTo>
                <a:lnTo>
                  <a:pt x="88" y="120"/>
                </a:lnTo>
                <a:lnTo>
                  <a:pt x="88" y="120"/>
                </a:lnTo>
                <a:lnTo>
                  <a:pt x="88" y="118"/>
                </a:lnTo>
                <a:lnTo>
                  <a:pt x="88" y="118"/>
                </a:lnTo>
                <a:lnTo>
                  <a:pt x="86" y="118"/>
                </a:lnTo>
                <a:lnTo>
                  <a:pt x="86" y="118"/>
                </a:lnTo>
                <a:close/>
                <a:moveTo>
                  <a:pt x="96" y="111"/>
                </a:moveTo>
                <a:lnTo>
                  <a:pt x="96" y="111"/>
                </a:lnTo>
                <a:lnTo>
                  <a:pt x="93" y="106"/>
                </a:lnTo>
                <a:lnTo>
                  <a:pt x="93" y="106"/>
                </a:lnTo>
                <a:lnTo>
                  <a:pt x="91" y="108"/>
                </a:lnTo>
                <a:lnTo>
                  <a:pt x="91" y="108"/>
                </a:lnTo>
                <a:lnTo>
                  <a:pt x="91" y="108"/>
                </a:lnTo>
                <a:lnTo>
                  <a:pt x="96" y="113"/>
                </a:lnTo>
                <a:lnTo>
                  <a:pt x="96" y="113"/>
                </a:lnTo>
                <a:lnTo>
                  <a:pt x="96" y="111"/>
                </a:lnTo>
                <a:lnTo>
                  <a:pt x="96" y="111"/>
                </a:lnTo>
                <a:lnTo>
                  <a:pt x="96" y="111"/>
                </a:lnTo>
                <a:close/>
                <a:moveTo>
                  <a:pt x="101" y="115"/>
                </a:moveTo>
                <a:lnTo>
                  <a:pt x="101" y="115"/>
                </a:lnTo>
                <a:lnTo>
                  <a:pt x="103" y="118"/>
                </a:lnTo>
                <a:lnTo>
                  <a:pt x="103" y="118"/>
                </a:lnTo>
                <a:lnTo>
                  <a:pt x="106" y="120"/>
                </a:lnTo>
                <a:lnTo>
                  <a:pt x="106" y="120"/>
                </a:lnTo>
                <a:lnTo>
                  <a:pt x="106" y="120"/>
                </a:lnTo>
                <a:lnTo>
                  <a:pt x="103" y="115"/>
                </a:lnTo>
                <a:lnTo>
                  <a:pt x="103" y="115"/>
                </a:lnTo>
                <a:lnTo>
                  <a:pt x="101" y="115"/>
                </a:lnTo>
                <a:lnTo>
                  <a:pt x="101" y="115"/>
                </a:lnTo>
                <a:close/>
                <a:moveTo>
                  <a:pt x="96" y="128"/>
                </a:moveTo>
                <a:lnTo>
                  <a:pt x="96" y="128"/>
                </a:lnTo>
                <a:lnTo>
                  <a:pt x="98" y="123"/>
                </a:lnTo>
                <a:lnTo>
                  <a:pt x="98" y="123"/>
                </a:lnTo>
                <a:lnTo>
                  <a:pt x="101" y="123"/>
                </a:lnTo>
                <a:lnTo>
                  <a:pt x="101" y="123"/>
                </a:lnTo>
                <a:lnTo>
                  <a:pt x="106" y="128"/>
                </a:lnTo>
                <a:lnTo>
                  <a:pt x="106" y="128"/>
                </a:lnTo>
                <a:lnTo>
                  <a:pt x="108" y="128"/>
                </a:lnTo>
                <a:lnTo>
                  <a:pt x="108" y="128"/>
                </a:lnTo>
                <a:lnTo>
                  <a:pt x="110" y="128"/>
                </a:lnTo>
                <a:lnTo>
                  <a:pt x="110" y="128"/>
                </a:lnTo>
                <a:lnTo>
                  <a:pt x="110" y="125"/>
                </a:lnTo>
                <a:lnTo>
                  <a:pt x="110" y="125"/>
                </a:lnTo>
                <a:lnTo>
                  <a:pt x="108" y="123"/>
                </a:lnTo>
                <a:lnTo>
                  <a:pt x="108" y="123"/>
                </a:lnTo>
                <a:lnTo>
                  <a:pt x="103" y="120"/>
                </a:lnTo>
                <a:lnTo>
                  <a:pt x="103" y="120"/>
                </a:lnTo>
                <a:lnTo>
                  <a:pt x="103" y="120"/>
                </a:lnTo>
                <a:lnTo>
                  <a:pt x="101" y="118"/>
                </a:lnTo>
                <a:lnTo>
                  <a:pt x="101" y="118"/>
                </a:lnTo>
                <a:lnTo>
                  <a:pt x="98" y="118"/>
                </a:lnTo>
                <a:lnTo>
                  <a:pt x="98" y="118"/>
                </a:lnTo>
                <a:lnTo>
                  <a:pt x="98" y="118"/>
                </a:lnTo>
                <a:lnTo>
                  <a:pt x="96" y="115"/>
                </a:lnTo>
                <a:lnTo>
                  <a:pt x="96" y="115"/>
                </a:lnTo>
                <a:lnTo>
                  <a:pt x="96" y="120"/>
                </a:lnTo>
                <a:lnTo>
                  <a:pt x="96" y="120"/>
                </a:lnTo>
                <a:lnTo>
                  <a:pt x="98" y="123"/>
                </a:lnTo>
                <a:lnTo>
                  <a:pt x="98" y="123"/>
                </a:lnTo>
                <a:lnTo>
                  <a:pt x="96" y="123"/>
                </a:lnTo>
                <a:lnTo>
                  <a:pt x="96" y="123"/>
                </a:lnTo>
                <a:lnTo>
                  <a:pt x="96" y="125"/>
                </a:lnTo>
                <a:lnTo>
                  <a:pt x="96" y="125"/>
                </a:lnTo>
                <a:lnTo>
                  <a:pt x="96" y="128"/>
                </a:lnTo>
                <a:lnTo>
                  <a:pt x="96" y="128"/>
                </a:lnTo>
                <a:close/>
                <a:moveTo>
                  <a:pt x="81" y="150"/>
                </a:moveTo>
                <a:lnTo>
                  <a:pt x="81" y="150"/>
                </a:lnTo>
                <a:lnTo>
                  <a:pt x="81" y="150"/>
                </a:lnTo>
                <a:lnTo>
                  <a:pt x="78" y="152"/>
                </a:lnTo>
                <a:lnTo>
                  <a:pt x="78" y="152"/>
                </a:lnTo>
                <a:lnTo>
                  <a:pt x="78" y="145"/>
                </a:lnTo>
                <a:lnTo>
                  <a:pt x="78" y="145"/>
                </a:lnTo>
                <a:lnTo>
                  <a:pt x="78" y="142"/>
                </a:lnTo>
                <a:lnTo>
                  <a:pt x="78" y="142"/>
                </a:lnTo>
                <a:lnTo>
                  <a:pt x="78" y="138"/>
                </a:lnTo>
                <a:lnTo>
                  <a:pt x="78" y="138"/>
                </a:lnTo>
                <a:lnTo>
                  <a:pt x="78" y="135"/>
                </a:lnTo>
                <a:lnTo>
                  <a:pt x="78" y="135"/>
                </a:lnTo>
                <a:lnTo>
                  <a:pt x="78" y="130"/>
                </a:lnTo>
                <a:lnTo>
                  <a:pt x="78" y="130"/>
                </a:lnTo>
                <a:lnTo>
                  <a:pt x="78" y="130"/>
                </a:lnTo>
                <a:lnTo>
                  <a:pt x="74" y="130"/>
                </a:lnTo>
                <a:lnTo>
                  <a:pt x="74" y="130"/>
                </a:lnTo>
                <a:lnTo>
                  <a:pt x="76" y="128"/>
                </a:lnTo>
                <a:lnTo>
                  <a:pt x="76" y="128"/>
                </a:lnTo>
                <a:lnTo>
                  <a:pt x="78" y="128"/>
                </a:lnTo>
                <a:lnTo>
                  <a:pt x="78" y="128"/>
                </a:lnTo>
                <a:lnTo>
                  <a:pt x="81" y="130"/>
                </a:lnTo>
                <a:lnTo>
                  <a:pt x="81" y="130"/>
                </a:lnTo>
                <a:lnTo>
                  <a:pt x="83" y="130"/>
                </a:lnTo>
                <a:lnTo>
                  <a:pt x="83" y="130"/>
                </a:lnTo>
                <a:lnTo>
                  <a:pt x="83" y="133"/>
                </a:lnTo>
                <a:lnTo>
                  <a:pt x="83" y="133"/>
                </a:lnTo>
                <a:lnTo>
                  <a:pt x="86" y="133"/>
                </a:lnTo>
                <a:lnTo>
                  <a:pt x="86" y="133"/>
                </a:lnTo>
                <a:lnTo>
                  <a:pt x="88" y="133"/>
                </a:lnTo>
                <a:lnTo>
                  <a:pt x="88" y="133"/>
                </a:lnTo>
                <a:lnTo>
                  <a:pt x="91" y="133"/>
                </a:lnTo>
                <a:lnTo>
                  <a:pt x="91" y="133"/>
                </a:lnTo>
                <a:lnTo>
                  <a:pt x="93" y="135"/>
                </a:lnTo>
                <a:lnTo>
                  <a:pt x="93" y="135"/>
                </a:lnTo>
                <a:lnTo>
                  <a:pt x="93" y="133"/>
                </a:lnTo>
                <a:lnTo>
                  <a:pt x="93" y="133"/>
                </a:lnTo>
                <a:lnTo>
                  <a:pt x="96" y="133"/>
                </a:lnTo>
                <a:lnTo>
                  <a:pt x="96" y="133"/>
                </a:lnTo>
                <a:lnTo>
                  <a:pt x="98" y="135"/>
                </a:lnTo>
                <a:lnTo>
                  <a:pt x="98" y="135"/>
                </a:lnTo>
                <a:lnTo>
                  <a:pt x="96" y="138"/>
                </a:lnTo>
                <a:lnTo>
                  <a:pt x="96" y="138"/>
                </a:lnTo>
                <a:lnTo>
                  <a:pt x="96" y="138"/>
                </a:lnTo>
                <a:lnTo>
                  <a:pt x="93" y="140"/>
                </a:lnTo>
                <a:lnTo>
                  <a:pt x="93" y="140"/>
                </a:lnTo>
                <a:lnTo>
                  <a:pt x="91" y="145"/>
                </a:lnTo>
                <a:lnTo>
                  <a:pt x="91" y="145"/>
                </a:lnTo>
                <a:lnTo>
                  <a:pt x="88" y="147"/>
                </a:lnTo>
                <a:lnTo>
                  <a:pt x="88" y="147"/>
                </a:lnTo>
                <a:lnTo>
                  <a:pt x="88" y="147"/>
                </a:lnTo>
                <a:lnTo>
                  <a:pt x="86" y="147"/>
                </a:lnTo>
                <a:lnTo>
                  <a:pt x="86" y="147"/>
                </a:lnTo>
                <a:lnTo>
                  <a:pt x="86" y="147"/>
                </a:lnTo>
                <a:lnTo>
                  <a:pt x="81" y="150"/>
                </a:lnTo>
                <a:lnTo>
                  <a:pt x="81" y="150"/>
                </a:lnTo>
                <a:close/>
                <a:moveTo>
                  <a:pt x="88" y="147"/>
                </a:moveTo>
                <a:lnTo>
                  <a:pt x="88" y="147"/>
                </a:lnTo>
                <a:lnTo>
                  <a:pt x="86" y="147"/>
                </a:lnTo>
                <a:lnTo>
                  <a:pt x="86" y="147"/>
                </a:lnTo>
                <a:lnTo>
                  <a:pt x="86" y="152"/>
                </a:lnTo>
                <a:lnTo>
                  <a:pt x="86" y="152"/>
                </a:lnTo>
                <a:lnTo>
                  <a:pt x="88" y="152"/>
                </a:lnTo>
                <a:lnTo>
                  <a:pt x="88" y="152"/>
                </a:lnTo>
                <a:lnTo>
                  <a:pt x="91" y="150"/>
                </a:lnTo>
                <a:lnTo>
                  <a:pt x="91" y="150"/>
                </a:lnTo>
                <a:lnTo>
                  <a:pt x="91" y="147"/>
                </a:lnTo>
                <a:lnTo>
                  <a:pt x="91" y="147"/>
                </a:lnTo>
                <a:lnTo>
                  <a:pt x="88" y="147"/>
                </a:lnTo>
                <a:lnTo>
                  <a:pt x="88" y="147"/>
                </a:lnTo>
                <a:close/>
                <a:moveTo>
                  <a:pt x="115" y="147"/>
                </a:moveTo>
                <a:lnTo>
                  <a:pt x="115" y="147"/>
                </a:lnTo>
                <a:lnTo>
                  <a:pt x="115" y="150"/>
                </a:lnTo>
                <a:lnTo>
                  <a:pt x="115" y="150"/>
                </a:lnTo>
                <a:lnTo>
                  <a:pt x="113" y="147"/>
                </a:lnTo>
                <a:lnTo>
                  <a:pt x="113" y="147"/>
                </a:lnTo>
                <a:lnTo>
                  <a:pt x="115" y="147"/>
                </a:lnTo>
                <a:lnTo>
                  <a:pt x="115" y="147"/>
                </a:lnTo>
                <a:close/>
                <a:moveTo>
                  <a:pt x="101" y="167"/>
                </a:moveTo>
                <a:lnTo>
                  <a:pt x="101" y="167"/>
                </a:lnTo>
                <a:lnTo>
                  <a:pt x="103" y="165"/>
                </a:lnTo>
                <a:lnTo>
                  <a:pt x="103" y="165"/>
                </a:lnTo>
                <a:lnTo>
                  <a:pt x="106" y="157"/>
                </a:lnTo>
                <a:lnTo>
                  <a:pt x="106" y="157"/>
                </a:lnTo>
                <a:lnTo>
                  <a:pt x="110" y="152"/>
                </a:lnTo>
                <a:lnTo>
                  <a:pt x="110" y="152"/>
                </a:lnTo>
                <a:lnTo>
                  <a:pt x="110" y="150"/>
                </a:lnTo>
                <a:lnTo>
                  <a:pt x="110" y="150"/>
                </a:lnTo>
                <a:lnTo>
                  <a:pt x="110" y="147"/>
                </a:lnTo>
                <a:lnTo>
                  <a:pt x="110" y="147"/>
                </a:lnTo>
                <a:lnTo>
                  <a:pt x="110" y="145"/>
                </a:lnTo>
                <a:lnTo>
                  <a:pt x="110" y="145"/>
                </a:lnTo>
                <a:lnTo>
                  <a:pt x="110" y="140"/>
                </a:lnTo>
                <a:lnTo>
                  <a:pt x="110" y="140"/>
                </a:lnTo>
                <a:lnTo>
                  <a:pt x="108" y="140"/>
                </a:lnTo>
                <a:lnTo>
                  <a:pt x="108" y="140"/>
                </a:lnTo>
                <a:lnTo>
                  <a:pt x="108" y="145"/>
                </a:lnTo>
                <a:lnTo>
                  <a:pt x="108" y="145"/>
                </a:lnTo>
                <a:lnTo>
                  <a:pt x="106" y="150"/>
                </a:lnTo>
                <a:lnTo>
                  <a:pt x="106" y="150"/>
                </a:lnTo>
                <a:lnTo>
                  <a:pt x="106" y="155"/>
                </a:lnTo>
                <a:lnTo>
                  <a:pt x="106" y="155"/>
                </a:lnTo>
                <a:lnTo>
                  <a:pt x="103" y="157"/>
                </a:lnTo>
                <a:lnTo>
                  <a:pt x="103" y="157"/>
                </a:lnTo>
                <a:lnTo>
                  <a:pt x="101" y="162"/>
                </a:lnTo>
                <a:lnTo>
                  <a:pt x="101" y="162"/>
                </a:lnTo>
                <a:lnTo>
                  <a:pt x="101" y="165"/>
                </a:lnTo>
                <a:lnTo>
                  <a:pt x="101" y="165"/>
                </a:lnTo>
                <a:lnTo>
                  <a:pt x="101" y="167"/>
                </a:lnTo>
                <a:lnTo>
                  <a:pt x="101" y="167"/>
                </a:lnTo>
                <a:close/>
                <a:moveTo>
                  <a:pt x="98" y="165"/>
                </a:moveTo>
                <a:lnTo>
                  <a:pt x="98" y="165"/>
                </a:lnTo>
                <a:lnTo>
                  <a:pt x="98" y="160"/>
                </a:lnTo>
                <a:lnTo>
                  <a:pt x="98" y="160"/>
                </a:lnTo>
                <a:lnTo>
                  <a:pt x="101" y="150"/>
                </a:lnTo>
                <a:lnTo>
                  <a:pt x="101" y="150"/>
                </a:lnTo>
                <a:lnTo>
                  <a:pt x="103" y="147"/>
                </a:lnTo>
                <a:lnTo>
                  <a:pt x="103" y="147"/>
                </a:lnTo>
                <a:lnTo>
                  <a:pt x="103" y="145"/>
                </a:lnTo>
                <a:lnTo>
                  <a:pt x="103" y="145"/>
                </a:lnTo>
                <a:lnTo>
                  <a:pt x="101" y="142"/>
                </a:lnTo>
                <a:lnTo>
                  <a:pt x="101" y="142"/>
                </a:lnTo>
                <a:lnTo>
                  <a:pt x="98" y="145"/>
                </a:lnTo>
                <a:lnTo>
                  <a:pt x="98" y="145"/>
                </a:lnTo>
                <a:lnTo>
                  <a:pt x="98" y="142"/>
                </a:lnTo>
                <a:lnTo>
                  <a:pt x="98" y="142"/>
                </a:lnTo>
                <a:lnTo>
                  <a:pt x="96" y="145"/>
                </a:lnTo>
                <a:lnTo>
                  <a:pt x="96" y="145"/>
                </a:lnTo>
                <a:lnTo>
                  <a:pt x="96" y="147"/>
                </a:lnTo>
                <a:lnTo>
                  <a:pt x="96" y="147"/>
                </a:lnTo>
                <a:lnTo>
                  <a:pt x="93" y="150"/>
                </a:lnTo>
                <a:lnTo>
                  <a:pt x="93" y="150"/>
                </a:lnTo>
                <a:lnTo>
                  <a:pt x="93" y="155"/>
                </a:lnTo>
                <a:lnTo>
                  <a:pt x="93" y="155"/>
                </a:lnTo>
                <a:lnTo>
                  <a:pt x="91" y="160"/>
                </a:lnTo>
                <a:lnTo>
                  <a:pt x="91" y="160"/>
                </a:lnTo>
                <a:lnTo>
                  <a:pt x="86" y="160"/>
                </a:lnTo>
                <a:lnTo>
                  <a:pt x="86" y="160"/>
                </a:lnTo>
                <a:lnTo>
                  <a:pt x="86" y="162"/>
                </a:lnTo>
                <a:lnTo>
                  <a:pt x="86" y="162"/>
                </a:lnTo>
                <a:lnTo>
                  <a:pt x="86" y="167"/>
                </a:lnTo>
                <a:lnTo>
                  <a:pt x="86" y="167"/>
                </a:lnTo>
                <a:lnTo>
                  <a:pt x="88" y="167"/>
                </a:lnTo>
                <a:lnTo>
                  <a:pt x="88" y="167"/>
                </a:lnTo>
                <a:lnTo>
                  <a:pt x="91" y="170"/>
                </a:lnTo>
                <a:lnTo>
                  <a:pt x="91" y="170"/>
                </a:lnTo>
                <a:lnTo>
                  <a:pt x="96" y="170"/>
                </a:lnTo>
                <a:lnTo>
                  <a:pt x="96" y="170"/>
                </a:lnTo>
                <a:lnTo>
                  <a:pt x="96" y="172"/>
                </a:lnTo>
                <a:lnTo>
                  <a:pt x="96" y="172"/>
                </a:lnTo>
                <a:lnTo>
                  <a:pt x="98" y="174"/>
                </a:lnTo>
                <a:lnTo>
                  <a:pt x="98" y="174"/>
                </a:lnTo>
                <a:lnTo>
                  <a:pt x="101" y="172"/>
                </a:lnTo>
                <a:lnTo>
                  <a:pt x="101" y="172"/>
                </a:lnTo>
                <a:lnTo>
                  <a:pt x="101" y="170"/>
                </a:lnTo>
                <a:lnTo>
                  <a:pt x="101" y="170"/>
                </a:lnTo>
                <a:lnTo>
                  <a:pt x="98" y="165"/>
                </a:lnTo>
                <a:lnTo>
                  <a:pt x="98" y="165"/>
                </a:lnTo>
                <a:close/>
                <a:moveTo>
                  <a:pt x="106" y="170"/>
                </a:moveTo>
                <a:lnTo>
                  <a:pt x="106" y="170"/>
                </a:lnTo>
                <a:lnTo>
                  <a:pt x="108" y="172"/>
                </a:lnTo>
                <a:lnTo>
                  <a:pt x="108" y="172"/>
                </a:lnTo>
                <a:lnTo>
                  <a:pt x="108" y="174"/>
                </a:lnTo>
                <a:lnTo>
                  <a:pt x="108" y="174"/>
                </a:lnTo>
                <a:lnTo>
                  <a:pt x="106" y="174"/>
                </a:lnTo>
                <a:lnTo>
                  <a:pt x="106" y="174"/>
                </a:lnTo>
                <a:lnTo>
                  <a:pt x="103" y="172"/>
                </a:lnTo>
                <a:lnTo>
                  <a:pt x="103" y="172"/>
                </a:lnTo>
                <a:lnTo>
                  <a:pt x="103" y="172"/>
                </a:lnTo>
                <a:lnTo>
                  <a:pt x="106" y="170"/>
                </a:lnTo>
                <a:lnTo>
                  <a:pt x="106" y="170"/>
                </a:lnTo>
                <a:close/>
                <a:moveTo>
                  <a:pt x="115" y="157"/>
                </a:moveTo>
                <a:lnTo>
                  <a:pt x="115" y="157"/>
                </a:lnTo>
                <a:lnTo>
                  <a:pt x="118" y="157"/>
                </a:lnTo>
                <a:lnTo>
                  <a:pt x="118" y="157"/>
                </a:lnTo>
                <a:lnTo>
                  <a:pt x="120" y="157"/>
                </a:lnTo>
                <a:lnTo>
                  <a:pt x="120" y="157"/>
                </a:lnTo>
                <a:lnTo>
                  <a:pt x="120" y="162"/>
                </a:lnTo>
                <a:lnTo>
                  <a:pt x="120" y="162"/>
                </a:lnTo>
                <a:lnTo>
                  <a:pt x="118" y="162"/>
                </a:lnTo>
                <a:lnTo>
                  <a:pt x="118" y="162"/>
                </a:lnTo>
                <a:lnTo>
                  <a:pt x="113" y="165"/>
                </a:lnTo>
                <a:lnTo>
                  <a:pt x="113" y="165"/>
                </a:lnTo>
                <a:lnTo>
                  <a:pt x="110" y="165"/>
                </a:lnTo>
                <a:lnTo>
                  <a:pt x="110" y="165"/>
                </a:lnTo>
                <a:lnTo>
                  <a:pt x="110" y="165"/>
                </a:lnTo>
                <a:lnTo>
                  <a:pt x="108" y="162"/>
                </a:lnTo>
                <a:lnTo>
                  <a:pt x="108" y="162"/>
                </a:lnTo>
                <a:lnTo>
                  <a:pt x="110" y="160"/>
                </a:lnTo>
                <a:lnTo>
                  <a:pt x="110" y="160"/>
                </a:lnTo>
                <a:lnTo>
                  <a:pt x="115" y="157"/>
                </a:lnTo>
                <a:lnTo>
                  <a:pt x="115" y="157"/>
                </a:lnTo>
                <a:close/>
                <a:moveTo>
                  <a:pt x="130" y="157"/>
                </a:moveTo>
                <a:lnTo>
                  <a:pt x="130" y="157"/>
                </a:lnTo>
                <a:lnTo>
                  <a:pt x="130" y="160"/>
                </a:lnTo>
                <a:lnTo>
                  <a:pt x="130" y="160"/>
                </a:lnTo>
                <a:lnTo>
                  <a:pt x="130" y="162"/>
                </a:lnTo>
                <a:lnTo>
                  <a:pt x="130" y="162"/>
                </a:lnTo>
                <a:lnTo>
                  <a:pt x="130" y="160"/>
                </a:lnTo>
                <a:lnTo>
                  <a:pt x="130" y="160"/>
                </a:lnTo>
                <a:lnTo>
                  <a:pt x="130" y="157"/>
                </a:lnTo>
                <a:lnTo>
                  <a:pt x="130" y="157"/>
                </a:lnTo>
                <a:close/>
                <a:moveTo>
                  <a:pt x="120" y="170"/>
                </a:moveTo>
                <a:lnTo>
                  <a:pt x="120" y="170"/>
                </a:lnTo>
                <a:lnTo>
                  <a:pt x="123" y="172"/>
                </a:lnTo>
                <a:lnTo>
                  <a:pt x="123" y="172"/>
                </a:lnTo>
                <a:lnTo>
                  <a:pt x="123" y="174"/>
                </a:lnTo>
                <a:lnTo>
                  <a:pt x="123" y="174"/>
                </a:lnTo>
                <a:lnTo>
                  <a:pt x="120" y="172"/>
                </a:lnTo>
                <a:lnTo>
                  <a:pt x="120" y="172"/>
                </a:lnTo>
                <a:lnTo>
                  <a:pt x="120" y="170"/>
                </a:lnTo>
                <a:lnTo>
                  <a:pt x="120" y="170"/>
                </a:lnTo>
                <a:lnTo>
                  <a:pt x="120" y="170"/>
                </a:lnTo>
                <a:close/>
                <a:moveTo>
                  <a:pt x="118" y="133"/>
                </a:moveTo>
                <a:lnTo>
                  <a:pt x="118" y="133"/>
                </a:lnTo>
                <a:lnTo>
                  <a:pt x="118" y="135"/>
                </a:lnTo>
                <a:lnTo>
                  <a:pt x="118" y="135"/>
                </a:lnTo>
                <a:lnTo>
                  <a:pt x="115" y="135"/>
                </a:lnTo>
                <a:lnTo>
                  <a:pt x="115" y="135"/>
                </a:lnTo>
                <a:lnTo>
                  <a:pt x="113" y="135"/>
                </a:lnTo>
                <a:lnTo>
                  <a:pt x="113" y="135"/>
                </a:lnTo>
                <a:lnTo>
                  <a:pt x="115" y="133"/>
                </a:lnTo>
                <a:lnTo>
                  <a:pt x="115" y="133"/>
                </a:lnTo>
                <a:lnTo>
                  <a:pt x="118" y="133"/>
                </a:lnTo>
                <a:lnTo>
                  <a:pt x="118" y="133"/>
                </a:lnTo>
                <a:close/>
                <a:moveTo>
                  <a:pt x="125" y="138"/>
                </a:moveTo>
                <a:lnTo>
                  <a:pt x="125" y="138"/>
                </a:lnTo>
                <a:lnTo>
                  <a:pt x="128" y="138"/>
                </a:lnTo>
                <a:lnTo>
                  <a:pt x="128" y="138"/>
                </a:lnTo>
                <a:lnTo>
                  <a:pt x="128" y="140"/>
                </a:lnTo>
                <a:lnTo>
                  <a:pt x="128" y="140"/>
                </a:lnTo>
                <a:lnTo>
                  <a:pt x="133" y="140"/>
                </a:lnTo>
                <a:lnTo>
                  <a:pt x="133" y="140"/>
                </a:lnTo>
                <a:lnTo>
                  <a:pt x="135" y="140"/>
                </a:lnTo>
                <a:lnTo>
                  <a:pt x="135" y="140"/>
                </a:lnTo>
                <a:lnTo>
                  <a:pt x="135" y="140"/>
                </a:lnTo>
                <a:lnTo>
                  <a:pt x="138" y="140"/>
                </a:lnTo>
                <a:lnTo>
                  <a:pt x="138" y="140"/>
                </a:lnTo>
                <a:lnTo>
                  <a:pt x="135" y="140"/>
                </a:lnTo>
                <a:lnTo>
                  <a:pt x="135" y="140"/>
                </a:lnTo>
                <a:lnTo>
                  <a:pt x="135" y="135"/>
                </a:lnTo>
                <a:lnTo>
                  <a:pt x="135" y="135"/>
                </a:lnTo>
                <a:lnTo>
                  <a:pt x="133" y="135"/>
                </a:lnTo>
                <a:lnTo>
                  <a:pt x="133" y="135"/>
                </a:lnTo>
                <a:lnTo>
                  <a:pt x="133" y="130"/>
                </a:lnTo>
                <a:lnTo>
                  <a:pt x="133" y="130"/>
                </a:lnTo>
                <a:lnTo>
                  <a:pt x="133" y="125"/>
                </a:lnTo>
                <a:lnTo>
                  <a:pt x="133" y="125"/>
                </a:lnTo>
                <a:lnTo>
                  <a:pt x="133" y="123"/>
                </a:lnTo>
                <a:lnTo>
                  <a:pt x="133" y="123"/>
                </a:lnTo>
                <a:lnTo>
                  <a:pt x="130" y="123"/>
                </a:lnTo>
                <a:lnTo>
                  <a:pt x="130" y="123"/>
                </a:lnTo>
                <a:lnTo>
                  <a:pt x="128" y="118"/>
                </a:lnTo>
                <a:lnTo>
                  <a:pt x="128" y="118"/>
                </a:lnTo>
                <a:lnTo>
                  <a:pt x="128" y="115"/>
                </a:lnTo>
                <a:lnTo>
                  <a:pt x="128" y="115"/>
                </a:lnTo>
                <a:lnTo>
                  <a:pt x="125" y="115"/>
                </a:lnTo>
                <a:lnTo>
                  <a:pt x="125" y="115"/>
                </a:lnTo>
                <a:lnTo>
                  <a:pt x="125" y="115"/>
                </a:lnTo>
                <a:lnTo>
                  <a:pt x="123" y="115"/>
                </a:lnTo>
                <a:lnTo>
                  <a:pt x="123" y="115"/>
                </a:lnTo>
                <a:lnTo>
                  <a:pt x="120" y="115"/>
                </a:lnTo>
                <a:lnTo>
                  <a:pt x="120" y="115"/>
                </a:lnTo>
                <a:lnTo>
                  <a:pt x="120" y="118"/>
                </a:lnTo>
                <a:lnTo>
                  <a:pt x="120" y="118"/>
                </a:lnTo>
                <a:lnTo>
                  <a:pt x="118" y="118"/>
                </a:lnTo>
                <a:lnTo>
                  <a:pt x="118" y="118"/>
                </a:lnTo>
                <a:lnTo>
                  <a:pt x="115" y="118"/>
                </a:lnTo>
                <a:lnTo>
                  <a:pt x="115" y="118"/>
                </a:lnTo>
                <a:lnTo>
                  <a:pt x="113" y="115"/>
                </a:lnTo>
                <a:lnTo>
                  <a:pt x="113" y="115"/>
                </a:lnTo>
                <a:lnTo>
                  <a:pt x="113" y="118"/>
                </a:lnTo>
                <a:lnTo>
                  <a:pt x="113" y="118"/>
                </a:lnTo>
                <a:lnTo>
                  <a:pt x="115" y="123"/>
                </a:lnTo>
                <a:lnTo>
                  <a:pt x="115" y="123"/>
                </a:lnTo>
                <a:lnTo>
                  <a:pt x="120" y="125"/>
                </a:lnTo>
                <a:lnTo>
                  <a:pt x="120" y="125"/>
                </a:lnTo>
                <a:lnTo>
                  <a:pt x="123" y="130"/>
                </a:lnTo>
                <a:lnTo>
                  <a:pt x="123" y="130"/>
                </a:lnTo>
                <a:lnTo>
                  <a:pt x="125" y="133"/>
                </a:lnTo>
                <a:lnTo>
                  <a:pt x="125" y="133"/>
                </a:lnTo>
                <a:lnTo>
                  <a:pt x="125" y="133"/>
                </a:lnTo>
                <a:lnTo>
                  <a:pt x="123" y="135"/>
                </a:lnTo>
                <a:lnTo>
                  <a:pt x="123" y="135"/>
                </a:lnTo>
                <a:lnTo>
                  <a:pt x="123" y="135"/>
                </a:lnTo>
                <a:lnTo>
                  <a:pt x="123" y="135"/>
                </a:lnTo>
                <a:lnTo>
                  <a:pt x="125" y="135"/>
                </a:lnTo>
                <a:lnTo>
                  <a:pt x="125" y="135"/>
                </a:lnTo>
                <a:lnTo>
                  <a:pt x="125" y="138"/>
                </a:lnTo>
                <a:lnTo>
                  <a:pt x="125" y="138"/>
                </a:lnTo>
                <a:close/>
                <a:moveTo>
                  <a:pt x="123" y="138"/>
                </a:moveTo>
                <a:lnTo>
                  <a:pt x="123" y="138"/>
                </a:lnTo>
                <a:lnTo>
                  <a:pt x="120" y="138"/>
                </a:lnTo>
                <a:lnTo>
                  <a:pt x="120" y="138"/>
                </a:lnTo>
                <a:lnTo>
                  <a:pt x="118" y="138"/>
                </a:lnTo>
                <a:lnTo>
                  <a:pt x="118" y="138"/>
                </a:lnTo>
                <a:lnTo>
                  <a:pt x="115" y="138"/>
                </a:lnTo>
                <a:lnTo>
                  <a:pt x="115" y="138"/>
                </a:lnTo>
                <a:lnTo>
                  <a:pt x="115" y="140"/>
                </a:lnTo>
                <a:lnTo>
                  <a:pt x="115" y="140"/>
                </a:lnTo>
                <a:lnTo>
                  <a:pt x="115" y="142"/>
                </a:lnTo>
                <a:lnTo>
                  <a:pt x="115" y="142"/>
                </a:lnTo>
                <a:lnTo>
                  <a:pt x="118" y="145"/>
                </a:lnTo>
                <a:lnTo>
                  <a:pt x="118" y="145"/>
                </a:lnTo>
                <a:lnTo>
                  <a:pt x="120" y="142"/>
                </a:lnTo>
                <a:lnTo>
                  <a:pt x="120" y="142"/>
                </a:lnTo>
                <a:lnTo>
                  <a:pt x="120" y="145"/>
                </a:lnTo>
                <a:lnTo>
                  <a:pt x="120" y="145"/>
                </a:lnTo>
                <a:lnTo>
                  <a:pt x="120" y="150"/>
                </a:lnTo>
                <a:lnTo>
                  <a:pt x="120" y="150"/>
                </a:lnTo>
                <a:lnTo>
                  <a:pt x="123" y="152"/>
                </a:lnTo>
                <a:lnTo>
                  <a:pt x="123" y="152"/>
                </a:lnTo>
                <a:lnTo>
                  <a:pt x="123" y="157"/>
                </a:lnTo>
                <a:lnTo>
                  <a:pt x="123" y="157"/>
                </a:lnTo>
                <a:lnTo>
                  <a:pt x="125" y="157"/>
                </a:lnTo>
                <a:lnTo>
                  <a:pt x="125" y="157"/>
                </a:lnTo>
                <a:lnTo>
                  <a:pt x="125" y="155"/>
                </a:lnTo>
                <a:lnTo>
                  <a:pt x="125" y="155"/>
                </a:lnTo>
                <a:lnTo>
                  <a:pt x="128" y="157"/>
                </a:lnTo>
                <a:lnTo>
                  <a:pt x="128" y="157"/>
                </a:lnTo>
                <a:lnTo>
                  <a:pt x="130" y="155"/>
                </a:lnTo>
                <a:lnTo>
                  <a:pt x="130" y="155"/>
                </a:lnTo>
                <a:lnTo>
                  <a:pt x="130" y="152"/>
                </a:lnTo>
                <a:lnTo>
                  <a:pt x="130" y="152"/>
                </a:lnTo>
                <a:lnTo>
                  <a:pt x="128" y="147"/>
                </a:lnTo>
                <a:lnTo>
                  <a:pt x="128" y="147"/>
                </a:lnTo>
                <a:lnTo>
                  <a:pt x="125" y="147"/>
                </a:lnTo>
                <a:lnTo>
                  <a:pt x="125" y="147"/>
                </a:lnTo>
                <a:lnTo>
                  <a:pt x="125" y="142"/>
                </a:lnTo>
                <a:lnTo>
                  <a:pt x="125" y="142"/>
                </a:lnTo>
                <a:lnTo>
                  <a:pt x="123" y="138"/>
                </a:lnTo>
                <a:lnTo>
                  <a:pt x="123" y="138"/>
                </a:lnTo>
                <a:lnTo>
                  <a:pt x="123" y="138"/>
                </a:lnTo>
                <a:close/>
                <a:moveTo>
                  <a:pt x="138" y="145"/>
                </a:moveTo>
                <a:lnTo>
                  <a:pt x="138" y="145"/>
                </a:lnTo>
                <a:lnTo>
                  <a:pt x="140" y="145"/>
                </a:lnTo>
                <a:lnTo>
                  <a:pt x="140" y="145"/>
                </a:lnTo>
                <a:lnTo>
                  <a:pt x="138" y="142"/>
                </a:lnTo>
                <a:lnTo>
                  <a:pt x="138" y="142"/>
                </a:lnTo>
                <a:lnTo>
                  <a:pt x="138" y="142"/>
                </a:lnTo>
                <a:lnTo>
                  <a:pt x="138" y="145"/>
                </a:lnTo>
                <a:lnTo>
                  <a:pt x="138" y="145"/>
                </a:lnTo>
                <a:close/>
                <a:moveTo>
                  <a:pt x="138" y="147"/>
                </a:moveTo>
                <a:lnTo>
                  <a:pt x="138" y="147"/>
                </a:lnTo>
                <a:lnTo>
                  <a:pt x="138" y="147"/>
                </a:lnTo>
                <a:lnTo>
                  <a:pt x="138" y="147"/>
                </a:lnTo>
                <a:lnTo>
                  <a:pt x="138" y="150"/>
                </a:lnTo>
                <a:lnTo>
                  <a:pt x="138" y="150"/>
                </a:lnTo>
                <a:lnTo>
                  <a:pt x="138" y="147"/>
                </a:lnTo>
                <a:lnTo>
                  <a:pt x="138" y="147"/>
                </a:lnTo>
                <a:close/>
                <a:moveTo>
                  <a:pt x="138" y="162"/>
                </a:moveTo>
                <a:lnTo>
                  <a:pt x="138" y="162"/>
                </a:lnTo>
                <a:lnTo>
                  <a:pt x="138" y="160"/>
                </a:lnTo>
                <a:lnTo>
                  <a:pt x="138" y="160"/>
                </a:lnTo>
                <a:lnTo>
                  <a:pt x="138" y="157"/>
                </a:lnTo>
                <a:lnTo>
                  <a:pt x="138" y="157"/>
                </a:lnTo>
                <a:lnTo>
                  <a:pt x="138" y="155"/>
                </a:lnTo>
                <a:lnTo>
                  <a:pt x="138" y="155"/>
                </a:lnTo>
                <a:lnTo>
                  <a:pt x="138" y="152"/>
                </a:lnTo>
                <a:lnTo>
                  <a:pt x="138" y="152"/>
                </a:lnTo>
                <a:lnTo>
                  <a:pt x="138" y="152"/>
                </a:lnTo>
                <a:lnTo>
                  <a:pt x="135" y="152"/>
                </a:lnTo>
                <a:lnTo>
                  <a:pt x="135" y="152"/>
                </a:lnTo>
                <a:lnTo>
                  <a:pt x="135" y="155"/>
                </a:lnTo>
                <a:lnTo>
                  <a:pt x="135" y="155"/>
                </a:lnTo>
                <a:lnTo>
                  <a:pt x="138" y="160"/>
                </a:lnTo>
                <a:lnTo>
                  <a:pt x="138" y="160"/>
                </a:lnTo>
                <a:lnTo>
                  <a:pt x="135" y="160"/>
                </a:lnTo>
                <a:lnTo>
                  <a:pt x="135" y="160"/>
                </a:lnTo>
                <a:lnTo>
                  <a:pt x="138" y="162"/>
                </a:lnTo>
                <a:lnTo>
                  <a:pt x="138" y="162"/>
                </a:lnTo>
                <a:lnTo>
                  <a:pt x="138" y="162"/>
                </a:lnTo>
                <a:close/>
                <a:moveTo>
                  <a:pt x="142" y="165"/>
                </a:moveTo>
                <a:lnTo>
                  <a:pt x="142" y="165"/>
                </a:lnTo>
                <a:lnTo>
                  <a:pt x="140" y="165"/>
                </a:lnTo>
                <a:lnTo>
                  <a:pt x="140" y="165"/>
                </a:lnTo>
                <a:lnTo>
                  <a:pt x="142" y="167"/>
                </a:lnTo>
                <a:lnTo>
                  <a:pt x="142" y="167"/>
                </a:lnTo>
                <a:lnTo>
                  <a:pt x="142" y="165"/>
                </a:lnTo>
                <a:lnTo>
                  <a:pt x="142" y="165"/>
                </a:lnTo>
                <a:lnTo>
                  <a:pt x="142" y="165"/>
                </a:lnTo>
                <a:close/>
                <a:moveTo>
                  <a:pt x="142" y="157"/>
                </a:moveTo>
                <a:lnTo>
                  <a:pt x="142" y="157"/>
                </a:lnTo>
                <a:lnTo>
                  <a:pt x="142" y="160"/>
                </a:lnTo>
                <a:lnTo>
                  <a:pt x="142" y="160"/>
                </a:lnTo>
                <a:lnTo>
                  <a:pt x="142" y="162"/>
                </a:lnTo>
                <a:lnTo>
                  <a:pt x="142" y="162"/>
                </a:lnTo>
                <a:lnTo>
                  <a:pt x="145" y="162"/>
                </a:lnTo>
                <a:lnTo>
                  <a:pt x="145" y="162"/>
                </a:lnTo>
                <a:lnTo>
                  <a:pt x="145" y="162"/>
                </a:lnTo>
                <a:lnTo>
                  <a:pt x="145" y="160"/>
                </a:lnTo>
                <a:lnTo>
                  <a:pt x="145" y="160"/>
                </a:lnTo>
                <a:lnTo>
                  <a:pt x="142" y="157"/>
                </a:lnTo>
                <a:lnTo>
                  <a:pt x="142" y="157"/>
                </a:lnTo>
                <a:close/>
                <a:moveTo>
                  <a:pt x="83" y="211"/>
                </a:moveTo>
                <a:lnTo>
                  <a:pt x="83" y="211"/>
                </a:lnTo>
                <a:lnTo>
                  <a:pt x="81" y="206"/>
                </a:lnTo>
                <a:lnTo>
                  <a:pt x="81" y="206"/>
                </a:lnTo>
                <a:lnTo>
                  <a:pt x="81" y="204"/>
                </a:lnTo>
                <a:lnTo>
                  <a:pt x="81" y="204"/>
                </a:lnTo>
                <a:lnTo>
                  <a:pt x="83" y="199"/>
                </a:lnTo>
                <a:lnTo>
                  <a:pt x="83" y="199"/>
                </a:lnTo>
                <a:lnTo>
                  <a:pt x="81" y="197"/>
                </a:lnTo>
                <a:lnTo>
                  <a:pt x="81" y="197"/>
                </a:lnTo>
                <a:lnTo>
                  <a:pt x="86" y="194"/>
                </a:lnTo>
                <a:lnTo>
                  <a:pt x="86" y="194"/>
                </a:lnTo>
                <a:lnTo>
                  <a:pt x="88" y="192"/>
                </a:lnTo>
                <a:lnTo>
                  <a:pt x="88" y="192"/>
                </a:lnTo>
                <a:lnTo>
                  <a:pt x="91" y="189"/>
                </a:lnTo>
                <a:lnTo>
                  <a:pt x="91" y="189"/>
                </a:lnTo>
                <a:lnTo>
                  <a:pt x="93" y="192"/>
                </a:lnTo>
                <a:lnTo>
                  <a:pt x="93" y="192"/>
                </a:lnTo>
                <a:lnTo>
                  <a:pt x="98" y="189"/>
                </a:lnTo>
                <a:lnTo>
                  <a:pt x="98" y="189"/>
                </a:lnTo>
                <a:lnTo>
                  <a:pt x="96" y="187"/>
                </a:lnTo>
                <a:lnTo>
                  <a:pt x="96" y="187"/>
                </a:lnTo>
                <a:lnTo>
                  <a:pt x="98" y="184"/>
                </a:lnTo>
                <a:lnTo>
                  <a:pt x="98" y="184"/>
                </a:lnTo>
                <a:lnTo>
                  <a:pt x="101" y="182"/>
                </a:lnTo>
                <a:lnTo>
                  <a:pt x="101" y="182"/>
                </a:lnTo>
                <a:lnTo>
                  <a:pt x="103" y="179"/>
                </a:lnTo>
                <a:lnTo>
                  <a:pt x="103" y="179"/>
                </a:lnTo>
                <a:lnTo>
                  <a:pt x="106" y="179"/>
                </a:lnTo>
                <a:lnTo>
                  <a:pt x="106" y="179"/>
                </a:lnTo>
                <a:lnTo>
                  <a:pt x="110" y="184"/>
                </a:lnTo>
                <a:lnTo>
                  <a:pt x="110" y="184"/>
                </a:lnTo>
                <a:lnTo>
                  <a:pt x="110" y="189"/>
                </a:lnTo>
                <a:lnTo>
                  <a:pt x="110" y="189"/>
                </a:lnTo>
                <a:lnTo>
                  <a:pt x="106" y="194"/>
                </a:lnTo>
                <a:lnTo>
                  <a:pt x="106" y="194"/>
                </a:lnTo>
                <a:lnTo>
                  <a:pt x="108" y="192"/>
                </a:lnTo>
                <a:lnTo>
                  <a:pt x="108" y="192"/>
                </a:lnTo>
                <a:lnTo>
                  <a:pt x="113" y="189"/>
                </a:lnTo>
                <a:lnTo>
                  <a:pt x="113" y="189"/>
                </a:lnTo>
                <a:lnTo>
                  <a:pt x="115" y="189"/>
                </a:lnTo>
                <a:lnTo>
                  <a:pt x="115" y="189"/>
                </a:lnTo>
                <a:lnTo>
                  <a:pt x="118" y="182"/>
                </a:lnTo>
                <a:lnTo>
                  <a:pt x="118" y="182"/>
                </a:lnTo>
                <a:lnTo>
                  <a:pt x="120" y="182"/>
                </a:lnTo>
                <a:lnTo>
                  <a:pt x="120" y="182"/>
                </a:lnTo>
                <a:lnTo>
                  <a:pt x="123" y="184"/>
                </a:lnTo>
                <a:lnTo>
                  <a:pt x="123" y="184"/>
                </a:lnTo>
                <a:lnTo>
                  <a:pt x="123" y="184"/>
                </a:lnTo>
                <a:lnTo>
                  <a:pt x="125" y="182"/>
                </a:lnTo>
                <a:lnTo>
                  <a:pt x="125" y="182"/>
                </a:lnTo>
                <a:lnTo>
                  <a:pt x="123" y="182"/>
                </a:lnTo>
                <a:lnTo>
                  <a:pt x="123" y="182"/>
                </a:lnTo>
                <a:lnTo>
                  <a:pt x="125" y="174"/>
                </a:lnTo>
                <a:lnTo>
                  <a:pt x="125" y="174"/>
                </a:lnTo>
                <a:lnTo>
                  <a:pt x="128" y="177"/>
                </a:lnTo>
                <a:lnTo>
                  <a:pt x="128" y="177"/>
                </a:lnTo>
                <a:lnTo>
                  <a:pt x="130" y="177"/>
                </a:lnTo>
                <a:lnTo>
                  <a:pt x="130" y="177"/>
                </a:lnTo>
                <a:lnTo>
                  <a:pt x="130" y="177"/>
                </a:lnTo>
                <a:lnTo>
                  <a:pt x="130" y="172"/>
                </a:lnTo>
                <a:lnTo>
                  <a:pt x="130" y="172"/>
                </a:lnTo>
                <a:lnTo>
                  <a:pt x="133" y="172"/>
                </a:lnTo>
                <a:lnTo>
                  <a:pt x="133" y="172"/>
                </a:lnTo>
                <a:lnTo>
                  <a:pt x="135" y="174"/>
                </a:lnTo>
                <a:lnTo>
                  <a:pt x="135" y="174"/>
                </a:lnTo>
                <a:lnTo>
                  <a:pt x="135" y="172"/>
                </a:lnTo>
                <a:lnTo>
                  <a:pt x="135" y="172"/>
                </a:lnTo>
                <a:lnTo>
                  <a:pt x="133" y="167"/>
                </a:lnTo>
                <a:lnTo>
                  <a:pt x="133" y="167"/>
                </a:lnTo>
                <a:lnTo>
                  <a:pt x="133" y="162"/>
                </a:lnTo>
                <a:lnTo>
                  <a:pt x="133" y="162"/>
                </a:lnTo>
                <a:lnTo>
                  <a:pt x="135" y="162"/>
                </a:lnTo>
                <a:lnTo>
                  <a:pt x="135" y="162"/>
                </a:lnTo>
                <a:lnTo>
                  <a:pt x="138" y="162"/>
                </a:lnTo>
                <a:lnTo>
                  <a:pt x="138" y="162"/>
                </a:lnTo>
                <a:lnTo>
                  <a:pt x="138" y="165"/>
                </a:lnTo>
                <a:lnTo>
                  <a:pt x="138" y="165"/>
                </a:lnTo>
                <a:lnTo>
                  <a:pt x="142" y="170"/>
                </a:lnTo>
                <a:lnTo>
                  <a:pt x="142" y="170"/>
                </a:lnTo>
                <a:lnTo>
                  <a:pt x="145" y="172"/>
                </a:lnTo>
                <a:lnTo>
                  <a:pt x="145" y="172"/>
                </a:lnTo>
                <a:lnTo>
                  <a:pt x="147" y="170"/>
                </a:lnTo>
                <a:lnTo>
                  <a:pt x="147" y="170"/>
                </a:lnTo>
                <a:lnTo>
                  <a:pt x="147" y="172"/>
                </a:lnTo>
                <a:lnTo>
                  <a:pt x="147" y="172"/>
                </a:lnTo>
                <a:lnTo>
                  <a:pt x="147" y="177"/>
                </a:lnTo>
                <a:lnTo>
                  <a:pt x="147" y="177"/>
                </a:lnTo>
                <a:lnTo>
                  <a:pt x="147" y="179"/>
                </a:lnTo>
                <a:lnTo>
                  <a:pt x="147" y="179"/>
                </a:lnTo>
                <a:lnTo>
                  <a:pt x="147" y="179"/>
                </a:lnTo>
                <a:lnTo>
                  <a:pt x="145" y="182"/>
                </a:lnTo>
                <a:lnTo>
                  <a:pt x="145" y="182"/>
                </a:lnTo>
                <a:lnTo>
                  <a:pt x="147" y="184"/>
                </a:lnTo>
                <a:lnTo>
                  <a:pt x="147" y="184"/>
                </a:lnTo>
                <a:lnTo>
                  <a:pt x="150" y="184"/>
                </a:lnTo>
                <a:lnTo>
                  <a:pt x="150" y="184"/>
                </a:lnTo>
                <a:lnTo>
                  <a:pt x="147" y="184"/>
                </a:lnTo>
                <a:lnTo>
                  <a:pt x="147" y="184"/>
                </a:lnTo>
                <a:lnTo>
                  <a:pt x="150" y="189"/>
                </a:lnTo>
                <a:lnTo>
                  <a:pt x="150" y="189"/>
                </a:lnTo>
                <a:lnTo>
                  <a:pt x="150" y="187"/>
                </a:lnTo>
                <a:lnTo>
                  <a:pt x="150" y="187"/>
                </a:lnTo>
                <a:lnTo>
                  <a:pt x="150" y="192"/>
                </a:lnTo>
                <a:lnTo>
                  <a:pt x="150" y="192"/>
                </a:lnTo>
                <a:lnTo>
                  <a:pt x="150" y="194"/>
                </a:lnTo>
                <a:lnTo>
                  <a:pt x="150" y="194"/>
                </a:lnTo>
                <a:lnTo>
                  <a:pt x="152" y="197"/>
                </a:lnTo>
                <a:lnTo>
                  <a:pt x="152" y="197"/>
                </a:lnTo>
                <a:lnTo>
                  <a:pt x="155" y="199"/>
                </a:lnTo>
                <a:lnTo>
                  <a:pt x="155" y="199"/>
                </a:lnTo>
                <a:lnTo>
                  <a:pt x="155" y="204"/>
                </a:lnTo>
                <a:lnTo>
                  <a:pt x="155" y="204"/>
                </a:lnTo>
                <a:lnTo>
                  <a:pt x="152" y="209"/>
                </a:lnTo>
                <a:lnTo>
                  <a:pt x="152" y="209"/>
                </a:lnTo>
                <a:lnTo>
                  <a:pt x="152" y="209"/>
                </a:lnTo>
                <a:lnTo>
                  <a:pt x="152" y="211"/>
                </a:lnTo>
                <a:lnTo>
                  <a:pt x="152" y="211"/>
                </a:lnTo>
                <a:lnTo>
                  <a:pt x="150" y="209"/>
                </a:lnTo>
                <a:lnTo>
                  <a:pt x="150" y="209"/>
                </a:lnTo>
                <a:lnTo>
                  <a:pt x="150" y="209"/>
                </a:lnTo>
                <a:lnTo>
                  <a:pt x="147" y="211"/>
                </a:lnTo>
                <a:lnTo>
                  <a:pt x="147" y="211"/>
                </a:lnTo>
                <a:lnTo>
                  <a:pt x="150" y="216"/>
                </a:lnTo>
                <a:lnTo>
                  <a:pt x="150" y="216"/>
                </a:lnTo>
                <a:lnTo>
                  <a:pt x="150" y="219"/>
                </a:lnTo>
                <a:lnTo>
                  <a:pt x="150" y="219"/>
                </a:lnTo>
                <a:lnTo>
                  <a:pt x="150" y="221"/>
                </a:lnTo>
                <a:lnTo>
                  <a:pt x="150" y="221"/>
                </a:lnTo>
                <a:lnTo>
                  <a:pt x="147" y="219"/>
                </a:lnTo>
                <a:lnTo>
                  <a:pt x="147" y="219"/>
                </a:lnTo>
                <a:lnTo>
                  <a:pt x="147" y="214"/>
                </a:lnTo>
                <a:lnTo>
                  <a:pt x="147" y="214"/>
                </a:lnTo>
                <a:lnTo>
                  <a:pt x="147" y="211"/>
                </a:lnTo>
                <a:lnTo>
                  <a:pt x="147" y="211"/>
                </a:lnTo>
                <a:lnTo>
                  <a:pt x="145" y="209"/>
                </a:lnTo>
                <a:lnTo>
                  <a:pt x="145" y="209"/>
                </a:lnTo>
                <a:lnTo>
                  <a:pt x="145" y="206"/>
                </a:lnTo>
                <a:lnTo>
                  <a:pt x="145" y="206"/>
                </a:lnTo>
                <a:lnTo>
                  <a:pt x="142" y="204"/>
                </a:lnTo>
                <a:lnTo>
                  <a:pt x="142" y="204"/>
                </a:lnTo>
                <a:lnTo>
                  <a:pt x="140" y="204"/>
                </a:lnTo>
                <a:lnTo>
                  <a:pt x="140" y="204"/>
                </a:lnTo>
                <a:lnTo>
                  <a:pt x="135" y="211"/>
                </a:lnTo>
                <a:lnTo>
                  <a:pt x="135" y="211"/>
                </a:lnTo>
                <a:lnTo>
                  <a:pt x="135" y="214"/>
                </a:lnTo>
                <a:lnTo>
                  <a:pt x="135" y="214"/>
                </a:lnTo>
                <a:lnTo>
                  <a:pt x="138" y="216"/>
                </a:lnTo>
                <a:lnTo>
                  <a:pt x="138" y="216"/>
                </a:lnTo>
                <a:lnTo>
                  <a:pt x="140" y="219"/>
                </a:lnTo>
                <a:lnTo>
                  <a:pt x="140" y="219"/>
                </a:lnTo>
                <a:lnTo>
                  <a:pt x="142" y="221"/>
                </a:lnTo>
                <a:lnTo>
                  <a:pt x="142" y="221"/>
                </a:lnTo>
                <a:lnTo>
                  <a:pt x="142" y="224"/>
                </a:lnTo>
                <a:lnTo>
                  <a:pt x="142" y="224"/>
                </a:lnTo>
                <a:lnTo>
                  <a:pt x="138" y="231"/>
                </a:lnTo>
                <a:lnTo>
                  <a:pt x="138" y="231"/>
                </a:lnTo>
                <a:lnTo>
                  <a:pt x="135" y="231"/>
                </a:lnTo>
                <a:lnTo>
                  <a:pt x="135" y="231"/>
                </a:lnTo>
                <a:lnTo>
                  <a:pt x="135" y="231"/>
                </a:lnTo>
                <a:lnTo>
                  <a:pt x="133" y="229"/>
                </a:lnTo>
                <a:lnTo>
                  <a:pt x="133" y="229"/>
                </a:lnTo>
                <a:lnTo>
                  <a:pt x="135" y="226"/>
                </a:lnTo>
                <a:lnTo>
                  <a:pt x="135" y="226"/>
                </a:lnTo>
                <a:lnTo>
                  <a:pt x="133" y="224"/>
                </a:lnTo>
                <a:lnTo>
                  <a:pt x="133" y="224"/>
                </a:lnTo>
                <a:lnTo>
                  <a:pt x="133" y="226"/>
                </a:lnTo>
                <a:lnTo>
                  <a:pt x="133" y="226"/>
                </a:lnTo>
                <a:lnTo>
                  <a:pt x="130" y="226"/>
                </a:lnTo>
                <a:lnTo>
                  <a:pt x="130" y="226"/>
                </a:lnTo>
                <a:lnTo>
                  <a:pt x="128" y="229"/>
                </a:lnTo>
                <a:lnTo>
                  <a:pt x="128" y="229"/>
                </a:lnTo>
                <a:lnTo>
                  <a:pt x="125" y="226"/>
                </a:lnTo>
                <a:lnTo>
                  <a:pt x="125" y="226"/>
                </a:lnTo>
                <a:lnTo>
                  <a:pt x="123" y="224"/>
                </a:lnTo>
                <a:lnTo>
                  <a:pt x="123" y="224"/>
                </a:lnTo>
                <a:lnTo>
                  <a:pt x="120" y="224"/>
                </a:lnTo>
                <a:lnTo>
                  <a:pt x="120" y="224"/>
                </a:lnTo>
                <a:lnTo>
                  <a:pt x="115" y="221"/>
                </a:lnTo>
                <a:lnTo>
                  <a:pt x="115" y="221"/>
                </a:lnTo>
                <a:lnTo>
                  <a:pt x="115" y="219"/>
                </a:lnTo>
                <a:lnTo>
                  <a:pt x="115" y="219"/>
                </a:lnTo>
                <a:lnTo>
                  <a:pt x="113" y="216"/>
                </a:lnTo>
                <a:lnTo>
                  <a:pt x="113" y="216"/>
                </a:lnTo>
                <a:lnTo>
                  <a:pt x="115" y="214"/>
                </a:lnTo>
                <a:lnTo>
                  <a:pt x="115" y="214"/>
                </a:lnTo>
                <a:lnTo>
                  <a:pt x="113" y="211"/>
                </a:lnTo>
                <a:lnTo>
                  <a:pt x="113" y="211"/>
                </a:lnTo>
                <a:lnTo>
                  <a:pt x="113" y="209"/>
                </a:lnTo>
                <a:lnTo>
                  <a:pt x="113" y="209"/>
                </a:lnTo>
                <a:lnTo>
                  <a:pt x="113" y="209"/>
                </a:lnTo>
                <a:lnTo>
                  <a:pt x="113" y="206"/>
                </a:lnTo>
                <a:lnTo>
                  <a:pt x="113" y="206"/>
                </a:lnTo>
                <a:lnTo>
                  <a:pt x="115" y="206"/>
                </a:lnTo>
                <a:lnTo>
                  <a:pt x="115" y="206"/>
                </a:lnTo>
                <a:lnTo>
                  <a:pt x="118" y="206"/>
                </a:lnTo>
                <a:lnTo>
                  <a:pt x="118" y="206"/>
                </a:lnTo>
                <a:lnTo>
                  <a:pt x="115" y="204"/>
                </a:lnTo>
                <a:lnTo>
                  <a:pt x="115" y="204"/>
                </a:lnTo>
                <a:lnTo>
                  <a:pt x="115" y="202"/>
                </a:lnTo>
                <a:lnTo>
                  <a:pt x="115" y="202"/>
                </a:lnTo>
                <a:lnTo>
                  <a:pt x="110" y="199"/>
                </a:lnTo>
                <a:lnTo>
                  <a:pt x="110" y="199"/>
                </a:lnTo>
                <a:lnTo>
                  <a:pt x="108" y="199"/>
                </a:lnTo>
                <a:lnTo>
                  <a:pt x="108" y="199"/>
                </a:lnTo>
                <a:lnTo>
                  <a:pt x="106" y="197"/>
                </a:lnTo>
                <a:lnTo>
                  <a:pt x="106" y="197"/>
                </a:lnTo>
                <a:lnTo>
                  <a:pt x="106" y="197"/>
                </a:lnTo>
                <a:lnTo>
                  <a:pt x="103" y="197"/>
                </a:lnTo>
                <a:lnTo>
                  <a:pt x="103" y="197"/>
                </a:lnTo>
                <a:lnTo>
                  <a:pt x="103" y="199"/>
                </a:lnTo>
                <a:lnTo>
                  <a:pt x="103" y="199"/>
                </a:lnTo>
                <a:lnTo>
                  <a:pt x="103" y="202"/>
                </a:lnTo>
                <a:lnTo>
                  <a:pt x="103" y="202"/>
                </a:lnTo>
                <a:lnTo>
                  <a:pt x="106" y="204"/>
                </a:lnTo>
                <a:lnTo>
                  <a:pt x="106" y="204"/>
                </a:lnTo>
                <a:lnTo>
                  <a:pt x="103" y="202"/>
                </a:lnTo>
                <a:lnTo>
                  <a:pt x="103" y="202"/>
                </a:lnTo>
                <a:lnTo>
                  <a:pt x="101" y="202"/>
                </a:lnTo>
                <a:lnTo>
                  <a:pt x="101" y="202"/>
                </a:lnTo>
                <a:lnTo>
                  <a:pt x="101" y="202"/>
                </a:lnTo>
                <a:lnTo>
                  <a:pt x="101" y="199"/>
                </a:lnTo>
                <a:lnTo>
                  <a:pt x="101" y="199"/>
                </a:lnTo>
                <a:lnTo>
                  <a:pt x="98" y="199"/>
                </a:lnTo>
                <a:lnTo>
                  <a:pt x="98" y="199"/>
                </a:lnTo>
                <a:lnTo>
                  <a:pt x="98" y="199"/>
                </a:lnTo>
                <a:lnTo>
                  <a:pt x="98" y="202"/>
                </a:lnTo>
                <a:lnTo>
                  <a:pt x="98" y="202"/>
                </a:lnTo>
                <a:lnTo>
                  <a:pt x="96" y="202"/>
                </a:lnTo>
                <a:lnTo>
                  <a:pt x="96" y="202"/>
                </a:lnTo>
                <a:lnTo>
                  <a:pt x="93" y="202"/>
                </a:lnTo>
                <a:lnTo>
                  <a:pt x="93" y="202"/>
                </a:lnTo>
                <a:lnTo>
                  <a:pt x="93" y="202"/>
                </a:lnTo>
                <a:lnTo>
                  <a:pt x="93" y="199"/>
                </a:lnTo>
                <a:lnTo>
                  <a:pt x="93" y="199"/>
                </a:lnTo>
                <a:lnTo>
                  <a:pt x="91" y="197"/>
                </a:lnTo>
                <a:lnTo>
                  <a:pt x="91" y="197"/>
                </a:lnTo>
                <a:lnTo>
                  <a:pt x="91" y="197"/>
                </a:lnTo>
                <a:lnTo>
                  <a:pt x="88" y="202"/>
                </a:lnTo>
                <a:lnTo>
                  <a:pt x="88" y="202"/>
                </a:lnTo>
                <a:lnTo>
                  <a:pt x="86" y="202"/>
                </a:lnTo>
                <a:lnTo>
                  <a:pt x="86" y="202"/>
                </a:lnTo>
                <a:lnTo>
                  <a:pt x="83" y="209"/>
                </a:lnTo>
                <a:lnTo>
                  <a:pt x="83" y="209"/>
                </a:lnTo>
                <a:lnTo>
                  <a:pt x="83" y="211"/>
                </a:lnTo>
                <a:lnTo>
                  <a:pt x="83" y="211"/>
                </a:lnTo>
                <a:close/>
                <a:moveTo>
                  <a:pt x="78" y="214"/>
                </a:moveTo>
                <a:lnTo>
                  <a:pt x="78" y="214"/>
                </a:lnTo>
                <a:lnTo>
                  <a:pt x="78" y="216"/>
                </a:lnTo>
                <a:lnTo>
                  <a:pt x="78" y="216"/>
                </a:lnTo>
                <a:lnTo>
                  <a:pt x="81" y="219"/>
                </a:lnTo>
                <a:lnTo>
                  <a:pt x="81" y="219"/>
                </a:lnTo>
                <a:lnTo>
                  <a:pt x="83" y="219"/>
                </a:lnTo>
                <a:lnTo>
                  <a:pt x="83" y="219"/>
                </a:lnTo>
                <a:lnTo>
                  <a:pt x="86" y="216"/>
                </a:lnTo>
                <a:lnTo>
                  <a:pt x="86" y="216"/>
                </a:lnTo>
                <a:lnTo>
                  <a:pt x="86" y="214"/>
                </a:lnTo>
                <a:lnTo>
                  <a:pt x="86" y="214"/>
                </a:lnTo>
                <a:lnTo>
                  <a:pt x="86" y="214"/>
                </a:lnTo>
                <a:lnTo>
                  <a:pt x="83" y="214"/>
                </a:lnTo>
                <a:lnTo>
                  <a:pt x="83" y="214"/>
                </a:lnTo>
                <a:lnTo>
                  <a:pt x="81" y="214"/>
                </a:lnTo>
                <a:lnTo>
                  <a:pt x="81" y="214"/>
                </a:lnTo>
                <a:lnTo>
                  <a:pt x="78" y="214"/>
                </a:lnTo>
                <a:lnTo>
                  <a:pt x="78" y="214"/>
                </a:lnTo>
                <a:close/>
                <a:moveTo>
                  <a:pt x="44" y="125"/>
                </a:moveTo>
                <a:lnTo>
                  <a:pt x="44" y="125"/>
                </a:lnTo>
                <a:lnTo>
                  <a:pt x="42" y="123"/>
                </a:lnTo>
                <a:lnTo>
                  <a:pt x="42" y="123"/>
                </a:lnTo>
                <a:lnTo>
                  <a:pt x="42" y="123"/>
                </a:lnTo>
                <a:lnTo>
                  <a:pt x="42" y="120"/>
                </a:lnTo>
                <a:lnTo>
                  <a:pt x="42" y="120"/>
                </a:lnTo>
                <a:lnTo>
                  <a:pt x="44" y="120"/>
                </a:lnTo>
                <a:lnTo>
                  <a:pt x="44" y="120"/>
                </a:lnTo>
                <a:lnTo>
                  <a:pt x="46" y="123"/>
                </a:lnTo>
                <a:lnTo>
                  <a:pt x="46" y="123"/>
                </a:lnTo>
                <a:lnTo>
                  <a:pt x="49" y="123"/>
                </a:lnTo>
                <a:lnTo>
                  <a:pt x="49" y="123"/>
                </a:lnTo>
                <a:lnTo>
                  <a:pt x="49" y="125"/>
                </a:lnTo>
                <a:lnTo>
                  <a:pt x="49" y="125"/>
                </a:lnTo>
                <a:lnTo>
                  <a:pt x="49" y="128"/>
                </a:lnTo>
                <a:lnTo>
                  <a:pt x="49" y="128"/>
                </a:lnTo>
                <a:lnTo>
                  <a:pt x="46" y="125"/>
                </a:lnTo>
                <a:lnTo>
                  <a:pt x="46" y="125"/>
                </a:lnTo>
                <a:lnTo>
                  <a:pt x="44" y="125"/>
                </a:lnTo>
                <a:lnTo>
                  <a:pt x="44" y="125"/>
                </a:lnTo>
                <a:close/>
                <a:moveTo>
                  <a:pt x="42" y="128"/>
                </a:moveTo>
                <a:lnTo>
                  <a:pt x="42" y="128"/>
                </a:lnTo>
                <a:lnTo>
                  <a:pt x="44" y="128"/>
                </a:lnTo>
                <a:lnTo>
                  <a:pt x="44" y="128"/>
                </a:lnTo>
                <a:lnTo>
                  <a:pt x="46" y="130"/>
                </a:lnTo>
                <a:lnTo>
                  <a:pt x="46" y="130"/>
                </a:lnTo>
                <a:lnTo>
                  <a:pt x="44" y="130"/>
                </a:lnTo>
                <a:lnTo>
                  <a:pt x="44" y="130"/>
                </a:lnTo>
                <a:lnTo>
                  <a:pt x="44" y="133"/>
                </a:lnTo>
                <a:lnTo>
                  <a:pt x="44" y="133"/>
                </a:lnTo>
                <a:lnTo>
                  <a:pt x="42" y="133"/>
                </a:lnTo>
                <a:lnTo>
                  <a:pt x="42" y="133"/>
                </a:lnTo>
                <a:lnTo>
                  <a:pt x="42" y="128"/>
                </a:lnTo>
                <a:lnTo>
                  <a:pt x="42" y="128"/>
                </a:lnTo>
                <a:lnTo>
                  <a:pt x="42" y="128"/>
                </a:lnTo>
                <a:close/>
                <a:moveTo>
                  <a:pt x="44" y="150"/>
                </a:moveTo>
                <a:lnTo>
                  <a:pt x="44" y="150"/>
                </a:lnTo>
                <a:lnTo>
                  <a:pt x="44" y="150"/>
                </a:lnTo>
                <a:lnTo>
                  <a:pt x="44" y="147"/>
                </a:lnTo>
                <a:lnTo>
                  <a:pt x="44" y="147"/>
                </a:lnTo>
                <a:lnTo>
                  <a:pt x="46" y="150"/>
                </a:lnTo>
                <a:lnTo>
                  <a:pt x="46" y="150"/>
                </a:lnTo>
                <a:lnTo>
                  <a:pt x="46" y="150"/>
                </a:lnTo>
                <a:lnTo>
                  <a:pt x="46" y="152"/>
                </a:lnTo>
                <a:lnTo>
                  <a:pt x="46" y="152"/>
                </a:lnTo>
                <a:lnTo>
                  <a:pt x="44" y="152"/>
                </a:lnTo>
                <a:lnTo>
                  <a:pt x="44" y="152"/>
                </a:lnTo>
                <a:lnTo>
                  <a:pt x="42" y="152"/>
                </a:lnTo>
                <a:lnTo>
                  <a:pt x="42" y="152"/>
                </a:lnTo>
                <a:lnTo>
                  <a:pt x="44" y="150"/>
                </a:lnTo>
                <a:lnTo>
                  <a:pt x="44" y="150"/>
                </a:lnTo>
                <a:close/>
                <a:moveTo>
                  <a:pt x="5" y="184"/>
                </a:moveTo>
                <a:lnTo>
                  <a:pt x="5" y="184"/>
                </a:lnTo>
                <a:lnTo>
                  <a:pt x="10" y="182"/>
                </a:lnTo>
                <a:lnTo>
                  <a:pt x="10" y="182"/>
                </a:lnTo>
                <a:lnTo>
                  <a:pt x="10" y="182"/>
                </a:lnTo>
                <a:lnTo>
                  <a:pt x="12" y="179"/>
                </a:lnTo>
                <a:lnTo>
                  <a:pt x="12" y="179"/>
                </a:lnTo>
                <a:lnTo>
                  <a:pt x="17" y="179"/>
                </a:lnTo>
                <a:lnTo>
                  <a:pt x="17" y="179"/>
                </a:lnTo>
                <a:lnTo>
                  <a:pt x="19" y="174"/>
                </a:lnTo>
                <a:lnTo>
                  <a:pt x="19" y="174"/>
                </a:lnTo>
                <a:lnTo>
                  <a:pt x="22" y="172"/>
                </a:lnTo>
                <a:lnTo>
                  <a:pt x="22" y="172"/>
                </a:lnTo>
                <a:lnTo>
                  <a:pt x="24" y="170"/>
                </a:lnTo>
                <a:lnTo>
                  <a:pt x="24" y="170"/>
                </a:lnTo>
                <a:lnTo>
                  <a:pt x="27" y="170"/>
                </a:lnTo>
                <a:lnTo>
                  <a:pt x="27" y="170"/>
                </a:lnTo>
                <a:lnTo>
                  <a:pt x="27" y="167"/>
                </a:lnTo>
                <a:lnTo>
                  <a:pt x="27" y="167"/>
                </a:lnTo>
                <a:lnTo>
                  <a:pt x="27" y="162"/>
                </a:lnTo>
                <a:lnTo>
                  <a:pt x="27" y="162"/>
                </a:lnTo>
                <a:lnTo>
                  <a:pt x="29" y="160"/>
                </a:lnTo>
                <a:lnTo>
                  <a:pt x="29" y="160"/>
                </a:lnTo>
                <a:lnTo>
                  <a:pt x="34" y="160"/>
                </a:lnTo>
                <a:lnTo>
                  <a:pt x="34" y="160"/>
                </a:lnTo>
                <a:lnTo>
                  <a:pt x="34" y="155"/>
                </a:lnTo>
                <a:lnTo>
                  <a:pt x="34" y="155"/>
                </a:lnTo>
                <a:lnTo>
                  <a:pt x="37" y="152"/>
                </a:lnTo>
                <a:lnTo>
                  <a:pt x="37" y="152"/>
                </a:lnTo>
                <a:lnTo>
                  <a:pt x="39" y="152"/>
                </a:lnTo>
                <a:lnTo>
                  <a:pt x="39" y="152"/>
                </a:lnTo>
                <a:lnTo>
                  <a:pt x="42" y="150"/>
                </a:lnTo>
                <a:lnTo>
                  <a:pt x="42" y="150"/>
                </a:lnTo>
                <a:lnTo>
                  <a:pt x="39" y="147"/>
                </a:lnTo>
                <a:lnTo>
                  <a:pt x="39" y="147"/>
                </a:lnTo>
                <a:lnTo>
                  <a:pt x="37" y="145"/>
                </a:lnTo>
                <a:lnTo>
                  <a:pt x="37" y="145"/>
                </a:lnTo>
                <a:lnTo>
                  <a:pt x="37" y="140"/>
                </a:lnTo>
                <a:lnTo>
                  <a:pt x="37" y="140"/>
                </a:lnTo>
                <a:lnTo>
                  <a:pt x="37" y="138"/>
                </a:lnTo>
                <a:lnTo>
                  <a:pt x="37" y="138"/>
                </a:lnTo>
                <a:lnTo>
                  <a:pt x="37" y="138"/>
                </a:lnTo>
                <a:lnTo>
                  <a:pt x="34" y="142"/>
                </a:lnTo>
                <a:lnTo>
                  <a:pt x="34" y="142"/>
                </a:lnTo>
                <a:lnTo>
                  <a:pt x="37" y="147"/>
                </a:lnTo>
                <a:lnTo>
                  <a:pt x="37" y="147"/>
                </a:lnTo>
                <a:lnTo>
                  <a:pt x="34" y="145"/>
                </a:lnTo>
                <a:lnTo>
                  <a:pt x="34" y="145"/>
                </a:lnTo>
                <a:lnTo>
                  <a:pt x="34" y="147"/>
                </a:lnTo>
                <a:lnTo>
                  <a:pt x="34" y="147"/>
                </a:lnTo>
                <a:lnTo>
                  <a:pt x="34" y="150"/>
                </a:lnTo>
                <a:lnTo>
                  <a:pt x="34" y="150"/>
                </a:lnTo>
                <a:lnTo>
                  <a:pt x="32" y="152"/>
                </a:lnTo>
                <a:lnTo>
                  <a:pt x="32" y="152"/>
                </a:lnTo>
                <a:lnTo>
                  <a:pt x="32" y="152"/>
                </a:lnTo>
                <a:lnTo>
                  <a:pt x="27" y="157"/>
                </a:lnTo>
                <a:lnTo>
                  <a:pt x="27" y="157"/>
                </a:lnTo>
                <a:lnTo>
                  <a:pt x="27" y="157"/>
                </a:lnTo>
                <a:lnTo>
                  <a:pt x="24" y="160"/>
                </a:lnTo>
                <a:lnTo>
                  <a:pt x="24" y="160"/>
                </a:lnTo>
                <a:lnTo>
                  <a:pt x="22" y="167"/>
                </a:lnTo>
                <a:lnTo>
                  <a:pt x="22" y="167"/>
                </a:lnTo>
                <a:lnTo>
                  <a:pt x="17" y="172"/>
                </a:lnTo>
                <a:lnTo>
                  <a:pt x="17" y="172"/>
                </a:lnTo>
                <a:lnTo>
                  <a:pt x="15" y="172"/>
                </a:lnTo>
                <a:lnTo>
                  <a:pt x="15" y="172"/>
                </a:lnTo>
                <a:lnTo>
                  <a:pt x="12" y="177"/>
                </a:lnTo>
                <a:lnTo>
                  <a:pt x="12" y="177"/>
                </a:lnTo>
                <a:lnTo>
                  <a:pt x="10" y="177"/>
                </a:lnTo>
                <a:lnTo>
                  <a:pt x="10" y="177"/>
                </a:lnTo>
                <a:lnTo>
                  <a:pt x="7" y="182"/>
                </a:lnTo>
                <a:lnTo>
                  <a:pt x="7" y="182"/>
                </a:lnTo>
                <a:lnTo>
                  <a:pt x="5" y="184"/>
                </a:lnTo>
                <a:lnTo>
                  <a:pt x="5" y="184"/>
                </a:lnTo>
                <a:lnTo>
                  <a:pt x="5" y="184"/>
                </a:lnTo>
                <a:close/>
                <a:moveTo>
                  <a:pt x="7" y="187"/>
                </a:moveTo>
                <a:lnTo>
                  <a:pt x="7" y="187"/>
                </a:lnTo>
                <a:lnTo>
                  <a:pt x="5" y="187"/>
                </a:lnTo>
                <a:lnTo>
                  <a:pt x="5" y="187"/>
                </a:lnTo>
                <a:lnTo>
                  <a:pt x="7" y="187"/>
                </a:lnTo>
                <a:lnTo>
                  <a:pt x="7" y="187"/>
                </a:lnTo>
                <a:lnTo>
                  <a:pt x="7" y="187"/>
                </a:lnTo>
                <a:close/>
                <a:moveTo>
                  <a:pt x="7" y="187"/>
                </a:moveTo>
                <a:lnTo>
                  <a:pt x="7" y="187"/>
                </a:lnTo>
                <a:lnTo>
                  <a:pt x="7" y="187"/>
                </a:lnTo>
                <a:lnTo>
                  <a:pt x="7" y="189"/>
                </a:lnTo>
                <a:lnTo>
                  <a:pt x="7" y="189"/>
                </a:lnTo>
                <a:lnTo>
                  <a:pt x="7" y="187"/>
                </a:lnTo>
                <a:lnTo>
                  <a:pt x="7" y="187"/>
                </a:lnTo>
                <a:close/>
                <a:moveTo>
                  <a:pt x="2" y="189"/>
                </a:moveTo>
                <a:lnTo>
                  <a:pt x="2" y="189"/>
                </a:lnTo>
                <a:lnTo>
                  <a:pt x="0" y="192"/>
                </a:lnTo>
                <a:lnTo>
                  <a:pt x="0" y="192"/>
                </a:lnTo>
                <a:lnTo>
                  <a:pt x="0" y="194"/>
                </a:lnTo>
                <a:lnTo>
                  <a:pt x="0" y="194"/>
                </a:lnTo>
                <a:lnTo>
                  <a:pt x="2" y="197"/>
                </a:lnTo>
                <a:lnTo>
                  <a:pt x="2" y="197"/>
                </a:lnTo>
                <a:lnTo>
                  <a:pt x="5" y="197"/>
                </a:lnTo>
                <a:lnTo>
                  <a:pt x="5" y="197"/>
                </a:lnTo>
                <a:lnTo>
                  <a:pt x="5" y="192"/>
                </a:lnTo>
                <a:lnTo>
                  <a:pt x="5" y="192"/>
                </a:lnTo>
                <a:lnTo>
                  <a:pt x="2" y="18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7" name="Freeform 26"/>
          <p:cNvSpPr>
            <a:spLocks noEditPoints="1"/>
          </p:cNvSpPr>
          <p:nvPr/>
        </p:nvSpPr>
        <p:spPr bwMode="auto">
          <a:xfrm>
            <a:off x="7166212" y="4292699"/>
            <a:ext cx="1159612" cy="434699"/>
          </a:xfrm>
          <a:custGeom>
            <a:avLst/>
            <a:gdLst/>
            <a:ahLst/>
            <a:cxnLst>
              <a:cxn ang="0">
                <a:pos x="679" y="222"/>
              </a:cxn>
              <a:cxn ang="0">
                <a:pos x="642" y="182"/>
              </a:cxn>
              <a:cxn ang="0">
                <a:pos x="585" y="172"/>
              </a:cxn>
              <a:cxn ang="0">
                <a:pos x="585" y="143"/>
              </a:cxn>
              <a:cxn ang="0">
                <a:pos x="607" y="126"/>
              </a:cxn>
              <a:cxn ang="0">
                <a:pos x="652" y="140"/>
              </a:cxn>
              <a:cxn ang="0">
                <a:pos x="558" y="106"/>
              </a:cxn>
              <a:cxn ang="0">
                <a:pos x="472" y="49"/>
              </a:cxn>
              <a:cxn ang="0">
                <a:pos x="514" y="121"/>
              </a:cxn>
              <a:cxn ang="0">
                <a:pos x="511" y="89"/>
              </a:cxn>
              <a:cxn ang="0">
                <a:pos x="497" y="113"/>
              </a:cxn>
              <a:cxn ang="0">
                <a:pos x="519" y="163"/>
              </a:cxn>
              <a:cxn ang="0">
                <a:pos x="524" y="163"/>
              </a:cxn>
              <a:cxn ang="0">
                <a:pos x="497" y="165"/>
              </a:cxn>
              <a:cxn ang="0">
                <a:pos x="467" y="136"/>
              </a:cxn>
              <a:cxn ang="0">
                <a:pos x="433" y="180"/>
              </a:cxn>
              <a:cxn ang="0">
                <a:pos x="413" y="195"/>
              </a:cxn>
              <a:cxn ang="0">
                <a:pos x="410" y="113"/>
              </a:cxn>
              <a:cxn ang="0">
                <a:pos x="467" y="86"/>
              </a:cxn>
              <a:cxn ang="0">
                <a:pos x="383" y="96"/>
              </a:cxn>
              <a:cxn ang="0">
                <a:pos x="374" y="163"/>
              </a:cxn>
              <a:cxn ang="0">
                <a:pos x="401" y="155"/>
              </a:cxn>
              <a:cxn ang="0">
                <a:pos x="423" y="168"/>
              </a:cxn>
              <a:cxn ang="0">
                <a:pos x="438" y="123"/>
              </a:cxn>
              <a:cxn ang="0">
                <a:pos x="401" y="10"/>
              </a:cxn>
              <a:cxn ang="0">
                <a:pos x="344" y="49"/>
              </a:cxn>
              <a:cxn ang="0">
                <a:pos x="219" y="121"/>
              </a:cxn>
              <a:cxn ang="0">
                <a:pos x="292" y="84"/>
              </a:cxn>
              <a:cxn ang="0">
                <a:pos x="351" y="67"/>
              </a:cxn>
              <a:cxn ang="0">
                <a:pos x="334" y="123"/>
              </a:cxn>
              <a:cxn ang="0">
                <a:pos x="300" y="172"/>
              </a:cxn>
              <a:cxn ang="0">
                <a:pos x="258" y="150"/>
              </a:cxn>
              <a:cxn ang="0">
                <a:pos x="221" y="113"/>
              </a:cxn>
              <a:cxn ang="0">
                <a:pos x="624" y="133"/>
              </a:cxn>
              <a:cxn ang="0">
                <a:pos x="610" y="214"/>
              </a:cxn>
              <a:cxn ang="0">
                <a:pos x="610" y="202"/>
              </a:cxn>
              <a:cxn ang="0">
                <a:pos x="607" y="195"/>
              </a:cxn>
              <a:cxn ang="0">
                <a:pos x="563" y="227"/>
              </a:cxn>
              <a:cxn ang="0">
                <a:pos x="519" y="239"/>
              </a:cxn>
              <a:cxn ang="0">
                <a:pos x="460" y="259"/>
              </a:cxn>
              <a:cxn ang="0">
                <a:pos x="408" y="276"/>
              </a:cxn>
              <a:cxn ang="0">
                <a:pos x="315" y="224"/>
              </a:cxn>
              <a:cxn ang="0">
                <a:pos x="450" y="241"/>
              </a:cxn>
              <a:cxn ang="0">
                <a:pos x="433" y="239"/>
              </a:cxn>
              <a:cxn ang="0">
                <a:pos x="393" y="249"/>
              </a:cxn>
              <a:cxn ang="0">
                <a:pos x="351" y="249"/>
              </a:cxn>
              <a:cxn ang="0">
                <a:pos x="319" y="241"/>
              </a:cxn>
              <a:cxn ang="0">
                <a:pos x="297" y="236"/>
              </a:cxn>
              <a:cxn ang="0">
                <a:pos x="278" y="222"/>
              </a:cxn>
              <a:cxn ang="0">
                <a:pos x="206" y="209"/>
              </a:cxn>
              <a:cxn ang="0">
                <a:pos x="295" y="231"/>
              </a:cxn>
              <a:cxn ang="0">
                <a:pos x="187" y="227"/>
              </a:cxn>
              <a:cxn ang="0">
                <a:pos x="172" y="52"/>
              </a:cxn>
              <a:cxn ang="0">
                <a:pos x="192" y="148"/>
              </a:cxn>
              <a:cxn ang="0">
                <a:pos x="172" y="153"/>
              </a:cxn>
              <a:cxn ang="0">
                <a:pos x="115" y="89"/>
              </a:cxn>
              <a:cxn ang="0">
                <a:pos x="83" y="155"/>
              </a:cxn>
              <a:cxn ang="0">
                <a:pos x="29" y="84"/>
              </a:cxn>
              <a:cxn ang="0">
                <a:pos x="19" y="45"/>
              </a:cxn>
              <a:cxn ang="0">
                <a:pos x="98" y="158"/>
              </a:cxn>
              <a:cxn ang="0">
                <a:pos x="167" y="170"/>
              </a:cxn>
              <a:cxn ang="0">
                <a:pos x="130" y="108"/>
              </a:cxn>
              <a:cxn ang="0">
                <a:pos x="73" y="57"/>
              </a:cxn>
            </a:cxnLst>
            <a:rect l="0" t="0" r="r" b="b"/>
            <a:pathLst>
              <a:path w="711" h="283">
                <a:moveTo>
                  <a:pt x="711" y="148"/>
                </a:moveTo>
                <a:lnTo>
                  <a:pt x="711" y="148"/>
                </a:lnTo>
                <a:lnTo>
                  <a:pt x="708" y="207"/>
                </a:lnTo>
                <a:lnTo>
                  <a:pt x="708" y="207"/>
                </a:lnTo>
                <a:lnTo>
                  <a:pt x="708" y="212"/>
                </a:lnTo>
                <a:lnTo>
                  <a:pt x="708" y="212"/>
                </a:lnTo>
                <a:lnTo>
                  <a:pt x="708" y="214"/>
                </a:lnTo>
                <a:lnTo>
                  <a:pt x="708" y="214"/>
                </a:lnTo>
                <a:lnTo>
                  <a:pt x="708" y="214"/>
                </a:lnTo>
                <a:lnTo>
                  <a:pt x="708" y="251"/>
                </a:lnTo>
                <a:lnTo>
                  <a:pt x="708" y="251"/>
                </a:lnTo>
                <a:lnTo>
                  <a:pt x="706" y="251"/>
                </a:lnTo>
                <a:lnTo>
                  <a:pt x="706" y="251"/>
                </a:lnTo>
                <a:lnTo>
                  <a:pt x="703" y="251"/>
                </a:lnTo>
                <a:lnTo>
                  <a:pt x="703" y="251"/>
                </a:lnTo>
                <a:lnTo>
                  <a:pt x="698" y="246"/>
                </a:lnTo>
                <a:lnTo>
                  <a:pt x="698" y="246"/>
                </a:lnTo>
                <a:lnTo>
                  <a:pt x="698" y="244"/>
                </a:lnTo>
                <a:lnTo>
                  <a:pt x="698" y="244"/>
                </a:lnTo>
                <a:lnTo>
                  <a:pt x="698" y="244"/>
                </a:lnTo>
                <a:lnTo>
                  <a:pt x="693" y="239"/>
                </a:lnTo>
                <a:lnTo>
                  <a:pt x="693" y="239"/>
                </a:lnTo>
                <a:lnTo>
                  <a:pt x="693" y="239"/>
                </a:lnTo>
                <a:lnTo>
                  <a:pt x="693" y="236"/>
                </a:lnTo>
                <a:lnTo>
                  <a:pt x="693" y="236"/>
                </a:lnTo>
                <a:lnTo>
                  <a:pt x="693" y="234"/>
                </a:lnTo>
                <a:lnTo>
                  <a:pt x="693" y="234"/>
                </a:lnTo>
                <a:lnTo>
                  <a:pt x="693" y="231"/>
                </a:lnTo>
                <a:lnTo>
                  <a:pt x="693" y="231"/>
                </a:lnTo>
                <a:lnTo>
                  <a:pt x="693" y="234"/>
                </a:lnTo>
                <a:lnTo>
                  <a:pt x="693" y="234"/>
                </a:lnTo>
                <a:lnTo>
                  <a:pt x="691" y="236"/>
                </a:lnTo>
                <a:lnTo>
                  <a:pt x="691" y="236"/>
                </a:lnTo>
                <a:lnTo>
                  <a:pt x="686" y="236"/>
                </a:lnTo>
                <a:lnTo>
                  <a:pt x="686" y="236"/>
                </a:lnTo>
                <a:lnTo>
                  <a:pt x="684" y="236"/>
                </a:lnTo>
                <a:lnTo>
                  <a:pt x="684" y="236"/>
                </a:lnTo>
                <a:lnTo>
                  <a:pt x="681" y="236"/>
                </a:lnTo>
                <a:lnTo>
                  <a:pt x="681" y="236"/>
                </a:lnTo>
                <a:lnTo>
                  <a:pt x="681" y="236"/>
                </a:lnTo>
                <a:lnTo>
                  <a:pt x="676" y="236"/>
                </a:lnTo>
                <a:lnTo>
                  <a:pt x="676" y="236"/>
                </a:lnTo>
                <a:lnTo>
                  <a:pt x="674" y="234"/>
                </a:lnTo>
                <a:lnTo>
                  <a:pt x="674" y="234"/>
                </a:lnTo>
                <a:lnTo>
                  <a:pt x="676" y="234"/>
                </a:lnTo>
                <a:lnTo>
                  <a:pt x="676" y="234"/>
                </a:lnTo>
                <a:lnTo>
                  <a:pt x="676" y="231"/>
                </a:lnTo>
                <a:lnTo>
                  <a:pt x="676" y="231"/>
                </a:lnTo>
                <a:lnTo>
                  <a:pt x="676" y="229"/>
                </a:lnTo>
                <a:lnTo>
                  <a:pt x="676" y="229"/>
                </a:lnTo>
                <a:lnTo>
                  <a:pt x="679" y="229"/>
                </a:lnTo>
                <a:lnTo>
                  <a:pt x="679" y="229"/>
                </a:lnTo>
                <a:lnTo>
                  <a:pt x="679" y="224"/>
                </a:lnTo>
                <a:lnTo>
                  <a:pt x="679" y="224"/>
                </a:lnTo>
                <a:lnTo>
                  <a:pt x="676" y="224"/>
                </a:lnTo>
                <a:lnTo>
                  <a:pt x="676" y="224"/>
                </a:lnTo>
                <a:lnTo>
                  <a:pt x="674" y="222"/>
                </a:lnTo>
                <a:lnTo>
                  <a:pt x="674" y="222"/>
                </a:lnTo>
                <a:lnTo>
                  <a:pt x="676" y="222"/>
                </a:lnTo>
                <a:lnTo>
                  <a:pt x="676" y="222"/>
                </a:lnTo>
                <a:lnTo>
                  <a:pt x="679" y="222"/>
                </a:lnTo>
                <a:lnTo>
                  <a:pt x="679" y="222"/>
                </a:lnTo>
                <a:lnTo>
                  <a:pt x="681" y="222"/>
                </a:lnTo>
                <a:lnTo>
                  <a:pt x="681" y="222"/>
                </a:lnTo>
                <a:lnTo>
                  <a:pt x="684" y="222"/>
                </a:lnTo>
                <a:lnTo>
                  <a:pt x="684" y="222"/>
                </a:lnTo>
                <a:lnTo>
                  <a:pt x="681" y="219"/>
                </a:lnTo>
                <a:lnTo>
                  <a:pt x="681" y="219"/>
                </a:lnTo>
                <a:lnTo>
                  <a:pt x="676" y="222"/>
                </a:lnTo>
                <a:lnTo>
                  <a:pt x="676" y="222"/>
                </a:lnTo>
                <a:lnTo>
                  <a:pt x="674" y="219"/>
                </a:lnTo>
                <a:lnTo>
                  <a:pt x="674" y="219"/>
                </a:lnTo>
                <a:lnTo>
                  <a:pt x="671" y="217"/>
                </a:lnTo>
                <a:lnTo>
                  <a:pt x="671" y="217"/>
                </a:lnTo>
                <a:lnTo>
                  <a:pt x="671" y="214"/>
                </a:lnTo>
                <a:lnTo>
                  <a:pt x="671" y="214"/>
                </a:lnTo>
                <a:lnTo>
                  <a:pt x="674" y="214"/>
                </a:lnTo>
                <a:lnTo>
                  <a:pt x="674" y="214"/>
                </a:lnTo>
                <a:lnTo>
                  <a:pt x="676" y="214"/>
                </a:lnTo>
                <a:lnTo>
                  <a:pt x="676" y="214"/>
                </a:lnTo>
                <a:lnTo>
                  <a:pt x="676" y="214"/>
                </a:lnTo>
                <a:lnTo>
                  <a:pt x="671" y="212"/>
                </a:lnTo>
                <a:lnTo>
                  <a:pt x="671" y="212"/>
                </a:lnTo>
                <a:lnTo>
                  <a:pt x="669" y="209"/>
                </a:lnTo>
                <a:lnTo>
                  <a:pt x="669" y="209"/>
                </a:lnTo>
                <a:lnTo>
                  <a:pt x="666" y="207"/>
                </a:lnTo>
                <a:lnTo>
                  <a:pt x="666" y="207"/>
                </a:lnTo>
                <a:lnTo>
                  <a:pt x="669" y="204"/>
                </a:lnTo>
                <a:lnTo>
                  <a:pt x="669" y="204"/>
                </a:lnTo>
                <a:lnTo>
                  <a:pt x="664" y="199"/>
                </a:lnTo>
                <a:lnTo>
                  <a:pt x="664" y="199"/>
                </a:lnTo>
                <a:lnTo>
                  <a:pt x="664" y="199"/>
                </a:lnTo>
                <a:lnTo>
                  <a:pt x="669" y="197"/>
                </a:lnTo>
                <a:lnTo>
                  <a:pt x="669" y="197"/>
                </a:lnTo>
                <a:lnTo>
                  <a:pt x="664" y="197"/>
                </a:lnTo>
                <a:lnTo>
                  <a:pt x="664" y="197"/>
                </a:lnTo>
                <a:lnTo>
                  <a:pt x="664" y="195"/>
                </a:lnTo>
                <a:lnTo>
                  <a:pt x="664" y="195"/>
                </a:lnTo>
                <a:lnTo>
                  <a:pt x="664" y="195"/>
                </a:lnTo>
                <a:lnTo>
                  <a:pt x="664" y="192"/>
                </a:lnTo>
                <a:lnTo>
                  <a:pt x="664" y="192"/>
                </a:lnTo>
                <a:lnTo>
                  <a:pt x="664" y="192"/>
                </a:lnTo>
                <a:lnTo>
                  <a:pt x="661" y="192"/>
                </a:lnTo>
                <a:lnTo>
                  <a:pt x="661" y="192"/>
                </a:lnTo>
                <a:lnTo>
                  <a:pt x="661" y="190"/>
                </a:lnTo>
                <a:lnTo>
                  <a:pt x="661" y="190"/>
                </a:lnTo>
                <a:lnTo>
                  <a:pt x="659" y="192"/>
                </a:lnTo>
                <a:lnTo>
                  <a:pt x="659" y="192"/>
                </a:lnTo>
                <a:lnTo>
                  <a:pt x="656" y="190"/>
                </a:lnTo>
                <a:lnTo>
                  <a:pt x="656" y="190"/>
                </a:lnTo>
                <a:lnTo>
                  <a:pt x="659" y="187"/>
                </a:lnTo>
                <a:lnTo>
                  <a:pt x="659" y="187"/>
                </a:lnTo>
                <a:lnTo>
                  <a:pt x="659" y="190"/>
                </a:lnTo>
                <a:lnTo>
                  <a:pt x="659" y="190"/>
                </a:lnTo>
                <a:lnTo>
                  <a:pt x="654" y="190"/>
                </a:lnTo>
                <a:lnTo>
                  <a:pt x="654" y="190"/>
                </a:lnTo>
                <a:lnTo>
                  <a:pt x="652" y="187"/>
                </a:lnTo>
                <a:lnTo>
                  <a:pt x="652" y="187"/>
                </a:lnTo>
                <a:lnTo>
                  <a:pt x="649" y="185"/>
                </a:lnTo>
                <a:lnTo>
                  <a:pt x="649" y="185"/>
                </a:lnTo>
                <a:lnTo>
                  <a:pt x="647" y="182"/>
                </a:lnTo>
                <a:lnTo>
                  <a:pt x="647" y="182"/>
                </a:lnTo>
                <a:lnTo>
                  <a:pt x="642" y="182"/>
                </a:lnTo>
                <a:lnTo>
                  <a:pt x="642" y="182"/>
                </a:lnTo>
                <a:lnTo>
                  <a:pt x="634" y="180"/>
                </a:lnTo>
                <a:lnTo>
                  <a:pt x="634" y="180"/>
                </a:lnTo>
                <a:lnTo>
                  <a:pt x="624" y="177"/>
                </a:lnTo>
                <a:lnTo>
                  <a:pt x="624" y="177"/>
                </a:lnTo>
                <a:lnTo>
                  <a:pt x="620" y="177"/>
                </a:lnTo>
                <a:lnTo>
                  <a:pt x="620" y="177"/>
                </a:lnTo>
                <a:lnTo>
                  <a:pt x="617" y="175"/>
                </a:lnTo>
                <a:lnTo>
                  <a:pt x="617" y="175"/>
                </a:lnTo>
                <a:lnTo>
                  <a:pt x="615" y="175"/>
                </a:lnTo>
                <a:lnTo>
                  <a:pt x="615" y="175"/>
                </a:lnTo>
                <a:lnTo>
                  <a:pt x="615" y="172"/>
                </a:lnTo>
                <a:lnTo>
                  <a:pt x="615" y="172"/>
                </a:lnTo>
                <a:lnTo>
                  <a:pt x="612" y="172"/>
                </a:lnTo>
                <a:lnTo>
                  <a:pt x="612" y="172"/>
                </a:lnTo>
                <a:lnTo>
                  <a:pt x="612" y="170"/>
                </a:lnTo>
                <a:lnTo>
                  <a:pt x="612" y="170"/>
                </a:lnTo>
                <a:lnTo>
                  <a:pt x="615" y="170"/>
                </a:lnTo>
                <a:lnTo>
                  <a:pt x="615" y="170"/>
                </a:lnTo>
                <a:lnTo>
                  <a:pt x="615" y="170"/>
                </a:lnTo>
                <a:lnTo>
                  <a:pt x="615" y="170"/>
                </a:lnTo>
                <a:lnTo>
                  <a:pt x="612" y="170"/>
                </a:lnTo>
                <a:lnTo>
                  <a:pt x="612" y="170"/>
                </a:lnTo>
                <a:lnTo>
                  <a:pt x="610" y="170"/>
                </a:lnTo>
                <a:lnTo>
                  <a:pt x="610" y="170"/>
                </a:lnTo>
                <a:lnTo>
                  <a:pt x="607" y="170"/>
                </a:lnTo>
                <a:lnTo>
                  <a:pt x="607" y="170"/>
                </a:lnTo>
                <a:lnTo>
                  <a:pt x="607" y="168"/>
                </a:lnTo>
                <a:lnTo>
                  <a:pt x="607" y="168"/>
                </a:lnTo>
                <a:lnTo>
                  <a:pt x="607" y="168"/>
                </a:lnTo>
                <a:lnTo>
                  <a:pt x="605" y="170"/>
                </a:lnTo>
                <a:lnTo>
                  <a:pt x="605" y="170"/>
                </a:lnTo>
                <a:lnTo>
                  <a:pt x="605" y="165"/>
                </a:lnTo>
                <a:lnTo>
                  <a:pt x="605" y="165"/>
                </a:lnTo>
                <a:lnTo>
                  <a:pt x="602" y="165"/>
                </a:lnTo>
                <a:lnTo>
                  <a:pt x="602" y="165"/>
                </a:lnTo>
                <a:lnTo>
                  <a:pt x="602" y="165"/>
                </a:lnTo>
                <a:lnTo>
                  <a:pt x="600" y="168"/>
                </a:lnTo>
                <a:lnTo>
                  <a:pt x="600" y="168"/>
                </a:lnTo>
                <a:lnTo>
                  <a:pt x="600" y="165"/>
                </a:lnTo>
                <a:lnTo>
                  <a:pt x="600" y="165"/>
                </a:lnTo>
                <a:lnTo>
                  <a:pt x="597" y="160"/>
                </a:lnTo>
                <a:lnTo>
                  <a:pt x="597" y="160"/>
                </a:lnTo>
                <a:lnTo>
                  <a:pt x="597" y="158"/>
                </a:lnTo>
                <a:lnTo>
                  <a:pt x="597" y="158"/>
                </a:lnTo>
                <a:lnTo>
                  <a:pt x="600" y="155"/>
                </a:lnTo>
                <a:lnTo>
                  <a:pt x="600" y="155"/>
                </a:lnTo>
                <a:lnTo>
                  <a:pt x="600" y="153"/>
                </a:lnTo>
                <a:lnTo>
                  <a:pt x="600" y="153"/>
                </a:lnTo>
                <a:lnTo>
                  <a:pt x="597" y="155"/>
                </a:lnTo>
                <a:lnTo>
                  <a:pt x="597" y="155"/>
                </a:lnTo>
                <a:lnTo>
                  <a:pt x="595" y="158"/>
                </a:lnTo>
                <a:lnTo>
                  <a:pt x="595" y="158"/>
                </a:lnTo>
                <a:lnTo>
                  <a:pt x="595" y="160"/>
                </a:lnTo>
                <a:lnTo>
                  <a:pt x="595" y="160"/>
                </a:lnTo>
                <a:lnTo>
                  <a:pt x="595" y="160"/>
                </a:lnTo>
                <a:lnTo>
                  <a:pt x="593" y="165"/>
                </a:lnTo>
                <a:lnTo>
                  <a:pt x="593" y="165"/>
                </a:lnTo>
                <a:lnTo>
                  <a:pt x="593" y="168"/>
                </a:lnTo>
                <a:lnTo>
                  <a:pt x="593" y="168"/>
                </a:lnTo>
                <a:lnTo>
                  <a:pt x="590" y="172"/>
                </a:lnTo>
                <a:lnTo>
                  <a:pt x="590" y="172"/>
                </a:lnTo>
                <a:lnTo>
                  <a:pt x="585" y="172"/>
                </a:lnTo>
                <a:lnTo>
                  <a:pt x="585" y="172"/>
                </a:lnTo>
                <a:lnTo>
                  <a:pt x="583" y="172"/>
                </a:lnTo>
                <a:lnTo>
                  <a:pt x="583" y="172"/>
                </a:lnTo>
                <a:lnTo>
                  <a:pt x="580" y="168"/>
                </a:lnTo>
                <a:lnTo>
                  <a:pt x="580" y="168"/>
                </a:lnTo>
                <a:lnTo>
                  <a:pt x="580" y="165"/>
                </a:lnTo>
                <a:lnTo>
                  <a:pt x="580" y="165"/>
                </a:lnTo>
                <a:lnTo>
                  <a:pt x="583" y="165"/>
                </a:lnTo>
                <a:lnTo>
                  <a:pt x="583" y="165"/>
                </a:lnTo>
                <a:lnTo>
                  <a:pt x="583" y="163"/>
                </a:lnTo>
                <a:lnTo>
                  <a:pt x="583" y="163"/>
                </a:lnTo>
                <a:lnTo>
                  <a:pt x="583" y="160"/>
                </a:lnTo>
                <a:lnTo>
                  <a:pt x="583" y="160"/>
                </a:lnTo>
                <a:lnTo>
                  <a:pt x="580" y="160"/>
                </a:lnTo>
                <a:lnTo>
                  <a:pt x="580" y="160"/>
                </a:lnTo>
                <a:lnTo>
                  <a:pt x="580" y="160"/>
                </a:lnTo>
                <a:lnTo>
                  <a:pt x="578" y="155"/>
                </a:lnTo>
                <a:lnTo>
                  <a:pt x="578" y="155"/>
                </a:lnTo>
                <a:lnTo>
                  <a:pt x="575" y="155"/>
                </a:lnTo>
                <a:lnTo>
                  <a:pt x="575" y="155"/>
                </a:lnTo>
                <a:lnTo>
                  <a:pt x="570" y="153"/>
                </a:lnTo>
                <a:lnTo>
                  <a:pt x="570" y="153"/>
                </a:lnTo>
                <a:lnTo>
                  <a:pt x="570" y="153"/>
                </a:lnTo>
                <a:lnTo>
                  <a:pt x="573" y="150"/>
                </a:lnTo>
                <a:lnTo>
                  <a:pt x="573" y="150"/>
                </a:lnTo>
                <a:lnTo>
                  <a:pt x="575" y="150"/>
                </a:lnTo>
                <a:lnTo>
                  <a:pt x="575" y="150"/>
                </a:lnTo>
                <a:lnTo>
                  <a:pt x="578" y="150"/>
                </a:lnTo>
                <a:lnTo>
                  <a:pt x="578" y="150"/>
                </a:lnTo>
                <a:lnTo>
                  <a:pt x="580" y="150"/>
                </a:lnTo>
                <a:lnTo>
                  <a:pt x="580" y="150"/>
                </a:lnTo>
                <a:lnTo>
                  <a:pt x="583" y="153"/>
                </a:lnTo>
                <a:lnTo>
                  <a:pt x="583" y="153"/>
                </a:lnTo>
                <a:lnTo>
                  <a:pt x="585" y="150"/>
                </a:lnTo>
                <a:lnTo>
                  <a:pt x="585" y="150"/>
                </a:lnTo>
                <a:lnTo>
                  <a:pt x="588" y="148"/>
                </a:lnTo>
                <a:lnTo>
                  <a:pt x="588" y="148"/>
                </a:lnTo>
                <a:lnTo>
                  <a:pt x="590" y="145"/>
                </a:lnTo>
                <a:lnTo>
                  <a:pt x="590" y="145"/>
                </a:lnTo>
                <a:lnTo>
                  <a:pt x="595" y="148"/>
                </a:lnTo>
                <a:lnTo>
                  <a:pt x="595" y="148"/>
                </a:lnTo>
                <a:lnTo>
                  <a:pt x="595" y="150"/>
                </a:lnTo>
                <a:lnTo>
                  <a:pt x="595" y="150"/>
                </a:lnTo>
                <a:lnTo>
                  <a:pt x="597" y="148"/>
                </a:lnTo>
                <a:lnTo>
                  <a:pt x="597" y="148"/>
                </a:lnTo>
                <a:lnTo>
                  <a:pt x="597" y="145"/>
                </a:lnTo>
                <a:lnTo>
                  <a:pt x="597" y="145"/>
                </a:lnTo>
                <a:lnTo>
                  <a:pt x="600" y="145"/>
                </a:lnTo>
                <a:lnTo>
                  <a:pt x="600" y="145"/>
                </a:lnTo>
                <a:lnTo>
                  <a:pt x="600" y="143"/>
                </a:lnTo>
                <a:lnTo>
                  <a:pt x="600" y="143"/>
                </a:lnTo>
                <a:lnTo>
                  <a:pt x="600" y="140"/>
                </a:lnTo>
                <a:lnTo>
                  <a:pt x="600" y="140"/>
                </a:lnTo>
                <a:lnTo>
                  <a:pt x="593" y="140"/>
                </a:lnTo>
                <a:lnTo>
                  <a:pt x="593" y="140"/>
                </a:lnTo>
                <a:lnTo>
                  <a:pt x="593" y="140"/>
                </a:lnTo>
                <a:lnTo>
                  <a:pt x="590" y="143"/>
                </a:lnTo>
                <a:lnTo>
                  <a:pt x="590" y="143"/>
                </a:lnTo>
                <a:lnTo>
                  <a:pt x="590" y="140"/>
                </a:lnTo>
                <a:lnTo>
                  <a:pt x="590" y="140"/>
                </a:lnTo>
                <a:lnTo>
                  <a:pt x="585" y="143"/>
                </a:lnTo>
                <a:lnTo>
                  <a:pt x="585" y="143"/>
                </a:lnTo>
                <a:lnTo>
                  <a:pt x="583" y="143"/>
                </a:lnTo>
                <a:lnTo>
                  <a:pt x="583" y="143"/>
                </a:lnTo>
                <a:lnTo>
                  <a:pt x="580" y="143"/>
                </a:lnTo>
                <a:lnTo>
                  <a:pt x="580" y="143"/>
                </a:lnTo>
                <a:lnTo>
                  <a:pt x="580" y="143"/>
                </a:lnTo>
                <a:lnTo>
                  <a:pt x="575" y="143"/>
                </a:lnTo>
                <a:lnTo>
                  <a:pt x="575" y="143"/>
                </a:lnTo>
                <a:lnTo>
                  <a:pt x="573" y="143"/>
                </a:lnTo>
                <a:lnTo>
                  <a:pt x="573" y="143"/>
                </a:lnTo>
                <a:lnTo>
                  <a:pt x="570" y="140"/>
                </a:lnTo>
                <a:lnTo>
                  <a:pt x="570" y="140"/>
                </a:lnTo>
                <a:lnTo>
                  <a:pt x="570" y="136"/>
                </a:lnTo>
                <a:lnTo>
                  <a:pt x="570" y="136"/>
                </a:lnTo>
                <a:lnTo>
                  <a:pt x="570" y="136"/>
                </a:lnTo>
                <a:lnTo>
                  <a:pt x="568" y="133"/>
                </a:lnTo>
                <a:lnTo>
                  <a:pt x="568" y="133"/>
                </a:lnTo>
                <a:lnTo>
                  <a:pt x="563" y="131"/>
                </a:lnTo>
                <a:lnTo>
                  <a:pt x="563" y="131"/>
                </a:lnTo>
                <a:lnTo>
                  <a:pt x="563" y="128"/>
                </a:lnTo>
                <a:lnTo>
                  <a:pt x="563" y="128"/>
                </a:lnTo>
                <a:lnTo>
                  <a:pt x="561" y="128"/>
                </a:lnTo>
                <a:lnTo>
                  <a:pt x="561" y="128"/>
                </a:lnTo>
                <a:lnTo>
                  <a:pt x="558" y="131"/>
                </a:lnTo>
                <a:lnTo>
                  <a:pt x="558" y="131"/>
                </a:lnTo>
                <a:lnTo>
                  <a:pt x="556" y="131"/>
                </a:lnTo>
                <a:lnTo>
                  <a:pt x="556" y="131"/>
                </a:lnTo>
                <a:lnTo>
                  <a:pt x="556" y="128"/>
                </a:lnTo>
                <a:lnTo>
                  <a:pt x="556" y="128"/>
                </a:lnTo>
                <a:lnTo>
                  <a:pt x="561" y="126"/>
                </a:lnTo>
                <a:lnTo>
                  <a:pt x="561" y="126"/>
                </a:lnTo>
                <a:lnTo>
                  <a:pt x="561" y="123"/>
                </a:lnTo>
                <a:lnTo>
                  <a:pt x="561" y="123"/>
                </a:lnTo>
                <a:lnTo>
                  <a:pt x="558" y="121"/>
                </a:lnTo>
                <a:lnTo>
                  <a:pt x="558" y="121"/>
                </a:lnTo>
                <a:lnTo>
                  <a:pt x="561" y="118"/>
                </a:lnTo>
                <a:lnTo>
                  <a:pt x="561" y="118"/>
                </a:lnTo>
                <a:lnTo>
                  <a:pt x="565" y="118"/>
                </a:lnTo>
                <a:lnTo>
                  <a:pt x="565" y="118"/>
                </a:lnTo>
                <a:lnTo>
                  <a:pt x="568" y="118"/>
                </a:lnTo>
                <a:lnTo>
                  <a:pt x="568" y="118"/>
                </a:lnTo>
                <a:lnTo>
                  <a:pt x="570" y="116"/>
                </a:lnTo>
                <a:lnTo>
                  <a:pt x="570" y="116"/>
                </a:lnTo>
                <a:lnTo>
                  <a:pt x="575" y="113"/>
                </a:lnTo>
                <a:lnTo>
                  <a:pt x="575" y="113"/>
                </a:lnTo>
                <a:lnTo>
                  <a:pt x="575" y="113"/>
                </a:lnTo>
                <a:lnTo>
                  <a:pt x="580" y="111"/>
                </a:lnTo>
                <a:lnTo>
                  <a:pt x="580" y="111"/>
                </a:lnTo>
                <a:lnTo>
                  <a:pt x="588" y="113"/>
                </a:lnTo>
                <a:lnTo>
                  <a:pt x="588" y="113"/>
                </a:lnTo>
                <a:lnTo>
                  <a:pt x="593" y="118"/>
                </a:lnTo>
                <a:lnTo>
                  <a:pt x="593" y="118"/>
                </a:lnTo>
                <a:lnTo>
                  <a:pt x="597" y="118"/>
                </a:lnTo>
                <a:lnTo>
                  <a:pt x="597" y="118"/>
                </a:lnTo>
                <a:lnTo>
                  <a:pt x="602" y="118"/>
                </a:lnTo>
                <a:lnTo>
                  <a:pt x="602" y="118"/>
                </a:lnTo>
                <a:lnTo>
                  <a:pt x="605" y="118"/>
                </a:lnTo>
                <a:lnTo>
                  <a:pt x="605" y="118"/>
                </a:lnTo>
                <a:lnTo>
                  <a:pt x="602" y="121"/>
                </a:lnTo>
                <a:lnTo>
                  <a:pt x="602" y="121"/>
                </a:lnTo>
                <a:lnTo>
                  <a:pt x="602" y="126"/>
                </a:lnTo>
                <a:lnTo>
                  <a:pt x="602" y="126"/>
                </a:lnTo>
                <a:lnTo>
                  <a:pt x="607" y="126"/>
                </a:lnTo>
                <a:lnTo>
                  <a:pt x="607" y="126"/>
                </a:lnTo>
                <a:lnTo>
                  <a:pt x="607" y="131"/>
                </a:lnTo>
                <a:lnTo>
                  <a:pt x="607" y="131"/>
                </a:lnTo>
                <a:lnTo>
                  <a:pt x="605" y="133"/>
                </a:lnTo>
                <a:lnTo>
                  <a:pt x="605" y="133"/>
                </a:lnTo>
                <a:lnTo>
                  <a:pt x="602" y="136"/>
                </a:lnTo>
                <a:lnTo>
                  <a:pt x="602" y="136"/>
                </a:lnTo>
                <a:lnTo>
                  <a:pt x="605" y="140"/>
                </a:lnTo>
                <a:lnTo>
                  <a:pt x="605" y="140"/>
                </a:lnTo>
                <a:lnTo>
                  <a:pt x="605" y="145"/>
                </a:lnTo>
                <a:lnTo>
                  <a:pt x="605" y="145"/>
                </a:lnTo>
                <a:lnTo>
                  <a:pt x="607" y="150"/>
                </a:lnTo>
                <a:lnTo>
                  <a:pt x="607" y="150"/>
                </a:lnTo>
                <a:lnTo>
                  <a:pt x="610" y="153"/>
                </a:lnTo>
                <a:lnTo>
                  <a:pt x="610" y="153"/>
                </a:lnTo>
                <a:lnTo>
                  <a:pt x="610" y="153"/>
                </a:lnTo>
                <a:lnTo>
                  <a:pt x="610" y="148"/>
                </a:lnTo>
                <a:lnTo>
                  <a:pt x="610" y="148"/>
                </a:lnTo>
                <a:lnTo>
                  <a:pt x="612" y="148"/>
                </a:lnTo>
                <a:lnTo>
                  <a:pt x="612" y="148"/>
                </a:lnTo>
                <a:lnTo>
                  <a:pt x="612" y="148"/>
                </a:lnTo>
                <a:lnTo>
                  <a:pt x="612" y="150"/>
                </a:lnTo>
                <a:lnTo>
                  <a:pt x="612" y="150"/>
                </a:lnTo>
                <a:lnTo>
                  <a:pt x="615" y="155"/>
                </a:lnTo>
                <a:lnTo>
                  <a:pt x="615" y="155"/>
                </a:lnTo>
                <a:lnTo>
                  <a:pt x="615" y="153"/>
                </a:lnTo>
                <a:lnTo>
                  <a:pt x="615" y="153"/>
                </a:lnTo>
                <a:lnTo>
                  <a:pt x="615" y="155"/>
                </a:lnTo>
                <a:lnTo>
                  <a:pt x="615" y="155"/>
                </a:lnTo>
                <a:lnTo>
                  <a:pt x="620" y="160"/>
                </a:lnTo>
                <a:lnTo>
                  <a:pt x="620" y="160"/>
                </a:lnTo>
                <a:lnTo>
                  <a:pt x="622" y="160"/>
                </a:lnTo>
                <a:lnTo>
                  <a:pt x="622" y="160"/>
                </a:lnTo>
                <a:lnTo>
                  <a:pt x="624" y="160"/>
                </a:lnTo>
                <a:lnTo>
                  <a:pt x="624" y="160"/>
                </a:lnTo>
                <a:lnTo>
                  <a:pt x="627" y="160"/>
                </a:lnTo>
                <a:lnTo>
                  <a:pt x="627" y="160"/>
                </a:lnTo>
                <a:lnTo>
                  <a:pt x="627" y="158"/>
                </a:lnTo>
                <a:lnTo>
                  <a:pt x="627" y="158"/>
                </a:lnTo>
                <a:lnTo>
                  <a:pt x="629" y="155"/>
                </a:lnTo>
                <a:lnTo>
                  <a:pt x="629" y="155"/>
                </a:lnTo>
                <a:lnTo>
                  <a:pt x="632" y="155"/>
                </a:lnTo>
                <a:lnTo>
                  <a:pt x="632" y="155"/>
                </a:lnTo>
                <a:lnTo>
                  <a:pt x="632" y="150"/>
                </a:lnTo>
                <a:lnTo>
                  <a:pt x="632" y="150"/>
                </a:lnTo>
                <a:lnTo>
                  <a:pt x="632" y="148"/>
                </a:lnTo>
                <a:lnTo>
                  <a:pt x="632" y="148"/>
                </a:lnTo>
                <a:lnTo>
                  <a:pt x="637" y="148"/>
                </a:lnTo>
                <a:lnTo>
                  <a:pt x="637" y="148"/>
                </a:lnTo>
                <a:lnTo>
                  <a:pt x="639" y="145"/>
                </a:lnTo>
                <a:lnTo>
                  <a:pt x="639" y="145"/>
                </a:lnTo>
                <a:lnTo>
                  <a:pt x="639" y="143"/>
                </a:lnTo>
                <a:lnTo>
                  <a:pt x="639" y="143"/>
                </a:lnTo>
                <a:lnTo>
                  <a:pt x="639" y="140"/>
                </a:lnTo>
                <a:lnTo>
                  <a:pt x="639" y="140"/>
                </a:lnTo>
                <a:lnTo>
                  <a:pt x="642" y="143"/>
                </a:lnTo>
                <a:lnTo>
                  <a:pt x="642" y="143"/>
                </a:lnTo>
                <a:lnTo>
                  <a:pt x="644" y="143"/>
                </a:lnTo>
                <a:lnTo>
                  <a:pt x="644" y="143"/>
                </a:lnTo>
                <a:lnTo>
                  <a:pt x="647" y="140"/>
                </a:lnTo>
                <a:lnTo>
                  <a:pt x="647" y="140"/>
                </a:lnTo>
                <a:lnTo>
                  <a:pt x="652" y="140"/>
                </a:lnTo>
                <a:lnTo>
                  <a:pt x="652" y="140"/>
                </a:lnTo>
                <a:lnTo>
                  <a:pt x="652" y="138"/>
                </a:lnTo>
                <a:lnTo>
                  <a:pt x="652" y="138"/>
                </a:lnTo>
                <a:lnTo>
                  <a:pt x="649" y="136"/>
                </a:lnTo>
                <a:lnTo>
                  <a:pt x="649" y="136"/>
                </a:lnTo>
                <a:lnTo>
                  <a:pt x="652" y="133"/>
                </a:lnTo>
                <a:lnTo>
                  <a:pt x="652" y="133"/>
                </a:lnTo>
                <a:lnTo>
                  <a:pt x="659" y="128"/>
                </a:lnTo>
                <a:lnTo>
                  <a:pt x="659" y="128"/>
                </a:lnTo>
                <a:lnTo>
                  <a:pt x="661" y="131"/>
                </a:lnTo>
                <a:lnTo>
                  <a:pt x="661" y="131"/>
                </a:lnTo>
                <a:lnTo>
                  <a:pt x="664" y="131"/>
                </a:lnTo>
                <a:lnTo>
                  <a:pt x="664" y="131"/>
                </a:lnTo>
                <a:lnTo>
                  <a:pt x="669" y="133"/>
                </a:lnTo>
                <a:lnTo>
                  <a:pt x="669" y="133"/>
                </a:lnTo>
                <a:lnTo>
                  <a:pt x="674" y="136"/>
                </a:lnTo>
                <a:lnTo>
                  <a:pt x="674" y="136"/>
                </a:lnTo>
                <a:lnTo>
                  <a:pt x="676" y="138"/>
                </a:lnTo>
                <a:lnTo>
                  <a:pt x="676" y="138"/>
                </a:lnTo>
                <a:lnTo>
                  <a:pt x="681" y="138"/>
                </a:lnTo>
                <a:lnTo>
                  <a:pt x="681" y="138"/>
                </a:lnTo>
                <a:lnTo>
                  <a:pt x="684" y="138"/>
                </a:lnTo>
                <a:lnTo>
                  <a:pt x="684" y="138"/>
                </a:lnTo>
                <a:lnTo>
                  <a:pt x="693" y="143"/>
                </a:lnTo>
                <a:lnTo>
                  <a:pt x="693" y="143"/>
                </a:lnTo>
                <a:lnTo>
                  <a:pt x="696" y="143"/>
                </a:lnTo>
                <a:lnTo>
                  <a:pt x="696" y="143"/>
                </a:lnTo>
                <a:lnTo>
                  <a:pt x="698" y="143"/>
                </a:lnTo>
                <a:lnTo>
                  <a:pt x="698" y="143"/>
                </a:lnTo>
                <a:lnTo>
                  <a:pt x="701" y="143"/>
                </a:lnTo>
                <a:lnTo>
                  <a:pt x="701" y="143"/>
                </a:lnTo>
                <a:lnTo>
                  <a:pt x="703" y="143"/>
                </a:lnTo>
                <a:lnTo>
                  <a:pt x="703" y="143"/>
                </a:lnTo>
                <a:lnTo>
                  <a:pt x="706" y="145"/>
                </a:lnTo>
                <a:lnTo>
                  <a:pt x="706" y="145"/>
                </a:lnTo>
                <a:lnTo>
                  <a:pt x="706" y="148"/>
                </a:lnTo>
                <a:lnTo>
                  <a:pt x="706" y="148"/>
                </a:lnTo>
                <a:lnTo>
                  <a:pt x="706" y="148"/>
                </a:lnTo>
                <a:lnTo>
                  <a:pt x="708" y="150"/>
                </a:lnTo>
                <a:lnTo>
                  <a:pt x="708" y="150"/>
                </a:lnTo>
                <a:lnTo>
                  <a:pt x="711" y="148"/>
                </a:lnTo>
                <a:lnTo>
                  <a:pt x="711" y="148"/>
                </a:lnTo>
                <a:lnTo>
                  <a:pt x="711" y="148"/>
                </a:lnTo>
                <a:close/>
                <a:moveTo>
                  <a:pt x="526" y="106"/>
                </a:moveTo>
                <a:lnTo>
                  <a:pt x="526" y="106"/>
                </a:lnTo>
                <a:lnTo>
                  <a:pt x="533" y="108"/>
                </a:lnTo>
                <a:lnTo>
                  <a:pt x="533" y="108"/>
                </a:lnTo>
                <a:lnTo>
                  <a:pt x="533" y="111"/>
                </a:lnTo>
                <a:lnTo>
                  <a:pt x="533" y="111"/>
                </a:lnTo>
                <a:lnTo>
                  <a:pt x="529" y="108"/>
                </a:lnTo>
                <a:lnTo>
                  <a:pt x="529" y="108"/>
                </a:lnTo>
                <a:lnTo>
                  <a:pt x="526" y="106"/>
                </a:lnTo>
                <a:lnTo>
                  <a:pt x="526" y="106"/>
                </a:lnTo>
                <a:close/>
                <a:moveTo>
                  <a:pt x="558" y="111"/>
                </a:moveTo>
                <a:lnTo>
                  <a:pt x="558" y="111"/>
                </a:lnTo>
                <a:lnTo>
                  <a:pt x="561" y="113"/>
                </a:lnTo>
                <a:lnTo>
                  <a:pt x="561" y="113"/>
                </a:lnTo>
                <a:lnTo>
                  <a:pt x="563" y="111"/>
                </a:lnTo>
                <a:lnTo>
                  <a:pt x="563" y="111"/>
                </a:lnTo>
                <a:lnTo>
                  <a:pt x="561" y="108"/>
                </a:lnTo>
                <a:lnTo>
                  <a:pt x="561" y="108"/>
                </a:lnTo>
                <a:lnTo>
                  <a:pt x="558" y="106"/>
                </a:lnTo>
                <a:lnTo>
                  <a:pt x="558" y="106"/>
                </a:lnTo>
                <a:lnTo>
                  <a:pt x="553" y="106"/>
                </a:lnTo>
                <a:lnTo>
                  <a:pt x="553" y="106"/>
                </a:lnTo>
                <a:lnTo>
                  <a:pt x="551" y="108"/>
                </a:lnTo>
                <a:lnTo>
                  <a:pt x="551" y="108"/>
                </a:lnTo>
                <a:lnTo>
                  <a:pt x="548" y="108"/>
                </a:lnTo>
                <a:lnTo>
                  <a:pt x="548" y="108"/>
                </a:lnTo>
                <a:lnTo>
                  <a:pt x="546" y="108"/>
                </a:lnTo>
                <a:lnTo>
                  <a:pt x="546" y="108"/>
                </a:lnTo>
                <a:lnTo>
                  <a:pt x="548" y="111"/>
                </a:lnTo>
                <a:lnTo>
                  <a:pt x="548" y="111"/>
                </a:lnTo>
                <a:lnTo>
                  <a:pt x="546" y="111"/>
                </a:lnTo>
                <a:lnTo>
                  <a:pt x="546" y="111"/>
                </a:lnTo>
                <a:lnTo>
                  <a:pt x="551" y="111"/>
                </a:lnTo>
                <a:lnTo>
                  <a:pt x="551" y="111"/>
                </a:lnTo>
                <a:lnTo>
                  <a:pt x="553" y="113"/>
                </a:lnTo>
                <a:lnTo>
                  <a:pt x="553" y="113"/>
                </a:lnTo>
                <a:lnTo>
                  <a:pt x="556" y="113"/>
                </a:lnTo>
                <a:lnTo>
                  <a:pt x="556" y="113"/>
                </a:lnTo>
                <a:lnTo>
                  <a:pt x="556" y="111"/>
                </a:lnTo>
                <a:lnTo>
                  <a:pt x="556" y="111"/>
                </a:lnTo>
                <a:lnTo>
                  <a:pt x="553" y="111"/>
                </a:lnTo>
                <a:lnTo>
                  <a:pt x="553" y="111"/>
                </a:lnTo>
                <a:lnTo>
                  <a:pt x="553" y="111"/>
                </a:lnTo>
                <a:lnTo>
                  <a:pt x="553" y="108"/>
                </a:lnTo>
                <a:lnTo>
                  <a:pt x="553" y="108"/>
                </a:lnTo>
                <a:lnTo>
                  <a:pt x="558" y="111"/>
                </a:lnTo>
                <a:lnTo>
                  <a:pt x="558" y="111"/>
                </a:lnTo>
                <a:close/>
                <a:moveTo>
                  <a:pt x="553" y="121"/>
                </a:moveTo>
                <a:lnTo>
                  <a:pt x="553" y="121"/>
                </a:lnTo>
                <a:lnTo>
                  <a:pt x="551" y="121"/>
                </a:lnTo>
                <a:lnTo>
                  <a:pt x="551" y="121"/>
                </a:lnTo>
                <a:lnTo>
                  <a:pt x="546" y="121"/>
                </a:lnTo>
                <a:lnTo>
                  <a:pt x="546" y="121"/>
                </a:lnTo>
                <a:lnTo>
                  <a:pt x="548" y="121"/>
                </a:lnTo>
                <a:lnTo>
                  <a:pt x="548" y="121"/>
                </a:lnTo>
                <a:lnTo>
                  <a:pt x="553" y="121"/>
                </a:lnTo>
                <a:lnTo>
                  <a:pt x="553" y="121"/>
                </a:lnTo>
                <a:close/>
                <a:moveTo>
                  <a:pt x="556" y="118"/>
                </a:moveTo>
                <a:lnTo>
                  <a:pt x="556" y="118"/>
                </a:lnTo>
                <a:lnTo>
                  <a:pt x="553" y="121"/>
                </a:lnTo>
                <a:lnTo>
                  <a:pt x="553" y="121"/>
                </a:lnTo>
                <a:lnTo>
                  <a:pt x="553" y="118"/>
                </a:lnTo>
                <a:lnTo>
                  <a:pt x="553" y="118"/>
                </a:lnTo>
                <a:lnTo>
                  <a:pt x="556" y="118"/>
                </a:lnTo>
                <a:lnTo>
                  <a:pt x="556" y="118"/>
                </a:lnTo>
                <a:close/>
                <a:moveTo>
                  <a:pt x="556" y="121"/>
                </a:moveTo>
                <a:lnTo>
                  <a:pt x="556" y="121"/>
                </a:lnTo>
                <a:lnTo>
                  <a:pt x="551" y="123"/>
                </a:lnTo>
                <a:lnTo>
                  <a:pt x="551" y="123"/>
                </a:lnTo>
                <a:lnTo>
                  <a:pt x="551" y="128"/>
                </a:lnTo>
                <a:lnTo>
                  <a:pt x="551" y="128"/>
                </a:lnTo>
                <a:lnTo>
                  <a:pt x="556" y="128"/>
                </a:lnTo>
                <a:lnTo>
                  <a:pt x="556" y="128"/>
                </a:lnTo>
                <a:lnTo>
                  <a:pt x="556" y="128"/>
                </a:lnTo>
                <a:lnTo>
                  <a:pt x="556" y="121"/>
                </a:lnTo>
                <a:lnTo>
                  <a:pt x="556" y="121"/>
                </a:lnTo>
                <a:lnTo>
                  <a:pt x="556" y="121"/>
                </a:lnTo>
                <a:close/>
                <a:moveTo>
                  <a:pt x="467" y="45"/>
                </a:moveTo>
                <a:lnTo>
                  <a:pt x="467" y="45"/>
                </a:lnTo>
                <a:lnTo>
                  <a:pt x="472" y="49"/>
                </a:lnTo>
                <a:lnTo>
                  <a:pt x="472" y="49"/>
                </a:lnTo>
                <a:lnTo>
                  <a:pt x="472" y="52"/>
                </a:lnTo>
                <a:lnTo>
                  <a:pt x="472" y="52"/>
                </a:lnTo>
                <a:lnTo>
                  <a:pt x="472" y="54"/>
                </a:lnTo>
                <a:lnTo>
                  <a:pt x="472" y="54"/>
                </a:lnTo>
                <a:lnTo>
                  <a:pt x="467" y="52"/>
                </a:lnTo>
                <a:lnTo>
                  <a:pt x="467" y="52"/>
                </a:lnTo>
                <a:lnTo>
                  <a:pt x="467" y="47"/>
                </a:lnTo>
                <a:lnTo>
                  <a:pt x="467" y="47"/>
                </a:lnTo>
                <a:lnTo>
                  <a:pt x="467" y="45"/>
                </a:lnTo>
                <a:lnTo>
                  <a:pt x="467" y="45"/>
                </a:lnTo>
                <a:close/>
                <a:moveTo>
                  <a:pt x="487" y="35"/>
                </a:moveTo>
                <a:lnTo>
                  <a:pt x="487" y="35"/>
                </a:lnTo>
                <a:lnTo>
                  <a:pt x="489" y="37"/>
                </a:lnTo>
                <a:lnTo>
                  <a:pt x="489" y="37"/>
                </a:lnTo>
                <a:lnTo>
                  <a:pt x="489" y="42"/>
                </a:lnTo>
                <a:lnTo>
                  <a:pt x="489" y="42"/>
                </a:lnTo>
                <a:lnTo>
                  <a:pt x="489" y="40"/>
                </a:lnTo>
                <a:lnTo>
                  <a:pt x="489" y="40"/>
                </a:lnTo>
                <a:lnTo>
                  <a:pt x="492" y="37"/>
                </a:lnTo>
                <a:lnTo>
                  <a:pt x="492" y="37"/>
                </a:lnTo>
                <a:lnTo>
                  <a:pt x="492" y="35"/>
                </a:lnTo>
                <a:lnTo>
                  <a:pt x="492" y="35"/>
                </a:lnTo>
                <a:lnTo>
                  <a:pt x="489" y="32"/>
                </a:lnTo>
                <a:lnTo>
                  <a:pt x="489" y="32"/>
                </a:lnTo>
                <a:lnTo>
                  <a:pt x="487" y="35"/>
                </a:lnTo>
                <a:lnTo>
                  <a:pt x="487" y="35"/>
                </a:lnTo>
                <a:close/>
                <a:moveTo>
                  <a:pt x="487" y="42"/>
                </a:moveTo>
                <a:lnTo>
                  <a:pt x="487" y="42"/>
                </a:lnTo>
                <a:lnTo>
                  <a:pt x="489" y="42"/>
                </a:lnTo>
                <a:lnTo>
                  <a:pt x="489" y="42"/>
                </a:lnTo>
                <a:lnTo>
                  <a:pt x="489" y="45"/>
                </a:lnTo>
                <a:lnTo>
                  <a:pt x="489" y="45"/>
                </a:lnTo>
                <a:lnTo>
                  <a:pt x="487" y="42"/>
                </a:lnTo>
                <a:lnTo>
                  <a:pt x="487" y="42"/>
                </a:lnTo>
                <a:close/>
                <a:moveTo>
                  <a:pt x="511" y="72"/>
                </a:moveTo>
                <a:lnTo>
                  <a:pt x="511" y="72"/>
                </a:lnTo>
                <a:lnTo>
                  <a:pt x="514" y="77"/>
                </a:lnTo>
                <a:lnTo>
                  <a:pt x="514" y="77"/>
                </a:lnTo>
                <a:lnTo>
                  <a:pt x="514" y="74"/>
                </a:lnTo>
                <a:lnTo>
                  <a:pt x="514" y="74"/>
                </a:lnTo>
                <a:lnTo>
                  <a:pt x="516" y="74"/>
                </a:lnTo>
                <a:lnTo>
                  <a:pt x="516" y="74"/>
                </a:lnTo>
                <a:lnTo>
                  <a:pt x="519" y="72"/>
                </a:lnTo>
                <a:lnTo>
                  <a:pt x="519" y="72"/>
                </a:lnTo>
                <a:lnTo>
                  <a:pt x="519" y="69"/>
                </a:lnTo>
                <a:lnTo>
                  <a:pt x="519" y="69"/>
                </a:lnTo>
                <a:lnTo>
                  <a:pt x="516" y="69"/>
                </a:lnTo>
                <a:lnTo>
                  <a:pt x="516" y="69"/>
                </a:lnTo>
                <a:lnTo>
                  <a:pt x="514" y="69"/>
                </a:lnTo>
                <a:lnTo>
                  <a:pt x="514" y="69"/>
                </a:lnTo>
                <a:lnTo>
                  <a:pt x="511" y="72"/>
                </a:lnTo>
                <a:lnTo>
                  <a:pt x="511" y="72"/>
                </a:lnTo>
                <a:close/>
                <a:moveTo>
                  <a:pt x="509" y="111"/>
                </a:moveTo>
                <a:lnTo>
                  <a:pt x="509" y="111"/>
                </a:lnTo>
                <a:lnTo>
                  <a:pt x="511" y="116"/>
                </a:lnTo>
                <a:lnTo>
                  <a:pt x="511" y="116"/>
                </a:lnTo>
                <a:lnTo>
                  <a:pt x="514" y="121"/>
                </a:lnTo>
                <a:lnTo>
                  <a:pt x="514" y="121"/>
                </a:lnTo>
                <a:lnTo>
                  <a:pt x="516" y="121"/>
                </a:lnTo>
                <a:lnTo>
                  <a:pt x="516" y="121"/>
                </a:lnTo>
                <a:lnTo>
                  <a:pt x="514" y="121"/>
                </a:lnTo>
                <a:lnTo>
                  <a:pt x="514" y="121"/>
                </a:lnTo>
                <a:lnTo>
                  <a:pt x="514" y="123"/>
                </a:lnTo>
                <a:lnTo>
                  <a:pt x="514" y="123"/>
                </a:lnTo>
                <a:lnTo>
                  <a:pt x="514" y="121"/>
                </a:lnTo>
                <a:lnTo>
                  <a:pt x="514" y="121"/>
                </a:lnTo>
                <a:lnTo>
                  <a:pt x="511" y="121"/>
                </a:lnTo>
                <a:lnTo>
                  <a:pt x="511" y="121"/>
                </a:lnTo>
                <a:lnTo>
                  <a:pt x="509" y="116"/>
                </a:lnTo>
                <a:lnTo>
                  <a:pt x="509" y="116"/>
                </a:lnTo>
                <a:lnTo>
                  <a:pt x="504" y="113"/>
                </a:lnTo>
                <a:lnTo>
                  <a:pt x="504" y="113"/>
                </a:lnTo>
                <a:lnTo>
                  <a:pt x="501" y="108"/>
                </a:lnTo>
                <a:lnTo>
                  <a:pt x="501" y="108"/>
                </a:lnTo>
                <a:lnTo>
                  <a:pt x="504" y="106"/>
                </a:lnTo>
                <a:lnTo>
                  <a:pt x="504" y="106"/>
                </a:lnTo>
                <a:lnTo>
                  <a:pt x="504" y="104"/>
                </a:lnTo>
                <a:lnTo>
                  <a:pt x="504" y="104"/>
                </a:lnTo>
                <a:lnTo>
                  <a:pt x="504" y="104"/>
                </a:lnTo>
                <a:lnTo>
                  <a:pt x="501" y="101"/>
                </a:lnTo>
                <a:lnTo>
                  <a:pt x="501" y="101"/>
                </a:lnTo>
                <a:lnTo>
                  <a:pt x="501" y="96"/>
                </a:lnTo>
                <a:lnTo>
                  <a:pt x="501" y="96"/>
                </a:lnTo>
                <a:lnTo>
                  <a:pt x="501" y="96"/>
                </a:lnTo>
                <a:lnTo>
                  <a:pt x="501" y="91"/>
                </a:lnTo>
                <a:lnTo>
                  <a:pt x="501" y="91"/>
                </a:lnTo>
                <a:lnTo>
                  <a:pt x="499" y="89"/>
                </a:lnTo>
                <a:lnTo>
                  <a:pt x="499" y="89"/>
                </a:lnTo>
                <a:lnTo>
                  <a:pt x="499" y="86"/>
                </a:lnTo>
                <a:lnTo>
                  <a:pt x="499" y="86"/>
                </a:lnTo>
                <a:lnTo>
                  <a:pt x="501" y="84"/>
                </a:lnTo>
                <a:lnTo>
                  <a:pt x="501" y="84"/>
                </a:lnTo>
                <a:lnTo>
                  <a:pt x="501" y="81"/>
                </a:lnTo>
                <a:lnTo>
                  <a:pt x="501" y="81"/>
                </a:lnTo>
                <a:lnTo>
                  <a:pt x="504" y="77"/>
                </a:lnTo>
                <a:lnTo>
                  <a:pt x="504" y="77"/>
                </a:lnTo>
                <a:lnTo>
                  <a:pt x="506" y="72"/>
                </a:lnTo>
                <a:lnTo>
                  <a:pt x="506" y="72"/>
                </a:lnTo>
                <a:lnTo>
                  <a:pt x="509" y="72"/>
                </a:lnTo>
                <a:lnTo>
                  <a:pt x="509" y="72"/>
                </a:lnTo>
                <a:lnTo>
                  <a:pt x="509" y="74"/>
                </a:lnTo>
                <a:lnTo>
                  <a:pt x="509" y="74"/>
                </a:lnTo>
                <a:lnTo>
                  <a:pt x="506" y="77"/>
                </a:lnTo>
                <a:lnTo>
                  <a:pt x="506" y="77"/>
                </a:lnTo>
                <a:lnTo>
                  <a:pt x="506" y="79"/>
                </a:lnTo>
                <a:lnTo>
                  <a:pt x="506" y="79"/>
                </a:lnTo>
                <a:lnTo>
                  <a:pt x="509" y="79"/>
                </a:lnTo>
                <a:lnTo>
                  <a:pt x="509" y="79"/>
                </a:lnTo>
                <a:lnTo>
                  <a:pt x="509" y="84"/>
                </a:lnTo>
                <a:lnTo>
                  <a:pt x="509" y="84"/>
                </a:lnTo>
                <a:lnTo>
                  <a:pt x="509" y="89"/>
                </a:lnTo>
                <a:lnTo>
                  <a:pt x="509" y="89"/>
                </a:lnTo>
                <a:lnTo>
                  <a:pt x="506" y="89"/>
                </a:lnTo>
                <a:lnTo>
                  <a:pt x="506" y="89"/>
                </a:lnTo>
                <a:lnTo>
                  <a:pt x="504" y="89"/>
                </a:lnTo>
                <a:lnTo>
                  <a:pt x="504" y="89"/>
                </a:lnTo>
                <a:lnTo>
                  <a:pt x="504" y="94"/>
                </a:lnTo>
                <a:lnTo>
                  <a:pt x="504" y="94"/>
                </a:lnTo>
                <a:lnTo>
                  <a:pt x="506" y="91"/>
                </a:lnTo>
                <a:lnTo>
                  <a:pt x="506" y="91"/>
                </a:lnTo>
                <a:lnTo>
                  <a:pt x="509" y="89"/>
                </a:lnTo>
                <a:lnTo>
                  <a:pt x="509" y="89"/>
                </a:lnTo>
                <a:lnTo>
                  <a:pt x="511" y="89"/>
                </a:lnTo>
                <a:lnTo>
                  <a:pt x="511" y="89"/>
                </a:lnTo>
                <a:lnTo>
                  <a:pt x="511" y="86"/>
                </a:lnTo>
                <a:lnTo>
                  <a:pt x="511" y="86"/>
                </a:lnTo>
                <a:lnTo>
                  <a:pt x="511" y="86"/>
                </a:lnTo>
                <a:lnTo>
                  <a:pt x="511" y="84"/>
                </a:lnTo>
                <a:lnTo>
                  <a:pt x="511" y="84"/>
                </a:lnTo>
                <a:lnTo>
                  <a:pt x="516" y="81"/>
                </a:lnTo>
                <a:lnTo>
                  <a:pt x="516" y="81"/>
                </a:lnTo>
                <a:lnTo>
                  <a:pt x="521" y="81"/>
                </a:lnTo>
                <a:lnTo>
                  <a:pt x="521" y="81"/>
                </a:lnTo>
                <a:lnTo>
                  <a:pt x="521" y="81"/>
                </a:lnTo>
                <a:lnTo>
                  <a:pt x="521" y="84"/>
                </a:lnTo>
                <a:lnTo>
                  <a:pt x="521" y="84"/>
                </a:lnTo>
                <a:lnTo>
                  <a:pt x="519" y="91"/>
                </a:lnTo>
                <a:lnTo>
                  <a:pt x="519" y="91"/>
                </a:lnTo>
                <a:lnTo>
                  <a:pt x="514" y="91"/>
                </a:lnTo>
                <a:lnTo>
                  <a:pt x="514" y="91"/>
                </a:lnTo>
                <a:lnTo>
                  <a:pt x="511" y="94"/>
                </a:lnTo>
                <a:lnTo>
                  <a:pt x="511" y="94"/>
                </a:lnTo>
                <a:lnTo>
                  <a:pt x="514" y="96"/>
                </a:lnTo>
                <a:lnTo>
                  <a:pt x="514" y="96"/>
                </a:lnTo>
                <a:lnTo>
                  <a:pt x="516" y="96"/>
                </a:lnTo>
                <a:lnTo>
                  <a:pt x="516" y="96"/>
                </a:lnTo>
                <a:lnTo>
                  <a:pt x="519" y="99"/>
                </a:lnTo>
                <a:lnTo>
                  <a:pt x="519" y="99"/>
                </a:lnTo>
                <a:lnTo>
                  <a:pt x="519" y="101"/>
                </a:lnTo>
                <a:lnTo>
                  <a:pt x="519" y="101"/>
                </a:lnTo>
                <a:lnTo>
                  <a:pt x="521" y="104"/>
                </a:lnTo>
                <a:lnTo>
                  <a:pt x="521" y="104"/>
                </a:lnTo>
                <a:lnTo>
                  <a:pt x="519" y="104"/>
                </a:lnTo>
                <a:lnTo>
                  <a:pt x="519" y="104"/>
                </a:lnTo>
                <a:lnTo>
                  <a:pt x="516" y="101"/>
                </a:lnTo>
                <a:lnTo>
                  <a:pt x="516" y="101"/>
                </a:lnTo>
                <a:lnTo>
                  <a:pt x="511" y="101"/>
                </a:lnTo>
                <a:lnTo>
                  <a:pt x="511" y="101"/>
                </a:lnTo>
                <a:lnTo>
                  <a:pt x="509" y="101"/>
                </a:lnTo>
                <a:lnTo>
                  <a:pt x="509" y="101"/>
                </a:lnTo>
                <a:lnTo>
                  <a:pt x="506" y="101"/>
                </a:lnTo>
                <a:lnTo>
                  <a:pt x="506" y="101"/>
                </a:lnTo>
                <a:lnTo>
                  <a:pt x="506" y="106"/>
                </a:lnTo>
                <a:lnTo>
                  <a:pt x="506" y="106"/>
                </a:lnTo>
                <a:lnTo>
                  <a:pt x="509" y="111"/>
                </a:lnTo>
                <a:lnTo>
                  <a:pt x="509" y="111"/>
                </a:lnTo>
                <a:close/>
                <a:moveTo>
                  <a:pt x="497" y="118"/>
                </a:moveTo>
                <a:lnTo>
                  <a:pt x="497" y="118"/>
                </a:lnTo>
                <a:lnTo>
                  <a:pt x="497" y="121"/>
                </a:lnTo>
                <a:lnTo>
                  <a:pt x="497" y="121"/>
                </a:lnTo>
                <a:lnTo>
                  <a:pt x="494" y="121"/>
                </a:lnTo>
                <a:lnTo>
                  <a:pt x="494" y="121"/>
                </a:lnTo>
                <a:lnTo>
                  <a:pt x="497" y="118"/>
                </a:lnTo>
                <a:lnTo>
                  <a:pt x="497" y="118"/>
                </a:lnTo>
                <a:lnTo>
                  <a:pt x="497" y="118"/>
                </a:lnTo>
                <a:close/>
                <a:moveTo>
                  <a:pt x="497" y="113"/>
                </a:moveTo>
                <a:lnTo>
                  <a:pt x="497" y="113"/>
                </a:lnTo>
                <a:lnTo>
                  <a:pt x="494" y="113"/>
                </a:lnTo>
                <a:lnTo>
                  <a:pt x="494" y="113"/>
                </a:lnTo>
                <a:lnTo>
                  <a:pt x="494" y="116"/>
                </a:lnTo>
                <a:lnTo>
                  <a:pt x="494" y="116"/>
                </a:lnTo>
                <a:lnTo>
                  <a:pt x="497" y="116"/>
                </a:lnTo>
                <a:lnTo>
                  <a:pt x="497" y="116"/>
                </a:lnTo>
                <a:lnTo>
                  <a:pt x="497" y="113"/>
                </a:lnTo>
                <a:lnTo>
                  <a:pt x="497" y="113"/>
                </a:lnTo>
                <a:lnTo>
                  <a:pt x="497" y="113"/>
                </a:lnTo>
                <a:close/>
                <a:moveTo>
                  <a:pt x="499" y="113"/>
                </a:moveTo>
                <a:lnTo>
                  <a:pt x="499" y="113"/>
                </a:lnTo>
                <a:lnTo>
                  <a:pt x="499" y="116"/>
                </a:lnTo>
                <a:lnTo>
                  <a:pt x="499" y="116"/>
                </a:lnTo>
                <a:lnTo>
                  <a:pt x="499" y="118"/>
                </a:lnTo>
                <a:lnTo>
                  <a:pt x="499" y="118"/>
                </a:lnTo>
                <a:lnTo>
                  <a:pt x="499" y="121"/>
                </a:lnTo>
                <a:lnTo>
                  <a:pt x="499" y="121"/>
                </a:lnTo>
                <a:lnTo>
                  <a:pt x="501" y="121"/>
                </a:lnTo>
                <a:lnTo>
                  <a:pt x="501" y="121"/>
                </a:lnTo>
                <a:lnTo>
                  <a:pt x="504" y="121"/>
                </a:lnTo>
                <a:lnTo>
                  <a:pt x="504" y="121"/>
                </a:lnTo>
                <a:lnTo>
                  <a:pt x="506" y="121"/>
                </a:lnTo>
                <a:lnTo>
                  <a:pt x="506" y="121"/>
                </a:lnTo>
                <a:lnTo>
                  <a:pt x="504" y="118"/>
                </a:lnTo>
                <a:lnTo>
                  <a:pt x="504" y="118"/>
                </a:lnTo>
                <a:lnTo>
                  <a:pt x="501" y="118"/>
                </a:lnTo>
                <a:lnTo>
                  <a:pt x="501" y="118"/>
                </a:lnTo>
                <a:lnTo>
                  <a:pt x="504" y="116"/>
                </a:lnTo>
                <a:lnTo>
                  <a:pt x="504" y="116"/>
                </a:lnTo>
                <a:lnTo>
                  <a:pt x="501" y="113"/>
                </a:lnTo>
                <a:lnTo>
                  <a:pt x="501" y="113"/>
                </a:lnTo>
                <a:lnTo>
                  <a:pt x="499" y="113"/>
                </a:lnTo>
                <a:lnTo>
                  <a:pt x="499" y="113"/>
                </a:lnTo>
                <a:close/>
                <a:moveTo>
                  <a:pt x="499" y="133"/>
                </a:moveTo>
                <a:lnTo>
                  <a:pt x="499" y="133"/>
                </a:lnTo>
                <a:lnTo>
                  <a:pt x="504" y="128"/>
                </a:lnTo>
                <a:lnTo>
                  <a:pt x="504" y="128"/>
                </a:lnTo>
                <a:lnTo>
                  <a:pt x="506" y="128"/>
                </a:lnTo>
                <a:lnTo>
                  <a:pt x="506" y="128"/>
                </a:lnTo>
                <a:lnTo>
                  <a:pt x="511" y="133"/>
                </a:lnTo>
                <a:lnTo>
                  <a:pt x="511" y="133"/>
                </a:lnTo>
                <a:lnTo>
                  <a:pt x="509" y="136"/>
                </a:lnTo>
                <a:lnTo>
                  <a:pt x="509" y="136"/>
                </a:lnTo>
                <a:lnTo>
                  <a:pt x="506" y="136"/>
                </a:lnTo>
                <a:lnTo>
                  <a:pt x="506" y="136"/>
                </a:lnTo>
                <a:lnTo>
                  <a:pt x="504" y="136"/>
                </a:lnTo>
                <a:lnTo>
                  <a:pt x="504" y="136"/>
                </a:lnTo>
                <a:lnTo>
                  <a:pt x="504" y="136"/>
                </a:lnTo>
                <a:lnTo>
                  <a:pt x="499" y="133"/>
                </a:lnTo>
                <a:lnTo>
                  <a:pt x="499" y="133"/>
                </a:lnTo>
                <a:lnTo>
                  <a:pt x="499" y="133"/>
                </a:lnTo>
                <a:close/>
                <a:moveTo>
                  <a:pt x="543" y="133"/>
                </a:moveTo>
                <a:lnTo>
                  <a:pt x="543" y="133"/>
                </a:lnTo>
                <a:lnTo>
                  <a:pt x="538" y="136"/>
                </a:lnTo>
                <a:lnTo>
                  <a:pt x="538" y="136"/>
                </a:lnTo>
                <a:lnTo>
                  <a:pt x="536" y="136"/>
                </a:lnTo>
                <a:lnTo>
                  <a:pt x="536" y="136"/>
                </a:lnTo>
                <a:lnTo>
                  <a:pt x="536" y="138"/>
                </a:lnTo>
                <a:lnTo>
                  <a:pt x="536" y="138"/>
                </a:lnTo>
                <a:lnTo>
                  <a:pt x="541" y="140"/>
                </a:lnTo>
                <a:lnTo>
                  <a:pt x="541" y="140"/>
                </a:lnTo>
                <a:lnTo>
                  <a:pt x="546" y="138"/>
                </a:lnTo>
                <a:lnTo>
                  <a:pt x="546" y="138"/>
                </a:lnTo>
                <a:lnTo>
                  <a:pt x="546" y="138"/>
                </a:lnTo>
                <a:lnTo>
                  <a:pt x="543" y="136"/>
                </a:lnTo>
                <a:lnTo>
                  <a:pt x="543" y="136"/>
                </a:lnTo>
                <a:lnTo>
                  <a:pt x="543" y="133"/>
                </a:lnTo>
                <a:lnTo>
                  <a:pt x="543" y="133"/>
                </a:lnTo>
                <a:close/>
                <a:moveTo>
                  <a:pt x="516" y="165"/>
                </a:moveTo>
                <a:lnTo>
                  <a:pt x="516" y="165"/>
                </a:lnTo>
                <a:lnTo>
                  <a:pt x="519" y="163"/>
                </a:lnTo>
                <a:lnTo>
                  <a:pt x="519" y="163"/>
                </a:lnTo>
                <a:lnTo>
                  <a:pt x="519" y="165"/>
                </a:lnTo>
                <a:lnTo>
                  <a:pt x="519" y="165"/>
                </a:lnTo>
                <a:lnTo>
                  <a:pt x="516" y="165"/>
                </a:lnTo>
                <a:lnTo>
                  <a:pt x="516" y="165"/>
                </a:lnTo>
                <a:lnTo>
                  <a:pt x="516" y="165"/>
                </a:lnTo>
                <a:close/>
                <a:moveTo>
                  <a:pt x="514" y="165"/>
                </a:moveTo>
                <a:lnTo>
                  <a:pt x="514" y="165"/>
                </a:lnTo>
                <a:lnTo>
                  <a:pt x="516" y="165"/>
                </a:lnTo>
                <a:lnTo>
                  <a:pt x="516" y="165"/>
                </a:lnTo>
                <a:lnTo>
                  <a:pt x="516" y="165"/>
                </a:lnTo>
                <a:lnTo>
                  <a:pt x="514" y="165"/>
                </a:lnTo>
                <a:lnTo>
                  <a:pt x="514" y="165"/>
                </a:lnTo>
                <a:lnTo>
                  <a:pt x="514" y="165"/>
                </a:lnTo>
                <a:close/>
                <a:moveTo>
                  <a:pt x="506" y="165"/>
                </a:moveTo>
                <a:lnTo>
                  <a:pt x="506" y="165"/>
                </a:lnTo>
                <a:lnTo>
                  <a:pt x="509" y="165"/>
                </a:lnTo>
                <a:lnTo>
                  <a:pt x="509" y="165"/>
                </a:lnTo>
                <a:lnTo>
                  <a:pt x="511" y="163"/>
                </a:lnTo>
                <a:lnTo>
                  <a:pt x="511" y="163"/>
                </a:lnTo>
                <a:lnTo>
                  <a:pt x="511" y="165"/>
                </a:lnTo>
                <a:lnTo>
                  <a:pt x="511" y="165"/>
                </a:lnTo>
                <a:lnTo>
                  <a:pt x="511" y="168"/>
                </a:lnTo>
                <a:lnTo>
                  <a:pt x="511" y="168"/>
                </a:lnTo>
                <a:lnTo>
                  <a:pt x="509" y="165"/>
                </a:lnTo>
                <a:lnTo>
                  <a:pt x="509" y="165"/>
                </a:lnTo>
                <a:lnTo>
                  <a:pt x="509" y="168"/>
                </a:lnTo>
                <a:lnTo>
                  <a:pt x="509" y="168"/>
                </a:lnTo>
                <a:lnTo>
                  <a:pt x="506" y="165"/>
                </a:lnTo>
                <a:lnTo>
                  <a:pt x="506" y="165"/>
                </a:lnTo>
                <a:close/>
                <a:moveTo>
                  <a:pt x="504" y="155"/>
                </a:moveTo>
                <a:lnTo>
                  <a:pt x="504" y="155"/>
                </a:lnTo>
                <a:lnTo>
                  <a:pt x="504" y="158"/>
                </a:lnTo>
                <a:lnTo>
                  <a:pt x="504" y="158"/>
                </a:lnTo>
                <a:lnTo>
                  <a:pt x="504" y="158"/>
                </a:lnTo>
                <a:lnTo>
                  <a:pt x="504" y="155"/>
                </a:lnTo>
                <a:lnTo>
                  <a:pt x="504" y="155"/>
                </a:lnTo>
                <a:close/>
                <a:moveTo>
                  <a:pt x="509" y="153"/>
                </a:moveTo>
                <a:lnTo>
                  <a:pt x="509" y="153"/>
                </a:lnTo>
                <a:lnTo>
                  <a:pt x="504" y="153"/>
                </a:lnTo>
                <a:lnTo>
                  <a:pt x="504" y="153"/>
                </a:lnTo>
                <a:lnTo>
                  <a:pt x="506" y="155"/>
                </a:lnTo>
                <a:lnTo>
                  <a:pt x="506" y="155"/>
                </a:lnTo>
                <a:lnTo>
                  <a:pt x="506" y="155"/>
                </a:lnTo>
                <a:lnTo>
                  <a:pt x="509" y="153"/>
                </a:lnTo>
                <a:lnTo>
                  <a:pt x="509" y="153"/>
                </a:lnTo>
                <a:close/>
                <a:moveTo>
                  <a:pt x="509" y="163"/>
                </a:moveTo>
                <a:lnTo>
                  <a:pt x="509" y="163"/>
                </a:lnTo>
                <a:lnTo>
                  <a:pt x="511" y="158"/>
                </a:lnTo>
                <a:lnTo>
                  <a:pt x="511" y="158"/>
                </a:lnTo>
                <a:lnTo>
                  <a:pt x="514" y="160"/>
                </a:lnTo>
                <a:lnTo>
                  <a:pt x="514" y="160"/>
                </a:lnTo>
                <a:lnTo>
                  <a:pt x="516" y="163"/>
                </a:lnTo>
                <a:lnTo>
                  <a:pt x="516" y="163"/>
                </a:lnTo>
                <a:lnTo>
                  <a:pt x="519" y="163"/>
                </a:lnTo>
                <a:lnTo>
                  <a:pt x="519" y="163"/>
                </a:lnTo>
                <a:lnTo>
                  <a:pt x="521" y="158"/>
                </a:lnTo>
                <a:lnTo>
                  <a:pt x="521" y="158"/>
                </a:lnTo>
                <a:lnTo>
                  <a:pt x="524" y="158"/>
                </a:lnTo>
                <a:lnTo>
                  <a:pt x="524" y="158"/>
                </a:lnTo>
                <a:lnTo>
                  <a:pt x="524" y="163"/>
                </a:lnTo>
                <a:lnTo>
                  <a:pt x="524" y="163"/>
                </a:lnTo>
                <a:lnTo>
                  <a:pt x="531" y="163"/>
                </a:lnTo>
                <a:lnTo>
                  <a:pt x="531" y="163"/>
                </a:lnTo>
                <a:lnTo>
                  <a:pt x="533" y="160"/>
                </a:lnTo>
                <a:lnTo>
                  <a:pt x="533" y="160"/>
                </a:lnTo>
                <a:lnTo>
                  <a:pt x="536" y="160"/>
                </a:lnTo>
                <a:lnTo>
                  <a:pt x="536" y="160"/>
                </a:lnTo>
                <a:lnTo>
                  <a:pt x="541" y="165"/>
                </a:lnTo>
                <a:lnTo>
                  <a:pt x="541" y="165"/>
                </a:lnTo>
                <a:lnTo>
                  <a:pt x="543" y="165"/>
                </a:lnTo>
                <a:lnTo>
                  <a:pt x="543" y="165"/>
                </a:lnTo>
                <a:lnTo>
                  <a:pt x="548" y="168"/>
                </a:lnTo>
                <a:lnTo>
                  <a:pt x="548" y="168"/>
                </a:lnTo>
                <a:lnTo>
                  <a:pt x="551" y="168"/>
                </a:lnTo>
                <a:lnTo>
                  <a:pt x="551" y="168"/>
                </a:lnTo>
                <a:lnTo>
                  <a:pt x="553" y="165"/>
                </a:lnTo>
                <a:lnTo>
                  <a:pt x="553" y="165"/>
                </a:lnTo>
                <a:lnTo>
                  <a:pt x="551" y="160"/>
                </a:lnTo>
                <a:lnTo>
                  <a:pt x="551" y="160"/>
                </a:lnTo>
                <a:lnTo>
                  <a:pt x="543" y="155"/>
                </a:lnTo>
                <a:lnTo>
                  <a:pt x="543" y="155"/>
                </a:lnTo>
                <a:lnTo>
                  <a:pt x="536" y="155"/>
                </a:lnTo>
                <a:lnTo>
                  <a:pt x="536" y="155"/>
                </a:lnTo>
                <a:lnTo>
                  <a:pt x="533" y="150"/>
                </a:lnTo>
                <a:lnTo>
                  <a:pt x="533" y="150"/>
                </a:lnTo>
                <a:lnTo>
                  <a:pt x="531" y="150"/>
                </a:lnTo>
                <a:lnTo>
                  <a:pt x="531" y="150"/>
                </a:lnTo>
                <a:lnTo>
                  <a:pt x="529" y="153"/>
                </a:lnTo>
                <a:lnTo>
                  <a:pt x="529" y="153"/>
                </a:lnTo>
                <a:lnTo>
                  <a:pt x="524" y="153"/>
                </a:lnTo>
                <a:lnTo>
                  <a:pt x="524" y="153"/>
                </a:lnTo>
                <a:lnTo>
                  <a:pt x="521" y="153"/>
                </a:lnTo>
                <a:lnTo>
                  <a:pt x="521" y="153"/>
                </a:lnTo>
                <a:lnTo>
                  <a:pt x="519" y="153"/>
                </a:lnTo>
                <a:lnTo>
                  <a:pt x="519" y="153"/>
                </a:lnTo>
                <a:lnTo>
                  <a:pt x="511" y="153"/>
                </a:lnTo>
                <a:lnTo>
                  <a:pt x="511" y="153"/>
                </a:lnTo>
                <a:lnTo>
                  <a:pt x="509" y="155"/>
                </a:lnTo>
                <a:lnTo>
                  <a:pt x="509" y="155"/>
                </a:lnTo>
                <a:lnTo>
                  <a:pt x="509" y="155"/>
                </a:lnTo>
                <a:lnTo>
                  <a:pt x="506" y="158"/>
                </a:lnTo>
                <a:lnTo>
                  <a:pt x="506" y="158"/>
                </a:lnTo>
                <a:lnTo>
                  <a:pt x="506" y="160"/>
                </a:lnTo>
                <a:lnTo>
                  <a:pt x="506" y="160"/>
                </a:lnTo>
                <a:lnTo>
                  <a:pt x="506" y="163"/>
                </a:lnTo>
                <a:lnTo>
                  <a:pt x="506" y="163"/>
                </a:lnTo>
                <a:lnTo>
                  <a:pt x="509" y="163"/>
                </a:lnTo>
                <a:lnTo>
                  <a:pt x="509" y="163"/>
                </a:lnTo>
                <a:close/>
                <a:moveTo>
                  <a:pt x="479" y="158"/>
                </a:moveTo>
                <a:lnTo>
                  <a:pt x="479" y="158"/>
                </a:lnTo>
                <a:lnTo>
                  <a:pt x="482" y="158"/>
                </a:lnTo>
                <a:lnTo>
                  <a:pt x="482" y="158"/>
                </a:lnTo>
                <a:lnTo>
                  <a:pt x="484" y="155"/>
                </a:lnTo>
                <a:lnTo>
                  <a:pt x="484" y="155"/>
                </a:lnTo>
                <a:lnTo>
                  <a:pt x="489" y="155"/>
                </a:lnTo>
                <a:lnTo>
                  <a:pt x="489" y="155"/>
                </a:lnTo>
                <a:lnTo>
                  <a:pt x="494" y="158"/>
                </a:lnTo>
                <a:lnTo>
                  <a:pt x="494" y="158"/>
                </a:lnTo>
                <a:lnTo>
                  <a:pt x="494" y="160"/>
                </a:lnTo>
                <a:lnTo>
                  <a:pt x="494" y="160"/>
                </a:lnTo>
                <a:lnTo>
                  <a:pt x="497" y="163"/>
                </a:lnTo>
                <a:lnTo>
                  <a:pt x="497" y="163"/>
                </a:lnTo>
                <a:lnTo>
                  <a:pt x="497" y="165"/>
                </a:lnTo>
                <a:lnTo>
                  <a:pt x="497" y="165"/>
                </a:lnTo>
                <a:lnTo>
                  <a:pt x="494" y="165"/>
                </a:lnTo>
                <a:lnTo>
                  <a:pt x="494" y="165"/>
                </a:lnTo>
                <a:lnTo>
                  <a:pt x="492" y="168"/>
                </a:lnTo>
                <a:lnTo>
                  <a:pt x="492" y="168"/>
                </a:lnTo>
                <a:lnTo>
                  <a:pt x="487" y="168"/>
                </a:lnTo>
                <a:lnTo>
                  <a:pt x="487" y="168"/>
                </a:lnTo>
                <a:lnTo>
                  <a:pt x="484" y="168"/>
                </a:lnTo>
                <a:lnTo>
                  <a:pt x="484" y="168"/>
                </a:lnTo>
                <a:lnTo>
                  <a:pt x="482" y="168"/>
                </a:lnTo>
                <a:lnTo>
                  <a:pt x="482" y="168"/>
                </a:lnTo>
                <a:lnTo>
                  <a:pt x="477" y="165"/>
                </a:lnTo>
                <a:lnTo>
                  <a:pt x="477" y="165"/>
                </a:lnTo>
                <a:lnTo>
                  <a:pt x="474" y="163"/>
                </a:lnTo>
                <a:lnTo>
                  <a:pt x="474" y="163"/>
                </a:lnTo>
                <a:lnTo>
                  <a:pt x="474" y="158"/>
                </a:lnTo>
                <a:lnTo>
                  <a:pt x="474" y="158"/>
                </a:lnTo>
                <a:lnTo>
                  <a:pt x="479" y="158"/>
                </a:lnTo>
                <a:lnTo>
                  <a:pt x="479" y="158"/>
                </a:lnTo>
                <a:close/>
                <a:moveTo>
                  <a:pt x="393" y="222"/>
                </a:moveTo>
                <a:lnTo>
                  <a:pt x="393" y="222"/>
                </a:lnTo>
                <a:lnTo>
                  <a:pt x="391" y="219"/>
                </a:lnTo>
                <a:lnTo>
                  <a:pt x="391" y="219"/>
                </a:lnTo>
                <a:lnTo>
                  <a:pt x="388" y="222"/>
                </a:lnTo>
                <a:lnTo>
                  <a:pt x="388" y="222"/>
                </a:lnTo>
                <a:lnTo>
                  <a:pt x="391" y="222"/>
                </a:lnTo>
                <a:lnTo>
                  <a:pt x="391" y="222"/>
                </a:lnTo>
                <a:lnTo>
                  <a:pt x="393" y="222"/>
                </a:lnTo>
                <a:lnTo>
                  <a:pt x="393" y="222"/>
                </a:lnTo>
                <a:close/>
                <a:moveTo>
                  <a:pt x="388" y="199"/>
                </a:moveTo>
                <a:lnTo>
                  <a:pt x="388" y="199"/>
                </a:lnTo>
                <a:lnTo>
                  <a:pt x="391" y="204"/>
                </a:lnTo>
                <a:lnTo>
                  <a:pt x="391" y="204"/>
                </a:lnTo>
                <a:lnTo>
                  <a:pt x="391" y="207"/>
                </a:lnTo>
                <a:lnTo>
                  <a:pt x="391" y="207"/>
                </a:lnTo>
                <a:lnTo>
                  <a:pt x="391" y="209"/>
                </a:lnTo>
                <a:lnTo>
                  <a:pt x="391" y="209"/>
                </a:lnTo>
                <a:lnTo>
                  <a:pt x="388" y="207"/>
                </a:lnTo>
                <a:lnTo>
                  <a:pt x="388" y="207"/>
                </a:lnTo>
                <a:lnTo>
                  <a:pt x="388" y="204"/>
                </a:lnTo>
                <a:lnTo>
                  <a:pt x="388" y="204"/>
                </a:lnTo>
                <a:lnTo>
                  <a:pt x="388" y="202"/>
                </a:lnTo>
                <a:lnTo>
                  <a:pt x="388" y="202"/>
                </a:lnTo>
                <a:lnTo>
                  <a:pt x="388" y="199"/>
                </a:lnTo>
                <a:lnTo>
                  <a:pt x="388" y="199"/>
                </a:lnTo>
                <a:lnTo>
                  <a:pt x="388" y="199"/>
                </a:lnTo>
                <a:close/>
                <a:moveTo>
                  <a:pt x="474" y="140"/>
                </a:moveTo>
                <a:lnTo>
                  <a:pt x="474" y="140"/>
                </a:lnTo>
                <a:lnTo>
                  <a:pt x="474" y="143"/>
                </a:lnTo>
                <a:lnTo>
                  <a:pt x="474" y="143"/>
                </a:lnTo>
                <a:lnTo>
                  <a:pt x="477" y="145"/>
                </a:lnTo>
                <a:lnTo>
                  <a:pt x="477" y="145"/>
                </a:lnTo>
                <a:lnTo>
                  <a:pt x="477" y="148"/>
                </a:lnTo>
                <a:lnTo>
                  <a:pt x="477" y="148"/>
                </a:lnTo>
                <a:lnTo>
                  <a:pt x="477" y="145"/>
                </a:lnTo>
                <a:lnTo>
                  <a:pt x="477" y="145"/>
                </a:lnTo>
                <a:lnTo>
                  <a:pt x="474" y="143"/>
                </a:lnTo>
                <a:lnTo>
                  <a:pt x="474" y="143"/>
                </a:lnTo>
                <a:lnTo>
                  <a:pt x="474" y="140"/>
                </a:lnTo>
                <a:lnTo>
                  <a:pt x="474" y="140"/>
                </a:lnTo>
                <a:lnTo>
                  <a:pt x="474" y="140"/>
                </a:lnTo>
                <a:close/>
                <a:moveTo>
                  <a:pt x="467" y="136"/>
                </a:moveTo>
                <a:lnTo>
                  <a:pt x="467" y="136"/>
                </a:lnTo>
                <a:lnTo>
                  <a:pt x="470" y="136"/>
                </a:lnTo>
                <a:lnTo>
                  <a:pt x="470" y="136"/>
                </a:lnTo>
                <a:lnTo>
                  <a:pt x="472" y="136"/>
                </a:lnTo>
                <a:lnTo>
                  <a:pt x="472" y="136"/>
                </a:lnTo>
                <a:lnTo>
                  <a:pt x="472" y="136"/>
                </a:lnTo>
                <a:lnTo>
                  <a:pt x="479" y="136"/>
                </a:lnTo>
                <a:lnTo>
                  <a:pt x="479" y="136"/>
                </a:lnTo>
                <a:lnTo>
                  <a:pt x="482" y="136"/>
                </a:lnTo>
                <a:lnTo>
                  <a:pt x="482" y="136"/>
                </a:lnTo>
                <a:lnTo>
                  <a:pt x="479" y="138"/>
                </a:lnTo>
                <a:lnTo>
                  <a:pt x="479" y="138"/>
                </a:lnTo>
                <a:lnTo>
                  <a:pt x="472" y="138"/>
                </a:lnTo>
                <a:lnTo>
                  <a:pt x="472" y="138"/>
                </a:lnTo>
                <a:lnTo>
                  <a:pt x="467" y="138"/>
                </a:lnTo>
                <a:lnTo>
                  <a:pt x="467" y="138"/>
                </a:lnTo>
                <a:lnTo>
                  <a:pt x="467" y="136"/>
                </a:lnTo>
                <a:lnTo>
                  <a:pt x="467" y="136"/>
                </a:lnTo>
                <a:lnTo>
                  <a:pt x="467" y="136"/>
                </a:lnTo>
                <a:close/>
                <a:moveTo>
                  <a:pt x="452" y="136"/>
                </a:moveTo>
                <a:lnTo>
                  <a:pt x="452" y="136"/>
                </a:lnTo>
                <a:lnTo>
                  <a:pt x="452" y="133"/>
                </a:lnTo>
                <a:lnTo>
                  <a:pt x="452" y="133"/>
                </a:lnTo>
                <a:lnTo>
                  <a:pt x="455" y="136"/>
                </a:lnTo>
                <a:lnTo>
                  <a:pt x="455" y="136"/>
                </a:lnTo>
                <a:lnTo>
                  <a:pt x="457" y="133"/>
                </a:lnTo>
                <a:lnTo>
                  <a:pt x="457" y="133"/>
                </a:lnTo>
                <a:lnTo>
                  <a:pt x="460" y="136"/>
                </a:lnTo>
                <a:lnTo>
                  <a:pt x="460" y="136"/>
                </a:lnTo>
                <a:lnTo>
                  <a:pt x="462" y="136"/>
                </a:lnTo>
                <a:lnTo>
                  <a:pt x="462" y="136"/>
                </a:lnTo>
                <a:lnTo>
                  <a:pt x="465" y="133"/>
                </a:lnTo>
                <a:lnTo>
                  <a:pt x="465" y="133"/>
                </a:lnTo>
                <a:lnTo>
                  <a:pt x="467" y="136"/>
                </a:lnTo>
                <a:lnTo>
                  <a:pt x="467" y="136"/>
                </a:lnTo>
                <a:lnTo>
                  <a:pt x="467" y="138"/>
                </a:lnTo>
                <a:lnTo>
                  <a:pt x="467" y="138"/>
                </a:lnTo>
                <a:lnTo>
                  <a:pt x="465" y="138"/>
                </a:lnTo>
                <a:lnTo>
                  <a:pt x="465" y="138"/>
                </a:lnTo>
                <a:lnTo>
                  <a:pt x="460" y="138"/>
                </a:lnTo>
                <a:lnTo>
                  <a:pt x="460" y="138"/>
                </a:lnTo>
                <a:lnTo>
                  <a:pt x="460" y="138"/>
                </a:lnTo>
                <a:lnTo>
                  <a:pt x="455" y="140"/>
                </a:lnTo>
                <a:lnTo>
                  <a:pt x="455" y="140"/>
                </a:lnTo>
                <a:lnTo>
                  <a:pt x="452" y="138"/>
                </a:lnTo>
                <a:lnTo>
                  <a:pt x="452" y="138"/>
                </a:lnTo>
                <a:lnTo>
                  <a:pt x="452" y="138"/>
                </a:lnTo>
                <a:lnTo>
                  <a:pt x="452" y="136"/>
                </a:lnTo>
                <a:lnTo>
                  <a:pt x="452" y="136"/>
                </a:lnTo>
                <a:close/>
                <a:moveTo>
                  <a:pt x="425" y="192"/>
                </a:moveTo>
                <a:lnTo>
                  <a:pt x="425" y="192"/>
                </a:lnTo>
                <a:lnTo>
                  <a:pt x="428" y="190"/>
                </a:lnTo>
                <a:lnTo>
                  <a:pt x="428" y="190"/>
                </a:lnTo>
                <a:lnTo>
                  <a:pt x="428" y="185"/>
                </a:lnTo>
                <a:lnTo>
                  <a:pt x="428" y="185"/>
                </a:lnTo>
                <a:lnTo>
                  <a:pt x="428" y="180"/>
                </a:lnTo>
                <a:lnTo>
                  <a:pt x="428" y="180"/>
                </a:lnTo>
                <a:lnTo>
                  <a:pt x="430" y="177"/>
                </a:lnTo>
                <a:lnTo>
                  <a:pt x="430" y="177"/>
                </a:lnTo>
                <a:lnTo>
                  <a:pt x="433" y="177"/>
                </a:lnTo>
                <a:lnTo>
                  <a:pt x="433" y="177"/>
                </a:lnTo>
                <a:lnTo>
                  <a:pt x="433" y="180"/>
                </a:lnTo>
                <a:lnTo>
                  <a:pt x="433" y="180"/>
                </a:lnTo>
                <a:lnTo>
                  <a:pt x="433" y="182"/>
                </a:lnTo>
                <a:lnTo>
                  <a:pt x="433" y="182"/>
                </a:lnTo>
                <a:lnTo>
                  <a:pt x="433" y="185"/>
                </a:lnTo>
                <a:lnTo>
                  <a:pt x="433" y="185"/>
                </a:lnTo>
                <a:lnTo>
                  <a:pt x="433" y="182"/>
                </a:lnTo>
                <a:lnTo>
                  <a:pt x="433" y="182"/>
                </a:lnTo>
                <a:lnTo>
                  <a:pt x="433" y="185"/>
                </a:lnTo>
                <a:lnTo>
                  <a:pt x="433" y="185"/>
                </a:lnTo>
                <a:lnTo>
                  <a:pt x="430" y="185"/>
                </a:lnTo>
                <a:lnTo>
                  <a:pt x="430" y="185"/>
                </a:lnTo>
                <a:lnTo>
                  <a:pt x="428" y="187"/>
                </a:lnTo>
                <a:lnTo>
                  <a:pt x="428" y="187"/>
                </a:lnTo>
                <a:lnTo>
                  <a:pt x="430" y="190"/>
                </a:lnTo>
                <a:lnTo>
                  <a:pt x="430" y="190"/>
                </a:lnTo>
                <a:lnTo>
                  <a:pt x="433" y="190"/>
                </a:lnTo>
                <a:lnTo>
                  <a:pt x="433" y="190"/>
                </a:lnTo>
                <a:lnTo>
                  <a:pt x="433" y="190"/>
                </a:lnTo>
                <a:lnTo>
                  <a:pt x="433" y="192"/>
                </a:lnTo>
                <a:lnTo>
                  <a:pt x="433" y="192"/>
                </a:lnTo>
                <a:lnTo>
                  <a:pt x="430" y="192"/>
                </a:lnTo>
                <a:lnTo>
                  <a:pt x="430" y="192"/>
                </a:lnTo>
                <a:lnTo>
                  <a:pt x="428" y="195"/>
                </a:lnTo>
                <a:lnTo>
                  <a:pt x="428" y="195"/>
                </a:lnTo>
                <a:lnTo>
                  <a:pt x="425" y="197"/>
                </a:lnTo>
                <a:lnTo>
                  <a:pt x="425" y="197"/>
                </a:lnTo>
                <a:lnTo>
                  <a:pt x="423" y="195"/>
                </a:lnTo>
                <a:lnTo>
                  <a:pt x="423" y="195"/>
                </a:lnTo>
                <a:lnTo>
                  <a:pt x="425" y="192"/>
                </a:lnTo>
                <a:lnTo>
                  <a:pt x="425" y="192"/>
                </a:lnTo>
                <a:close/>
                <a:moveTo>
                  <a:pt x="418" y="190"/>
                </a:moveTo>
                <a:lnTo>
                  <a:pt x="418" y="192"/>
                </a:lnTo>
                <a:lnTo>
                  <a:pt x="418" y="192"/>
                </a:lnTo>
                <a:lnTo>
                  <a:pt x="418" y="192"/>
                </a:lnTo>
                <a:lnTo>
                  <a:pt x="420" y="192"/>
                </a:lnTo>
                <a:lnTo>
                  <a:pt x="420" y="192"/>
                </a:lnTo>
                <a:lnTo>
                  <a:pt x="423" y="190"/>
                </a:lnTo>
                <a:lnTo>
                  <a:pt x="423" y="190"/>
                </a:lnTo>
                <a:lnTo>
                  <a:pt x="423" y="190"/>
                </a:lnTo>
                <a:lnTo>
                  <a:pt x="423" y="187"/>
                </a:lnTo>
                <a:lnTo>
                  <a:pt x="423" y="187"/>
                </a:lnTo>
                <a:lnTo>
                  <a:pt x="425" y="185"/>
                </a:lnTo>
                <a:lnTo>
                  <a:pt x="425" y="185"/>
                </a:lnTo>
                <a:lnTo>
                  <a:pt x="425" y="185"/>
                </a:lnTo>
                <a:lnTo>
                  <a:pt x="423" y="182"/>
                </a:lnTo>
                <a:lnTo>
                  <a:pt x="423" y="182"/>
                </a:lnTo>
                <a:lnTo>
                  <a:pt x="420" y="182"/>
                </a:lnTo>
                <a:lnTo>
                  <a:pt x="420" y="182"/>
                </a:lnTo>
                <a:lnTo>
                  <a:pt x="418" y="185"/>
                </a:lnTo>
                <a:lnTo>
                  <a:pt x="418" y="185"/>
                </a:lnTo>
                <a:lnTo>
                  <a:pt x="420" y="187"/>
                </a:lnTo>
                <a:lnTo>
                  <a:pt x="420" y="187"/>
                </a:lnTo>
                <a:lnTo>
                  <a:pt x="418" y="190"/>
                </a:lnTo>
                <a:lnTo>
                  <a:pt x="418" y="190"/>
                </a:lnTo>
                <a:close/>
                <a:moveTo>
                  <a:pt x="410" y="187"/>
                </a:moveTo>
                <a:lnTo>
                  <a:pt x="410" y="187"/>
                </a:lnTo>
                <a:lnTo>
                  <a:pt x="410" y="190"/>
                </a:lnTo>
                <a:lnTo>
                  <a:pt x="410" y="190"/>
                </a:lnTo>
                <a:lnTo>
                  <a:pt x="410" y="190"/>
                </a:lnTo>
                <a:lnTo>
                  <a:pt x="410" y="195"/>
                </a:lnTo>
                <a:lnTo>
                  <a:pt x="410" y="195"/>
                </a:lnTo>
                <a:lnTo>
                  <a:pt x="413" y="195"/>
                </a:lnTo>
                <a:lnTo>
                  <a:pt x="413" y="195"/>
                </a:lnTo>
                <a:lnTo>
                  <a:pt x="413" y="192"/>
                </a:lnTo>
                <a:lnTo>
                  <a:pt x="413" y="192"/>
                </a:lnTo>
                <a:lnTo>
                  <a:pt x="413" y="190"/>
                </a:lnTo>
                <a:lnTo>
                  <a:pt x="413" y="190"/>
                </a:lnTo>
                <a:lnTo>
                  <a:pt x="410" y="187"/>
                </a:lnTo>
                <a:lnTo>
                  <a:pt x="410" y="187"/>
                </a:lnTo>
                <a:lnTo>
                  <a:pt x="410" y="187"/>
                </a:lnTo>
                <a:close/>
                <a:moveTo>
                  <a:pt x="433" y="138"/>
                </a:moveTo>
                <a:lnTo>
                  <a:pt x="433" y="138"/>
                </a:lnTo>
                <a:lnTo>
                  <a:pt x="430" y="138"/>
                </a:lnTo>
                <a:lnTo>
                  <a:pt x="430" y="138"/>
                </a:lnTo>
                <a:lnTo>
                  <a:pt x="433" y="138"/>
                </a:lnTo>
                <a:lnTo>
                  <a:pt x="433" y="138"/>
                </a:lnTo>
                <a:lnTo>
                  <a:pt x="433" y="138"/>
                </a:lnTo>
                <a:close/>
                <a:moveTo>
                  <a:pt x="435" y="136"/>
                </a:moveTo>
                <a:lnTo>
                  <a:pt x="435" y="136"/>
                </a:lnTo>
                <a:lnTo>
                  <a:pt x="435" y="136"/>
                </a:lnTo>
                <a:lnTo>
                  <a:pt x="438" y="136"/>
                </a:lnTo>
                <a:lnTo>
                  <a:pt x="438" y="136"/>
                </a:lnTo>
                <a:lnTo>
                  <a:pt x="435" y="136"/>
                </a:lnTo>
                <a:lnTo>
                  <a:pt x="435" y="136"/>
                </a:lnTo>
                <a:close/>
                <a:moveTo>
                  <a:pt x="440" y="133"/>
                </a:moveTo>
                <a:lnTo>
                  <a:pt x="440" y="133"/>
                </a:lnTo>
                <a:lnTo>
                  <a:pt x="438" y="133"/>
                </a:lnTo>
                <a:lnTo>
                  <a:pt x="438" y="133"/>
                </a:lnTo>
                <a:lnTo>
                  <a:pt x="440" y="133"/>
                </a:lnTo>
                <a:lnTo>
                  <a:pt x="440" y="133"/>
                </a:lnTo>
                <a:lnTo>
                  <a:pt x="440" y="133"/>
                </a:lnTo>
                <a:close/>
                <a:moveTo>
                  <a:pt x="428" y="128"/>
                </a:moveTo>
                <a:lnTo>
                  <a:pt x="428" y="128"/>
                </a:lnTo>
                <a:lnTo>
                  <a:pt x="430" y="126"/>
                </a:lnTo>
                <a:lnTo>
                  <a:pt x="430" y="126"/>
                </a:lnTo>
                <a:lnTo>
                  <a:pt x="435" y="126"/>
                </a:lnTo>
                <a:lnTo>
                  <a:pt x="435" y="126"/>
                </a:lnTo>
                <a:lnTo>
                  <a:pt x="435" y="128"/>
                </a:lnTo>
                <a:lnTo>
                  <a:pt x="435" y="128"/>
                </a:lnTo>
                <a:lnTo>
                  <a:pt x="435" y="131"/>
                </a:lnTo>
                <a:lnTo>
                  <a:pt x="435" y="131"/>
                </a:lnTo>
                <a:lnTo>
                  <a:pt x="438" y="128"/>
                </a:lnTo>
                <a:lnTo>
                  <a:pt x="438" y="128"/>
                </a:lnTo>
                <a:lnTo>
                  <a:pt x="438" y="128"/>
                </a:lnTo>
                <a:lnTo>
                  <a:pt x="440" y="128"/>
                </a:lnTo>
                <a:lnTo>
                  <a:pt x="440" y="128"/>
                </a:lnTo>
                <a:lnTo>
                  <a:pt x="440" y="131"/>
                </a:lnTo>
                <a:lnTo>
                  <a:pt x="440" y="131"/>
                </a:lnTo>
                <a:lnTo>
                  <a:pt x="438" y="133"/>
                </a:lnTo>
                <a:lnTo>
                  <a:pt x="438" y="133"/>
                </a:lnTo>
                <a:lnTo>
                  <a:pt x="435" y="131"/>
                </a:lnTo>
                <a:lnTo>
                  <a:pt x="435" y="131"/>
                </a:lnTo>
                <a:lnTo>
                  <a:pt x="435" y="133"/>
                </a:lnTo>
                <a:lnTo>
                  <a:pt x="435" y="133"/>
                </a:lnTo>
                <a:lnTo>
                  <a:pt x="433" y="131"/>
                </a:lnTo>
                <a:lnTo>
                  <a:pt x="433" y="131"/>
                </a:lnTo>
                <a:lnTo>
                  <a:pt x="430" y="133"/>
                </a:lnTo>
                <a:lnTo>
                  <a:pt x="430" y="133"/>
                </a:lnTo>
                <a:lnTo>
                  <a:pt x="428" y="131"/>
                </a:lnTo>
                <a:lnTo>
                  <a:pt x="428" y="131"/>
                </a:lnTo>
                <a:lnTo>
                  <a:pt x="428" y="128"/>
                </a:lnTo>
                <a:lnTo>
                  <a:pt x="428" y="128"/>
                </a:lnTo>
                <a:close/>
                <a:moveTo>
                  <a:pt x="410" y="113"/>
                </a:moveTo>
                <a:lnTo>
                  <a:pt x="410" y="113"/>
                </a:lnTo>
                <a:lnTo>
                  <a:pt x="413" y="113"/>
                </a:lnTo>
                <a:lnTo>
                  <a:pt x="413" y="113"/>
                </a:lnTo>
                <a:lnTo>
                  <a:pt x="410" y="113"/>
                </a:lnTo>
                <a:lnTo>
                  <a:pt x="410" y="113"/>
                </a:lnTo>
                <a:close/>
                <a:moveTo>
                  <a:pt x="408" y="113"/>
                </a:moveTo>
                <a:lnTo>
                  <a:pt x="408" y="113"/>
                </a:lnTo>
                <a:lnTo>
                  <a:pt x="410" y="113"/>
                </a:lnTo>
                <a:lnTo>
                  <a:pt x="410" y="113"/>
                </a:lnTo>
                <a:lnTo>
                  <a:pt x="413" y="116"/>
                </a:lnTo>
                <a:lnTo>
                  <a:pt x="413" y="116"/>
                </a:lnTo>
                <a:lnTo>
                  <a:pt x="410" y="116"/>
                </a:lnTo>
                <a:lnTo>
                  <a:pt x="410" y="116"/>
                </a:lnTo>
                <a:lnTo>
                  <a:pt x="408" y="113"/>
                </a:lnTo>
                <a:lnTo>
                  <a:pt x="408" y="113"/>
                </a:lnTo>
                <a:close/>
                <a:moveTo>
                  <a:pt x="388" y="101"/>
                </a:moveTo>
                <a:lnTo>
                  <a:pt x="388" y="101"/>
                </a:lnTo>
                <a:lnTo>
                  <a:pt x="393" y="99"/>
                </a:lnTo>
                <a:lnTo>
                  <a:pt x="393" y="99"/>
                </a:lnTo>
                <a:lnTo>
                  <a:pt x="398" y="101"/>
                </a:lnTo>
                <a:lnTo>
                  <a:pt x="398" y="101"/>
                </a:lnTo>
                <a:lnTo>
                  <a:pt x="403" y="101"/>
                </a:lnTo>
                <a:lnTo>
                  <a:pt x="403" y="101"/>
                </a:lnTo>
                <a:lnTo>
                  <a:pt x="408" y="99"/>
                </a:lnTo>
                <a:lnTo>
                  <a:pt x="408" y="99"/>
                </a:lnTo>
                <a:lnTo>
                  <a:pt x="410" y="99"/>
                </a:lnTo>
                <a:lnTo>
                  <a:pt x="410" y="99"/>
                </a:lnTo>
                <a:lnTo>
                  <a:pt x="413" y="101"/>
                </a:lnTo>
                <a:lnTo>
                  <a:pt x="413" y="101"/>
                </a:lnTo>
                <a:lnTo>
                  <a:pt x="415" y="101"/>
                </a:lnTo>
                <a:lnTo>
                  <a:pt x="415" y="101"/>
                </a:lnTo>
                <a:lnTo>
                  <a:pt x="418" y="101"/>
                </a:lnTo>
                <a:lnTo>
                  <a:pt x="418" y="101"/>
                </a:lnTo>
                <a:lnTo>
                  <a:pt x="425" y="101"/>
                </a:lnTo>
                <a:lnTo>
                  <a:pt x="425" y="101"/>
                </a:lnTo>
                <a:lnTo>
                  <a:pt x="428" y="101"/>
                </a:lnTo>
                <a:lnTo>
                  <a:pt x="428" y="101"/>
                </a:lnTo>
                <a:lnTo>
                  <a:pt x="428" y="99"/>
                </a:lnTo>
                <a:lnTo>
                  <a:pt x="428" y="99"/>
                </a:lnTo>
                <a:lnTo>
                  <a:pt x="433" y="99"/>
                </a:lnTo>
                <a:lnTo>
                  <a:pt x="433" y="99"/>
                </a:lnTo>
                <a:lnTo>
                  <a:pt x="435" y="101"/>
                </a:lnTo>
                <a:lnTo>
                  <a:pt x="435" y="101"/>
                </a:lnTo>
                <a:lnTo>
                  <a:pt x="435" y="104"/>
                </a:lnTo>
                <a:lnTo>
                  <a:pt x="435" y="104"/>
                </a:lnTo>
                <a:lnTo>
                  <a:pt x="438" y="104"/>
                </a:lnTo>
                <a:lnTo>
                  <a:pt x="438" y="104"/>
                </a:lnTo>
                <a:lnTo>
                  <a:pt x="450" y="101"/>
                </a:lnTo>
                <a:lnTo>
                  <a:pt x="450" y="101"/>
                </a:lnTo>
                <a:lnTo>
                  <a:pt x="455" y="99"/>
                </a:lnTo>
                <a:lnTo>
                  <a:pt x="455" y="99"/>
                </a:lnTo>
                <a:lnTo>
                  <a:pt x="457" y="94"/>
                </a:lnTo>
                <a:lnTo>
                  <a:pt x="457" y="94"/>
                </a:lnTo>
                <a:lnTo>
                  <a:pt x="460" y="94"/>
                </a:lnTo>
                <a:lnTo>
                  <a:pt x="460" y="94"/>
                </a:lnTo>
                <a:lnTo>
                  <a:pt x="460" y="94"/>
                </a:lnTo>
                <a:lnTo>
                  <a:pt x="462" y="91"/>
                </a:lnTo>
                <a:lnTo>
                  <a:pt x="462" y="91"/>
                </a:lnTo>
                <a:lnTo>
                  <a:pt x="462" y="89"/>
                </a:lnTo>
                <a:lnTo>
                  <a:pt x="462" y="89"/>
                </a:lnTo>
                <a:lnTo>
                  <a:pt x="465" y="86"/>
                </a:lnTo>
                <a:lnTo>
                  <a:pt x="465" y="86"/>
                </a:lnTo>
                <a:lnTo>
                  <a:pt x="467" y="86"/>
                </a:lnTo>
                <a:lnTo>
                  <a:pt x="467" y="86"/>
                </a:lnTo>
                <a:lnTo>
                  <a:pt x="465" y="84"/>
                </a:lnTo>
                <a:lnTo>
                  <a:pt x="465" y="84"/>
                </a:lnTo>
                <a:lnTo>
                  <a:pt x="465" y="81"/>
                </a:lnTo>
                <a:lnTo>
                  <a:pt x="465" y="81"/>
                </a:lnTo>
                <a:lnTo>
                  <a:pt x="460" y="81"/>
                </a:lnTo>
                <a:lnTo>
                  <a:pt x="460" y="81"/>
                </a:lnTo>
                <a:lnTo>
                  <a:pt x="457" y="81"/>
                </a:lnTo>
                <a:lnTo>
                  <a:pt x="457" y="81"/>
                </a:lnTo>
                <a:lnTo>
                  <a:pt x="457" y="84"/>
                </a:lnTo>
                <a:lnTo>
                  <a:pt x="457" y="84"/>
                </a:lnTo>
                <a:lnTo>
                  <a:pt x="455" y="86"/>
                </a:lnTo>
                <a:lnTo>
                  <a:pt x="455" y="86"/>
                </a:lnTo>
                <a:lnTo>
                  <a:pt x="455" y="89"/>
                </a:lnTo>
                <a:lnTo>
                  <a:pt x="455" y="89"/>
                </a:lnTo>
                <a:lnTo>
                  <a:pt x="450" y="91"/>
                </a:lnTo>
                <a:lnTo>
                  <a:pt x="450" y="91"/>
                </a:lnTo>
                <a:lnTo>
                  <a:pt x="447" y="91"/>
                </a:lnTo>
                <a:lnTo>
                  <a:pt x="447" y="91"/>
                </a:lnTo>
                <a:lnTo>
                  <a:pt x="447" y="94"/>
                </a:lnTo>
                <a:lnTo>
                  <a:pt x="447" y="94"/>
                </a:lnTo>
                <a:lnTo>
                  <a:pt x="442" y="94"/>
                </a:lnTo>
                <a:lnTo>
                  <a:pt x="442" y="94"/>
                </a:lnTo>
                <a:lnTo>
                  <a:pt x="435" y="94"/>
                </a:lnTo>
                <a:lnTo>
                  <a:pt x="435" y="94"/>
                </a:lnTo>
                <a:lnTo>
                  <a:pt x="430" y="91"/>
                </a:lnTo>
                <a:lnTo>
                  <a:pt x="430" y="91"/>
                </a:lnTo>
                <a:lnTo>
                  <a:pt x="428" y="94"/>
                </a:lnTo>
                <a:lnTo>
                  <a:pt x="428" y="94"/>
                </a:lnTo>
                <a:lnTo>
                  <a:pt x="428" y="94"/>
                </a:lnTo>
                <a:lnTo>
                  <a:pt x="423" y="91"/>
                </a:lnTo>
                <a:lnTo>
                  <a:pt x="423" y="91"/>
                </a:lnTo>
                <a:lnTo>
                  <a:pt x="420" y="91"/>
                </a:lnTo>
                <a:lnTo>
                  <a:pt x="420" y="91"/>
                </a:lnTo>
                <a:lnTo>
                  <a:pt x="418" y="91"/>
                </a:lnTo>
                <a:lnTo>
                  <a:pt x="418" y="91"/>
                </a:lnTo>
                <a:lnTo>
                  <a:pt x="415" y="91"/>
                </a:lnTo>
                <a:lnTo>
                  <a:pt x="415" y="91"/>
                </a:lnTo>
                <a:lnTo>
                  <a:pt x="413" y="89"/>
                </a:lnTo>
                <a:lnTo>
                  <a:pt x="413" y="89"/>
                </a:lnTo>
                <a:lnTo>
                  <a:pt x="410" y="91"/>
                </a:lnTo>
                <a:lnTo>
                  <a:pt x="410" y="91"/>
                </a:lnTo>
                <a:lnTo>
                  <a:pt x="408" y="89"/>
                </a:lnTo>
                <a:lnTo>
                  <a:pt x="408" y="89"/>
                </a:lnTo>
                <a:lnTo>
                  <a:pt x="406" y="86"/>
                </a:lnTo>
                <a:lnTo>
                  <a:pt x="406" y="86"/>
                </a:lnTo>
                <a:lnTo>
                  <a:pt x="401" y="86"/>
                </a:lnTo>
                <a:lnTo>
                  <a:pt x="401" y="86"/>
                </a:lnTo>
                <a:lnTo>
                  <a:pt x="398" y="86"/>
                </a:lnTo>
                <a:lnTo>
                  <a:pt x="398" y="86"/>
                </a:lnTo>
                <a:lnTo>
                  <a:pt x="398" y="89"/>
                </a:lnTo>
                <a:lnTo>
                  <a:pt x="398" y="89"/>
                </a:lnTo>
                <a:lnTo>
                  <a:pt x="396" y="91"/>
                </a:lnTo>
                <a:lnTo>
                  <a:pt x="396" y="91"/>
                </a:lnTo>
                <a:lnTo>
                  <a:pt x="393" y="94"/>
                </a:lnTo>
                <a:lnTo>
                  <a:pt x="393" y="94"/>
                </a:lnTo>
                <a:lnTo>
                  <a:pt x="391" y="96"/>
                </a:lnTo>
                <a:lnTo>
                  <a:pt x="391" y="96"/>
                </a:lnTo>
                <a:lnTo>
                  <a:pt x="388" y="94"/>
                </a:lnTo>
                <a:lnTo>
                  <a:pt x="388" y="94"/>
                </a:lnTo>
                <a:lnTo>
                  <a:pt x="383" y="96"/>
                </a:lnTo>
                <a:lnTo>
                  <a:pt x="383" y="96"/>
                </a:lnTo>
                <a:lnTo>
                  <a:pt x="383" y="96"/>
                </a:lnTo>
                <a:lnTo>
                  <a:pt x="383" y="99"/>
                </a:lnTo>
                <a:lnTo>
                  <a:pt x="383" y="99"/>
                </a:lnTo>
                <a:lnTo>
                  <a:pt x="378" y="101"/>
                </a:lnTo>
                <a:lnTo>
                  <a:pt x="378" y="101"/>
                </a:lnTo>
                <a:lnTo>
                  <a:pt x="378" y="106"/>
                </a:lnTo>
                <a:lnTo>
                  <a:pt x="378" y="106"/>
                </a:lnTo>
                <a:lnTo>
                  <a:pt x="378" y="108"/>
                </a:lnTo>
                <a:lnTo>
                  <a:pt x="378" y="108"/>
                </a:lnTo>
                <a:lnTo>
                  <a:pt x="378" y="113"/>
                </a:lnTo>
                <a:lnTo>
                  <a:pt x="378" y="113"/>
                </a:lnTo>
                <a:lnTo>
                  <a:pt x="378" y="116"/>
                </a:lnTo>
                <a:lnTo>
                  <a:pt x="378" y="116"/>
                </a:lnTo>
                <a:lnTo>
                  <a:pt x="381" y="118"/>
                </a:lnTo>
                <a:lnTo>
                  <a:pt x="381" y="118"/>
                </a:lnTo>
                <a:lnTo>
                  <a:pt x="381" y="123"/>
                </a:lnTo>
                <a:lnTo>
                  <a:pt x="381" y="123"/>
                </a:lnTo>
                <a:lnTo>
                  <a:pt x="378" y="121"/>
                </a:lnTo>
                <a:lnTo>
                  <a:pt x="378" y="121"/>
                </a:lnTo>
                <a:lnTo>
                  <a:pt x="378" y="118"/>
                </a:lnTo>
                <a:lnTo>
                  <a:pt x="378" y="118"/>
                </a:lnTo>
                <a:lnTo>
                  <a:pt x="376" y="118"/>
                </a:lnTo>
                <a:lnTo>
                  <a:pt x="376" y="118"/>
                </a:lnTo>
                <a:lnTo>
                  <a:pt x="374" y="121"/>
                </a:lnTo>
                <a:lnTo>
                  <a:pt x="374" y="121"/>
                </a:lnTo>
                <a:lnTo>
                  <a:pt x="371" y="123"/>
                </a:lnTo>
                <a:lnTo>
                  <a:pt x="371" y="123"/>
                </a:lnTo>
                <a:lnTo>
                  <a:pt x="371" y="126"/>
                </a:lnTo>
                <a:lnTo>
                  <a:pt x="371" y="126"/>
                </a:lnTo>
                <a:lnTo>
                  <a:pt x="371" y="128"/>
                </a:lnTo>
                <a:lnTo>
                  <a:pt x="371" y="128"/>
                </a:lnTo>
                <a:lnTo>
                  <a:pt x="371" y="131"/>
                </a:lnTo>
                <a:lnTo>
                  <a:pt x="371" y="131"/>
                </a:lnTo>
                <a:lnTo>
                  <a:pt x="371" y="138"/>
                </a:lnTo>
                <a:lnTo>
                  <a:pt x="371" y="138"/>
                </a:lnTo>
                <a:lnTo>
                  <a:pt x="371" y="140"/>
                </a:lnTo>
                <a:lnTo>
                  <a:pt x="371" y="140"/>
                </a:lnTo>
                <a:lnTo>
                  <a:pt x="371" y="143"/>
                </a:lnTo>
                <a:lnTo>
                  <a:pt x="371" y="143"/>
                </a:lnTo>
                <a:lnTo>
                  <a:pt x="369" y="143"/>
                </a:lnTo>
                <a:lnTo>
                  <a:pt x="369" y="143"/>
                </a:lnTo>
                <a:lnTo>
                  <a:pt x="369" y="148"/>
                </a:lnTo>
                <a:lnTo>
                  <a:pt x="369" y="148"/>
                </a:lnTo>
                <a:lnTo>
                  <a:pt x="364" y="150"/>
                </a:lnTo>
                <a:lnTo>
                  <a:pt x="364" y="150"/>
                </a:lnTo>
                <a:lnTo>
                  <a:pt x="364" y="153"/>
                </a:lnTo>
                <a:lnTo>
                  <a:pt x="364" y="153"/>
                </a:lnTo>
                <a:lnTo>
                  <a:pt x="364" y="155"/>
                </a:lnTo>
                <a:lnTo>
                  <a:pt x="364" y="155"/>
                </a:lnTo>
                <a:lnTo>
                  <a:pt x="364" y="158"/>
                </a:lnTo>
                <a:lnTo>
                  <a:pt x="364" y="158"/>
                </a:lnTo>
                <a:lnTo>
                  <a:pt x="364" y="163"/>
                </a:lnTo>
                <a:lnTo>
                  <a:pt x="364" y="163"/>
                </a:lnTo>
                <a:lnTo>
                  <a:pt x="366" y="165"/>
                </a:lnTo>
                <a:lnTo>
                  <a:pt x="366" y="165"/>
                </a:lnTo>
                <a:lnTo>
                  <a:pt x="369" y="163"/>
                </a:lnTo>
                <a:lnTo>
                  <a:pt x="369" y="163"/>
                </a:lnTo>
                <a:lnTo>
                  <a:pt x="369" y="163"/>
                </a:lnTo>
                <a:lnTo>
                  <a:pt x="371" y="163"/>
                </a:lnTo>
                <a:lnTo>
                  <a:pt x="371" y="163"/>
                </a:lnTo>
                <a:lnTo>
                  <a:pt x="374" y="163"/>
                </a:lnTo>
                <a:lnTo>
                  <a:pt x="374" y="163"/>
                </a:lnTo>
                <a:lnTo>
                  <a:pt x="374" y="168"/>
                </a:lnTo>
                <a:lnTo>
                  <a:pt x="374" y="168"/>
                </a:lnTo>
                <a:lnTo>
                  <a:pt x="376" y="175"/>
                </a:lnTo>
                <a:lnTo>
                  <a:pt x="376" y="175"/>
                </a:lnTo>
                <a:lnTo>
                  <a:pt x="376" y="175"/>
                </a:lnTo>
                <a:lnTo>
                  <a:pt x="374" y="180"/>
                </a:lnTo>
                <a:lnTo>
                  <a:pt x="374" y="180"/>
                </a:lnTo>
                <a:lnTo>
                  <a:pt x="374" y="182"/>
                </a:lnTo>
                <a:lnTo>
                  <a:pt x="374" y="182"/>
                </a:lnTo>
                <a:lnTo>
                  <a:pt x="371" y="190"/>
                </a:lnTo>
                <a:lnTo>
                  <a:pt x="371" y="190"/>
                </a:lnTo>
                <a:lnTo>
                  <a:pt x="374" y="195"/>
                </a:lnTo>
                <a:lnTo>
                  <a:pt x="374" y="195"/>
                </a:lnTo>
                <a:lnTo>
                  <a:pt x="374" y="195"/>
                </a:lnTo>
                <a:lnTo>
                  <a:pt x="376" y="197"/>
                </a:lnTo>
                <a:lnTo>
                  <a:pt x="376" y="197"/>
                </a:lnTo>
                <a:lnTo>
                  <a:pt x="378" y="197"/>
                </a:lnTo>
                <a:lnTo>
                  <a:pt x="378" y="197"/>
                </a:lnTo>
                <a:lnTo>
                  <a:pt x="381" y="195"/>
                </a:lnTo>
                <a:lnTo>
                  <a:pt x="381" y="195"/>
                </a:lnTo>
                <a:lnTo>
                  <a:pt x="383" y="195"/>
                </a:lnTo>
                <a:lnTo>
                  <a:pt x="383" y="195"/>
                </a:lnTo>
                <a:lnTo>
                  <a:pt x="386" y="195"/>
                </a:lnTo>
                <a:lnTo>
                  <a:pt x="386" y="195"/>
                </a:lnTo>
                <a:lnTo>
                  <a:pt x="388" y="197"/>
                </a:lnTo>
                <a:lnTo>
                  <a:pt x="388" y="197"/>
                </a:lnTo>
                <a:lnTo>
                  <a:pt x="388" y="195"/>
                </a:lnTo>
                <a:lnTo>
                  <a:pt x="388" y="195"/>
                </a:lnTo>
                <a:lnTo>
                  <a:pt x="388" y="192"/>
                </a:lnTo>
                <a:lnTo>
                  <a:pt x="388" y="192"/>
                </a:lnTo>
                <a:lnTo>
                  <a:pt x="386" y="190"/>
                </a:lnTo>
                <a:lnTo>
                  <a:pt x="386" y="190"/>
                </a:lnTo>
                <a:lnTo>
                  <a:pt x="386" y="185"/>
                </a:lnTo>
                <a:lnTo>
                  <a:pt x="386" y="185"/>
                </a:lnTo>
                <a:lnTo>
                  <a:pt x="388" y="182"/>
                </a:lnTo>
                <a:lnTo>
                  <a:pt x="388" y="182"/>
                </a:lnTo>
                <a:lnTo>
                  <a:pt x="388" y="177"/>
                </a:lnTo>
                <a:lnTo>
                  <a:pt x="388" y="177"/>
                </a:lnTo>
                <a:lnTo>
                  <a:pt x="388" y="172"/>
                </a:lnTo>
                <a:lnTo>
                  <a:pt x="388" y="172"/>
                </a:lnTo>
                <a:lnTo>
                  <a:pt x="386" y="172"/>
                </a:lnTo>
                <a:lnTo>
                  <a:pt x="386" y="172"/>
                </a:lnTo>
                <a:lnTo>
                  <a:pt x="391" y="168"/>
                </a:lnTo>
                <a:lnTo>
                  <a:pt x="391" y="168"/>
                </a:lnTo>
                <a:lnTo>
                  <a:pt x="391" y="163"/>
                </a:lnTo>
                <a:lnTo>
                  <a:pt x="391" y="163"/>
                </a:lnTo>
                <a:lnTo>
                  <a:pt x="391" y="158"/>
                </a:lnTo>
                <a:lnTo>
                  <a:pt x="391" y="158"/>
                </a:lnTo>
                <a:lnTo>
                  <a:pt x="388" y="155"/>
                </a:lnTo>
                <a:lnTo>
                  <a:pt x="388" y="155"/>
                </a:lnTo>
                <a:lnTo>
                  <a:pt x="388" y="155"/>
                </a:lnTo>
                <a:lnTo>
                  <a:pt x="391" y="153"/>
                </a:lnTo>
                <a:lnTo>
                  <a:pt x="391" y="153"/>
                </a:lnTo>
                <a:lnTo>
                  <a:pt x="393" y="150"/>
                </a:lnTo>
                <a:lnTo>
                  <a:pt x="393" y="150"/>
                </a:lnTo>
                <a:lnTo>
                  <a:pt x="396" y="150"/>
                </a:lnTo>
                <a:lnTo>
                  <a:pt x="396" y="150"/>
                </a:lnTo>
                <a:lnTo>
                  <a:pt x="398" y="150"/>
                </a:lnTo>
                <a:lnTo>
                  <a:pt x="398" y="150"/>
                </a:lnTo>
                <a:lnTo>
                  <a:pt x="398" y="153"/>
                </a:lnTo>
                <a:lnTo>
                  <a:pt x="398" y="153"/>
                </a:lnTo>
                <a:lnTo>
                  <a:pt x="401" y="155"/>
                </a:lnTo>
                <a:lnTo>
                  <a:pt x="401" y="155"/>
                </a:lnTo>
                <a:lnTo>
                  <a:pt x="401" y="158"/>
                </a:lnTo>
                <a:lnTo>
                  <a:pt x="401" y="158"/>
                </a:lnTo>
                <a:lnTo>
                  <a:pt x="398" y="160"/>
                </a:lnTo>
                <a:lnTo>
                  <a:pt x="398" y="160"/>
                </a:lnTo>
                <a:lnTo>
                  <a:pt x="396" y="165"/>
                </a:lnTo>
                <a:lnTo>
                  <a:pt x="396" y="165"/>
                </a:lnTo>
                <a:lnTo>
                  <a:pt x="398" y="168"/>
                </a:lnTo>
                <a:lnTo>
                  <a:pt x="398" y="168"/>
                </a:lnTo>
                <a:lnTo>
                  <a:pt x="401" y="168"/>
                </a:lnTo>
                <a:lnTo>
                  <a:pt x="401" y="168"/>
                </a:lnTo>
                <a:lnTo>
                  <a:pt x="403" y="170"/>
                </a:lnTo>
                <a:lnTo>
                  <a:pt x="403" y="170"/>
                </a:lnTo>
                <a:lnTo>
                  <a:pt x="406" y="172"/>
                </a:lnTo>
                <a:lnTo>
                  <a:pt x="406" y="172"/>
                </a:lnTo>
                <a:lnTo>
                  <a:pt x="406" y="175"/>
                </a:lnTo>
                <a:lnTo>
                  <a:pt x="406" y="175"/>
                </a:lnTo>
                <a:lnTo>
                  <a:pt x="406" y="175"/>
                </a:lnTo>
                <a:lnTo>
                  <a:pt x="406" y="180"/>
                </a:lnTo>
                <a:lnTo>
                  <a:pt x="406" y="180"/>
                </a:lnTo>
                <a:lnTo>
                  <a:pt x="406" y="182"/>
                </a:lnTo>
                <a:lnTo>
                  <a:pt x="406" y="182"/>
                </a:lnTo>
                <a:lnTo>
                  <a:pt x="408" y="185"/>
                </a:lnTo>
                <a:lnTo>
                  <a:pt x="408" y="185"/>
                </a:lnTo>
                <a:lnTo>
                  <a:pt x="410" y="185"/>
                </a:lnTo>
                <a:lnTo>
                  <a:pt x="410" y="185"/>
                </a:lnTo>
                <a:lnTo>
                  <a:pt x="413" y="185"/>
                </a:lnTo>
                <a:lnTo>
                  <a:pt x="413" y="185"/>
                </a:lnTo>
                <a:lnTo>
                  <a:pt x="415" y="185"/>
                </a:lnTo>
                <a:lnTo>
                  <a:pt x="415" y="185"/>
                </a:lnTo>
                <a:lnTo>
                  <a:pt x="415" y="182"/>
                </a:lnTo>
                <a:lnTo>
                  <a:pt x="415" y="182"/>
                </a:lnTo>
                <a:lnTo>
                  <a:pt x="415" y="182"/>
                </a:lnTo>
                <a:lnTo>
                  <a:pt x="418" y="180"/>
                </a:lnTo>
                <a:lnTo>
                  <a:pt x="418" y="180"/>
                </a:lnTo>
                <a:lnTo>
                  <a:pt x="420" y="177"/>
                </a:lnTo>
                <a:lnTo>
                  <a:pt x="420" y="177"/>
                </a:lnTo>
                <a:lnTo>
                  <a:pt x="423" y="175"/>
                </a:lnTo>
                <a:lnTo>
                  <a:pt x="423" y="175"/>
                </a:lnTo>
                <a:lnTo>
                  <a:pt x="428" y="177"/>
                </a:lnTo>
                <a:lnTo>
                  <a:pt x="428" y="177"/>
                </a:lnTo>
                <a:lnTo>
                  <a:pt x="430" y="175"/>
                </a:lnTo>
                <a:lnTo>
                  <a:pt x="430" y="175"/>
                </a:lnTo>
                <a:lnTo>
                  <a:pt x="430" y="175"/>
                </a:lnTo>
                <a:lnTo>
                  <a:pt x="433" y="175"/>
                </a:lnTo>
                <a:lnTo>
                  <a:pt x="433" y="175"/>
                </a:lnTo>
                <a:lnTo>
                  <a:pt x="435" y="172"/>
                </a:lnTo>
                <a:lnTo>
                  <a:pt x="435" y="172"/>
                </a:lnTo>
                <a:lnTo>
                  <a:pt x="435" y="172"/>
                </a:lnTo>
                <a:lnTo>
                  <a:pt x="430" y="172"/>
                </a:lnTo>
                <a:lnTo>
                  <a:pt x="430" y="172"/>
                </a:lnTo>
                <a:lnTo>
                  <a:pt x="428" y="172"/>
                </a:lnTo>
                <a:lnTo>
                  <a:pt x="428" y="172"/>
                </a:lnTo>
                <a:lnTo>
                  <a:pt x="428" y="172"/>
                </a:lnTo>
                <a:lnTo>
                  <a:pt x="425" y="172"/>
                </a:lnTo>
                <a:lnTo>
                  <a:pt x="425" y="172"/>
                </a:lnTo>
                <a:lnTo>
                  <a:pt x="425" y="170"/>
                </a:lnTo>
                <a:lnTo>
                  <a:pt x="425" y="170"/>
                </a:lnTo>
                <a:lnTo>
                  <a:pt x="423" y="170"/>
                </a:lnTo>
                <a:lnTo>
                  <a:pt x="423" y="170"/>
                </a:lnTo>
                <a:lnTo>
                  <a:pt x="423" y="168"/>
                </a:lnTo>
                <a:lnTo>
                  <a:pt x="423" y="168"/>
                </a:lnTo>
                <a:lnTo>
                  <a:pt x="423" y="168"/>
                </a:lnTo>
                <a:lnTo>
                  <a:pt x="420" y="168"/>
                </a:lnTo>
                <a:lnTo>
                  <a:pt x="420" y="168"/>
                </a:lnTo>
                <a:lnTo>
                  <a:pt x="420" y="168"/>
                </a:lnTo>
                <a:lnTo>
                  <a:pt x="418" y="165"/>
                </a:lnTo>
                <a:lnTo>
                  <a:pt x="418" y="165"/>
                </a:lnTo>
                <a:lnTo>
                  <a:pt x="415" y="165"/>
                </a:lnTo>
                <a:lnTo>
                  <a:pt x="415" y="165"/>
                </a:lnTo>
                <a:lnTo>
                  <a:pt x="418" y="163"/>
                </a:lnTo>
                <a:lnTo>
                  <a:pt x="418" y="163"/>
                </a:lnTo>
                <a:lnTo>
                  <a:pt x="418" y="160"/>
                </a:lnTo>
                <a:lnTo>
                  <a:pt x="418" y="160"/>
                </a:lnTo>
                <a:lnTo>
                  <a:pt x="420" y="160"/>
                </a:lnTo>
                <a:lnTo>
                  <a:pt x="420" y="160"/>
                </a:lnTo>
                <a:lnTo>
                  <a:pt x="420" y="160"/>
                </a:lnTo>
                <a:lnTo>
                  <a:pt x="420" y="160"/>
                </a:lnTo>
                <a:lnTo>
                  <a:pt x="420" y="158"/>
                </a:lnTo>
                <a:lnTo>
                  <a:pt x="420" y="158"/>
                </a:lnTo>
                <a:lnTo>
                  <a:pt x="420" y="155"/>
                </a:lnTo>
                <a:lnTo>
                  <a:pt x="420" y="155"/>
                </a:lnTo>
                <a:lnTo>
                  <a:pt x="418" y="155"/>
                </a:lnTo>
                <a:lnTo>
                  <a:pt x="418" y="155"/>
                </a:lnTo>
                <a:lnTo>
                  <a:pt x="418" y="153"/>
                </a:lnTo>
                <a:lnTo>
                  <a:pt x="418" y="153"/>
                </a:lnTo>
                <a:lnTo>
                  <a:pt x="418" y="153"/>
                </a:lnTo>
                <a:lnTo>
                  <a:pt x="415" y="150"/>
                </a:lnTo>
                <a:lnTo>
                  <a:pt x="415" y="150"/>
                </a:lnTo>
                <a:lnTo>
                  <a:pt x="413" y="150"/>
                </a:lnTo>
                <a:lnTo>
                  <a:pt x="413" y="150"/>
                </a:lnTo>
                <a:lnTo>
                  <a:pt x="413" y="148"/>
                </a:lnTo>
                <a:lnTo>
                  <a:pt x="413" y="148"/>
                </a:lnTo>
                <a:lnTo>
                  <a:pt x="408" y="143"/>
                </a:lnTo>
                <a:lnTo>
                  <a:pt x="408" y="143"/>
                </a:lnTo>
                <a:lnTo>
                  <a:pt x="406" y="140"/>
                </a:lnTo>
                <a:lnTo>
                  <a:pt x="406" y="140"/>
                </a:lnTo>
                <a:lnTo>
                  <a:pt x="406" y="138"/>
                </a:lnTo>
                <a:lnTo>
                  <a:pt x="406" y="138"/>
                </a:lnTo>
                <a:lnTo>
                  <a:pt x="406" y="138"/>
                </a:lnTo>
                <a:lnTo>
                  <a:pt x="406" y="138"/>
                </a:lnTo>
                <a:lnTo>
                  <a:pt x="408" y="138"/>
                </a:lnTo>
                <a:lnTo>
                  <a:pt x="408" y="138"/>
                </a:lnTo>
                <a:lnTo>
                  <a:pt x="410" y="138"/>
                </a:lnTo>
                <a:lnTo>
                  <a:pt x="410" y="138"/>
                </a:lnTo>
                <a:lnTo>
                  <a:pt x="413" y="138"/>
                </a:lnTo>
                <a:lnTo>
                  <a:pt x="413" y="138"/>
                </a:lnTo>
                <a:lnTo>
                  <a:pt x="413" y="136"/>
                </a:lnTo>
                <a:lnTo>
                  <a:pt x="413" y="136"/>
                </a:lnTo>
                <a:lnTo>
                  <a:pt x="418" y="133"/>
                </a:lnTo>
                <a:lnTo>
                  <a:pt x="418" y="133"/>
                </a:lnTo>
                <a:lnTo>
                  <a:pt x="423" y="128"/>
                </a:lnTo>
                <a:lnTo>
                  <a:pt x="423" y="128"/>
                </a:lnTo>
                <a:lnTo>
                  <a:pt x="425" y="126"/>
                </a:lnTo>
                <a:lnTo>
                  <a:pt x="425" y="126"/>
                </a:lnTo>
                <a:lnTo>
                  <a:pt x="428" y="123"/>
                </a:lnTo>
                <a:lnTo>
                  <a:pt x="428" y="123"/>
                </a:lnTo>
                <a:lnTo>
                  <a:pt x="428" y="123"/>
                </a:lnTo>
                <a:lnTo>
                  <a:pt x="433" y="121"/>
                </a:lnTo>
                <a:lnTo>
                  <a:pt x="433" y="121"/>
                </a:lnTo>
                <a:lnTo>
                  <a:pt x="435" y="123"/>
                </a:lnTo>
                <a:lnTo>
                  <a:pt x="435" y="123"/>
                </a:lnTo>
                <a:lnTo>
                  <a:pt x="438" y="123"/>
                </a:lnTo>
                <a:lnTo>
                  <a:pt x="438" y="123"/>
                </a:lnTo>
                <a:lnTo>
                  <a:pt x="440" y="118"/>
                </a:lnTo>
                <a:lnTo>
                  <a:pt x="440" y="118"/>
                </a:lnTo>
                <a:lnTo>
                  <a:pt x="440" y="116"/>
                </a:lnTo>
                <a:lnTo>
                  <a:pt x="440" y="116"/>
                </a:lnTo>
                <a:lnTo>
                  <a:pt x="435" y="116"/>
                </a:lnTo>
                <a:lnTo>
                  <a:pt x="435" y="116"/>
                </a:lnTo>
                <a:lnTo>
                  <a:pt x="430" y="116"/>
                </a:lnTo>
                <a:lnTo>
                  <a:pt x="430" y="116"/>
                </a:lnTo>
                <a:lnTo>
                  <a:pt x="425" y="118"/>
                </a:lnTo>
                <a:lnTo>
                  <a:pt x="425" y="118"/>
                </a:lnTo>
                <a:lnTo>
                  <a:pt x="423" y="118"/>
                </a:lnTo>
                <a:lnTo>
                  <a:pt x="423" y="118"/>
                </a:lnTo>
                <a:lnTo>
                  <a:pt x="420" y="118"/>
                </a:lnTo>
                <a:lnTo>
                  <a:pt x="420" y="118"/>
                </a:lnTo>
                <a:lnTo>
                  <a:pt x="418" y="121"/>
                </a:lnTo>
                <a:lnTo>
                  <a:pt x="418" y="121"/>
                </a:lnTo>
                <a:lnTo>
                  <a:pt x="413" y="121"/>
                </a:lnTo>
                <a:lnTo>
                  <a:pt x="413" y="121"/>
                </a:lnTo>
                <a:lnTo>
                  <a:pt x="410" y="123"/>
                </a:lnTo>
                <a:lnTo>
                  <a:pt x="410" y="123"/>
                </a:lnTo>
                <a:lnTo>
                  <a:pt x="408" y="121"/>
                </a:lnTo>
                <a:lnTo>
                  <a:pt x="408" y="121"/>
                </a:lnTo>
                <a:lnTo>
                  <a:pt x="406" y="121"/>
                </a:lnTo>
                <a:lnTo>
                  <a:pt x="406" y="121"/>
                </a:lnTo>
                <a:lnTo>
                  <a:pt x="403" y="123"/>
                </a:lnTo>
                <a:lnTo>
                  <a:pt x="403" y="123"/>
                </a:lnTo>
                <a:lnTo>
                  <a:pt x="401" y="128"/>
                </a:lnTo>
                <a:lnTo>
                  <a:pt x="401" y="128"/>
                </a:lnTo>
                <a:lnTo>
                  <a:pt x="398" y="131"/>
                </a:lnTo>
                <a:lnTo>
                  <a:pt x="398" y="131"/>
                </a:lnTo>
                <a:lnTo>
                  <a:pt x="396" y="131"/>
                </a:lnTo>
                <a:lnTo>
                  <a:pt x="396" y="131"/>
                </a:lnTo>
                <a:lnTo>
                  <a:pt x="393" y="128"/>
                </a:lnTo>
                <a:lnTo>
                  <a:pt x="393" y="128"/>
                </a:lnTo>
                <a:lnTo>
                  <a:pt x="391" y="123"/>
                </a:lnTo>
                <a:lnTo>
                  <a:pt x="391" y="123"/>
                </a:lnTo>
                <a:lnTo>
                  <a:pt x="386" y="121"/>
                </a:lnTo>
                <a:lnTo>
                  <a:pt x="386" y="121"/>
                </a:lnTo>
                <a:lnTo>
                  <a:pt x="383" y="116"/>
                </a:lnTo>
                <a:lnTo>
                  <a:pt x="383" y="116"/>
                </a:lnTo>
                <a:lnTo>
                  <a:pt x="383" y="108"/>
                </a:lnTo>
                <a:lnTo>
                  <a:pt x="383" y="108"/>
                </a:lnTo>
                <a:lnTo>
                  <a:pt x="386" y="104"/>
                </a:lnTo>
                <a:lnTo>
                  <a:pt x="386" y="104"/>
                </a:lnTo>
                <a:lnTo>
                  <a:pt x="388" y="101"/>
                </a:lnTo>
                <a:lnTo>
                  <a:pt x="388" y="101"/>
                </a:lnTo>
                <a:close/>
                <a:moveTo>
                  <a:pt x="393" y="0"/>
                </a:moveTo>
                <a:lnTo>
                  <a:pt x="393" y="0"/>
                </a:lnTo>
                <a:lnTo>
                  <a:pt x="391" y="3"/>
                </a:lnTo>
                <a:lnTo>
                  <a:pt x="391" y="3"/>
                </a:lnTo>
                <a:lnTo>
                  <a:pt x="393" y="3"/>
                </a:lnTo>
                <a:lnTo>
                  <a:pt x="393" y="3"/>
                </a:lnTo>
                <a:lnTo>
                  <a:pt x="393" y="3"/>
                </a:lnTo>
                <a:lnTo>
                  <a:pt x="393" y="0"/>
                </a:lnTo>
                <a:lnTo>
                  <a:pt x="393" y="0"/>
                </a:lnTo>
                <a:close/>
                <a:moveTo>
                  <a:pt x="396" y="10"/>
                </a:moveTo>
                <a:lnTo>
                  <a:pt x="396" y="10"/>
                </a:lnTo>
                <a:lnTo>
                  <a:pt x="398" y="10"/>
                </a:lnTo>
                <a:lnTo>
                  <a:pt x="398" y="10"/>
                </a:lnTo>
                <a:lnTo>
                  <a:pt x="401" y="10"/>
                </a:lnTo>
                <a:lnTo>
                  <a:pt x="401" y="10"/>
                </a:lnTo>
                <a:lnTo>
                  <a:pt x="401" y="10"/>
                </a:lnTo>
                <a:lnTo>
                  <a:pt x="403" y="10"/>
                </a:lnTo>
                <a:lnTo>
                  <a:pt x="403" y="10"/>
                </a:lnTo>
                <a:lnTo>
                  <a:pt x="403" y="8"/>
                </a:lnTo>
                <a:lnTo>
                  <a:pt x="403" y="8"/>
                </a:lnTo>
                <a:lnTo>
                  <a:pt x="401" y="8"/>
                </a:lnTo>
                <a:lnTo>
                  <a:pt x="401" y="8"/>
                </a:lnTo>
                <a:lnTo>
                  <a:pt x="396" y="8"/>
                </a:lnTo>
                <a:lnTo>
                  <a:pt x="396" y="8"/>
                </a:lnTo>
                <a:lnTo>
                  <a:pt x="396" y="10"/>
                </a:lnTo>
                <a:lnTo>
                  <a:pt x="396" y="10"/>
                </a:lnTo>
                <a:lnTo>
                  <a:pt x="396" y="10"/>
                </a:lnTo>
                <a:close/>
                <a:moveTo>
                  <a:pt x="374" y="27"/>
                </a:moveTo>
                <a:lnTo>
                  <a:pt x="374" y="27"/>
                </a:lnTo>
                <a:lnTo>
                  <a:pt x="371" y="30"/>
                </a:lnTo>
                <a:lnTo>
                  <a:pt x="371" y="30"/>
                </a:lnTo>
                <a:lnTo>
                  <a:pt x="374" y="32"/>
                </a:lnTo>
                <a:lnTo>
                  <a:pt x="374" y="32"/>
                </a:lnTo>
                <a:lnTo>
                  <a:pt x="374" y="30"/>
                </a:lnTo>
                <a:lnTo>
                  <a:pt x="374" y="30"/>
                </a:lnTo>
                <a:lnTo>
                  <a:pt x="374" y="27"/>
                </a:lnTo>
                <a:lnTo>
                  <a:pt x="374" y="27"/>
                </a:lnTo>
                <a:close/>
                <a:moveTo>
                  <a:pt x="378" y="22"/>
                </a:moveTo>
                <a:lnTo>
                  <a:pt x="378" y="22"/>
                </a:lnTo>
                <a:lnTo>
                  <a:pt x="383" y="20"/>
                </a:lnTo>
                <a:lnTo>
                  <a:pt x="383" y="20"/>
                </a:lnTo>
                <a:lnTo>
                  <a:pt x="386" y="20"/>
                </a:lnTo>
                <a:lnTo>
                  <a:pt x="386" y="20"/>
                </a:lnTo>
                <a:lnTo>
                  <a:pt x="386" y="22"/>
                </a:lnTo>
                <a:lnTo>
                  <a:pt x="386" y="22"/>
                </a:lnTo>
                <a:lnTo>
                  <a:pt x="383" y="25"/>
                </a:lnTo>
                <a:lnTo>
                  <a:pt x="383" y="25"/>
                </a:lnTo>
                <a:lnTo>
                  <a:pt x="378" y="25"/>
                </a:lnTo>
                <a:lnTo>
                  <a:pt x="378" y="25"/>
                </a:lnTo>
                <a:lnTo>
                  <a:pt x="378" y="22"/>
                </a:lnTo>
                <a:lnTo>
                  <a:pt x="378" y="22"/>
                </a:lnTo>
                <a:close/>
                <a:moveTo>
                  <a:pt x="347" y="40"/>
                </a:moveTo>
                <a:lnTo>
                  <a:pt x="347" y="40"/>
                </a:lnTo>
                <a:lnTo>
                  <a:pt x="347" y="42"/>
                </a:lnTo>
                <a:lnTo>
                  <a:pt x="347" y="42"/>
                </a:lnTo>
                <a:lnTo>
                  <a:pt x="347" y="42"/>
                </a:lnTo>
                <a:lnTo>
                  <a:pt x="347" y="40"/>
                </a:lnTo>
                <a:lnTo>
                  <a:pt x="347" y="40"/>
                </a:lnTo>
                <a:close/>
                <a:moveTo>
                  <a:pt x="347" y="40"/>
                </a:moveTo>
                <a:lnTo>
                  <a:pt x="347" y="40"/>
                </a:lnTo>
                <a:lnTo>
                  <a:pt x="347" y="40"/>
                </a:lnTo>
                <a:lnTo>
                  <a:pt x="347" y="40"/>
                </a:lnTo>
                <a:lnTo>
                  <a:pt x="349" y="42"/>
                </a:lnTo>
                <a:lnTo>
                  <a:pt x="349" y="42"/>
                </a:lnTo>
                <a:lnTo>
                  <a:pt x="349" y="40"/>
                </a:lnTo>
                <a:lnTo>
                  <a:pt x="349" y="40"/>
                </a:lnTo>
                <a:lnTo>
                  <a:pt x="347" y="40"/>
                </a:lnTo>
                <a:lnTo>
                  <a:pt x="347" y="40"/>
                </a:lnTo>
                <a:close/>
                <a:moveTo>
                  <a:pt x="349" y="47"/>
                </a:moveTo>
                <a:lnTo>
                  <a:pt x="349" y="47"/>
                </a:lnTo>
                <a:lnTo>
                  <a:pt x="344" y="47"/>
                </a:lnTo>
                <a:lnTo>
                  <a:pt x="344" y="47"/>
                </a:lnTo>
                <a:lnTo>
                  <a:pt x="347" y="49"/>
                </a:lnTo>
                <a:lnTo>
                  <a:pt x="347" y="49"/>
                </a:lnTo>
                <a:lnTo>
                  <a:pt x="349" y="47"/>
                </a:lnTo>
                <a:lnTo>
                  <a:pt x="349" y="47"/>
                </a:lnTo>
                <a:close/>
                <a:moveTo>
                  <a:pt x="344" y="49"/>
                </a:moveTo>
                <a:lnTo>
                  <a:pt x="344" y="49"/>
                </a:lnTo>
                <a:lnTo>
                  <a:pt x="347" y="52"/>
                </a:lnTo>
                <a:lnTo>
                  <a:pt x="347" y="52"/>
                </a:lnTo>
                <a:lnTo>
                  <a:pt x="347" y="54"/>
                </a:lnTo>
                <a:lnTo>
                  <a:pt x="347" y="54"/>
                </a:lnTo>
                <a:lnTo>
                  <a:pt x="347" y="54"/>
                </a:lnTo>
                <a:lnTo>
                  <a:pt x="344" y="49"/>
                </a:lnTo>
                <a:lnTo>
                  <a:pt x="344" y="49"/>
                </a:lnTo>
                <a:close/>
                <a:moveTo>
                  <a:pt x="327" y="163"/>
                </a:moveTo>
                <a:lnTo>
                  <a:pt x="327" y="163"/>
                </a:lnTo>
                <a:lnTo>
                  <a:pt x="327" y="163"/>
                </a:lnTo>
                <a:lnTo>
                  <a:pt x="327" y="168"/>
                </a:lnTo>
                <a:lnTo>
                  <a:pt x="327" y="168"/>
                </a:lnTo>
                <a:lnTo>
                  <a:pt x="324" y="168"/>
                </a:lnTo>
                <a:lnTo>
                  <a:pt x="324" y="168"/>
                </a:lnTo>
                <a:lnTo>
                  <a:pt x="324" y="163"/>
                </a:lnTo>
                <a:lnTo>
                  <a:pt x="324" y="163"/>
                </a:lnTo>
                <a:lnTo>
                  <a:pt x="327" y="163"/>
                </a:lnTo>
                <a:lnTo>
                  <a:pt x="327" y="163"/>
                </a:lnTo>
                <a:close/>
                <a:moveTo>
                  <a:pt x="324" y="163"/>
                </a:moveTo>
                <a:lnTo>
                  <a:pt x="324" y="163"/>
                </a:lnTo>
                <a:lnTo>
                  <a:pt x="324" y="168"/>
                </a:lnTo>
                <a:lnTo>
                  <a:pt x="324" y="168"/>
                </a:lnTo>
                <a:lnTo>
                  <a:pt x="324" y="170"/>
                </a:lnTo>
                <a:lnTo>
                  <a:pt x="324" y="170"/>
                </a:lnTo>
                <a:lnTo>
                  <a:pt x="322" y="172"/>
                </a:lnTo>
                <a:lnTo>
                  <a:pt x="322" y="172"/>
                </a:lnTo>
                <a:lnTo>
                  <a:pt x="319" y="170"/>
                </a:lnTo>
                <a:lnTo>
                  <a:pt x="319" y="170"/>
                </a:lnTo>
                <a:lnTo>
                  <a:pt x="319" y="165"/>
                </a:lnTo>
                <a:lnTo>
                  <a:pt x="319" y="165"/>
                </a:lnTo>
                <a:lnTo>
                  <a:pt x="322" y="163"/>
                </a:lnTo>
                <a:lnTo>
                  <a:pt x="322" y="163"/>
                </a:lnTo>
                <a:lnTo>
                  <a:pt x="324" y="160"/>
                </a:lnTo>
                <a:lnTo>
                  <a:pt x="324" y="160"/>
                </a:lnTo>
                <a:lnTo>
                  <a:pt x="324" y="163"/>
                </a:lnTo>
                <a:lnTo>
                  <a:pt x="324" y="163"/>
                </a:lnTo>
                <a:close/>
                <a:moveTo>
                  <a:pt x="219" y="113"/>
                </a:moveTo>
                <a:lnTo>
                  <a:pt x="219" y="113"/>
                </a:lnTo>
                <a:lnTo>
                  <a:pt x="221" y="113"/>
                </a:lnTo>
                <a:lnTo>
                  <a:pt x="221" y="113"/>
                </a:lnTo>
                <a:lnTo>
                  <a:pt x="221" y="116"/>
                </a:lnTo>
                <a:lnTo>
                  <a:pt x="221" y="116"/>
                </a:lnTo>
                <a:lnTo>
                  <a:pt x="221" y="116"/>
                </a:lnTo>
                <a:lnTo>
                  <a:pt x="219" y="116"/>
                </a:lnTo>
                <a:lnTo>
                  <a:pt x="219" y="116"/>
                </a:lnTo>
                <a:lnTo>
                  <a:pt x="216" y="113"/>
                </a:lnTo>
                <a:lnTo>
                  <a:pt x="216" y="113"/>
                </a:lnTo>
                <a:lnTo>
                  <a:pt x="219" y="113"/>
                </a:lnTo>
                <a:lnTo>
                  <a:pt x="219" y="113"/>
                </a:lnTo>
                <a:close/>
                <a:moveTo>
                  <a:pt x="219" y="121"/>
                </a:moveTo>
                <a:lnTo>
                  <a:pt x="219" y="121"/>
                </a:lnTo>
                <a:lnTo>
                  <a:pt x="223" y="121"/>
                </a:lnTo>
                <a:lnTo>
                  <a:pt x="223" y="121"/>
                </a:lnTo>
                <a:lnTo>
                  <a:pt x="223" y="123"/>
                </a:lnTo>
                <a:lnTo>
                  <a:pt x="223" y="123"/>
                </a:lnTo>
                <a:lnTo>
                  <a:pt x="226" y="123"/>
                </a:lnTo>
                <a:lnTo>
                  <a:pt x="226" y="123"/>
                </a:lnTo>
                <a:lnTo>
                  <a:pt x="226" y="123"/>
                </a:lnTo>
                <a:lnTo>
                  <a:pt x="221" y="123"/>
                </a:lnTo>
                <a:lnTo>
                  <a:pt x="221" y="123"/>
                </a:lnTo>
                <a:lnTo>
                  <a:pt x="221" y="123"/>
                </a:lnTo>
                <a:lnTo>
                  <a:pt x="219" y="121"/>
                </a:lnTo>
                <a:lnTo>
                  <a:pt x="219" y="121"/>
                </a:lnTo>
                <a:lnTo>
                  <a:pt x="219" y="121"/>
                </a:lnTo>
                <a:close/>
                <a:moveTo>
                  <a:pt x="221" y="126"/>
                </a:moveTo>
                <a:lnTo>
                  <a:pt x="221" y="126"/>
                </a:lnTo>
                <a:lnTo>
                  <a:pt x="226" y="126"/>
                </a:lnTo>
                <a:lnTo>
                  <a:pt x="226" y="126"/>
                </a:lnTo>
                <a:lnTo>
                  <a:pt x="228" y="126"/>
                </a:lnTo>
                <a:lnTo>
                  <a:pt x="228" y="126"/>
                </a:lnTo>
                <a:lnTo>
                  <a:pt x="226" y="131"/>
                </a:lnTo>
                <a:lnTo>
                  <a:pt x="226" y="131"/>
                </a:lnTo>
                <a:lnTo>
                  <a:pt x="223" y="131"/>
                </a:lnTo>
                <a:lnTo>
                  <a:pt x="223" y="131"/>
                </a:lnTo>
                <a:lnTo>
                  <a:pt x="221" y="128"/>
                </a:lnTo>
                <a:lnTo>
                  <a:pt x="221" y="128"/>
                </a:lnTo>
                <a:lnTo>
                  <a:pt x="223" y="126"/>
                </a:lnTo>
                <a:lnTo>
                  <a:pt x="221" y="126"/>
                </a:lnTo>
                <a:lnTo>
                  <a:pt x="221" y="126"/>
                </a:lnTo>
                <a:close/>
                <a:moveTo>
                  <a:pt x="214" y="89"/>
                </a:moveTo>
                <a:lnTo>
                  <a:pt x="214" y="89"/>
                </a:lnTo>
                <a:lnTo>
                  <a:pt x="216" y="84"/>
                </a:lnTo>
                <a:lnTo>
                  <a:pt x="216" y="84"/>
                </a:lnTo>
                <a:lnTo>
                  <a:pt x="221" y="79"/>
                </a:lnTo>
                <a:lnTo>
                  <a:pt x="221" y="79"/>
                </a:lnTo>
                <a:lnTo>
                  <a:pt x="223" y="77"/>
                </a:lnTo>
                <a:lnTo>
                  <a:pt x="223" y="77"/>
                </a:lnTo>
                <a:lnTo>
                  <a:pt x="226" y="77"/>
                </a:lnTo>
                <a:lnTo>
                  <a:pt x="226" y="77"/>
                </a:lnTo>
                <a:lnTo>
                  <a:pt x="228" y="81"/>
                </a:lnTo>
                <a:lnTo>
                  <a:pt x="228" y="81"/>
                </a:lnTo>
                <a:lnTo>
                  <a:pt x="233" y="84"/>
                </a:lnTo>
                <a:lnTo>
                  <a:pt x="233" y="84"/>
                </a:lnTo>
                <a:lnTo>
                  <a:pt x="233" y="86"/>
                </a:lnTo>
                <a:lnTo>
                  <a:pt x="233" y="86"/>
                </a:lnTo>
                <a:lnTo>
                  <a:pt x="236" y="89"/>
                </a:lnTo>
                <a:lnTo>
                  <a:pt x="236" y="89"/>
                </a:lnTo>
                <a:lnTo>
                  <a:pt x="238" y="91"/>
                </a:lnTo>
                <a:lnTo>
                  <a:pt x="238" y="91"/>
                </a:lnTo>
                <a:lnTo>
                  <a:pt x="241" y="91"/>
                </a:lnTo>
                <a:lnTo>
                  <a:pt x="241" y="91"/>
                </a:lnTo>
                <a:lnTo>
                  <a:pt x="246" y="91"/>
                </a:lnTo>
                <a:lnTo>
                  <a:pt x="246" y="91"/>
                </a:lnTo>
                <a:lnTo>
                  <a:pt x="246" y="89"/>
                </a:lnTo>
                <a:lnTo>
                  <a:pt x="246" y="89"/>
                </a:lnTo>
                <a:lnTo>
                  <a:pt x="248" y="89"/>
                </a:lnTo>
                <a:lnTo>
                  <a:pt x="248" y="89"/>
                </a:lnTo>
                <a:lnTo>
                  <a:pt x="251" y="89"/>
                </a:lnTo>
                <a:lnTo>
                  <a:pt x="251" y="89"/>
                </a:lnTo>
                <a:lnTo>
                  <a:pt x="260" y="89"/>
                </a:lnTo>
                <a:lnTo>
                  <a:pt x="260" y="89"/>
                </a:lnTo>
                <a:lnTo>
                  <a:pt x="268" y="86"/>
                </a:lnTo>
                <a:lnTo>
                  <a:pt x="268" y="86"/>
                </a:lnTo>
                <a:lnTo>
                  <a:pt x="270" y="84"/>
                </a:lnTo>
                <a:lnTo>
                  <a:pt x="270" y="84"/>
                </a:lnTo>
                <a:lnTo>
                  <a:pt x="278" y="84"/>
                </a:lnTo>
                <a:lnTo>
                  <a:pt x="278" y="84"/>
                </a:lnTo>
                <a:lnTo>
                  <a:pt x="283" y="84"/>
                </a:lnTo>
                <a:lnTo>
                  <a:pt x="283" y="84"/>
                </a:lnTo>
                <a:lnTo>
                  <a:pt x="283" y="86"/>
                </a:lnTo>
                <a:lnTo>
                  <a:pt x="283" y="86"/>
                </a:lnTo>
                <a:lnTo>
                  <a:pt x="287" y="86"/>
                </a:lnTo>
                <a:lnTo>
                  <a:pt x="287" y="86"/>
                </a:lnTo>
                <a:lnTo>
                  <a:pt x="292" y="84"/>
                </a:lnTo>
                <a:lnTo>
                  <a:pt x="292" y="84"/>
                </a:lnTo>
                <a:lnTo>
                  <a:pt x="300" y="81"/>
                </a:lnTo>
                <a:lnTo>
                  <a:pt x="300" y="81"/>
                </a:lnTo>
                <a:lnTo>
                  <a:pt x="300" y="79"/>
                </a:lnTo>
                <a:lnTo>
                  <a:pt x="300" y="79"/>
                </a:lnTo>
                <a:lnTo>
                  <a:pt x="307" y="72"/>
                </a:lnTo>
                <a:lnTo>
                  <a:pt x="307" y="72"/>
                </a:lnTo>
                <a:lnTo>
                  <a:pt x="310" y="64"/>
                </a:lnTo>
                <a:lnTo>
                  <a:pt x="310" y="64"/>
                </a:lnTo>
                <a:lnTo>
                  <a:pt x="315" y="57"/>
                </a:lnTo>
                <a:lnTo>
                  <a:pt x="315" y="57"/>
                </a:lnTo>
                <a:lnTo>
                  <a:pt x="317" y="45"/>
                </a:lnTo>
                <a:lnTo>
                  <a:pt x="317" y="45"/>
                </a:lnTo>
                <a:lnTo>
                  <a:pt x="317" y="42"/>
                </a:lnTo>
                <a:lnTo>
                  <a:pt x="317" y="42"/>
                </a:lnTo>
                <a:lnTo>
                  <a:pt x="319" y="40"/>
                </a:lnTo>
                <a:lnTo>
                  <a:pt x="319" y="40"/>
                </a:lnTo>
                <a:lnTo>
                  <a:pt x="319" y="37"/>
                </a:lnTo>
                <a:lnTo>
                  <a:pt x="319" y="37"/>
                </a:lnTo>
                <a:lnTo>
                  <a:pt x="322" y="35"/>
                </a:lnTo>
                <a:lnTo>
                  <a:pt x="322" y="35"/>
                </a:lnTo>
                <a:lnTo>
                  <a:pt x="324" y="35"/>
                </a:lnTo>
                <a:lnTo>
                  <a:pt x="324" y="35"/>
                </a:lnTo>
                <a:lnTo>
                  <a:pt x="329" y="35"/>
                </a:lnTo>
                <a:lnTo>
                  <a:pt x="329" y="35"/>
                </a:lnTo>
                <a:lnTo>
                  <a:pt x="337" y="35"/>
                </a:lnTo>
                <a:lnTo>
                  <a:pt x="337" y="35"/>
                </a:lnTo>
                <a:lnTo>
                  <a:pt x="337" y="37"/>
                </a:lnTo>
                <a:lnTo>
                  <a:pt x="337" y="37"/>
                </a:lnTo>
                <a:lnTo>
                  <a:pt x="342" y="37"/>
                </a:lnTo>
                <a:lnTo>
                  <a:pt x="342" y="37"/>
                </a:lnTo>
                <a:lnTo>
                  <a:pt x="344" y="37"/>
                </a:lnTo>
                <a:lnTo>
                  <a:pt x="344" y="37"/>
                </a:lnTo>
                <a:lnTo>
                  <a:pt x="344" y="37"/>
                </a:lnTo>
                <a:lnTo>
                  <a:pt x="344" y="37"/>
                </a:lnTo>
                <a:lnTo>
                  <a:pt x="344" y="40"/>
                </a:lnTo>
                <a:lnTo>
                  <a:pt x="344" y="40"/>
                </a:lnTo>
                <a:lnTo>
                  <a:pt x="342" y="42"/>
                </a:lnTo>
                <a:lnTo>
                  <a:pt x="342" y="42"/>
                </a:lnTo>
                <a:lnTo>
                  <a:pt x="347" y="42"/>
                </a:lnTo>
                <a:lnTo>
                  <a:pt x="347" y="42"/>
                </a:lnTo>
                <a:lnTo>
                  <a:pt x="349" y="47"/>
                </a:lnTo>
                <a:lnTo>
                  <a:pt x="349" y="47"/>
                </a:lnTo>
                <a:lnTo>
                  <a:pt x="347" y="47"/>
                </a:lnTo>
                <a:lnTo>
                  <a:pt x="347" y="47"/>
                </a:lnTo>
                <a:lnTo>
                  <a:pt x="342" y="47"/>
                </a:lnTo>
                <a:lnTo>
                  <a:pt x="342" y="47"/>
                </a:lnTo>
                <a:lnTo>
                  <a:pt x="342" y="47"/>
                </a:lnTo>
                <a:lnTo>
                  <a:pt x="344" y="49"/>
                </a:lnTo>
                <a:lnTo>
                  <a:pt x="344" y="49"/>
                </a:lnTo>
                <a:lnTo>
                  <a:pt x="344" y="52"/>
                </a:lnTo>
                <a:lnTo>
                  <a:pt x="344" y="52"/>
                </a:lnTo>
                <a:lnTo>
                  <a:pt x="344" y="52"/>
                </a:lnTo>
                <a:lnTo>
                  <a:pt x="344" y="52"/>
                </a:lnTo>
                <a:lnTo>
                  <a:pt x="342" y="54"/>
                </a:lnTo>
                <a:lnTo>
                  <a:pt x="342" y="54"/>
                </a:lnTo>
                <a:lnTo>
                  <a:pt x="344" y="57"/>
                </a:lnTo>
                <a:lnTo>
                  <a:pt x="344" y="57"/>
                </a:lnTo>
                <a:lnTo>
                  <a:pt x="347" y="62"/>
                </a:lnTo>
                <a:lnTo>
                  <a:pt x="347" y="62"/>
                </a:lnTo>
                <a:lnTo>
                  <a:pt x="351" y="67"/>
                </a:lnTo>
                <a:lnTo>
                  <a:pt x="351" y="67"/>
                </a:lnTo>
                <a:lnTo>
                  <a:pt x="354" y="69"/>
                </a:lnTo>
                <a:lnTo>
                  <a:pt x="354" y="69"/>
                </a:lnTo>
                <a:lnTo>
                  <a:pt x="351" y="72"/>
                </a:lnTo>
                <a:lnTo>
                  <a:pt x="351" y="72"/>
                </a:lnTo>
                <a:lnTo>
                  <a:pt x="347" y="72"/>
                </a:lnTo>
                <a:lnTo>
                  <a:pt x="347" y="72"/>
                </a:lnTo>
                <a:lnTo>
                  <a:pt x="347" y="74"/>
                </a:lnTo>
                <a:lnTo>
                  <a:pt x="347" y="74"/>
                </a:lnTo>
                <a:lnTo>
                  <a:pt x="349" y="74"/>
                </a:lnTo>
                <a:lnTo>
                  <a:pt x="349" y="74"/>
                </a:lnTo>
                <a:lnTo>
                  <a:pt x="349" y="79"/>
                </a:lnTo>
                <a:lnTo>
                  <a:pt x="349" y="79"/>
                </a:lnTo>
                <a:lnTo>
                  <a:pt x="351" y="79"/>
                </a:lnTo>
                <a:lnTo>
                  <a:pt x="351" y="79"/>
                </a:lnTo>
                <a:lnTo>
                  <a:pt x="359" y="86"/>
                </a:lnTo>
                <a:lnTo>
                  <a:pt x="359" y="86"/>
                </a:lnTo>
                <a:lnTo>
                  <a:pt x="361" y="86"/>
                </a:lnTo>
                <a:lnTo>
                  <a:pt x="361" y="86"/>
                </a:lnTo>
                <a:lnTo>
                  <a:pt x="364" y="89"/>
                </a:lnTo>
                <a:lnTo>
                  <a:pt x="364" y="89"/>
                </a:lnTo>
                <a:lnTo>
                  <a:pt x="364" y="89"/>
                </a:lnTo>
                <a:lnTo>
                  <a:pt x="366" y="91"/>
                </a:lnTo>
                <a:lnTo>
                  <a:pt x="366" y="91"/>
                </a:lnTo>
                <a:lnTo>
                  <a:pt x="366" y="94"/>
                </a:lnTo>
                <a:lnTo>
                  <a:pt x="366" y="94"/>
                </a:lnTo>
                <a:lnTo>
                  <a:pt x="364" y="94"/>
                </a:lnTo>
                <a:lnTo>
                  <a:pt x="364" y="94"/>
                </a:lnTo>
                <a:lnTo>
                  <a:pt x="361" y="94"/>
                </a:lnTo>
                <a:lnTo>
                  <a:pt x="361" y="94"/>
                </a:lnTo>
                <a:lnTo>
                  <a:pt x="359" y="96"/>
                </a:lnTo>
                <a:lnTo>
                  <a:pt x="359" y="96"/>
                </a:lnTo>
                <a:lnTo>
                  <a:pt x="356" y="94"/>
                </a:lnTo>
                <a:lnTo>
                  <a:pt x="356" y="94"/>
                </a:lnTo>
                <a:lnTo>
                  <a:pt x="351" y="89"/>
                </a:lnTo>
                <a:lnTo>
                  <a:pt x="351" y="89"/>
                </a:lnTo>
                <a:lnTo>
                  <a:pt x="351" y="94"/>
                </a:lnTo>
                <a:lnTo>
                  <a:pt x="351" y="94"/>
                </a:lnTo>
                <a:lnTo>
                  <a:pt x="351" y="96"/>
                </a:lnTo>
                <a:lnTo>
                  <a:pt x="351" y="96"/>
                </a:lnTo>
                <a:lnTo>
                  <a:pt x="349" y="94"/>
                </a:lnTo>
                <a:lnTo>
                  <a:pt x="349" y="94"/>
                </a:lnTo>
                <a:lnTo>
                  <a:pt x="347" y="96"/>
                </a:lnTo>
                <a:lnTo>
                  <a:pt x="347" y="96"/>
                </a:lnTo>
                <a:lnTo>
                  <a:pt x="347" y="99"/>
                </a:lnTo>
                <a:lnTo>
                  <a:pt x="347" y="99"/>
                </a:lnTo>
                <a:lnTo>
                  <a:pt x="344" y="101"/>
                </a:lnTo>
                <a:lnTo>
                  <a:pt x="344" y="101"/>
                </a:lnTo>
                <a:lnTo>
                  <a:pt x="344" y="106"/>
                </a:lnTo>
                <a:lnTo>
                  <a:pt x="344" y="106"/>
                </a:lnTo>
                <a:lnTo>
                  <a:pt x="342" y="108"/>
                </a:lnTo>
                <a:lnTo>
                  <a:pt x="342" y="108"/>
                </a:lnTo>
                <a:lnTo>
                  <a:pt x="342" y="113"/>
                </a:lnTo>
                <a:lnTo>
                  <a:pt x="342" y="113"/>
                </a:lnTo>
                <a:lnTo>
                  <a:pt x="337" y="118"/>
                </a:lnTo>
                <a:lnTo>
                  <a:pt x="337" y="118"/>
                </a:lnTo>
                <a:lnTo>
                  <a:pt x="339" y="121"/>
                </a:lnTo>
                <a:lnTo>
                  <a:pt x="339" y="121"/>
                </a:lnTo>
                <a:lnTo>
                  <a:pt x="337" y="123"/>
                </a:lnTo>
                <a:lnTo>
                  <a:pt x="337" y="123"/>
                </a:lnTo>
                <a:lnTo>
                  <a:pt x="334" y="126"/>
                </a:lnTo>
                <a:lnTo>
                  <a:pt x="334" y="126"/>
                </a:lnTo>
                <a:lnTo>
                  <a:pt x="334" y="123"/>
                </a:lnTo>
                <a:lnTo>
                  <a:pt x="334" y="123"/>
                </a:lnTo>
                <a:lnTo>
                  <a:pt x="332" y="123"/>
                </a:lnTo>
                <a:lnTo>
                  <a:pt x="332" y="123"/>
                </a:lnTo>
                <a:lnTo>
                  <a:pt x="332" y="126"/>
                </a:lnTo>
                <a:lnTo>
                  <a:pt x="332" y="126"/>
                </a:lnTo>
                <a:lnTo>
                  <a:pt x="332" y="128"/>
                </a:lnTo>
                <a:lnTo>
                  <a:pt x="332" y="128"/>
                </a:lnTo>
                <a:lnTo>
                  <a:pt x="329" y="131"/>
                </a:lnTo>
                <a:lnTo>
                  <a:pt x="329" y="131"/>
                </a:lnTo>
                <a:lnTo>
                  <a:pt x="329" y="133"/>
                </a:lnTo>
                <a:lnTo>
                  <a:pt x="329" y="133"/>
                </a:lnTo>
                <a:lnTo>
                  <a:pt x="327" y="136"/>
                </a:lnTo>
                <a:lnTo>
                  <a:pt x="327" y="136"/>
                </a:lnTo>
                <a:lnTo>
                  <a:pt x="324" y="136"/>
                </a:lnTo>
                <a:lnTo>
                  <a:pt x="324" y="136"/>
                </a:lnTo>
                <a:lnTo>
                  <a:pt x="324" y="136"/>
                </a:lnTo>
                <a:lnTo>
                  <a:pt x="324" y="138"/>
                </a:lnTo>
                <a:lnTo>
                  <a:pt x="324" y="138"/>
                </a:lnTo>
                <a:lnTo>
                  <a:pt x="327" y="138"/>
                </a:lnTo>
                <a:lnTo>
                  <a:pt x="327" y="138"/>
                </a:lnTo>
                <a:lnTo>
                  <a:pt x="327" y="138"/>
                </a:lnTo>
                <a:lnTo>
                  <a:pt x="327" y="140"/>
                </a:lnTo>
                <a:lnTo>
                  <a:pt x="327" y="140"/>
                </a:lnTo>
                <a:lnTo>
                  <a:pt x="324" y="143"/>
                </a:lnTo>
                <a:lnTo>
                  <a:pt x="324" y="143"/>
                </a:lnTo>
                <a:lnTo>
                  <a:pt x="327" y="143"/>
                </a:lnTo>
                <a:lnTo>
                  <a:pt x="327" y="143"/>
                </a:lnTo>
                <a:lnTo>
                  <a:pt x="329" y="143"/>
                </a:lnTo>
                <a:lnTo>
                  <a:pt x="329" y="143"/>
                </a:lnTo>
                <a:lnTo>
                  <a:pt x="329" y="145"/>
                </a:lnTo>
                <a:lnTo>
                  <a:pt x="329" y="145"/>
                </a:lnTo>
                <a:lnTo>
                  <a:pt x="327" y="148"/>
                </a:lnTo>
                <a:lnTo>
                  <a:pt x="327" y="148"/>
                </a:lnTo>
                <a:lnTo>
                  <a:pt x="324" y="148"/>
                </a:lnTo>
                <a:lnTo>
                  <a:pt x="324" y="148"/>
                </a:lnTo>
                <a:lnTo>
                  <a:pt x="324" y="145"/>
                </a:lnTo>
                <a:lnTo>
                  <a:pt x="324" y="145"/>
                </a:lnTo>
                <a:lnTo>
                  <a:pt x="324" y="148"/>
                </a:lnTo>
                <a:lnTo>
                  <a:pt x="324" y="148"/>
                </a:lnTo>
                <a:lnTo>
                  <a:pt x="327" y="148"/>
                </a:lnTo>
                <a:lnTo>
                  <a:pt x="327" y="148"/>
                </a:lnTo>
                <a:lnTo>
                  <a:pt x="327" y="150"/>
                </a:lnTo>
                <a:lnTo>
                  <a:pt x="327" y="150"/>
                </a:lnTo>
                <a:lnTo>
                  <a:pt x="324" y="155"/>
                </a:lnTo>
                <a:lnTo>
                  <a:pt x="324" y="155"/>
                </a:lnTo>
                <a:lnTo>
                  <a:pt x="322" y="155"/>
                </a:lnTo>
                <a:lnTo>
                  <a:pt x="322" y="155"/>
                </a:lnTo>
                <a:lnTo>
                  <a:pt x="322" y="153"/>
                </a:lnTo>
                <a:lnTo>
                  <a:pt x="322" y="153"/>
                </a:lnTo>
                <a:lnTo>
                  <a:pt x="322" y="158"/>
                </a:lnTo>
                <a:lnTo>
                  <a:pt x="322" y="158"/>
                </a:lnTo>
                <a:lnTo>
                  <a:pt x="322" y="160"/>
                </a:lnTo>
                <a:lnTo>
                  <a:pt x="322" y="160"/>
                </a:lnTo>
                <a:lnTo>
                  <a:pt x="319" y="165"/>
                </a:lnTo>
                <a:lnTo>
                  <a:pt x="319" y="165"/>
                </a:lnTo>
                <a:lnTo>
                  <a:pt x="312" y="170"/>
                </a:lnTo>
                <a:lnTo>
                  <a:pt x="312" y="170"/>
                </a:lnTo>
                <a:lnTo>
                  <a:pt x="310" y="170"/>
                </a:lnTo>
                <a:lnTo>
                  <a:pt x="310" y="170"/>
                </a:lnTo>
                <a:lnTo>
                  <a:pt x="302" y="172"/>
                </a:lnTo>
                <a:lnTo>
                  <a:pt x="302" y="172"/>
                </a:lnTo>
                <a:lnTo>
                  <a:pt x="300" y="172"/>
                </a:lnTo>
                <a:lnTo>
                  <a:pt x="300" y="172"/>
                </a:lnTo>
                <a:lnTo>
                  <a:pt x="297" y="170"/>
                </a:lnTo>
                <a:lnTo>
                  <a:pt x="297" y="170"/>
                </a:lnTo>
                <a:lnTo>
                  <a:pt x="300" y="168"/>
                </a:lnTo>
                <a:lnTo>
                  <a:pt x="300" y="168"/>
                </a:lnTo>
                <a:lnTo>
                  <a:pt x="297" y="165"/>
                </a:lnTo>
                <a:lnTo>
                  <a:pt x="297" y="165"/>
                </a:lnTo>
                <a:lnTo>
                  <a:pt x="297" y="163"/>
                </a:lnTo>
                <a:lnTo>
                  <a:pt x="297" y="163"/>
                </a:lnTo>
                <a:lnTo>
                  <a:pt x="295" y="163"/>
                </a:lnTo>
                <a:lnTo>
                  <a:pt x="295" y="163"/>
                </a:lnTo>
                <a:lnTo>
                  <a:pt x="295" y="163"/>
                </a:lnTo>
                <a:lnTo>
                  <a:pt x="292" y="163"/>
                </a:lnTo>
                <a:lnTo>
                  <a:pt x="292" y="163"/>
                </a:lnTo>
                <a:lnTo>
                  <a:pt x="290" y="163"/>
                </a:lnTo>
                <a:lnTo>
                  <a:pt x="290" y="163"/>
                </a:lnTo>
                <a:lnTo>
                  <a:pt x="287" y="160"/>
                </a:lnTo>
                <a:lnTo>
                  <a:pt x="287" y="160"/>
                </a:lnTo>
                <a:lnTo>
                  <a:pt x="287" y="163"/>
                </a:lnTo>
                <a:lnTo>
                  <a:pt x="287" y="163"/>
                </a:lnTo>
                <a:lnTo>
                  <a:pt x="287" y="163"/>
                </a:lnTo>
                <a:lnTo>
                  <a:pt x="285" y="163"/>
                </a:lnTo>
                <a:lnTo>
                  <a:pt x="285" y="163"/>
                </a:lnTo>
                <a:lnTo>
                  <a:pt x="285" y="160"/>
                </a:lnTo>
                <a:lnTo>
                  <a:pt x="285" y="160"/>
                </a:lnTo>
                <a:lnTo>
                  <a:pt x="285" y="158"/>
                </a:lnTo>
                <a:lnTo>
                  <a:pt x="285" y="158"/>
                </a:lnTo>
                <a:lnTo>
                  <a:pt x="283" y="158"/>
                </a:lnTo>
                <a:lnTo>
                  <a:pt x="283" y="158"/>
                </a:lnTo>
                <a:lnTo>
                  <a:pt x="280" y="158"/>
                </a:lnTo>
                <a:lnTo>
                  <a:pt x="280" y="158"/>
                </a:lnTo>
                <a:lnTo>
                  <a:pt x="278" y="158"/>
                </a:lnTo>
                <a:lnTo>
                  <a:pt x="278" y="158"/>
                </a:lnTo>
                <a:lnTo>
                  <a:pt x="278" y="158"/>
                </a:lnTo>
                <a:lnTo>
                  <a:pt x="275" y="160"/>
                </a:lnTo>
                <a:lnTo>
                  <a:pt x="275" y="160"/>
                </a:lnTo>
                <a:lnTo>
                  <a:pt x="270" y="160"/>
                </a:lnTo>
                <a:lnTo>
                  <a:pt x="270" y="160"/>
                </a:lnTo>
                <a:lnTo>
                  <a:pt x="270" y="163"/>
                </a:lnTo>
                <a:lnTo>
                  <a:pt x="270" y="163"/>
                </a:lnTo>
                <a:lnTo>
                  <a:pt x="268" y="163"/>
                </a:lnTo>
                <a:lnTo>
                  <a:pt x="268" y="163"/>
                </a:lnTo>
                <a:lnTo>
                  <a:pt x="265" y="160"/>
                </a:lnTo>
                <a:lnTo>
                  <a:pt x="265" y="160"/>
                </a:lnTo>
                <a:lnTo>
                  <a:pt x="263" y="160"/>
                </a:lnTo>
                <a:lnTo>
                  <a:pt x="263" y="160"/>
                </a:lnTo>
                <a:lnTo>
                  <a:pt x="260" y="165"/>
                </a:lnTo>
                <a:lnTo>
                  <a:pt x="260" y="165"/>
                </a:lnTo>
                <a:lnTo>
                  <a:pt x="258" y="165"/>
                </a:lnTo>
                <a:lnTo>
                  <a:pt x="258" y="165"/>
                </a:lnTo>
                <a:lnTo>
                  <a:pt x="258" y="163"/>
                </a:lnTo>
                <a:lnTo>
                  <a:pt x="258" y="163"/>
                </a:lnTo>
                <a:lnTo>
                  <a:pt x="258" y="158"/>
                </a:lnTo>
                <a:lnTo>
                  <a:pt x="258" y="158"/>
                </a:lnTo>
                <a:lnTo>
                  <a:pt x="258" y="153"/>
                </a:lnTo>
                <a:lnTo>
                  <a:pt x="258" y="153"/>
                </a:lnTo>
                <a:lnTo>
                  <a:pt x="258" y="150"/>
                </a:lnTo>
                <a:lnTo>
                  <a:pt x="258" y="150"/>
                </a:lnTo>
                <a:lnTo>
                  <a:pt x="255" y="150"/>
                </a:lnTo>
                <a:lnTo>
                  <a:pt x="255" y="150"/>
                </a:lnTo>
                <a:lnTo>
                  <a:pt x="258" y="150"/>
                </a:lnTo>
                <a:lnTo>
                  <a:pt x="258" y="150"/>
                </a:lnTo>
                <a:lnTo>
                  <a:pt x="255" y="153"/>
                </a:lnTo>
                <a:lnTo>
                  <a:pt x="255" y="153"/>
                </a:lnTo>
                <a:lnTo>
                  <a:pt x="253" y="155"/>
                </a:lnTo>
                <a:lnTo>
                  <a:pt x="253" y="155"/>
                </a:lnTo>
                <a:lnTo>
                  <a:pt x="251" y="153"/>
                </a:lnTo>
                <a:lnTo>
                  <a:pt x="251" y="153"/>
                </a:lnTo>
                <a:lnTo>
                  <a:pt x="248" y="155"/>
                </a:lnTo>
                <a:lnTo>
                  <a:pt x="248" y="155"/>
                </a:lnTo>
                <a:lnTo>
                  <a:pt x="246" y="155"/>
                </a:lnTo>
                <a:lnTo>
                  <a:pt x="246" y="155"/>
                </a:lnTo>
                <a:lnTo>
                  <a:pt x="243" y="155"/>
                </a:lnTo>
                <a:lnTo>
                  <a:pt x="243" y="155"/>
                </a:lnTo>
                <a:lnTo>
                  <a:pt x="238" y="155"/>
                </a:lnTo>
                <a:lnTo>
                  <a:pt x="238" y="155"/>
                </a:lnTo>
                <a:lnTo>
                  <a:pt x="238" y="153"/>
                </a:lnTo>
                <a:lnTo>
                  <a:pt x="238" y="153"/>
                </a:lnTo>
                <a:lnTo>
                  <a:pt x="236" y="155"/>
                </a:lnTo>
                <a:lnTo>
                  <a:pt x="236" y="155"/>
                </a:lnTo>
                <a:lnTo>
                  <a:pt x="233" y="155"/>
                </a:lnTo>
                <a:lnTo>
                  <a:pt x="233" y="155"/>
                </a:lnTo>
                <a:lnTo>
                  <a:pt x="233" y="150"/>
                </a:lnTo>
                <a:lnTo>
                  <a:pt x="233" y="150"/>
                </a:lnTo>
                <a:lnTo>
                  <a:pt x="233" y="148"/>
                </a:lnTo>
                <a:lnTo>
                  <a:pt x="233" y="148"/>
                </a:lnTo>
                <a:lnTo>
                  <a:pt x="231" y="140"/>
                </a:lnTo>
                <a:lnTo>
                  <a:pt x="231" y="140"/>
                </a:lnTo>
                <a:lnTo>
                  <a:pt x="228" y="138"/>
                </a:lnTo>
                <a:lnTo>
                  <a:pt x="228" y="138"/>
                </a:lnTo>
                <a:lnTo>
                  <a:pt x="228" y="136"/>
                </a:lnTo>
                <a:lnTo>
                  <a:pt x="228" y="136"/>
                </a:lnTo>
                <a:lnTo>
                  <a:pt x="231" y="136"/>
                </a:lnTo>
                <a:lnTo>
                  <a:pt x="231" y="136"/>
                </a:lnTo>
                <a:lnTo>
                  <a:pt x="231" y="131"/>
                </a:lnTo>
                <a:lnTo>
                  <a:pt x="231" y="131"/>
                </a:lnTo>
                <a:lnTo>
                  <a:pt x="231" y="128"/>
                </a:lnTo>
                <a:lnTo>
                  <a:pt x="231" y="128"/>
                </a:lnTo>
                <a:lnTo>
                  <a:pt x="231" y="126"/>
                </a:lnTo>
                <a:lnTo>
                  <a:pt x="231" y="126"/>
                </a:lnTo>
                <a:lnTo>
                  <a:pt x="226" y="121"/>
                </a:lnTo>
                <a:lnTo>
                  <a:pt x="226" y="121"/>
                </a:lnTo>
                <a:lnTo>
                  <a:pt x="221" y="118"/>
                </a:lnTo>
                <a:lnTo>
                  <a:pt x="221" y="118"/>
                </a:lnTo>
                <a:lnTo>
                  <a:pt x="219" y="118"/>
                </a:lnTo>
                <a:lnTo>
                  <a:pt x="219" y="118"/>
                </a:lnTo>
                <a:lnTo>
                  <a:pt x="219" y="118"/>
                </a:lnTo>
                <a:lnTo>
                  <a:pt x="221" y="116"/>
                </a:lnTo>
                <a:lnTo>
                  <a:pt x="221" y="116"/>
                </a:lnTo>
                <a:lnTo>
                  <a:pt x="223" y="116"/>
                </a:lnTo>
                <a:lnTo>
                  <a:pt x="223" y="116"/>
                </a:lnTo>
                <a:lnTo>
                  <a:pt x="228" y="113"/>
                </a:lnTo>
                <a:lnTo>
                  <a:pt x="228" y="113"/>
                </a:lnTo>
                <a:lnTo>
                  <a:pt x="233" y="111"/>
                </a:lnTo>
                <a:lnTo>
                  <a:pt x="233" y="111"/>
                </a:lnTo>
                <a:lnTo>
                  <a:pt x="236" y="111"/>
                </a:lnTo>
                <a:lnTo>
                  <a:pt x="236" y="111"/>
                </a:lnTo>
                <a:lnTo>
                  <a:pt x="233" y="111"/>
                </a:lnTo>
                <a:lnTo>
                  <a:pt x="233" y="111"/>
                </a:lnTo>
                <a:lnTo>
                  <a:pt x="228" y="113"/>
                </a:lnTo>
                <a:lnTo>
                  <a:pt x="228" y="113"/>
                </a:lnTo>
                <a:lnTo>
                  <a:pt x="223" y="113"/>
                </a:lnTo>
                <a:lnTo>
                  <a:pt x="223" y="113"/>
                </a:lnTo>
                <a:lnTo>
                  <a:pt x="221" y="113"/>
                </a:lnTo>
                <a:lnTo>
                  <a:pt x="221" y="113"/>
                </a:lnTo>
                <a:lnTo>
                  <a:pt x="219" y="113"/>
                </a:lnTo>
                <a:lnTo>
                  <a:pt x="219" y="113"/>
                </a:lnTo>
                <a:lnTo>
                  <a:pt x="216" y="108"/>
                </a:lnTo>
                <a:lnTo>
                  <a:pt x="216" y="108"/>
                </a:lnTo>
                <a:lnTo>
                  <a:pt x="219" y="108"/>
                </a:lnTo>
                <a:lnTo>
                  <a:pt x="219" y="108"/>
                </a:lnTo>
                <a:lnTo>
                  <a:pt x="219" y="108"/>
                </a:lnTo>
                <a:lnTo>
                  <a:pt x="219" y="106"/>
                </a:lnTo>
                <a:lnTo>
                  <a:pt x="219" y="106"/>
                </a:lnTo>
                <a:lnTo>
                  <a:pt x="214" y="101"/>
                </a:lnTo>
                <a:lnTo>
                  <a:pt x="214" y="101"/>
                </a:lnTo>
                <a:lnTo>
                  <a:pt x="214" y="96"/>
                </a:lnTo>
                <a:lnTo>
                  <a:pt x="214" y="96"/>
                </a:lnTo>
                <a:lnTo>
                  <a:pt x="216" y="94"/>
                </a:lnTo>
                <a:lnTo>
                  <a:pt x="216" y="94"/>
                </a:lnTo>
                <a:lnTo>
                  <a:pt x="216" y="91"/>
                </a:lnTo>
                <a:lnTo>
                  <a:pt x="216" y="91"/>
                </a:lnTo>
                <a:lnTo>
                  <a:pt x="214" y="89"/>
                </a:lnTo>
                <a:lnTo>
                  <a:pt x="214" y="89"/>
                </a:lnTo>
                <a:lnTo>
                  <a:pt x="214" y="89"/>
                </a:lnTo>
                <a:close/>
                <a:moveTo>
                  <a:pt x="615" y="121"/>
                </a:moveTo>
                <a:lnTo>
                  <a:pt x="615" y="121"/>
                </a:lnTo>
                <a:lnTo>
                  <a:pt x="612" y="121"/>
                </a:lnTo>
                <a:lnTo>
                  <a:pt x="612" y="121"/>
                </a:lnTo>
                <a:lnTo>
                  <a:pt x="615" y="123"/>
                </a:lnTo>
                <a:lnTo>
                  <a:pt x="615" y="123"/>
                </a:lnTo>
                <a:lnTo>
                  <a:pt x="617" y="123"/>
                </a:lnTo>
                <a:lnTo>
                  <a:pt x="617" y="123"/>
                </a:lnTo>
                <a:lnTo>
                  <a:pt x="615" y="121"/>
                </a:lnTo>
                <a:lnTo>
                  <a:pt x="615" y="121"/>
                </a:lnTo>
                <a:close/>
                <a:moveTo>
                  <a:pt x="622" y="131"/>
                </a:moveTo>
                <a:lnTo>
                  <a:pt x="622" y="131"/>
                </a:lnTo>
                <a:lnTo>
                  <a:pt x="617" y="131"/>
                </a:lnTo>
                <a:lnTo>
                  <a:pt x="617" y="131"/>
                </a:lnTo>
                <a:lnTo>
                  <a:pt x="620" y="131"/>
                </a:lnTo>
                <a:lnTo>
                  <a:pt x="620" y="131"/>
                </a:lnTo>
                <a:lnTo>
                  <a:pt x="622" y="131"/>
                </a:lnTo>
                <a:lnTo>
                  <a:pt x="622" y="131"/>
                </a:lnTo>
                <a:close/>
                <a:moveTo>
                  <a:pt x="624" y="133"/>
                </a:moveTo>
                <a:lnTo>
                  <a:pt x="624" y="133"/>
                </a:lnTo>
                <a:lnTo>
                  <a:pt x="624" y="133"/>
                </a:lnTo>
                <a:lnTo>
                  <a:pt x="624" y="133"/>
                </a:lnTo>
                <a:lnTo>
                  <a:pt x="624" y="133"/>
                </a:lnTo>
                <a:lnTo>
                  <a:pt x="629" y="136"/>
                </a:lnTo>
                <a:lnTo>
                  <a:pt x="629" y="136"/>
                </a:lnTo>
                <a:lnTo>
                  <a:pt x="637" y="136"/>
                </a:lnTo>
                <a:lnTo>
                  <a:pt x="637" y="136"/>
                </a:lnTo>
                <a:lnTo>
                  <a:pt x="644" y="136"/>
                </a:lnTo>
                <a:lnTo>
                  <a:pt x="644" y="136"/>
                </a:lnTo>
                <a:lnTo>
                  <a:pt x="644" y="133"/>
                </a:lnTo>
                <a:lnTo>
                  <a:pt x="644" y="133"/>
                </a:lnTo>
                <a:lnTo>
                  <a:pt x="639" y="133"/>
                </a:lnTo>
                <a:lnTo>
                  <a:pt x="639" y="133"/>
                </a:lnTo>
                <a:lnTo>
                  <a:pt x="637" y="133"/>
                </a:lnTo>
                <a:lnTo>
                  <a:pt x="637" y="133"/>
                </a:lnTo>
                <a:lnTo>
                  <a:pt x="632" y="133"/>
                </a:lnTo>
                <a:lnTo>
                  <a:pt x="632" y="133"/>
                </a:lnTo>
                <a:lnTo>
                  <a:pt x="629" y="133"/>
                </a:lnTo>
                <a:lnTo>
                  <a:pt x="629" y="133"/>
                </a:lnTo>
                <a:lnTo>
                  <a:pt x="624" y="133"/>
                </a:lnTo>
                <a:lnTo>
                  <a:pt x="624" y="133"/>
                </a:lnTo>
                <a:close/>
                <a:moveTo>
                  <a:pt x="624" y="118"/>
                </a:moveTo>
                <a:lnTo>
                  <a:pt x="624" y="118"/>
                </a:lnTo>
                <a:lnTo>
                  <a:pt x="627" y="121"/>
                </a:lnTo>
                <a:lnTo>
                  <a:pt x="627" y="121"/>
                </a:lnTo>
                <a:lnTo>
                  <a:pt x="627" y="118"/>
                </a:lnTo>
                <a:lnTo>
                  <a:pt x="627" y="118"/>
                </a:lnTo>
                <a:lnTo>
                  <a:pt x="627" y="118"/>
                </a:lnTo>
                <a:lnTo>
                  <a:pt x="629" y="121"/>
                </a:lnTo>
                <a:lnTo>
                  <a:pt x="629" y="121"/>
                </a:lnTo>
                <a:lnTo>
                  <a:pt x="629" y="123"/>
                </a:lnTo>
                <a:lnTo>
                  <a:pt x="629" y="123"/>
                </a:lnTo>
                <a:lnTo>
                  <a:pt x="632" y="123"/>
                </a:lnTo>
                <a:lnTo>
                  <a:pt x="632" y="123"/>
                </a:lnTo>
                <a:lnTo>
                  <a:pt x="634" y="123"/>
                </a:lnTo>
                <a:lnTo>
                  <a:pt x="634" y="123"/>
                </a:lnTo>
                <a:lnTo>
                  <a:pt x="634" y="126"/>
                </a:lnTo>
                <a:lnTo>
                  <a:pt x="634" y="126"/>
                </a:lnTo>
                <a:lnTo>
                  <a:pt x="639" y="123"/>
                </a:lnTo>
                <a:lnTo>
                  <a:pt x="639" y="123"/>
                </a:lnTo>
                <a:lnTo>
                  <a:pt x="637" y="123"/>
                </a:lnTo>
                <a:lnTo>
                  <a:pt x="637" y="123"/>
                </a:lnTo>
                <a:lnTo>
                  <a:pt x="634" y="121"/>
                </a:lnTo>
                <a:lnTo>
                  <a:pt x="634" y="121"/>
                </a:lnTo>
                <a:lnTo>
                  <a:pt x="632" y="118"/>
                </a:lnTo>
                <a:lnTo>
                  <a:pt x="632" y="118"/>
                </a:lnTo>
                <a:lnTo>
                  <a:pt x="629" y="116"/>
                </a:lnTo>
                <a:lnTo>
                  <a:pt x="629" y="116"/>
                </a:lnTo>
                <a:lnTo>
                  <a:pt x="627" y="116"/>
                </a:lnTo>
                <a:lnTo>
                  <a:pt x="627" y="116"/>
                </a:lnTo>
                <a:lnTo>
                  <a:pt x="624" y="116"/>
                </a:lnTo>
                <a:lnTo>
                  <a:pt x="624" y="116"/>
                </a:lnTo>
                <a:lnTo>
                  <a:pt x="624" y="118"/>
                </a:lnTo>
                <a:lnTo>
                  <a:pt x="624" y="118"/>
                </a:lnTo>
                <a:close/>
                <a:moveTo>
                  <a:pt x="580" y="195"/>
                </a:moveTo>
                <a:lnTo>
                  <a:pt x="580" y="195"/>
                </a:lnTo>
                <a:lnTo>
                  <a:pt x="580" y="197"/>
                </a:lnTo>
                <a:lnTo>
                  <a:pt x="580" y="197"/>
                </a:lnTo>
                <a:lnTo>
                  <a:pt x="580" y="199"/>
                </a:lnTo>
                <a:lnTo>
                  <a:pt x="580" y="199"/>
                </a:lnTo>
                <a:lnTo>
                  <a:pt x="580" y="202"/>
                </a:lnTo>
                <a:lnTo>
                  <a:pt x="580" y="202"/>
                </a:lnTo>
                <a:lnTo>
                  <a:pt x="580" y="197"/>
                </a:lnTo>
                <a:lnTo>
                  <a:pt x="580" y="197"/>
                </a:lnTo>
                <a:lnTo>
                  <a:pt x="580" y="195"/>
                </a:lnTo>
                <a:lnTo>
                  <a:pt x="580" y="195"/>
                </a:lnTo>
                <a:close/>
                <a:moveTo>
                  <a:pt x="588" y="192"/>
                </a:moveTo>
                <a:lnTo>
                  <a:pt x="588" y="192"/>
                </a:lnTo>
                <a:lnTo>
                  <a:pt x="585" y="192"/>
                </a:lnTo>
                <a:lnTo>
                  <a:pt x="585" y="192"/>
                </a:lnTo>
                <a:lnTo>
                  <a:pt x="583" y="199"/>
                </a:lnTo>
                <a:lnTo>
                  <a:pt x="583" y="199"/>
                </a:lnTo>
                <a:lnTo>
                  <a:pt x="583" y="202"/>
                </a:lnTo>
                <a:lnTo>
                  <a:pt x="583" y="202"/>
                </a:lnTo>
                <a:lnTo>
                  <a:pt x="585" y="199"/>
                </a:lnTo>
                <a:lnTo>
                  <a:pt x="585" y="199"/>
                </a:lnTo>
                <a:lnTo>
                  <a:pt x="585" y="195"/>
                </a:lnTo>
                <a:lnTo>
                  <a:pt x="585" y="195"/>
                </a:lnTo>
                <a:lnTo>
                  <a:pt x="588" y="192"/>
                </a:lnTo>
                <a:lnTo>
                  <a:pt x="588" y="192"/>
                </a:lnTo>
                <a:close/>
                <a:moveTo>
                  <a:pt x="612" y="212"/>
                </a:moveTo>
                <a:lnTo>
                  <a:pt x="612" y="212"/>
                </a:lnTo>
                <a:lnTo>
                  <a:pt x="610" y="214"/>
                </a:lnTo>
                <a:lnTo>
                  <a:pt x="610" y="214"/>
                </a:lnTo>
                <a:lnTo>
                  <a:pt x="612" y="214"/>
                </a:lnTo>
                <a:lnTo>
                  <a:pt x="612" y="214"/>
                </a:lnTo>
                <a:lnTo>
                  <a:pt x="612" y="214"/>
                </a:lnTo>
                <a:lnTo>
                  <a:pt x="612" y="212"/>
                </a:lnTo>
                <a:lnTo>
                  <a:pt x="612" y="212"/>
                </a:lnTo>
                <a:close/>
                <a:moveTo>
                  <a:pt x="602" y="207"/>
                </a:moveTo>
                <a:lnTo>
                  <a:pt x="602" y="207"/>
                </a:lnTo>
                <a:lnTo>
                  <a:pt x="602" y="207"/>
                </a:lnTo>
                <a:lnTo>
                  <a:pt x="602" y="207"/>
                </a:lnTo>
                <a:lnTo>
                  <a:pt x="602" y="209"/>
                </a:lnTo>
                <a:lnTo>
                  <a:pt x="602" y="209"/>
                </a:lnTo>
                <a:lnTo>
                  <a:pt x="602" y="212"/>
                </a:lnTo>
                <a:lnTo>
                  <a:pt x="602" y="212"/>
                </a:lnTo>
                <a:lnTo>
                  <a:pt x="605" y="212"/>
                </a:lnTo>
                <a:lnTo>
                  <a:pt x="605" y="212"/>
                </a:lnTo>
                <a:lnTo>
                  <a:pt x="602" y="212"/>
                </a:lnTo>
                <a:lnTo>
                  <a:pt x="602" y="212"/>
                </a:lnTo>
                <a:lnTo>
                  <a:pt x="602" y="212"/>
                </a:lnTo>
                <a:lnTo>
                  <a:pt x="602" y="214"/>
                </a:lnTo>
                <a:lnTo>
                  <a:pt x="602" y="214"/>
                </a:lnTo>
                <a:lnTo>
                  <a:pt x="602" y="217"/>
                </a:lnTo>
                <a:lnTo>
                  <a:pt x="602" y="217"/>
                </a:lnTo>
                <a:lnTo>
                  <a:pt x="605" y="217"/>
                </a:lnTo>
                <a:lnTo>
                  <a:pt x="605" y="217"/>
                </a:lnTo>
                <a:lnTo>
                  <a:pt x="607" y="214"/>
                </a:lnTo>
                <a:lnTo>
                  <a:pt x="607" y="214"/>
                </a:lnTo>
                <a:lnTo>
                  <a:pt x="607" y="212"/>
                </a:lnTo>
                <a:lnTo>
                  <a:pt x="607" y="212"/>
                </a:lnTo>
                <a:lnTo>
                  <a:pt x="607" y="212"/>
                </a:lnTo>
                <a:lnTo>
                  <a:pt x="605" y="209"/>
                </a:lnTo>
                <a:lnTo>
                  <a:pt x="605" y="209"/>
                </a:lnTo>
                <a:lnTo>
                  <a:pt x="602" y="207"/>
                </a:lnTo>
                <a:lnTo>
                  <a:pt x="602" y="207"/>
                </a:lnTo>
                <a:close/>
                <a:moveTo>
                  <a:pt x="607" y="207"/>
                </a:moveTo>
                <a:lnTo>
                  <a:pt x="607" y="209"/>
                </a:lnTo>
                <a:lnTo>
                  <a:pt x="607" y="209"/>
                </a:lnTo>
                <a:lnTo>
                  <a:pt x="607" y="209"/>
                </a:lnTo>
                <a:lnTo>
                  <a:pt x="610" y="212"/>
                </a:lnTo>
                <a:lnTo>
                  <a:pt x="610" y="212"/>
                </a:lnTo>
                <a:lnTo>
                  <a:pt x="610" y="209"/>
                </a:lnTo>
                <a:lnTo>
                  <a:pt x="610" y="209"/>
                </a:lnTo>
                <a:lnTo>
                  <a:pt x="610" y="209"/>
                </a:lnTo>
                <a:lnTo>
                  <a:pt x="607" y="207"/>
                </a:lnTo>
                <a:lnTo>
                  <a:pt x="607" y="207"/>
                </a:lnTo>
                <a:close/>
                <a:moveTo>
                  <a:pt x="605" y="202"/>
                </a:moveTo>
                <a:lnTo>
                  <a:pt x="605" y="202"/>
                </a:lnTo>
                <a:lnTo>
                  <a:pt x="602" y="202"/>
                </a:lnTo>
                <a:lnTo>
                  <a:pt x="602" y="202"/>
                </a:lnTo>
                <a:lnTo>
                  <a:pt x="602" y="204"/>
                </a:lnTo>
                <a:lnTo>
                  <a:pt x="602" y="204"/>
                </a:lnTo>
                <a:lnTo>
                  <a:pt x="605" y="207"/>
                </a:lnTo>
                <a:lnTo>
                  <a:pt x="605" y="207"/>
                </a:lnTo>
                <a:lnTo>
                  <a:pt x="607" y="207"/>
                </a:lnTo>
                <a:lnTo>
                  <a:pt x="607" y="207"/>
                </a:lnTo>
                <a:lnTo>
                  <a:pt x="607" y="207"/>
                </a:lnTo>
                <a:lnTo>
                  <a:pt x="605" y="204"/>
                </a:lnTo>
                <a:lnTo>
                  <a:pt x="605" y="204"/>
                </a:lnTo>
                <a:lnTo>
                  <a:pt x="605" y="202"/>
                </a:lnTo>
                <a:lnTo>
                  <a:pt x="605" y="202"/>
                </a:lnTo>
                <a:close/>
                <a:moveTo>
                  <a:pt x="610" y="202"/>
                </a:moveTo>
                <a:lnTo>
                  <a:pt x="610" y="202"/>
                </a:lnTo>
                <a:lnTo>
                  <a:pt x="607" y="202"/>
                </a:lnTo>
                <a:lnTo>
                  <a:pt x="607" y="202"/>
                </a:lnTo>
                <a:lnTo>
                  <a:pt x="605" y="204"/>
                </a:lnTo>
                <a:lnTo>
                  <a:pt x="605" y="204"/>
                </a:lnTo>
                <a:lnTo>
                  <a:pt x="605" y="204"/>
                </a:lnTo>
                <a:lnTo>
                  <a:pt x="610" y="207"/>
                </a:lnTo>
                <a:lnTo>
                  <a:pt x="610" y="207"/>
                </a:lnTo>
                <a:lnTo>
                  <a:pt x="610" y="207"/>
                </a:lnTo>
                <a:lnTo>
                  <a:pt x="612" y="204"/>
                </a:lnTo>
                <a:lnTo>
                  <a:pt x="612" y="204"/>
                </a:lnTo>
                <a:lnTo>
                  <a:pt x="612" y="204"/>
                </a:lnTo>
                <a:lnTo>
                  <a:pt x="612" y="202"/>
                </a:lnTo>
                <a:lnTo>
                  <a:pt x="612" y="202"/>
                </a:lnTo>
                <a:lnTo>
                  <a:pt x="612" y="202"/>
                </a:lnTo>
                <a:lnTo>
                  <a:pt x="610" y="202"/>
                </a:lnTo>
                <a:lnTo>
                  <a:pt x="610" y="202"/>
                </a:lnTo>
                <a:lnTo>
                  <a:pt x="610" y="202"/>
                </a:lnTo>
                <a:close/>
                <a:moveTo>
                  <a:pt x="605" y="197"/>
                </a:moveTo>
                <a:lnTo>
                  <a:pt x="605" y="197"/>
                </a:lnTo>
                <a:lnTo>
                  <a:pt x="602" y="197"/>
                </a:lnTo>
                <a:lnTo>
                  <a:pt x="602" y="197"/>
                </a:lnTo>
                <a:lnTo>
                  <a:pt x="602" y="199"/>
                </a:lnTo>
                <a:lnTo>
                  <a:pt x="602" y="199"/>
                </a:lnTo>
                <a:lnTo>
                  <a:pt x="605" y="199"/>
                </a:lnTo>
                <a:lnTo>
                  <a:pt x="605" y="199"/>
                </a:lnTo>
                <a:lnTo>
                  <a:pt x="605" y="197"/>
                </a:lnTo>
                <a:lnTo>
                  <a:pt x="605" y="197"/>
                </a:lnTo>
                <a:close/>
                <a:moveTo>
                  <a:pt x="610" y="192"/>
                </a:moveTo>
                <a:lnTo>
                  <a:pt x="610" y="192"/>
                </a:lnTo>
                <a:lnTo>
                  <a:pt x="610" y="195"/>
                </a:lnTo>
                <a:lnTo>
                  <a:pt x="610" y="195"/>
                </a:lnTo>
                <a:lnTo>
                  <a:pt x="612" y="195"/>
                </a:lnTo>
                <a:lnTo>
                  <a:pt x="612" y="195"/>
                </a:lnTo>
                <a:lnTo>
                  <a:pt x="610" y="192"/>
                </a:lnTo>
                <a:lnTo>
                  <a:pt x="610" y="192"/>
                </a:lnTo>
                <a:lnTo>
                  <a:pt x="610" y="192"/>
                </a:lnTo>
                <a:close/>
                <a:moveTo>
                  <a:pt x="607" y="195"/>
                </a:moveTo>
                <a:lnTo>
                  <a:pt x="607" y="195"/>
                </a:lnTo>
                <a:lnTo>
                  <a:pt x="607" y="195"/>
                </a:lnTo>
                <a:lnTo>
                  <a:pt x="605" y="197"/>
                </a:lnTo>
                <a:lnTo>
                  <a:pt x="605" y="197"/>
                </a:lnTo>
                <a:lnTo>
                  <a:pt x="605" y="197"/>
                </a:lnTo>
                <a:lnTo>
                  <a:pt x="605" y="197"/>
                </a:lnTo>
                <a:lnTo>
                  <a:pt x="605" y="197"/>
                </a:lnTo>
                <a:lnTo>
                  <a:pt x="607" y="197"/>
                </a:lnTo>
                <a:lnTo>
                  <a:pt x="607" y="197"/>
                </a:lnTo>
                <a:lnTo>
                  <a:pt x="605" y="199"/>
                </a:lnTo>
                <a:lnTo>
                  <a:pt x="605" y="199"/>
                </a:lnTo>
                <a:lnTo>
                  <a:pt x="605" y="202"/>
                </a:lnTo>
                <a:lnTo>
                  <a:pt x="605" y="202"/>
                </a:lnTo>
                <a:lnTo>
                  <a:pt x="607" y="202"/>
                </a:lnTo>
                <a:lnTo>
                  <a:pt x="607" y="202"/>
                </a:lnTo>
                <a:lnTo>
                  <a:pt x="610" y="199"/>
                </a:lnTo>
                <a:lnTo>
                  <a:pt x="610" y="199"/>
                </a:lnTo>
                <a:lnTo>
                  <a:pt x="610" y="199"/>
                </a:lnTo>
                <a:lnTo>
                  <a:pt x="612" y="197"/>
                </a:lnTo>
                <a:lnTo>
                  <a:pt x="612" y="197"/>
                </a:lnTo>
                <a:lnTo>
                  <a:pt x="612" y="195"/>
                </a:lnTo>
                <a:lnTo>
                  <a:pt x="612" y="195"/>
                </a:lnTo>
                <a:lnTo>
                  <a:pt x="610" y="195"/>
                </a:lnTo>
                <a:lnTo>
                  <a:pt x="610" y="195"/>
                </a:lnTo>
                <a:lnTo>
                  <a:pt x="607" y="195"/>
                </a:lnTo>
                <a:lnTo>
                  <a:pt x="607" y="195"/>
                </a:lnTo>
                <a:close/>
                <a:moveTo>
                  <a:pt x="568" y="219"/>
                </a:moveTo>
                <a:lnTo>
                  <a:pt x="568" y="219"/>
                </a:lnTo>
                <a:lnTo>
                  <a:pt x="570" y="217"/>
                </a:lnTo>
                <a:lnTo>
                  <a:pt x="570" y="217"/>
                </a:lnTo>
                <a:lnTo>
                  <a:pt x="568" y="217"/>
                </a:lnTo>
                <a:lnTo>
                  <a:pt x="568" y="217"/>
                </a:lnTo>
                <a:lnTo>
                  <a:pt x="568" y="219"/>
                </a:lnTo>
                <a:lnTo>
                  <a:pt x="568" y="219"/>
                </a:lnTo>
                <a:close/>
                <a:moveTo>
                  <a:pt x="565" y="219"/>
                </a:moveTo>
                <a:lnTo>
                  <a:pt x="565" y="219"/>
                </a:lnTo>
                <a:lnTo>
                  <a:pt x="568" y="222"/>
                </a:lnTo>
                <a:lnTo>
                  <a:pt x="568" y="222"/>
                </a:lnTo>
                <a:lnTo>
                  <a:pt x="568" y="219"/>
                </a:lnTo>
                <a:lnTo>
                  <a:pt x="568" y="219"/>
                </a:lnTo>
                <a:lnTo>
                  <a:pt x="565" y="219"/>
                </a:lnTo>
                <a:lnTo>
                  <a:pt x="565" y="219"/>
                </a:lnTo>
                <a:close/>
                <a:moveTo>
                  <a:pt x="551" y="227"/>
                </a:moveTo>
                <a:lnTo>
                  <a:pt x="551" y="227"/>
                </a:lnTo>
                <a:lnTo>
                  <a:pt x="551" y="227"/>
                </a:lnTo>
                <a:lnTo>
                  <a:pt x="551" y="227"/>
                </a:lnTo>
                <a:lnTo>
                  <a:pt x="551" y="227"/>
                </a:lnTo>
                <a:close/>
                <a:moveTo>
                  <a:pt x="556" y="224"/>
                </a:moveTo>
                <a:lnTo>
                  <a:pt x="556" y="224"/>
                </a:lnTo>
                <a:lnTo>
                  <a:pt x="551" y="224"/>
                </a:lnTo>
                <a:lnTo>
                  <a:pt x="551" y="224"/>
                </a:lnTo>
                <a:lnTo>
                  <a:pt x="553" y="227"/>
                </a:lnTo>
                <a:lnTo>
                  <a:pt x="553" y="227"/>
                </a:lnTo>
                <a:lnTo>
                  <a:pt x="556" y="224"/>
                </a:lnTo>
                <a:lnTo>
                  <a:pt x="556" y="224"/>
                </a:lnTo>
                <a:lnTo>
                  <a:pt x="556" y="224"/>
                </a:lnTo>
                <a:close/>
                <a:moveTo>
                  <a:pt x="556" y="236"/>
                </a:moveTo>
                <a:lnTo>
                  <a:pt x="556" y="236"/>
                </a:lnTo>
                <a:lnTo>
                  <a:pt x="553" y="236"/>
                </a:lnTo>
                <a:lnTo>
                  <a:pt x="553" y="236"/>
                </a:lnTo>
                <a:lnTo>
                  <a:pt x="551" y="236"/>
                </a:lnTo>
                <a:lnTo>
                  <a:pt x="551" y="236"/>
                </a:lnTo>
                <a:lnTo>
                  <a:pt x="551" y="239"/>
                </a:lnTo>
                <a:lnTo>
                  <a:pt x="551" y="239"/>
                </a:lnTo>
                <a:lnTo>
                  <a:pt x="553" y="239"/>
                </a:lnTo>
                <a:lnTo>
                  <a:pt x="553" y="239"/>
                </a:lnTo>
                <a:lnTo>
                  <a:pt x="556" y="236"/>
                </a:lnTo>
                <a:lnTo>
                  <a:pt x="556" y="236"/>
                </a:lnTo>
                <a:lnTo>
                  <a:pt x="556" y="236"/>
                </a:lnTo>
                <a:close/>
                <a:moveTo>
                  <a:pt x="561" y="222"/>
                </a:moveTo>
                <a:lnTo>
                  <a:pt x="561" y="222"/>
                </a:lnTo>
                <a:lnTo>
                  <a:pt x="556" y="227"/>
                </a:lnTo>
                <a:lnTo>
                  <a:pt x="556" y="227"/>
                </a:lnTo>
                <a:lnTo>
                  <a:pt x="556" y="229"/>
                </a:lnTo>
                <a:lnTo>
                  <a:pt x="556" y="229"/>
                </a:lnTo>
                <a:lnTo>
                  <a:pt x="556" y="229"/>
                </a:lnTo>
                <a:lnTo>
                  <a:pt x="556" y="231"/>
                </a:lnTo>
                <a:lnTo>
                  <a:pt x="556" y="231"/>
                </a:lnTo>
                <a:lnTo>
                  <a:pt x="556" y="234"/>
                </a:lnTo>
                <a:lnTo>
                  <a:pt x="556" y="234"/>
                </a:lnTo>
                <a:lnTo>
                  <a:pt x="558" y="234"/>
                </a:lnTo>
                <a:lnTo>
                  <a:pt x="558" y="234"/>
                </a:lnTo>
                <a:lnTo>
                  <a:pt x="558" y="234"/>
                </a:lnTo>
                <a:lnTo>
                  <a:pt x="563" y="229"/>
                </a:lnTo>
                <a:lnTo>
                  <a:pt x="563" y="229"/>
                </a:lnTo>
                <a:lnTo>
                  <a:pt x="563" y="227"/>
                </a:lnTo>
                <a:lnTo>
                  <a:pt x="563" y="227"/>
                </a:lnTo>
                <a:lnTo>
                  <a:pt x="563" y="224"/>
                </a:lnTo>
                <a:lnTo>
                  <a:pt x="563" y="224"/>
                </a:lnTo>
                <a:lnTo>
                  <a:pt x="563" y="222"/>
                </a:lnTo>
                <a:lnTo>
                  <a:pt x="563" y="222"/>
                </a:lnTo>
                <a:lnTo>
                  <a:pt x="563" y="222"/>
                </a:lnTo>
                <a:lnTo>
                  <a:pt x="563" y="222"/>
                </a:lnTo>
                <a:lnTo>
                  <a:pt x="561" y="222"/>
                </a:lnTo>
                <a:lnTo>
                  <a:pt x="561" y="222"/>
                </a:lnTo>
                <a:lnTo>
                  <a:pt x="561" y="222"/>
                </a:lnTo>
                <a:close/>
                <a:moveTo>
                  <a:pt x="538" y="207"/>
                </a:moveTo>
                <a:lnTo>
                  <a:pt x="538" y="207"/>
                </a:lnTo>
                <a:lnTo>
                  <a:pt x="538" y="207"/>
                </a:lnTo>
                <a:lnTo>
                  <a:pt x="538" y="204"/>
                </a:lnTo>
                <a:lnTo>
                  <a:pt x="538" y="204"/>
                </a:lnTo>
                <a:lnTo>
                  <a:pt x="538" y="207"/>
                </a:lnTo>
                <a:lnTo>
                  <a:pt x="538" y="207"/>
                </a:lnTo>
                <a:close/>
                <a:moveTo>
                  <a:pt x="531" y="212"/>
                </a:moveTo>
                <a:lnTo>
                  <a:pt x="531" y="212"/>
                </a:lnTo>
                <a:lnTo>
                  <a:pt x="529" y="214"/>
                </a:lnTo>
                <a:lnTo>
                  <a:pt x="529" y="214"/>
                </a:lnTo>
                <a:lnTo>
                  <a:pt x="531" y="214"/>
                </a:lnTo>
                <a:lnTo>
                  <a:pt x="531" y="214"/>
                </a:lnTo>
                <a:lnTo>
                  <a:pt x="531" y="212"/>
                </a:lnTo>
                <a:lnTo>
                  <a:pt x="531" y="212"/>
                </a:lnTo>
                <a:close/>
                <a:moveTo>
                  <a:pt x="536" y="236"/>
                </a:moveTo>
                <a:lnTo>
                  <a:pt x="536" y="236"/>
                </a:lnTo>
                <a:lnTo>
                  <a:pt x="533" y="236"/>
                </a:lnTo>
                <a:lnTo>
                  <a:pt x="533" y="236"/>
                </a:lnTo>
                <a:lnTo>
                  <a:pt x="533" y="236"/>
                </a:lnTo>
                <a:lnTo>
                  <a:pt x="536" y="236"/>
                </a:lnTo>
                <a:lnTo>
                  <a:pt x="536" y="236"/>
                </a:lnTo>
                <a:close/>
                <a:moveTo>
                  <a:pt x="531" y="231"/>
                </a:moveTo>
                <a:lnTo>
                  <a:pt x="531" y="231"/>
                </a:lnTo>
                <a:lnTo>
                  <a:pt x="533" y="229"/>
                </a:lnTo>
                <a:lnTo>
                  <a:pt x="533" y="229"/>
                </a:lnTo>
                <a:lnTo>
                  <a:pt x="533" y="231"/>
                </a:lnTo>
                <a:lnTo>
                  <a:pt x="533" y="231"/>
                </a:lnTo>
                <a:lnTo>
                  <a:pt x="536" y="234"/>
                </a:lnTo>
                <a:lnTo>
                  <a:pt x="536" y="234"/>
                </a:lnTo>
                <a:lnTo>
                  <a:pt x="533" y="234"/>
                </a:lnTo>
                <a:lnTo>
                  <a:pt x="533" y="234"/>
                </a:lnTo>
                <a:lnTo>
                  <a:pt x="531" y="234"/>
                </a:lnTo>
                <a:lnTo>
                  <a:pt x="531" y="234"/>
                </a:lnTo>
                <a:lnTo>
                  <a:pt x="531" y="231"/>
                </a:lnTo>
                <a:lnTo>
                  <a:pt x="531" y="231"/>
                </a:lnTo>
                <a:close/>
                <a:moveTo>
                  <a:pt x="514" y="222"/>
                </a:moveTo>
                <a:lnTo>
                  <a:pt x="514" y="222"/>
                </a:lnTo>
                <a:lnTo>
                  <a:pt x="516" y="219"/>
                </a:lnTo>
                <a:lnTo>
                  <a:pt x="516" y="219"/>
                </a:lnTo>
                <a:lnTo>
                  <a:pt x="516" y="222"/>
                </a:lnTo>
                <a:lnTo>
                  <a:pt x="516" y="222"/>
                </a:lnTo>
                <a:lnTo>
                  <a:pt x="516" y="222"/>
                </a:lnTo>
                <a:lnTo>
                  <a:pt x="514" y="222"/>
                </a:lnTo>
                <a:lnTo>
                  <a:pt x="514" y="222"/>
                </a:lnTo>
                <a:lnTo>
                  <a:pt x="514" y="222"/>
                </a:lnTo>
                <a:close/>
                <a:moveTo>
                  <a:pt x="519" y="239"/>
                </a:moveTo>
                <a:lnTo>
                  <a:pt x="519" y="239"/>
                </a:lnTo>
                <a:lnTo>
                  <a:pt x="521" y="239"/>
                </a:lnTo>
                <a:lnTo>
                  <a:pt x="521" y="239"/>
                </a:lnTo>
                <a:lnTo>
                  <a:pt x="521" y="239"/>
                </a:lnTo>
                <a:lnTo>
                  <a:pt x="519" y="239"/>
                </a:lnTo>
                <a:lnTo>
                  <a:pt x="519" y="239"/>
                </a:lnTo>
                <a:lnTo>
                  <a:pt x="519" y="239"/>
                </a:lnTo>
                <a:close/>
                <a:moveTo>
                  <a:pt x="494" y="229"/>
                </a:moveTo>
                <a:lnTo>
                  <a:pt x="494" y="229"/>
                </a:lnTo>
                <a:lnTo>
                  <a:pt x="497" y="227"/>
                </a:lnTo>
                <a:lnTo>
                  <a:pt x="497" y="227"/>
                </a:lnTo>
                <a:lnTo>
                  <a:pt x="494" y="224"/>
                </a:lnTo>
                <a:lnTo>
                  <a:pt x="494" y="224"/>
                </a:lnTo>
                <a:lnTo>
                  <a:pt x="494" y="227"/>
                </a:lnTo>
                <a:lnTo>
                  <a:pt x="494" y="227"/>
                </a:lnTo>
                <a:lnTo>
                  <a:pt x="494" y="229"/>
                </a:lnTo>
                <a:lnTo>
                  <a:pt x="494" y="229"/>
                </a:lnTo>
                <a:close/>
                <a:moveTo>
                  <a:pt x="501" y="236"/>
                </a:moveTo>
                <a:lnTo>
                  <a:pt x="501" y="236"/>
                </a:lnTo>
                <a:lnTo>
                  <a:pt x="506" y="236"/>
                </a:lnTo>
                <a:lnTo>
                  <a:pt x="506" y="236"/>
                </a:lnTo>
                <a:lnTo>
                  <a:pt x="509" y="236"/>
                </a:lnTo>
                <a:lnTo>
                  <a:pt x="509" y="236"/>
                </a:lnTo>
                <a:lnTo>
                  <a:pt x="509" y="239"/>
                </a:lnTo>
                <a:lnTo>
                  <a:pt x="509" y="239"/>
                </a:lnTo>
                <a:lnTo>
                  <a:pt x="506" y="239"/>
                </a:lnTo>
                <a:lnTo>
                  <a:pt x="506" y="239"/>
                </a:lnTo>
                <a:lnTo>
                  <a:pt x="501" y="239"/>
                </a:lnTo>
                <a:lnTo>
                  <a:pt x="501" y="239"/>
                </a:lnTo>
                <a:lnTo>
                  <a:pt x="501" y="236"/>
                </a:lnTo>
                <a:lnTo>
                  <a:pt x="501" y="236"/>
                </a:lnTo>
                <a:close/>
                <a:moveTo>
                  <a:pt x="497" y="239"/>
                </a:moveTo>
                <a:lnTo>
                  <a:pt x="497" y="239"/>
                </a:lnTo>
                <a:lnTo>
                  <a:pt x="499" y="236"/>
                </a:lnTo>
                <a:lnTo>
                  <a:pt x="499" y="236"/>
                </a:lnTo>
                <a:lnTo>
                  <a:pt x="499" y="239"/>
                </a:lnTo>
                <a:lnTo>
                  <a:pt x="499" y="239"/>
                </a:lnTo>
                <a:lnTo>
                  <a:pt x="497" y="239"/>
                </a:lnTo>
                <a:lnTo>
                  <a:pt x="497" y="239"/>
                </a:lnTo>
                <a:close/>
                <a:moveTo>
                  <a:pt x="492" y="236"/>
                </a:moveTo>
                <a:lnTo>
                  <a:pt x="492" y="236"/>
                </a:lnTo>
                <a:lnTo>
                  <a:pt x="492" y="236"/>
                </a:lnTo>
                <a:lnTo>
                  <a:pt x="494" y="236"/>
                </a:lnTo>
                <a:lnTo>
                  <a:pt x="494" y="236"/>
                </a:lnTo>
                <a:lnTo>
                  <a:pt x="492" y="239"/>
                </a:lnTo>
                <a:lnTo>
                  <a:pt x="492" y="239"/>
                </a:lnTo>
                <a:lnTo>
                  <a:pt x="492" y="236"/>
                </a:lnTo>
                <a:lnTo>
                  <a:pt x="492" y="236"/>
                </a:lnTo>
                <a:close/>
                <a:moveTo>
                  <a:pt x="433" y="268"/>
                </a:moveTo>
                <a:lnTo>
                  <a:pt x="433" y="268"/>
                </a:lnTo>
                <a:lnTo>
                  <a:pt x="433" y="273"/>
                </a:lnTo>
                <a:lnTo>
                  <a:pt x="433" y="273"/>
                </a:lnTo>
                <a:lnTo>
                  <a:pt x="433" y="273"/>
                </a:lnTo>
                <a:lnTo>
                  <a:pt x="438" y="273"/>
                </a:lnTo>
                <a:lnTo>
                  <a:pt x="438" y="273"/>
                </a:lnTo>
                <a:lnTo>
                  <a:pt x="442" y="271"/>
                </a:lnTo>
                <a:lnTo>
                  <a:pt x="442" y="271"/>
                </a:lnTo>
                <a:lnTo>
                  <a:pt x="445" y="271"/>
                </a:lnTo>
                <a:lnTo>
                  <a:pt x="445" y="271"/>
                </a:lnTo>
                <a:lnTo>
                  <a:pt x="447" y="271"/>
                </a:lnTo>
                <a:lnTo>
                  <a:pt x="447" y="271"/>
                </a:lnTo>
                <a:lnTo>
                  <a:pt x="452" y="268"/>
                </a:lnTo>
                <a:lnTo>
                  <a:pt x="452" y="268"/>
                </a:lnTo>
                <a:lnTo>
                  <a:pt x="452" y="266"/>
                </a:lnTo>
                <a:lnTo>
                  <a:pt x="452" y="266"/>
                </a:lnTo>
                <a:lnTo>
                  <a:pt x="460" y="261"/>
                </a:lnTo>
                <a:lnTo>
                  <a:pt x="460" y="261"/>
                </a:lnTo>
                <a:lnTo>
                  <a:pt x="460" y="259"/>
                </a:lnTo>
                <a:lnTo>
                  <a:pt x="460" y="259"/>
                </a:lnTo>
                <a:lnTo>
                  <a:pt x="462" y="259"/>
                </a:lnTo>
                <a:lnTo>
                  <a:pt x="462" y="259"/>
                </a:lnTo>
                <a:lnTo>
                  <a:pt x="457" y="256"/>
                </a:lnTo>
                <a:lnTo>
                  <a:pt x="457" y="256"/>
                </a:lnTo>
                <a:lnTo>
                  <a:pt x="455" y="251"/>
                </a:lnTo>
                <a:lnTo>
                  <a:pt x="455" y="251"/>
                </a:lnTo>
                <a:lnTo>
                  <a:pt x="455" y="251"/>
                </a:lnTo>
                <a:lnTo>
                  <a:pt x="450" y="254"/>
                </a:lnTo>
                <a:lnTo>
                  <a:pt x="450" y="254"/>
                </a:lnTo>
                <a:lnTo>
                  <a:pt x="450" y="256"/>
                </a:lnTo>
                <a:lnTo>
                  <a:pt x="450" y="256"/>
                </a:lnTo>
                <a:lnTo>
                  <a:pt x="447" y="256"/>
                </a:lnTo>
                <a:lnTo>
                  <a:pt x="447" y="256"/>
                </a:lnTo>
                <a:lnTo>
                  <a:pt x="445" y="259"/>
                </a:lnTo>
                <a:lnTo>
                  <a:pt x="445" y="259"/>
                </a:lnTo>
                <a:lnTo>
                  <a:pt x="442" y="256"/>
                </a:lnTo>
                <a:lnTo>
                  <a:pt x="442" y="256"/>
                </a:lnTo>
                <a:lnTo>
                  <a:pt x="442" y="256"/>
                </a:lnTo>
                <a:lnTo>
                  <a:pt x="438" y="259"/>
                </a:lnTo>
                <a:lnTo>
                  <a:pt x="438" y="259"/>
                </a:lnTo>
                <a:lnTo>
                  <a:pt x="438" y="261"/>
                </a:lnTo>
                <a:lnTo>
                  <a:pt x="438" y="261"/>
                </a:lnTo>
                <a:lnTo>
                  <a:pt x="435" y="266"/>
                </a:lnTo>
                <a:lnTo>
                  <a:pt x="435" y="266"/>
                </a:lnTo>
                <a:lnTo>
                  <a:pt x="435" y="268"/>
                </a:lnTo>
                <a:lnTo>
                  <a:pt x="435" y="268"/>
                </a:lnTo>
                <a:lnTo>
                  <a:pt x="435" y="268"/>
                </a:lnTo>
                <a:lnTo>
                  <a:pt x="435" y="271"/>
                </a:lnTo>
                <a:lnTo>
                  <a:pt x="435" y="271"/>
                </a:lnTo>
                <a:lnTo>
                  <a:pt x="435" y="271"/>
                </a:lnTo>
                <a:lnTo>
                  <a:pt x="433" y="268"/>
                </a:lnTo>
                <a:lnTo>
                  <a:pt x="433" y="268"/>
                </a:lnTo>
                <a:close/>
                <a:moveTo>
                  <a:pt x="430" y="273"/>
                </a:moveTo>
                <a:lnTo>
                  <a:pt x="430" y="273"/>
                </a:lnTo>
                <a:lnTo>
                  <a:pt x="430" y="271"/>
                </a:lnTo>
                <a:lnTo>
                  <a:pt x="430" y="271"/>
                </a:lnTo>
                <a:lnTo>
                  <a:pt x="430" y="271"/>
                </a:lnTo>
                <a:lnTo>
                  <a:pt x="428" y="273"/>
                </a:lnTo>
                <a:lnTo>
                  <a:pt x="428" y="273"/>
                </a:lnTo>
                <a:lnTo>
                  <a:pt x="430" y="273"/>
                </a:lnTo>
                <a:lnTo>
                  <a:pt x="430" y="273"/>
                </a:lnTo>
                <a:close/>
                <a:moveTo>
                  <a:pt x="430" y="276"/>
                </a:moveTo>
                <a:lnTo>
                  <a:pt x="430" y="276"/>
                </a:lnTo>
                <a:lnTo>
                  <a:pt x="428" y="276"/>
                </a:lnTo>
                <a:lnTo>
                  <a:pt x="428" y="276"/>
                </a:lnTo>
                <a:lnTo>
                  <a:pt x="428" y="278"/>
                </a:lnTo>
                <a:lnTo>
                  <a:pt x="428" y="278"/>
                </a:lnTo>
                <a:lnTo>
                  <a:pt x="423" y="278"/>
                </a:lnTo>
                <a:lnTo>
                  <a:pt x="423" y="278"/>
                </a:lnTo>
                <a:lnTo>
                  <a:pt x="420" y="281"/>
                </a:lnTo>
                <a:lnTo>
                  <a:pt x="420" y="281"/>
                </a:lnTo>
                <a:lnTo>
                  <a:pt x="423" y="283"/>
                </a:lnTo>
                <a:lnTo>
                  <a:pt x="423" y="283"/>
                </a:lnTo>
                <a:lnTo>
                  <a:pt x="430" y="278"/>
                </a:lnTo>
                <a:lnTo>
                  <a:pt x="430" y="278"/>
                </a:lnTo>
                <a:lnTo>
                  <a:pt x="430" y="276"/>
                </a:lnTo>
                <a:lnTo>
                  <a:pt x="430" y="276"/>
                </a:lnTo>
                <a:lnTo>
                  <a:pt x="430" y="276"/>
                </a:lnTo>
                <a:close/>
                <a:moveTo>
                  <a:pt x="408" y="273"/>
                </a:moveTo>
                <a:lnTo>
                  <a:pt x="408" y="273"/>
                </a:lnTo>
                <a:lnTo>
                  <a:pt x="408" y="276"/>
                </a:lnTo>
                <a:lnTo>
                  <a:pt x="408" y="276"/>
                </a:lnTo>
                <a:lnTo>
                  <a:pt x="410" y="278"/>
                </a:lnTo>
                <a:lnTo>
                  <a:pt x="410" y="278"/>
                </a:lnTo>
                <a:lnTo>
                  <a:pt x="408" y="278"/>
                </a:lnTo>
                <a:lnTo>
                  <a:pt x="408" y="278"/>
                </a:lnTo>
                <a:lnTo>
                  <a:pt x="406" y="278"/>
                </a:lnTo>
                <a:lnTo>
                  <a:pt x="406" y="278"/>
                </a:lnTo>
                <a:lnTo>
                  <a:pt x="406" y="276"/>
                </a:lnTo>
                <a:lnTo>
                  <a:pt x="406" y="276"/>
                </a:lnTo>
                <a:lnTo>
                  <a:pt x="408" y="273"/>
                </a:lnTo>
                <a:lnTo>
                  <a:pt x="408" y="273"/>
                </a:lnTo>
                <a:close/>
                <a:moveTo>
                  <a:pt x="364" y="259"/>
                </a:moveTo>
                <a:lnTo>
                  <a:pt x="364" y="259"/>
                </a:lnTo>
                <a:lnTo>
                  <a:pt x="369" y="254"/>
                </a:lnTo>
                <a:lnTo>
                  <a:pt x="369" y="254"/>
                </a:lnTo>
                <a:lnTo>
                  <a:pt x="374" y="259"/>
                </a:lnTo>
                <a:lnTo>
                  <a:pt x="374" y="259"/>
                </a:lnTo>
                <a:lnTo>
                  <a:pt x="376" y="259"/>
                </a:lnTo>
                <a:lnTo>
                  <a:pt x="376" y="259"/>
                </a:lnTo>
                <a:lnTo>
                  <a:pt x="378" y="256"/>
                </a:lnTo>
                <a:lnTo>
                  <a:pt x="378" y="256"/>
                </a:lnTo>
                <a:lnTo>
                  <a:pt x="383" y="259"/>
                </a:lnTo>
                <a:lnTo>
                  <a:pt x="383" y="259"/>
                </a:lnTo>
                <a:lnTo>
                  <a:pt x="383" y="261"/>
                </a:lnTo>
                <a:lnTo>
                  <a:pt x="383" y="261"/>
                </a:lnTo>
                <a:lnTo>
                  <a:pt x="386" y="261"/>
                </a:lnTo>
                <a:lnTo>
                  <a:pt x="386" y="261"/>
                </a:lnTo>
                <a:lnTo>
                  <a:pt x="388" y="266"/>
                </a:lnTo>
                <a:lnTo>
                  <a:pt x="388" y="266"/>
                </a:lnTo>
                <a:lnTo>
                  <a:pt x="391" y="266"/>
                </a:lnTo>
                <a:lnTo>
                  <a:pt x="391" y="266"/>
                </a:lnTo>
                <a:lnTo>
                  <a:pt x="391" y="268"/>
                </a:lnTo>
                <a:lnTo>
                  <a:pt x="391" y="268"/>
                </a:lnTo>
                <a:lnTo>
                  <a:pt x="388" y="271"/>
                </a:lnTo>
                <a:lnTo>
                  <a:pt x="388" y="271"/>
                </a:lnTo>
                <a:lnTo>
                  <a:pt x="383" y="271"/>
                </a:lnTo>
                <a:lnTo>
                  <a:pt x="383" y="271"/>
                </a:lnTo>
                <a:lnTo>
                  <a:pt x="381" y="271"/>
                </a:lnTo>
                <a:lnTo>
                  <a:pt x="381" y="271"/>
                </a:lnTo>
                <a:lnTo>
                  <a:pt x="378" y="266"/>
                </a:lnTo>
                <a:lnTo>
                  <a:pt x="378" y="266"/>
                </a:lnTo>
                <a:lnTo>
                  <a:pt x="376" y="266"/>
                </a:lnTo>
                <a:lnTo>
                  <a:pt x="376" y="266"/>
                </a:lnTo>
                <a:lnTo>
                  <a:pt x="374" y="263"/>
                </a:lnTo>
                <a:lnTo>
                  <a:pt x="374" y="263"/>
                </a:lnTo>
                <a:lnTo>
                  <a:pt x="369" y="263"/>
                </a:lnTo>
                <a:lnTo>
                  <a:pt x="369" y="263"/>
                </a:lnTo>
                <a:lnTo>
                  <a:pt x="364" y="263"/>
                </a:lnTo>
                <a:lnTo>
                  <a:pt x="364" y="263"/>
                </a:lnTo>
                <a:lnTo>
                  <a:pt x="361" y="261"/>
                </a:lnTo>
                <a:lnTo>
                  <a:pt x="361" y="261"/>
                </a:lnTo>
                <a:lnTo>
                  <a:pt x="364" y="259"/>
                </a:lnTo>
                <a:lnTo>
                  <a:pt x="364" y="259"/>
                </a:lnTo>
                <a:close/>
                <a:moveTo>
                  <a:pt x="315" y="222"/>
                </a:moveTo>
                <a:lnTo>
                  <a:pt x="315" y="222"/>
                </a:lnTo>
                <a:lnTo>
                  <a:pt x="317" y="222"/>
                </a:lnTo>
                <a:lnTo>
                  <a:pt x="317" y="222"/>
                </a:lnTo>
                <a:lnTo>
                  <a:pt x="317" y="222"/>
                </a:lnTo>
                <a:lnTo>
                  <a:pt x="317" y="224"/>
                </a:lnTo>
                <a:lnTo>
                  <a:pt x="317" y="224"/>
                </a:lnTo>
                <a:lnTo>
                  <a:pt x="315" y="224"/>
                </a:lnTo>
                <a:lnTo>
                  <a:pt x="315" y="224"/>
                </a:lnTo>
                <a:lnTo>
                  <a:pt x="315" y="222"/>
                </a:lnTo>
                <a:lnTo>
                  <a:pt x="315" y="222"/>
                </a:lnTo>
                <a:close/>
                <a:moveTo>
                  <a:pt x="305" y="217"/>
                </a:moveTo>
                <a:lnTo>
                  <a:pt x="305" y="217"/>
                </a:lnTo>
                <a:lnTo>
                  <a:pt x="307" y="219"/>
                </a:lnTo>
                <a:lnTo>
                  <a:pt x="307" y="219"/>
                </a:lnTo>
                <a:lnTo>
                  <a:pt x="310" y="217"/>
                </a:lnTo>
                <a:lnTo>
                  <a:pt x="310" y="217"/>
                </a:lnTo>
                <a:lnTo>
                  <a:pt x="312" y="219"/>
                </a:lnTo>
                <a:lnTo>
                  <a:pt x="312" y="219"/>
                </a:lnTo>
                <a:lnTo>
                  <a:pt x="312" y="219"/>
                </a:lnTo>
                <a:lnTo>
                  <a:pt x="312" y="217"/>
                </a:lnTo>
                <a:lnTo>
                  <a:pt x="312" y="217"/>
                </a:lnTo>
                <a:lnTo>
                  <a:pt x="310" y="217"/>
                </a:lnTo>
                <a:lnTo>
                  <a:pt x="310" y="217"/>
                </a:lnTo>
                <a:lnTo>
                  <a:pt x="307" y="217"/>
                </a:lnTo>
                <a:lnTo>
                  <a:pt x="307" y="217"/>
                </a:lnTo>
                <a:lnTo>
                  <a:pt x="305" y="217"/>
                </a:lnTo>
                <a:lnTo>
                  <a:pt x="305" y="217"/>
                </a:lnTo>
                <a:lnTo>
                  <a:pt x="305" y="217"/>
                </a:lnTo>
                <a:close/>
                <a:moveTo>
                  <a:pt x="472" y="234"/>
                </a:moveTo>
                <a:lnTo>
                  <a:pt x="472" y="234"/>
                </a:lnTo>
                <a:lnTo>
                  <a:pt x="474" y="231"/>
                </a:lnTo>
                <a:lnTo>
                  <a:pt x="474" y="231"/>
                </a:lnTo>
                <a:lnTo>
                  <a:pt x="479" y="231"/>
                </a:lnTo>
                <a:lnTo>
                  <a:pt x="479" y="231"/>
                </a:lnTo>
                <a:lnTo>
                  <a:pt x="482" y="234"/>
                </a:lnTo>
                <a:lnTo>
                  <a:pt x="482" y="234"/>
                </a:lnTo>
                <a:lnTo>
                  <a:pt x="482" y="231"/>
                </a:lnTo>
                <a:lnTo>
                  <a:pt x="482" y="231"/>
                </a:lnTo>
                <a:lnTo>
                  <a:pt x="484" y="231"/>
                </a:lnTo>
                <a:lnTo>
                  <a:pt x="484" y="231"/>
                </a:lnTo>
                <a:lnTo>
                  <a:pt x="487" y="229"/>
                </a:lnTo>
                <a:lnTo>
                  <a:pt x="487" y="229"/>
                </a:lnTo>
                <a:lnTo>
                  <a:pt x="487" y="229"/>
                </a:lnTo>
                <a:lnTo>
                  <a:pt x="484" y="227"/>
                </a:lnTo>
                <a:lnTo>
                  <a:pt x="484" y="227"/>
                </a:lnTo>
                <a:lnTo>
                  <a:pt x="482" y="229"/>
                </a:lnTo>
                <a:lnTo>
                  <a:pt x="482" y="229"/>
                </a:lnTo>
                <a:lnTo>
                  <a:pt x="477" y="229"/>
                </a:lnTo>
                <a:lnTo>
                  <a:pt x="477" y="229"/>
                </a:lnTo>
                <a:lnTo>
                  <a:pt x="474" y="227"/>
                </a:lnTo>
                <a:lnTo>
                  <a:pt x="474" y="227"/>
                </a:lnTo>
                <a:lnTo>
                  <a:pt x="472" y="229"/>
                </a:lnTo>
                <a:lnTo>
                  <a:pt x="472" y="229"/>
                </a:lnTo>
                <a:lnTo>
                  <a:pt x="472" y="231"/>
                </a:lnTo>
                <a:lnTo>
                  <a:pt x="472" y="231"/>
                </a:lnTo>
                <a:lnTo>
                  <a:pt x="472" y="234"/>
                </a:lnTo>
                <a:lnTo>
                  <a:pt x="472" y="234"/>
                </a:lnTo>
                <a:close/>
                <a:moveTo>
                  <a:pt x="467" y="239"/>
                </a:moveTo>
                <a:lnTo>
                  <a:pt x="467" y="239"/>
                </a:lnTo>
                <a:lnTo>
                  <a:pt x="467" y="239"/>
                </a:lnTo>
                <a:lnTo>
                  <a:pt x="467" y="239"/>
                </a:lnTo>
                <a:lnTo>
                  <a:pt x="467" y="239"/>
                </a:lnTo>
                <a:lnTo>
                  <a:pt x="467" y="239"/>
                </a:lnTo>
                <a:close/>
                <a:moveTo>
                  <a:pt x="452" y="236"/>
                </a:moveTo>
                <a:lnTo>
                  <a:pt x="452" y="236"/>
                </a:lnTo>
                <a:lnTo>
                  <a:pt x="450" y="239"/>
                </a:lnTo>
                <a:lnTo>
                  <a:pt x="450" y="239"/>
                </a:lnTo>
                <a:lnTo>
                  <a:pt x="450" y="239"/>
                </a:lnTo>
                <a:lnTo>
                  <a:pt x="450" y="241"/>
                </a:lnTo>
                <a:lnTo>
                  <a:pt x="450" y="241"/>
                </a:lnTo>
                <a:lnTo>
                  <a:pt x="450" y="241"/>
                </a:lnTo>
                <a:lnTo>
                  <a:pt x="452" y="244"/>
                </a:lnTo>
                <a:lnTo>
                  <a:pt x="452" y="244"/>
                </a:lnTo>
                <a:lnTo>
                  <a:pt x="457" y="241"/>
                </a:lnTo>
                <a:lnTo>
                  <a:pt x="457" y="241"/>
                </a:lnTo>
                <a:lnTo>
                  <a:pt x="460" y="239"/>
                </a:lnTo>
                <a:lnTo>
                  <a:pt x="460" y="239"/>
                </a:lnTo>
                <a:lnTo>
                  <a:pt x="457" y="239"/>
                </a:lnTo>
                <a:lnTo>
                  <a:pt x="457" y="239"/>
                </a:lnTo>
                <a:lnTo>
                  <a:pt x="455" y="239"/>
                </a:lnTo>
                <a:lnTo>
                  <a:pt x="455" y="239"/>
                </a:lnTo>
                <a:lnTo>
                  <a:pt x="452" y="236"/>
                </a:lnTo>
                <a:lnTo>
                  <a:pt x="452" y="236"/>
                </a:lnTo>
                <a:close/>
                <a:moveTo>
                  <a:pt x="442" y="244"/>
                </a:moveTo>
                <a:lnTo>
                  <a:pt x="442" y="244"/>
                </a:lnTo>
                <a:lnTo>
                  <a:pt x="442" y="244"/>
                </a:lnTo>
                <a:lnTo>
                  <a:pt x="445" y="244"/>
                </a:lnTo>
                <a:lnTo>
                  <a:pt x="445" y="244"/>
                </a:lnTo>
                <a:lnTo>
                  <a:pt x="447" y="241"/>
                </a:lnTo>
                <a:lnTo>
                  <a:pt x="447" y="241"/>
                </a:lnTo>
                <a:lnTo>
                  <a:pt x="447" y="241"/>
                </a:lnTo>
                <a:lnTo>
                  <a:pt x="445" y="241"/>
                </a:lnTo>
                <a:lnTo>
                  <a:pt x="445" y="241"/>
                </a:lnTo>
                <a:lnTo>
                  <a:pt x="442" y="241"/>
                </a:lnTo>
                <a:lnTo>
                  <a:pt x="442" y="241"/>
                </a:lnTo>
                <a:lnTo>
                  <a:pt x="442" y="244"/>
                </a:lnTo>
                <a:lnTo>
                  <a:pt x="442" y="244"/>
                </a:lnTo>
                <a:close/>
                <a:moveTo>
                  <a:pt x="433" y="244"/>
                </a:moveTo>
                <a:lnTo>
                  <a:pt x="433" y="244"/>
                </a:lnTo>
                <a:lnTo>
                  <a:pt x="435" y="241"/>
                </a:lnTo>
                <a:lnTo>
                  <a:pt x="435" y="241"/>
                </a:lnTo>
                <a:lnTo>
                  <a:pt x="435" y="241"/>
                </a:lnTo>
                <a:lnTo>
                  <a:pt x="435" y="239"/>
                </a:lnTo>
                <a:lnTo>
                  <a:pt x="435" y="239"/>
                </a:lnTo>
                <a:lnTo>
                  <a:pt x="438" y="241"/>
                </a:lnTo>
                <a:lnTo>
                  <a:pt x="438" y="241"/>
                </a:lnTo>
                <a:lnTo>
                  <a:pt x="440" y="239"/>
                </a:lnTo>
                <a:lnTo>
                  <a:pt x="440" y="239"/>
                </a:lnTo>
                <a:lnTo>
                  <a:pt x="440" y="239"/>
                </a:lnTo>
                <a:lnTo>
                  <a:pt x="438" y="244"/>
                </a:lnTo>
                <a:lnTo>
                  <a:pt x="438" y="244"/>
                </a:lnTo>
                <a:lnTo>
                  <a:pt x="438" y="244"/>
                </a:lnTo>
                <a:lnTo>
                  <a:pt x="433" y="246"/>
                </a:lnTo>
                <a:lnTo>
                  <a:pt x="433" y="246"/>
                </a:lnTo>
                <a:lnTo>
                  <a:pt x="433" y="244"/>
                </a:lnTo>
                <a:lnTo>
                  <a:pt x="433" y="244"/>
                </a:lnTo>
                <a:close/>
                <a:moveTo>
                  <a:pt x="430" y="244"/>
                </a:moveTo>
                <a:lnTo>
                  <a:pt x="430" y="244"/>
                </a:lnTo>
                <a:lnTo>
                  <a:pt x="425" y="244"/>
                </a:lnTo>
                <a:lnTo>
                  <a:pt x="425" y="244"/>
                </a:lnTo>
                <a:lnTo>
                  <a:pt x="425" y="246"/>
                </a:lnTo>
                <a:lnTo>
                  <a:pt x="425" y="246"/>
                </a:lnTo>
                <a:lnTo>
                  <a:pt x="428" y="244"/>
                </a:lnTo>
                <a:lnTo>
                  <a:pt x="428" y="244"/>
                </a:lnTo>
                <a:lnTo>
                  <a:pt x="430" y="244"/>
                </a:lnTo>
                <a:lnTo>
                  <a:pt x="430" y="244"/>
                </a:lnTo>
                <a:close/>
                <a:moveTo>
                  <a:pt x="430" y="239"/>
                </a:moveTo>
                <a:lnTo>
                  <a:pt x="430" y="239"/>
                </a:lnTo>
                <a:lnTo>
                  <a:pt x="430" y="241"/>
                </a:lnTo>
                <a:lnTo>
                  <a:pt x="430" y="241"/>
                </a:lnTo>
                <a:lnTo>
                  <a:pt x="430" y="241"/>
                </a:lnTo>
                <a:lnTo>
                  <a:pt x="433" y="239"/>
                </a:lnTo>
                <a:lnTo>
                  <a:pt x="433" y="239"/>
                </a:lnTo>
                <a:lnTo>
                  <a:pt x="430" y="239"/>
                </a:lnTo>
                <a:lnTo>
                  <a:pt x="430" y="239"/>
                </a:lnTo>
                <a:close/>
                <a:moveTo>
                  <a:pt x="376" y="244"/>
                </a:moveTo>
                <a:lnTo>
                  <a:pt x="376" y="241"/>
                </a:lnTo>
                <a:lnTo>
                  <a:pt x="376" y="241"/>
                </a:lnTo>
                <a:lnTo>
                  <a:pt x="381" y="239"/>
                </a:lnTo>
                <a:lnTo>
                  <a:pt x="381" y="239"/>
                </a:lnTo>
                <a:lnTo>
                  <a:pt x="388" y="239"/>
                </a:lnTo>
                <a:lnTo>
                  <a:pt x="388" y="239"/>
                </a:lnTo>
                <a:lnTo>
                  <a:pt x="393" y="239"/>
                </a:lnTo>
                <a:lnTo>
                  <a:pt x="393" y="239"/>
                </a:lnTo>
                <a:lnTo>
                  <a:pt x="396" y="239"/>
                </a:lnTo>
                <a:lnTo>
                  <a:pt x="396" y="239"/>
                </a:lnTo>
                <a:lnTo>
                  <a:pt x="398" y="241"/>
                </a:lnTo>
                <a:lnTo>
                  <a:pt x="398" y="241"/>
                </a:lnTo>
                <a:lnTo>
                  <a:pt x="403" y="244"/>
                </a:lnTo>
                <a:lnTo>
                  <a:pt x="403" y="244"/>
                </a:lnTo>
                <a:lnTo>
                  <a:pt x="406" y="241"/>
                </a:lnTo>
                <a:lnTo>
                  <a:pt x="406" y="241"/>
                </a:lnTo>
                <a:lnTo>
                  <a:pt x="410" y="241"/>
                </a:lnTo>
                <a:lnTo>
                  <a:pt x="410" y="241"/>
                </a:lnTo>
                <a:lnTo>
                  <a:pt x="413" y="244"/>
                </a:lnTo>
                <a:lnTo>
                  <a:pt x="413" y="244"/>
                </a:lnTo>
                <a:lnTo>
                  <a:pt x="415" y="244"/>
                </a:lnTo>
                <a:lnTo>
                  <a:pt x="415" y="244"/>
                </a:lnTo>
                <a:lnTo>
                  <a:pt x="418" y="241"/>
                </a:lnTo>
                <a:lnTo>
                  <a:pt x="418" y="241"/>
                </a:lnTo>
                <a:lnTo>
                  <a:pt x="420" y="241"/>
                </a:lnTo>
                <a:lnTo>
                  <a:pt x="420" y="241"/>
                </a:lnTo>
                <a:lnTo>
                  <a:pt x="423" y="236"/>
                </a:lnTo>
                <a:lnTo>
                  <a:pt x="423" y="236"/>
                </a:lnTo>
                <a:lnTo>
                  <a:pt x="423" y="236"/>
                </a:lnTo>
                <a:lnTo>
                  <a:pt x="425" y="234"/>
                </a:lnTo>
                <a:lnTo>
                  <a:pt x="425" y="234"/>
                </a:lnTo>
                <a:lnTo>
                  <a:pt x="428" y="236"/>
                </a:lnTo>
                <a:lnTo>
                  <a:pt x="428" y="236"/>
                </a:lnTo>
                <a:lnTo>
                  <a:pt x="428" y="239"/>
                </a:lnTo>
                <a:lnTo>
                  <a:pt x="428" y="239"/>
                </a:lnTo>
                <a:lnTo>
                  <a:pt x="425" y="241"/>
                </a:lnTo>
                <a:lnTo>
                  <a:pt x="425" y="241"/>
                </a:lnTo>
                <a:lnTo>
                  <a:pt x="425" y="244"/>
                </a:lnTo>
                <a:lnTo>
                  <a:pt x="425" y="244"/>
                </a:lnTo>
                <a:lnTo>
                  <a:pt x="423" y="246"/>
                </a:lnTo>
                <a:lnTo>
                  <a:pt x="423" y="246"/>
                </a:lnTo>
                <a:lnTo>
                  <a:pt x="418" y="246"/>
                </a:lnTo>
                <a:lnTo>
                  <a:pt x="418" y="246"/>
                </a:lnTo>
                <a:lnTo>
                  <a:pt x="418" y="246"/>
                </a:lnTo>
                <a:lnTo>
                  <a:pt x="415" y="246"/>
                </a:lnTo>
                <a:lnTo>
                  <a:pt x="415" y="246"/>
                </a:lnTo>
                <a:lnTo>
                  <a:pt x="410" y="246"/>
                </a:lnTo>
                <a:lnTo>
                  <a:pt x="410" y="246"/>
                </a:lnTo>
                <a:lnTo>
                  <a:pt x="406" y="249"/>
                </a:lnTo>
                <a:lnTo>
                  <a:pt x="406" y="249"/>
                </a:lnTo>
                <a:lnTo>
                  <a:pt x="401" y="249"/>
                </a:lnTo>
                <a:lnTo>
                  <a:pt x="401" y="249"/>
                </a:lnTo>
                <a:lnTo>
                  <a:pt x="398" y="249"/>
                </a:lnTo>
                <a:lnTo>
                  <a:pt x="398" y="249"/>
                </a:lnTo>
                <a:lnTo>
                  <a:pt x="398" y="249"/>
                </a:lnTo>
                <a:lnTo>
                  <a:pt x="396" y="249"/>
                </a:lnTo>
                <a:lnTo>
                  <a:pt x="396" y="249"/>
                </a:lnTo>
                <a:lnTo>
                  <a:pt x="393" y="249"/>
                </a:lnTo>
                <a:lnTo>
                  <a:pt x="393" y="249"/>
                </a:lnTo>
                <a:lnTo>
                  <a:pt x="391" y="251"/>
                </a:lnTo>
                <a:lnTo>
                  <a:pt x="391" y="251"/>
                </a:lnTo>
                <a:lnTo>
                  <a:pt x="388" y="249"/>
                </a:lnTo>
                <a:lnTo>
                  <a:pt x="388" y="249"/>
                </a:lnTo>
                <a:lnTo>
                  <a:pt x="386" y="249"/>
                </a:lnTo>
                <a:lnTo>
                  <a:pt x="386" y="249"/>
                </a:lnTo>
                <a:lnTo>
                  <a:pt x="383" y="249"/>
                </a:lnTo>
                <a:lnTo>
                  <a:pt x="383" y="249"/>
                </a:lnTo>
                <a:lnTo>
                  <a:pt x="381" y="249"/>
                </a:lnTo>
                <a:lnTo>
                  <a:pt x="381" y="249"/>
                </a:lnTo>
                <a:lnTo>
                  <a:pt x="378" y="249"/>
                </a:lnTo>
                <a:lnTo>
                  <a:pt x="378" y="249"/>
                </a:lnTo>
                <a:lnTo>
                  <a:pt x="376" y="249"/>
                </a:lnTo>
                <a:lnTo>
                  <a:pt x="376" y="249"/>
                </a:lnTo>
                <a:lnTo>
                  <a:pt x="376" y="244"/>
                </a:lnTo>
                <a:lnTo>
                  <a:pt x="376" y="244"/>
                </a:lnTo>
                <a:close/>
                <a:moveTo>
                  <a:pt x="374" y="244"/>
                </a:moveTo>
                <a:lnTo>
                  <a:pt x="374" y="244"/>
                </a:lnTo>
                <a:lnTo>
                  <a:pt x="374" y="249"/>
                </a:lnTo>
                <a:lnTo>
                  <a:pt x="374" y="249"/>
                </a:lnTo>
                <a:lnTo>
                  <a:pt x="376" y="246"/>
                </a:lnTo>
                <a:lnTo>
                  <a:pt x="376" y="246"/>
                </a:lnTo>
                <a:lnTo>
                  <a:pt x="376" y="246"/>
                </a:lnTo>
                <a:lnTo>
                  <a:pt x="374" y="244"/>
                </a:lnTo>
                <a:lnTo>
                  <a:pt x="374" y="244"/>
                </a:lnTo>
                <a:close/>
                <a:moveTo>
                  <a:pt x="374" y="244"/>
                </a:moveTo>
                <a:lnTo>
                  <a:pt x="374" y="244"/>
                </a:lnTo>
                <a:lnTo>
                  <a:pt x="371" y="241"/>
                </a:lnTo>
                <a:lnTo>
                  <a:pt x="371" y="241"/>
                </a:lnTo>
                <a:lnTo>
                  <a:pt x="369" y="246"/>
                </a:lnTo>
                <a:lnTo>
                  <a:pt x="369" y="246"/>
                </a:lnTo>
                <a:lnTo>
                  <a:pt x="371" y="249"/>
                </a:lnTo>
                <a:lnTo>
                  <a:pt x="371" y="249"/>
                </a:lnTo>
                <a:lnTo>
                  <a:pt x="371" y="244"/>
                </a:lnTo>
                <a:lnTo>
                  <a:pt x="371" y="244"/>
                </a:lnTo>
                <a:lnTo>
                  <a:pt x="374" y="244"/>
                </a:lnTo>
                <a:lnTo>
                  <a:pt x="374" y="244"/>
                </a:lnTo>
                <a:close/>
                <a:moveTo>
                  <a:pt x="329" y="246"/>
                </a:moveTo>
                <a:lnTo>
                  <a:pt x="329" y="246"/>
                </a:lnTo>
                <a:lnTo>
                  <a:pt x="329" y="246"/>
                </a:lnTo>
                <a:lnTo>
                  <a:pt x="329" y="249"/>
                </a:lnTo>
                <a:lnTo>
                  <a:pt x="329" y="249"/>
                </a:lnTo>
                <a:lnTo>
                  <a:pt x="329" y="249"/>
                </a:lnTo>
                <a:lnTo>
                  <a:pt x="329" y="251"/>
                </a:lnTo>
                <a:lnTo>
                  <a:pt x="329" y="251"/>
                </a:lnTo>
                <a:lnTo>
                  <a:pt x="332" y="254"/>
                </a:lnTo>
                <a:lnTo>
                  <a:pt x="332" y="254"/>
                </a:lnTo>
                <a:lnTo>
                  <a:pt x="337" y="251"/>
                </a:lnTo>
                <a:lnTo>
                  <a:pt x="337" y="251"/>
                </a:lnTo>
                <a:lnTo>
                  <a:pt x="339" y="254"/>
                </a:lnTo>
                <a:lnTo>
                  <a:pt x="339" y="254"/>
                </a:lnTo>
                <a:lnTo>
                  <a:pt x="342" y="251"/>
                </a:lnTo>
                <a:lnTo>
                  <a:pt x="342" y="251"/>
                </a:lnTo>
                <a:lnTo>
                  <a:pt x="344" y="249"/>
                </a:lnTo>
                <a:lnTo>
                  <a:pt x="344" y="249"/>
                </a:lnTo>
                <a:lnTo>
                  <a:pt x="347" y="251"/>
                </a:lnTo>
                <a:lnTo>
                  <a:pt x="347" y="251"/>
                </a:lnTo>
                <a:lnTo>
                  <a:pt x="349" y="249"/>
                </a:lnTo>
                <a:lnTo>
                  <a:pt x="349" y="249"/>
                </a:lnTo>
                <a:lnTo>
                  <a:pt x="351" y="249"/>
                </a:lnTo>
                <a:lnTo>
                  <a:pt x="351" y="249"/>
                </a:lnTo>
                <a:lnTo>
                  <a:pt x="356" y="246"/>
                </a:lnTo>
                <a:lnTo>
                  <a:pt x="356" y="246"/>
                </a:lnTo>
                <a:lnTo>
                  <a:pt x="356" y="249"/>
                </a:lnTo>
                <a:lnTo>
                  <a:pt x="356" y="249"/>
                </a:lnTo>
                <a:lnTo>
                  <a:pt x="359" y="249"/>
                </a:lnTo>
                <a:lnTo>
                  <a:pt x="359" y="249"/>
                </a:lnTo>
                <a:lnTo>
                  <a:pt x="364" y="249"/>
                </a:lnTo>
                <a:lnTo>
                  <a:pt x="364" y="249"/>
                </a:lnTo>
                <a:lnTo>
                  <a:pt x="361" y="246"/>
                </a:lnTo>
                <a:lnTo>
                  <a:pt x="361" y="246"/>
                </a:lnTo>
                <a:lnTo>
                  <a:pt x="366" y="246"/>
                </a:lnTo>
                <a:lnTo>
                  <a:pt x="366" y="246"/>
                </a:lnTo>
                <a:lnTo>
                  <a:pt x="366" y="244"/>
                </a:lnTo>
                <a:lnTo>
                  <a:pt x="366" y="244"/>
                </a:lnTo>
                <a:lnTo>
                  <a:pt x="366" y="246"/>
                </a:lnTo>
                <a:lnTo>
                  <a:pt x="366" y="246"/>
                </a:lnTo>
                <a:lnTo>
                  <a:pt x="364" y="244"/>
                </a:lnTo>
                <a:lnTo>
                  <a:pt x="364" y="244"/>
                </a:lnTo>
                <a:lnTo>
                  <a:pt x="364" y="241"/>
                </a:lnTo>
                <a:lnTo>
                  <a:pt x="364" y="241"/>
                </a:lnTo>
                <a:lnTo>
                  <a:pt x="361" y="239"/>
                </a:lnTo>
                <a:lnTo>
                  <a:pt x="361" y="239"/>
                </a:lnTo>
                <a:lnTo>
                  <a:pt x="361" y="241"/>
                </a:lnTo>
                <a:lnTo>
                  <a:pt x="361" y="241"/>
                </a:lnTo>
                <a:lnTo>
                  <a:pt x="361" y="241"/>
                </a:lnTo>
                <a:lnTo>
                  <a:pt x="361" y="239"/>
                </a:lnTo>
                <a:lnTo>
                  <a:pt x="361" y="239"/>
                </a:lnTo>
                <a:lnTo>
                  <a:pt x="356" y="239"/>
                </a:lnTo>
                <a:lnTo>
                  <a:pt x="356" y="239"/>
                </a:lnTo>
                <a:lnTo>
                  <a:pt x="354" y="239"/>
                </a:lnTo>
                <a:lnTo>
                  <a:pt x="354" y="239"/>
                </a:lnTo>
                <a:lnTo>
                  <a:pt x="351" y="236"/>
                </a:lnTo>
                <a:lnTo>
                  <a:pt x="351" y="236"/>
                </a:lnTo>
                <a:lnTo>
                  <a:pt x="349" y="236"/>
                </a:lnTo>
                <a:lnTo>
                  <a:pt x="349" y="236"/>
                </a:lnTo>
                <a:lnTo>
                  <a:pt x="344" y="239"/>
                </a:lnTo>
                <a:lnTo>
                  <a:pt x="344" y="239"/>
                </a:lnTo>
                <a:lnTo>
                  <a:pt x="344" y="241"/>
                </a:lnTo>
                <a:lnTo>
                  <a:pt x="344" y="241"/>
                </a:lnTo>
                <a:lnTo>
                  <a:pt x="351" y="241"/>
                </a:lnTo>
                <a:lnTo>
                  <a:pt x="351" y="241"/>
                </a:lnTo>
                <a:lnTo>
                  <a:pt x="354" y="244"/>
                </a:lnTo>
                <a:lnTo>
                  <a:pt x="354" y="244"/>
                </a:lnTo>
                <a:lnTo>
                  <a:pt x="349" y="246"/>
                </a:lnTo>
                <a:lnTo>
                  <a:pt x="349" y="246"/>
                </a:lnTo>
                <a:lnTo>
                  <a:pt x="347" y="246"/>
                </a:lnTo>
                <a:lnTo>
                  <a:pt x="347" y="246"/>
                </a:lnTo>
                <a:lnTo>
                  <a:pt x="344" y="244"/>
                </a:lnTo>
                <a:lnTo>
                  <a:pt x="344" y="244"/>
                </a:lnTo>
                <a:lnTo>
                  <a:pt x="342" y="241"/>
                </a:lnTo>
                <a:lnTo>
                  <a:pt x="342" y="241"/>
                </a:lnTo>
                <a:lnTo>
                  <a:pt x="339" y="241"/>
                </a:lnTo>
                <a:lnTo>
                  <a:pt x="339" y="241"/>
                </a:lnTo>
                <a:lnTo>
                  <a:pt x="337" y="241"/>
                </a:lnTo>
                <a:lnTo>
                  <a:pt x="337" y="241"/>
                </a:lnTo>
                <a:lnTo>
                  <a:pt x="334" y="241"/>
                </a:lnTo>
                <a:lnTo>
                  <a:pt x="334" y="241"/>
                </a:lnTo>
                <a:lnTo>
                  <a:pt x="332" y="244"/>
                </a:lnTo>
                <a:lnTo>
                  <a:pt x="329" y="246"/>
                </a:lnTo>
                <a:lnTo>
                  <a:pt x="329" y="246"/>
                </a:lnTo>
                <a:close/>
                <a:moveTo>
                  <a:pt x="319" y="241"/>
                </a:moveTo>
                <a:lnTo>
                  <a:pt x="319" y="241"/>
                </a:lnTo>
                <a:lnTo>
                  <a:pt x="322" y="239"/>
                </a:lnTo>
                <a:lnTo>
                  <a:pt x="322" y="239"/>
                </a:lnTo>
                <a:lnTo>
                  <a:pt x="327" y="241"/>
                </a:lnTo>
                <a:lnTo>
                  <a:pt x="327" y="241"/>
                </a:lnTo>
                <a:lnTo>
                  <a:pt x="327" y="244"/>
                </a:lnTo>
                <a:lnTo>
                  <a:pt x="327" y="244"/>
                </a:lnTo>
                <a:lnTo>
                  <a:pt x="324" y="246"/>
                </a:lnTo>
                <a:lnTo>
                  <a:pt x="324" y="246"/>
                </a:lnTo>
                <a:lnTo>
                  <a:pt x="327" y="249"/>
                </a:lnTo>
                <a:lnTo>
                  <a:pt x="327" y="249"/>
                </a:lnTo>
                <a:lnTo>
                  <a:pt x="324" y="249"/>
                </a:lnTo>
                <a:lnTo>
                  <a:pt x="324" y="249"/>
                </a:lnTo>
                <a:lnTo>
                  <a:pt x="322" y="249"/>
                </a:lnTo>
                <a:lnTo>
                  <a:pt x="322" y="249"/>
                </a:lnTo>
                <a:lnTo>
                  <a:pt x="317" y="249"/>
                </a:lnTo>
                <a:lnTo>
                  <a:pt x="317" y="249"/>
                </a:lnTo>
                <a:lnTo>
                  <a:pt x="315" y="246"/>
                </a:lnTo>
                <a:lnTo>
                  <a:pt x="315" y="246"/>
                </a:lnTo>
                <a:lnTo>
                  <a:pt x="317" y="246"/>
                </a:lnTo>
                <a:lnTo>
                  <a:pt x="317" y="246"/>
                </a:lnTo>
                <a:lnTo>
                  <a:pt x="319" y="246"/>
                </a:lnTo>
                <a:lnTo>
                  <a:pt x="319" y="246"/>
                </a:lnTo>
                <a:lnTo>
                  <a:pt x="319" y="241"/>
                </a:lnTo>
                <a:lnTo>
                  <a:pt x="319" y="241"/>
                </a:lnTo>
                <a:close/>
                <a:moveTo>
                  <a:pt x="310" y="246"/>
                </a:moveTo>
                <a:lnTo>
                  <a:pt x="310" y="246"/>
                </a:lnTo>
                <a:lnTo>
                  <a:pt x="312" y="244"/>
                </a:lnTo>
                <a:lnTo>
                  <a:pt x="312" y="244"/>
                </a:lnTo>
                <a:lnTo>
                  <a:pt x="312" y="246"/>
                </a:lnTo>
                <a:lnTo>
                  <a:pt x="312" y="246"/>
                </a:lnTo>
                <a:lnTo>
                  <a:pt x="310" y="246"/>
                </a:lnTo>
                <a:lnTo>
                  <a:pt x="310" y="246"/>
                </a:lnTo>
                <a:lnTo>
                  <a:pt x="310" y="246"/>
                </a:lnTo>
                <a:close/>
                <a:moveTo>
                  <a:pt x="295" y="236"/>
                </a:moveTo>
                <a:lnTo>
                  <a:pt x="295" y="236"/>
                </a:lnTo>
                <a:lnTo>
                  <a:pt x="295" y="239"/>
                </a:lnTo>
                <a:lnTo>
                  <a:pt x="295" y="239"/>
                </a:lnTo>
                <a:lnTo>
                  <a:pt x="297" y="241"/>
                </a:lnTo>
                <a:lnTo>
                  <a:pt x="297" y="241"/>
                </a:lnTo>
                <a:lnTo>
                  <a:pt x="300" y="241"/>
                </a:lnTo>
                <a:lnTo>
                  <a:pt x="300" y="241"/>
                </a:lnTo>
                <a:lnTo>
                  <a:pt x="305" y="244"/>
                </a:lnTo>
                <a:lnTo>
                  <a:pt x="305" y="244"/>
                </a:lnTo>
                <a:lnTo>
                  <a:pt x="305" y="246"/>
                </a:lnTo>
                <a:lnTo>
                  <a:pt x="305" y="246"/>
                </a:lnTo>
                <a:lnTo>
                  <a:pt x="307" y="244"/>
                </a:lnTo>
                <a:lnTo>
                  <a:pt x="307" y="244"/>
                </a:lnTo>
                <a:lnTo>
                  <a:pt x="310" y="244"/>
                </a:lnTo>
                <a:lnTo>
                  <a:pt x="310" y="244"/>
                </a:lnTo>
                <a:lnTo>
                  <a:pt x="310" y="241"/>
                </a:lnTo>
                <a:lnTo>
                  <a:pt x="310" y="241"/>
                </a:lnTo>
                <a:lnTo>
                  <a:pt x="312" y="241"/>
                </a:lnTo>
                <a:lnTo>
                  <a:pt x="312" y="241"/>
                </a:lnTo>
                <a:lnTo>
                  <a:pt x="315" y="241"/>
                </a:lnTo>
                <a:lnTo>
                  <a:pt x="315" y="241"/>
                </a:lnTo>
                <a:lnTo>
                  <a:pt x="310" y="236"/>
                </a:lnTo>
                <a:lnTo>
                  <a:pt x="310" y="236"/>
                </a:lnTo>
                <a:lnTo>
                  <a:pt x="307" y="236"/>
                </a:lnTo>
                <a:lnTo>
                  <a:pt x="307" y="236"/>
                </a:lnTo>
                <a:lnTo>
                  <a:pt x="302" y="236"/>
                </a:lnTo>
                <a:lnTo>
                  <a:pt x="302" y="236"/>
                </a:lnTo>
                <a:lnTo>
                  <a:pt x="297" y="236"/>
                </a:lnTo>
                <a:lnTo>
                  <a:pt x="297" y="236"/>
                </a:lnTo>
                <a:lnTo>
                  <a:pt x="295" y="236"/>
                </a:lnTo>
                <a:lnTo>
                  <a:pt x="295" y="236"/>
                </a:lnTo>
                <a:close/>
                <a:moveTo>
                  <a:pt x="671" y="239"/>
                </a:moveTo>
                <a:lnTo>
                  <a:pt x="671" y="239"/>
                </a:lnTo>
                <a:lnTo>
                  <a:pt x="671" y="239"/>
                </a:lnTo>
                <a:lnTo>
                  <a:pt x="674" y="241"/>
                </a:lnTo>
                <a:lnTo>
                  <a:pt x="674" y="241"/>
                </a:lnTo>
                <a:lnTo>
                  <a:pt x="676" y="239"/>
                </a:lnTo>
                <a:lnTo>
                  <a:pt x="676" y="239"/>
                </a:lnTo>
                <a:lnTo>
                  <a:pt x="674" y="236"/>
                </a:lnTo>
                <a:lnTo>
                  <a:pt x="674" y="236"/>
                </a:lnTo>
                <a:lnTo>
                  <a:pt x="674" y="236"/>
                </a:lnTo>
                <a:lnTo>
                  <a:pt x="671" y="236"/>
                </a:lnTo>
                <a:lnTo>
                  <a:pt x="671" y="236"/>
                </a:lnTo>
                <a:lnTo>
                  <a:pt x="671" y="239"/>
                </a:lnTo>
                <a:lnTo>
                  <a:pt x="671" y="239"/>
                </a:lnTo>
                <a:close/>
                <a:moveTo>
                  <a:pt x="654" y="239"/>
                </a:moveTo>
                <a:lnTo>
                  <a:pt x="659" y="239"/>
                </a:lnTo>
                <a:lnTo>
                  <a:pt x="659" y="239"/>
                </a:lnTo>
                <a:lnTo>
                  <a:pt x="661" y="239"/>
                </a:lnTo>
                <a:lnTo>
                  <a:pt x="661" y="239"/>
                </a:lnTo>
                <a:lnTo>
                  <a:pt x="666" y="239"/>
                </a:lnTo>
                <a:lnTo>
                  <a:pt x="666" y="239"/>
                </a:lnTo>
                <a:lnTo>
                  <a:pt x="669" y="239"/>
                </a:lnTo>
                <a:lnTo>
                  <a:pt x="669" y="239"/>
                </a:lnTo>
                <a:lnTo>
                  <a:pt x="671" y="236"/>
                </a:lnTo>
                <a:lnTo>
                  <a:pt x="671" y="236"/>
                </a:lnTo>
                <a:lnTo>
                  <a:pt x="674" y="234"/>
                </a:lnTo>
                <a:lnTo>
                  <a:pt x="674" y="234"/>
                </a:lnTo>
                <a:lnTo>
                  <a:pt x="674" y="234"/>
                </a:lnTo>
                <a:lnTo>
                  <a:pt x="674" y="231"/>
                </a:lnTo>
                <a:lnTo>
                  <a:pt x="674" y="231"/>
                </a:lnTo>
                <a:lnTo>
                  <a:pt x="676" y="231"/>
                </a:lnTo>
                <a:lnTo>
                  <a:pt x="676" y="231"/>
                </a:lnTo>
                <a:lnTo>
                  <a:pt x="676" y="229"/>
                </a:lnTo>
                <a:lnTo>
                  <a:pt x="676" y="229"/>
                </a:lnTo>
                <a:lnTo>
                  <a:pt x="676" y="227"/>
                </a:lnTo>
                <a:lnTo>
                  <a:pt x="676" y="227"/>
                </a:lnTo>
                <a:lnTo>
                  <a:pt x="674" y="224"/>
                </a:lnTo>
                <a:lnTo>
                  <a:pt x="674" y="224"/>
                </a:lnTo>
                <a:lnTo>
                  <a:pt x="674" y="224"/>
                </a:lnTo>
                <a:lnTo>
                  <a:pt x="669" y="224"/>
                </a:lnTo>
                <a:lnTo>
                  <a:pt x="669" y="224"/>
                </a:lnTo>
                <a:lnTo>
                  <a:pt x="664" y="227"/>
                </a:lnTo>
                <a:lnTo>
                  <a:pt x="664" y="227"/>
                </a:lnTo>
                <a:lnTo>
                  <a:pt x="664" y="229"/>
                </a:lnTo>
                <a:lnTo>
                  <a:pt x="664" y="229"/>
                </a:lnTo>
                <a:lnTo>
                  <a:pt x="661" y="234"/>
                </a:lnTo>
                <a:lnTo>
                  <a:pt x="661" y="234"/>
                </a:lnTo>
                <a:lnTo>
                  <a:pt x="654" y="239"/>
                </a:lnTo>
                <a:lnTo>
                  <a:pt x="654" y="239"/>
                </a:lnTo>
                <a:close/>
                <a:moveTo>
                  <a:pt x="270" y="217"/>
                </a:moveTo>
                <a:lnTo>
                  <a:pt x="270" y="217"/>
                </a:lnTo>
                <a:lnTo>
                  <a:pt x="270" y="219"/>
                </a:lnTo>
                <a:lnTo>
                  <a:pt x="270" y="219"/>
                </a:lnTo>
                <a:lnTo>
                  <a:pt x="273" y="222"/>
                </a:lnTo>
                <a:lnTo>
                  <a:pt x="273" y="222"/>
                </a:lnTo>
                <a:lnTo>
                  <a:pt x="275" y="222"/>
                </a:lnTo>
                <a:lnTo>
                  <a:pt x="275" y="222"/>
                </a:lnTo>
                <a:lnTo>
                  <a:pt x="278" y="222"/>
                </a:lnTo>
                <a:lnTo>
                  <a:pt x="278" y="222"/>
                </a:lnTo>
                <a:lnTo>
                  <a:pt x="283" y="222"/>
                </a:lnTo>
                <a:lnTo>
                  <a:pt x="283" y="222"/>
                </a:lnTo>
                <a:lnTo>
                  <a:pt x="285" y="222"/>
                </a:lnTo>
                <a:lnTo>
                  <a:pt x="285" y="222"/>
                </a:lnTo>
                <a:lnTo>
                  <a:pt x="287" y="219"/>
                </a:lnTo>
                <a:lnTo>
                  <a:pt x="287" y="219"/>
                </a:lnTo>
                <a:lnTo>
                  <a:pt x="290" y="219"/>
                </a:lnTo>
                <a:lnTo>
                  <a:pt x="290" y="219"/>
                </a:lnTo>
                <a:lnTo>
                  <a:pt x="287" y="217"/>
                </a:lnTo>
                <a:lnTo>
                  <a:pt x="287" y="217"/>
                </a:lnTo>
                <a:lnTo>
                  <a:pt x="283" y="219"/>
                </a:lnTo>
                <a:lnTo>
                  <a:pt x="283" y="219"/>
                </a:lnTo>
                <a:lnTo>
                  <a:pt x="280" y="217"/>
                </a:lnTo>
                <a:lnTo>
                  <a:pt x="280" y="217"/>
                </a:lnTo>
                <a:lnTo>
                  <a:pt x="273" y="217"/>
                </a:lnTo>
                <a:lnTo>
                  <a:pt x="273" y="217"/>
                </a:lnTo>
                <a:lnTo>
                  <a:pt x="270" y="217"/>
                </a:lnTo>
                <a:lnTo>
                  <a:pt x="270" y="217"/>
                </a:lnTo>
                <a:close/>
                <a:moveTo>
                  <a:pt x="155" y="212"/>
                </a:moveTo>
                <a:lnTo>
                  <a:pt x="155" y="212"/>
                </a:lnTo>
                <a:lnTo>
                  <a:pt x="155" y="212"/>
                </a:lnTo>
                <a:lnTo>
                  <a:pt x="157" y="212"/>
                </a:lnTo>
                <a:lnTo>
                  <a:pt x="157" y="212"/>
                </a:lnTo>
                <a:lnTo>
                  <a:pt x="157" y="212"/>
                </a:lnTo>
                <a:lnTo>
                  <a:pt x="155" y="212"/>
                </a:lnTo>
                <a:lnTo>
                  <a:pt x="155" y="212"/>
                </a:lnTo>
                <a:close/>
                <a:moveTo>
                  <a:pt x="157" y="214"/>
                </a:moveTo>
                <a:lnTo>
                  <a:pt x="157" y="214"/>
                </a:lnTo>
                <a:lnTo>
                  <a:pt x="160" y="214"/>
                </a:lnTo>
                <a:lnTo>
                  <a:pt x="160" y="214"/>
                </a:lnTo>
                <a:lnTo>
                  <a:pt x="160" y="214"/>
                </a:lnTo>
                <a:lnTo>
                  <a:pt x="162" y="209"/>
                </a:lnTo>
                <a:lnTo>
                  <a:pt x="162" y="209"/>
                </a:lnTo>
                <a:lnTo>
                  <a:pt x="164" y="209"/>
                </a:lnTo>
                <a:lnTo>
                  <a:pt x="164" y="209"/>
                </a:lnTo>
                <a:lnTo>
                  <a:pt x="167" y="207"/>
                </a:lnTo>
                <a:lnTo>
                  <a:pt x="167" y="207"/>
                </a:lnTo>
                <a:lnTo>
                  <a:pt x="164" y="204"/>
                </a:lnTo>
                <a:lnTo>
                  <a:pt x="164" y="204"/>
                </a:lnTo>
                <a:lnTo>
                  <a:pt x="169" y="199"/>
                </a:lnTo>
                <a:lnTo>
                  <a:pt x="169" y="199"/>
                </a:lnTo>
                <a:lnTo>
                  <a:pt x="169" y="202"/>
                </a:lnTo>
                <a:lnTo>
                  <a:pt x="169" y="202"/>
                </a:lnTo>
                <a:lnTo>
                  <a:pt x="174" y="202"/>
                </a:lnTo>
                <a:lnTo>
                  <a:pt x="174" y="202"/>
                </a:lnTo>
                <a:lnTo>
                  <a:pt x="179" y="202"/>
                </a:lnTo>
                <a:lnTo>
                  <a:pt x="179" y="202"/>
                </a:lnTo>
                <a:lnTo>
                  <a:pt x="182" y="204"/>
                </a:lnTo>
                <a:lnTo>
                  <a:pt x="182" y="204"/>
                </a:lnTo>
                <a:lnTo>
                  <a:pt x="182" y="202"/>
                </a:lnTo>
                <a:lnTo>
                  <a:pt x="182" y="202"/>
                </a:lnTo>
                <a:lnTo>
                  <a:pt x="184" y="202"/>
                </a:lnTo>
                <a:lnTo>
                  <a:pt x="184" y="202"/>
                </a:lnTo>
                <a:lnTo>
                  <a:pt x="189" y="202"/>
                </a:lnTo>
                <a:lnTo>
                  <a:pt x="189" y="202"/>
                </a:lnTo>
                <a:lnTo>
                  <a:pt x="192" y="204"/>
                </a:lnTo>
                <a:lnTo>
                  <a:pt x="192" y="204"/>
                </a:lnTo>
                <a:lnTo>
                  <a:pt x="196" y="204"/>
                </a:lnTo>
                <a:lnTo>
                  <a:pt x="196" y="204"/>
                </a:lnTo>
                <a:lnTo>
                  <a:pt x="204" y="207"/>
                </a:lnTo>
                <a:lnTo>
                  <a:pt x="204" y="207"/>
                </a:lnTo>
                <a:lnTo>
                  <a:pt x="206" y="209"/>
                </a:lnTo>
                <a:lnTo>
                  <a:pt x="206" y="209"/>
                </a:lnTo>
                <a:lnTo>
                  <a:pt x="204" y="212"/>
                </a:lnTo>
                <a:lnTo>
                  <a:pt x="204" y="212"/>
                </a:lnTo>
                <a:lnTo>
                  <a:pt x="206" y="214"/>
                </a:lnTo>
                <a:lnTo>
                  <a:pt x="206" y="214"/>
                </a:lnTo>
                <a:lnTo>
                  <a:pt x="211" y="217"/>
                </a:lnTo>
                <a:lnTo>
                  <a:pt x="211" y="217"/>
                </a:lnTo>
                <a:lnTo>
                  <a:pt x="221" y="217"/>
                </a:lnTo>
                <a:lnTo>
                  <a:pt x="221" y="217"/>
                </a:lnTo>
                <a:lnTo>
                  <a:pt x="228" y="217"/>
                </a:lnTo>
                <a:lnTo>
                  <a:pt x="228" y="217"/>
                </a:lnTo>
                <a:lnTo>
                  <a:pt x="236" y="217"/>
                </a:lnTo>
                <a:lnTo>
                  <a:pt x="236" y="217"/>
                </a:lnTo>
                <a:lnTo>
                  <a:pt x="238" y="214"/>
                </a:lnTo>
                <a:lnTo>
                  <a:pt x="238" y="214"/>
                </a:lnTo>
                <a:lnTo>
                  <a:pt x="238" y="207"/>
                </a:lnTo>
                <a:lnTo>
                  <a:pt x="238" y="207"/>
                </a:lnTo>
                <a:lnTo>
                  <a:pt x="241" y="207"/>
                </a:lnTo>
                <a:lnTo>
                  <a:pt x="241" y="207"/>
                </a:lnTo>
                <a:lnTo>
                  <a:pt x="246" y="212"/>
                </a:lnTo>
                <a:lnTo>
                  <a:pt x="246" y="212"/>
                </a:lnTo>
                <a:lnTo>
                  <a:pt x="248" y="212"/>
                </a:lnTo>
                <a:lnTo>
                  <a:pt x="248" y="212"/>
                </a:lnTo>
                <a:lnTo>
                  <a:pt x="251" y="212"/>
                </a:lnTo>
                <a:lnTo>
                  <a:pt x="251" y="212"/>
                </a:lnTo>
                <a:lnTo>
                  <a:pt x="253" y="212"/>
                </a:lnTo>
                <a:lnTo>
                  <a:pt x="253" y="212"/>
                </a:lnTo>
                <a:lnTo>
                  <a:pt x="255" y="214"/>
                </a:lnTo>
                <a:lnTo>
                  <a:pt x="255" y="214"/>
                </a:lnTo>
                <a:lnTo>
                  <a:pt x="258" y="214"/>
                </a:lnTo>
                <a:lnTo>
                  <a:pt x="258" y="214"/>
                </a:lnTo>
                <a:lnTo>
                  <a:pt x="260" y="217"/>
                </a:lnTo>
                <a:lnTo>
                  <a:pt x="260" y="217"/>
                </a:lnTo>
                <a:lnTo>
                  <a:pt x="263" y="217"/>
                </a:lnTo>
                <a:lnTo>
                  <a:pt x="263" y="217"/>
                </a:lnTo>
                <a:lnTo>
                  <a:pt x="268" y="217"/>
                </a:lnTo>
                <a:lnTo>
                  <a:pt x="268" y="217"/>
                </a:lnTo>
                <a:lnTo>
                  <a:pt x="268" y="219"/>
                </a:lnTo>
                <a:lnTo>
                  <a:pt x="268" y="219"/>
                </a:lnTo>
                <a:lnTo>
                  <a:pt x="270" y="224"/>
                </a:lnTo>
                <a:lnTo>
                  <a:pt x="270" y="224"/>
                </a:lnTo>
                <a:lnTo>
                  <a:pt x="270" y="227"/>
                </a:lnTo>
                <a:lnTo>
                  <a:pt x="270" y="227"/>
                </a:lnTo>
                <a:lnTo>
                  <a:pt x="273" y="229"/>
                </a:lnTo>
                <a:lnTo>
                  <a:pt x="273" y="229"/>
                </a:lnTo>
                <a:lnTo>
                  <a:pt x="275" y="231"/>
                </a:lnTo>
                <a:lnTo>
                  <a:pt x="275" y="231"/>
                </a:lnTo>
                <a:lnTo>
                  <a:pt x="280" y="229"/>
                </a:lnTo>
                <a:lnTo>
                  <a:pt x="280" y="229"/>
                </a:lnTo>
                <a:lnTo>
                  <a:pt x="283" y="231"/>
                </a:lnTo>
                <a:lnTo>
                  <a:pt x="283" y="231"/>
                </a:lnTo>
                <a:lnTo>
                  <a:pt x="285" y="231"/>
                </a:lnTo>
                <a:lnTo>
                  <a:pt x="285" y="231"/>
                </a:lnTo>
                <a:lnTo>
                  <a:pt x="285" y="229"/>
                </a:lnTo>
                <a:lnTo>
                  <a:pt x="285" y="229"/>
                </a:lnTo>
                <a:lnTo>
                  <a:pt x="290" y="229"/>
                </a:lnTo>
                <a:lnTo>
                  <a:pt x="290" y="229"/>
                </a:lnTo>
                <a:lnTo>
                  <a:pt x="290" y="231"/>
                </a:lnTo>
                <a:lnTo>
                  <a:pt x="290" y="231"/>
                </a:lnTo>
                <a:lnTo>
                  <a:pt x="292" y="231"/>
                </a:lnTo>
                <a:lnTo>
                  <a:pt x="292" y="231"/>
                </a:lnTo>
                <a:lnTo>
                  <a:pt x="295" y="231"/>
                </a:lnTo>
                <a:lnTo>
                  <a:pt x="295" y="231"/>
                </a:lnTo>
                <a:lnTo>
                  <a:pt x="292" y="239"/>
                </a:lnTo>
                <a:lnTo>
                  <a:pt x="292" y="239"/>
                </a:lnTo>
                <a:lnTo>
                  <a:pt x="292" y="241"/>
                </a:lnTo>
                <a:lnTo>
                  <a:pt x="292" y="241"/>
                </a:lnTo>
                <a:lnTo>
                  <a:pt x="292" y="241"/>
                </a:lnTo>
                <a:lnTo>
                  <a:pt x="295" y="246"/>
                </a:lnTo>
                <a:lnTo>
                  <a:pt x="295" y="246"/>
                </a:lnTo>
                <a:lnTo>
                  <a:pt x="292" y="249"/>
                </a:lnTo>
                <a:lnTo>
                  <a:pt x="292" y="249"/>
                </a:lnTo>
                <a:lnTo>
                  <a:pt x="290" y="246"/>
                </a:lnTo>
                <a:lnTo>
                  <a:pt x="290" y="246"/>
                </a:lnTo>
                <a:lnTo>
                  <a:pt x="287" y="246"/>
                </a:lnTo>
                <a:lnTo>
                  <a:pt x="287" y="246"/>
                </a:lnTo>
                <a:lnTo>
                  <a:pt x="283" y="241"/>
                </a:lnTo>
                <a:lnTo>
                  <a:pt x="283" y="241"/>
                </a:lnTo>
                <a:lnTo>
                  <a:pt x="280" y="241"/>
                </a:lnTo>
                <a:lnTo>
                  <a:pt x="280" y="241"/>
                </a:lnTo>
                <a:lnTo>
                  <a:pt x="275" y="239"/>
                </a:lnTo>
                <a:lnTo>
                  <a:pt x="275" y="239"/>
                </a:lnTo>
                <a:lnTo>
                  <a:pt x="275" y="239"/>
                </a:lnTo>
                <a:lnTo>
                  <a:pt x="270" y="241"/>
                </a:lnTo>
                <a:lnTo>
                  <a:pt x="270" y="241"/>
                </a:lnTo>
                <a:lnTo>
                  <a:pt x="265" y="241"/>
                </a:lnTo>
                <a:lnTo>
                  <a:pt x="265" y="241"/>
                </a:lnTo>
                <a:lnTo>
                  <a:pt x="260" y="239"/>
                </a:lnTo>
                <a:lnTo>
                  <a:pt x="260" y="239"/>
                </a:lnTo>
                <a:lnTo>
                  <a:pt x="255" y="239"/>
                </a:lnTo>
                <a:lnTo>
                  <a:pt x="255" y="239"/>
                </a:lnTo>
                <a:lnTo>
                  <a:pt x="253" y="241"/>
                </a:lnTo>
                <a:lnTo>
                  <a:pt x="253" y="241"/>
                </a:lnTo>
                <a:lnTo>
                  <a:pt x="248" y="239"/>
                </a:lnTo>
                <a:lnTo>
                  <a:pt x="248" y="239"/>
                </a:lnTo>
                <a:lnTo>
                  <a:pt x="243" y="239"/>
                </a:lnTo>
                <a:lnTo>
                  <a:pt x="243" y="239"/>
                </a:lnTo>
                <a:lnTo>
                  <a:pt x="241" y="239"/>
                </a:lnTo>
                <a:lnTo>
                  <a:pt x="241" y="239"/>
                </a:lnTo>
                <a:lnTo>
                  <a:pt x="233" y="236"/>
                </a:lnTo>
                <a:lnTo>
                  <a:pt x="233" y="236"/>
                </a:lnTo>
                <a:lnTo>
                  <a:pt x="226" y="231"/>
                </a:lnTo>
                <a:lnTo>
                  <a:pt x="226" y="231"/>
                </a:lnTo>
                <a:lnTo>
                  <a:pt x="221" y="231"/>
                </a:lnTo>
                <a:lnTo>
                  <a:pt x="221" y="231"/>
                </a:lnTo>
                <a:lnTo>
                  <a:pt x="216" y="229"/>
                </a:lnTo>
                <a:lnTo>
                  <a:pt x="216" y="229"/>
                </a:lnTo>
                <a:lnTo>
                  <a:pt x="214" y="229"/>
                </a:lnTo>
                <a:lnTo>
                  <a:pt x="214" y="229"/>
                </a:lnTo>
                <a:lnTo>
                  <a:pt x="211" y="231"/>
                </a:lnTo>
                <a:lnTo>
                  <a:pt x="211" y="231"/>
                </a:lnTo>
                <a:lnTo>
                  <a:pt x="209" y="231"/>
                </a:lnTo>
                <a:lnTo>
                  <a:pt x="209" y="231"/>
                </a:lnTo>
                <a:lnTo>
                  <a:pt x="206" y="229"/>
                </a:lnTo>
                <a:lnTo>
                  <a:pt x="206" y="229"/>
                </a:lnTo>
                <a:lnTo>
                  <a:pt x="204" y="229"/>
                </a:lnTo>
                <a:lnTo>
                  <a:pt x="204" y="229"/>
                </a:lnTo>
                <a:lnTo>
                  <a:pt x="201" y="231"/>
                </a:lnTo>
                <a:lnTo>
                  <a:pt x="201" y="231"/>
                </a:lnTo>
                <a:lnTo>
                  <a:pt x="196" y="229"/>
                </a:lnTo>
                <a:lnTo>
                  <a:pt x="196" y="229"/>
                </a:lnTo>
                <a:lnTo>
                  <a:pt x="192" y="227"/>
                </a:lnTo>
                <a:lnTo>
                  <a:pt x="192" y="227"/>
                </a:lnTo>
                <a:lnTo>
                  <a:pt x="187" y="227"/>
                </a:lnTo>
                <a:lnTo>
                  <a:pt x="187" y="227"/>
                </a:lnTo>
                <a:lnTo>
                  <a:pt x="184" y="224"/>
                </a:lnTo>
                <a:lnTo>
                  <a:pt x="184" y="224"/>
                </a:lnTo>
                <a:lnTo>
                  <a:pt x="182" y="227"/>
                </a:lnTo>
                <a:lnTo>
                  <a:pt x="182" y="227"/>
                </a:lnTo>
                <a:lnTo>
                  <a:pt x="177" y="227"/>
                </a:lnTo>
                <a:lnTo>
                  <a:pt x="177" y="227"/>
                </a:lnTo>
                <a:lnTo>
                  <a:pt x="174" y="224"/>
                </a:lnTo>
                <a:lnTo>
                  <a:pt x="174" y="224"/>
                </a:lnTo>
                <a:lnTo>
                  <a:pt x="172" y="224"/>
                </a:lnTo>
                <a:lnTo>
                  <a:pt x="172" y="224"/>
                </a:lnTo>
                <a:lnTo>
                  <a:pt x="174" y="219"/>
                </a:lnTo>
                <a:lnTo>
                  <a:pt x="174" y="219"/>
                </a:lnTo>
                <a:lnTo>
                  <a:pt x="174" y="219"/>
                </a:lnTo>
                <a:lnTo>
                  <a:pt x="174" y="219"/>
                </a:lnTo>
                <a:lnTo>
                  <a:pt x="172" y="219"/>
                </a:lnTo>
                <a:lnTo>
                  <a:pt x="172" y="219"/>
                </a:lnTo>
                <a:lnTo>
                  <a:pt x="169" y="217"/>
                </a:lnTo>
                <a:lnTo>
                  <a:pt x="169" y="217"/>
                </a:lnTo>
                <a:lnTo>
                  <a:pt x="167" y="214"/>
                </a:lnTo>
                <a:lnTo>
                  <a:pt x="167" y="214"/>
                </a:lnTo>
                <a:lnTo>
                  <a:pt x="164" y="217"/>
                </a:lnTo>
                <a:lnTo>
                  <a:pt x="164" y="217"/>
                </a:lnTo>
                <a:lnTo>
                  <a:pt x="157" y="217"/>
                </a:lnTo>
                <a:lnTo>
                  <a:pt x="157" y="217"/>
                </a:lnTo>
                <a:lnTo>
                  <a:pt x="157" y="214"/>
                </a:lnTo>
                <a:lnTo>
                  <a:pt x="157" y="214"/>
                </a:lnTo>
                <a:lnTo>
                  <a:pt x="157" y="214"/>
                </a:lnTo>
                <a:lnTo>
                  <a:pt x="157" y="214"/>
                </a:lnTo>
                <a:close/>
                <a:moveTo>
                  <a:pt x="196" y="40"/>
                </a:moveTo>
                <a:lnTo>
                  <a:pt x="196" y="40"/>
                </a:lnTo>
                <a:lnTo>
                  <a:pt x="201" y="42"/>
                </a:lnTo>
                <a:lnTo>
                  <a:pt x="201" y="42"/>
                </a:lnTo>
                <a:lnTo>
                  <a:pt x="201" y="42"/>
                </a:lnTo>
                <a:lnTo>
                  <a:pt x="201" y="45"/>
                </a:lnTo>
                <a:lnTo>
                  <a:pt x="201" y="45"/>
                </a:lnTo>
                <a:lnTo>
                  <a:pt x="204" y="45"/>
                </a:lnTo>
                <a:lnTo>
                  <a:pt x="204" y="45"/>
                </a:lnTo>
                <a:lnTo>
                  <a:pt x="204" y="40"/>
                </a:lnTo>
                <a:lnTo>
                  <a:pt x="204" y="40"/>
                </a:lnTo>
                <a:lnTo>
                  <a:pt x="201" y="35"/>
                </a:lnTo>
                <a:lnTo>
                  <a:pt x="201" y="35"/>
                </a:lnTo>
                <a:lnTo>
                  <a:pt x="199" y="37"/>
                </a:lnTo>
                <a:lnTo>
                  <a:pt x="199" y="37"/>
                </a:lnTo>
                <a:lnTo>
                  <a:pt x="196" y="40"/>
                </a:lnTo>
                <a:lnTo>
                  <a:pt x="196" y="40"/>
                </a:lnTo>
                <a:close/>
                <a:moveTo>
                  <a:pt x="172" y="59"/>
                </a:moveTo>
                <a:lnTo>
                  <a:pt x="172" y="59"/>
                </a:lnTo>
                <a:lnTo>
                  <a:pt x="172" y="62"/>
                </a:lnTo>
                <a:lnTo>
                  <a:pt x="172" y="62"/>
                </a:lnTo>
                <a:lnTo>
                  <a:pt x="174" y="59"/>
                </a:lnTo>
                <a:lnTo>
                  <a:pt x="174" y="59"/>
                </a:lnTo>
                <a:lnTo>
                  <a:pt x="172" y="59"/>
                </a:lnTo>
                <a:lnTo>
                  <a:pt x="172" y="59"/>
                </a:lnTo>
                <a:close/>
                <a:moveTo>
                  <a:pt x="172" y="52"/>
                </a:moveTo>
                <a:lnTo>
                  <a:pt x="172" y="52"/>
                </a:lnTo>
                <a:lnTo>
                  <a:pt x="174" y="49"/>
                </a:lnTo>
                <a:lnTo>
                  <a:pt x="174" y="49"/>
                </a:lnTo>
                <a:lnTo>
                  <a:pt x="172" y="49"/>
                </a:lnTo>
                <a:lnTo>
                  <a:pt x="172" y="49"/>
                </a:lnTo>
                <a:lnTo>
                  <a:pt x="172" y="52"/>
                </a:lnTo>
                <a:lnTo>
                  <a:pt x="172" y="52"/>
                </a:lnTo>
                <a:close/>
                <a:moveTo>
                  <a:pt x="172" y="54"/>
                </a:moveTo>
                <a:lnTo>
                  <a:pt x="172" y="54"/>
                </a:lnTo>
                <a:lnTo>
                  <a:pt x="172" y="54"/>
                </a:lnTo>
                <a:lnTo>
                  <a:pt x="172" y="54"/>
                </a:lnTo>
                <a:lnTo>
                  <a:pt x="172" y="54"/>
                </a:lnTo>
                <a:close/>
                <a:moveTo>
                  <a:pt x="162" y="57"/>
                </a:moveTo>
                <a:lnTo>
                  <a:pt x="162" y="57"/>
                </a:lnTo>
                <a:lnTo>
                  <a:pt x="162" y="59"/>
                </a:lnTo>
                <a:lnTo>
                  <a:pt x="162" y="59"/>
                </a:lnTo>
                <a:lnTo>
                  <a:pt x="164" y="59"/>
                </a:lnTo>
                <a:lnTo>
                  <a:pt x="164" y="59"/>
                </a:lnTo>
                <a:lnTo>
                  <a:pt x="167" y="57"/>
                </a:lnTo>
                <a:lnTo>
                  <a:pt x="167" y="57"/>
                </a:lnTo>
                <a:lnTo>
                  <a:pt x="164" y="57"/>
                </a:lnTo>
                <a:lnTo>
                  <a:pt x="164" y="57"/>
                </a:lnTo>
                <a:lnTo>
                  <a:pt x="162" y="57"/>
                </a:lnTo>
                <a:lnTo>
                  <a:pt x="162" y="57"/>
                </a:lnTo>
                <a:close/>
                <a:moveTo>
                  <a:pt x="135" y="91"/>
                </a:moveTo>
                <a:lnTo>
                  <a:pt x="135" y="91"/>
                </a:lnTo>
                <a:lnTo>
                  <a:pt x="140" y="91"/>
                </a:lnTo>
                <a:lnTo>
                  <a:pt x="140" y="91"/>
                </a:lnTo>
                <a:lnTo>
                  <a:pt x="140" y="89"/>
                </a:lnTo>
                <a:lnTo>
                  <a:pt x="140" y="89"/>
                </a:lnTo>
                <a:lnTo>
                  <a:pt x="140" y="86"/>
                </a:lnTo>
                <a:lnTo>
                  <a:pt x="140" y="86"/>
                </a:lnTo>
                <a:lnTo>
                  <a:pt x="135" y="91"/>
                </a:lnTo>
                <a:lnTo>
                  <a:pt x="135" y="91"/>
                </a:lnTo>
                <a:close/>
                <a:moveTo>
                  <a:pt x="142" y="86"/>
                </a:moveTo>
                <a:lnTo>
                  <a:pt x="142" y="86"/>
                </a:lnTo>
                <a:lnTo>
                  <a:pt x="142" y="91"/>
                </a:lnTo>
                <a:lnTo>
                  <a:pt x="142" y="91"/>
                </a:lnTo>
                <a:lnTo>
                  <a:pt x="145" y="91"/>
                </a:lnTo>
                <a:lnTo>
                  <a:pt x="145" y="91"/>
                </a:lnTo>
                <a:lnTo>
                  <a:pt x="147" y="96"/>
                </a:lnTo>
                <a:lnTo>
                  <a:pt x="147" y="96"/>
                </a:lnTo>
                <a:lnTo>
                  <a:pt x="147" y="94"/>
                </a:lnTo>
                <a:lnTo>
                  <a:pt x="147" y="94"/>
                </a:lnTo>
                <a:lnTo>
                  <a:pt x="150" y="89"/>
                </a:lnTo>
                <a:lnTo>
                  <a:pt x="150" y="89"/>
                </a:lnTo>
                <a:lnTo>
                  <a:pt x="147" y="89"/>
                </a:lnTo>
                <a:lnTo>
                  <a:pt x="147" y="89"/>
                </a:lnTo>
                <a:lnTo>
                  <a:pt x="150" y="86"/>
                </a:lnTo>
                <a:lnTo>
                  <a:pt x="150" y="86"/>
                </a:lnTo>
                <a:lnTo>
                  <a:pt x="147" y="86"/>
                </a:lnTo>
                <a:lnTo>
                  <a:pt x="147" y="86"/>
                </a:lnTo>
                <a:lnTo>
                  <a:pt x="145" y="86"/>
                </a:lnTo>
                <a:lnTo>
                  <a:pt x="145" y="86"/>
                </a:lnTo>
                <a:lnTo>
                  <a:pt x="142" y="86"/>
                </a:lnTo>
                <a:lnTo>
                  <a:pt x="142" y="86"/>
                </a:lnTo>
                <a:close/>
                <a:moveTo>
                  <a:pt x="211" y="133"/>
                </a:moveTo>
                <a:lnTo>
                  <a:pt x="211" y="133"/>
                </a:lnTo>
                <a:lnTo>
                  <a:pt x="211" y="136"/>
                </a:lnTo>
                <a:lnTo>
                  <a:pt x="211" y="136"/>
                </a:lnTo>
                <a:lnTo>
                  <a:pt x="214" y="136"/>
                </a:lnTo>
                <a:lnTo>
                  <a:pt x="214" y="136"/>
                </a:lnTo>
                <a:lnTo>
                  <a:pt x="216" y="136"/>
                </a:lnTo>
                <a:lnTo>
                  <a:pt x="216" y="136"/>
                </a:lnTo>
                <a:lnTo>
                  <a:pt x="214" y="133"/>
                </a:lnTo>
                <a:lnTo>
                  <a:pt x="214" y="133"/>
                </a:lnTo>
                <a:lnTo>
                  <a:pt x="211" y="133"/>
                </a:lnTo>
                <a:lnTo>
                  <a:pt x="211" y="133"/>
                </a:lnTo>
                <a:close/>
                <a:moveTo>
                  <a:pt x="192" y="148"/>
                </a:moveTo>
                <a:lnTo>
                  <a:pt x="192" y="148"/>
                </a:lnTo>
                <a:lnTo>
                  <a:pt x="192" y="150"/>
                </a:lnTo>
                <a:lnTo>
                  <a:pt x="192" y="150"/>
                </a:lnTo>
                <a:lnTo>
                  <a:pt x="192" y="153"/>
                </a:lnTo>
                <a:lnTo>
                  <a:pt x="192" y="153"/>
                </a:lnTo>
                <a:lnTo>
                  <a:pt x="189" y="153"/>
                </a:lnTo>
                <a:lnTo>
                  <a:pt x="189" y="153"/>
                </a:lnTo>
                <a:lnTo>
                  <a:pt x="189" y="155"/>
                </a:lnTo>
                <a:lnTo>
                  <a:pt x="189" y="155"/>
                </a:lnTo>
                <a:lnTo>
                  <a:pt x="192" y="155"/>
                </a:lnTo>
                <a:lnTo>
                  <a:pt x="192" y="155"/>
                </a:lnTo>
                <a:lnTo>
                  <a:pt x="192" y="153"/>
                </a:lnTo>
                <a:lnTo>
                  <a:pt x="192" y="153"/>
                </a:lnTo>
                <a:lnTo>
                  <a:pt x="192" y="153"/>
                </a:lnTo>
                <a:lnTo>
                  <a:pt x="192" y="158"/>
                </a:lnTo>
                <a:lnTo>
                  <a:pt x="192" y="158"/>
                </a:lnTo>
                <a:lnTo>
                  <a:pt x="194" y="160"/>
                </a:lnTo>
                <a:lnTo>
                  <a:pt x="194" y="160"/>
                </a:lnTo>
                <a:lnTo>
                  <a:pt x="196" y="155"/>
                </a:lnTo>
                <a:lnTo>
                  <a:pt x="196" y="155"/>
                </a:lnTo>
                <a:lnTo>
                  <a:pt x="199" y="158"/>
                </a:lnTo>
                <a:lnTo>
                  <a:pt x="199" y="158"/>
                </a:lnTo>
                <a:lnTo>
                  <a:pt x="201" y="158"/>
                </a:lnTo>
                <a:lnTo>
                  <a:pt x="201" y="158"/>
                </a:lnTo>
                <a:lnTo>
                  <a:pt x="201" y="155"/>
                </a:lnTo>
                <a:lnTo>
                  <a:pt x="201" y="155"/>
                </a:lnTo>
                <a:lnTo>
                  <a:pt x="204" y="155"/>
                </a:lnTo>
                <a:lnTo>
                  <a:pt x="204" y="155"/>
                </a:lnTo>
                <a:lnTo>
                  <a:pt x="204" y="153"/>
                </a:lnTo>
                <a:lnTo>
                  <a:pt x="204" y="153"/>
                </a:lnTo>
                <a:lnTo>
                  <a:pt x="199" y="148"/>
                </a:lnTo>
                <a:lnTo>
                  <a:pt x="199" y="148"/>
                </a:lnTo>
                <a:lnTo>
                  <a:pt x="194" y="148"/>
                </a:lnTo>
                <a:lnTo>
                  <a:pt x="194" y="148"/>
                </a:lnTo>
                <a:lnTo>
                  <a:pt x="192" y="148"/>
                </a:lnTo>
                <a:lnTo>
                  <a:pt x="192" y="148"/>
                </a:lnTo>
                <a:close/>
                <a:moveTo>
                  <a:pt x="182" y="153"/>
                </a:moveTo>
                <a:lnTo>
                  <a:pt x="182" y="153"/>
                </a:lnTo>
                <a:lnTo>
                  <a:pt x="182" y="155"/>
                </a:lnTo>
                <a:lnTo>
                  <a:pt x="182" y="155"/>
                </a:lnTo>
                <a:lnTo>
                  <a:pt x="184" y="155"/>
                </a:lnTo>
                <a:lnTo>
                  <a:pt x="184" y="155"/>
                </a:lnTo>
                <a:lnTo>
                  <a:pt x="182" y="153"/>
                </a:lnTo>
                <a:lnTo>
                  <a:pt x="182" y="153"/>
                </a:lnTo>
                <a:close/>
                <a:moveTo>
                  <a:pt x="160" y="133"/>
                </a:moveTo>
                <a:lnTo>
                  <a:pt x="160" y="133"/>
                </a:lnTo>
                <a:lnTo>
                  <a:pt x="160" y="136"/>
                </a:lnTo>
                <a:lnTo>
                  <a:pt x="160" y="136"/>
                </a:lnTo>
                <a:lnTo>
                  <a:pt x="157" y="138"/>
                </a:lnTo>
                <a:lnTo>
                  <a:pt x="157" y="138"/>
                </a:lnTo>
                <a:lnTo>
                  <a:pt x="160" y="140"/>
                </a:lnTo>
                <a:lnTo>
                  <a:pt x="160" y="140"/>
                </a:lnTo>
                <a:lnTo>
                  <a:pt x="164" y="143"/>
                </a:lnTo>
                <a:lnTo>
                  <a:pt x="164" y="143"/>
                </a:lnTo>
                <a:lnTo>
                  <a:pt x="164" y="143"/>
                </a:lnTo>
                <a:lnTo>
                  <a:pt x="164" y="145"/>
                </a:lnTo>
                <a:lnTo>
                  <a:pt x="164" y="145"/>
                </a:lnTo>
                <a:lnTo>
                  <a:pt x="167" y="148"/>
                </a:lnTo>
                <a:lnTo>
                  <a:pt x="167" y="148"/>
                </a:lnTo>
                <a:lnTo>
                  <a:pt x="169" y="150"/>
                </a:lnTo>
                <a:lnTo>
                  <a:pt x="169" y="150"/>
                </a:lnTo>
                <a:lnTo>
                  <a:pt x="172" y="153"/>
                </a:lnTo>
                <a:lnTo>
                  <a:pt x="172" y="153"/>
                </a:lnTo>
                <a:lnTo>
                  <a:pt x="174" y="153"/>
                </a:lnTo>
                <a:lnTo>
                  <a:pt x="174" y="153"/>
                </a:lnTo>
                <a:lnTo>
                  <a:pt x="177" y="155"/>
                </a:lnTo>
                <a:lnTo>
                  <a:pt x="177" y="155"/>
                </a:lnTo>
                <a:lnTo>
                  <a:pt x="177" y="158"/>
                </a:lnTo>
                <a:lnTo>
                  <a:pt x="177" y="158"/>
                </a:lnTo>
                <a:lnTo>
                  <a:pt x="179" y="155"/>
                </a:lnTo>
                <a:lnTo>
                  <a:pt x="179" y="155"/>
                </a:lnTo>
                <a:lnTo>
                  <a:pt x="177" y="153"/>
                </a:lnTo>
                <a:lnTo>
                  <a:pt x="177" y="153"/>
                </a:lnTo>
                <a:lnTo>
                  <a:pt x="179" y="148"/>
                </a:lnTo>
                <a:lnTo>
                  <a:pt x="179" y="148"/>
                </a:lnTo>
                <a:lnTo>
                  <a:pt x="174" y="148"/>
                </a:lnTo>
                <a:lnTo>
                  <a:pt x="174" y="148"/>
                </a:lnTo>
                <a:lnTo>
                  <a:pt x="172" y="143"/>
                </a:lnTo>
                <a:lnTo>
                  <a:pt x="172" y="143"/>
                </a:lnTo>
                <a:lnTo>
                  <a:pt x="169" y="136"/>
                </a:lnTo>
                <a:lnTo>
                  <a:pt x="169" y="136"/>
                </a:lnTo>
                <a:lnTo>
                  <a:pt x="169" y="136"/>
                </a:lnTo>
                <a:lnTo>
                  <a:pt x="167" y="133"/>
                </a:lnTo>
                <a:lnTo>
                  <a:pt x="167" y="133"/>
                </a:lnTo>
                <a:lnTo>
                  <a:pt x="167" y="133"/>
                </a:lnTo>
                <a:lnTo>
                  <a:pt x="164" y="133"/>
                </a:lnTo>
                <a:lnTo>
                  <a:pt x="164" y="133"/>
                </a:lnTo>
                <a:lnTo>
                  <a:pt x="164" y="136"/>
                </a:lnTo>
                <a:lnTo>
                  <a:pt x="164" y="136"/>
                </a:lnTo>
                <a:lnTo>
                  <a:pt x="164" y="136"/>
                </a:lnTo>
                <a:lnTo>
                  <a:pt x="162" y="136"/>
                </a:lnTo>
                <a:lnTo>
                  <a:pt x="162" y="136"/>
                </a:lnTo>
                <a:lnTo>
                  <a:pt x="160" y="133"/>
                </a:lnTo>
                <a:lnTo>
                  <a:pt x="160" y="133"/>
                </a:lnTo>
                <a:lnTo>
                  <a:pt x="160" y="133"/>
                </a:lnTo>
                <a:close/>
                <a:moveTo>
                  <a:pt x="145" y="116"/>
                </a:moveTo>
                <a:lnTo>
                  <a:pt x="145" y="116"/>
                </a:lnTo>
                <a:lnTo>
                  <a:pt x="142" y="118"/>
                </a:lnTo>
                <a:lnTo>
                  <a:pt x="142" y="118"/>
                </a:lnTo>
                <a:lnTo>
                  <a:pt x="145" y="118"/>
                </a:lnTo>
                <a:lnTo>
                  <a:pt x="145" y="118"/>
                </a:lnTo>
                <a:lnTo>
                  <a:pt x="147" y="118"/>
                </a:lnTo>
                <a:lnTo>
                  <a:pt x="147" y="118"/>
                </a:lnTo>
                <a:lnTo>
                  <a:pt x="147" y="116"/>
                </a:lnTo>
                <a:lnTo>
                  <a:pt x="147" y="116"/>
                </a:lnTo>
                <a:lnTo>
                  <a:pt x="145" y="116"/>
                </a:lnTo>
                <a:lnTo>
                  <a:pt x="145" y="116"/>
                </a:lnTo>
                <a:close/>
                <a:moveTo>
                  <a:pt x="147" y="108"/>
                </a:moveTo>
                <a:lnTo>
                  <a:pt x="147" y="108"/>
                </a:lnTo>
                <a:lnTo>
                  <a:pt x="145" y="111"/>
                </a:lnTo>
                <a:lnTo>
                  <a:pt x="145" y="111"/>
                </a:lnTo>
                <a:lnTo>
                  <a:pt x="147" y="113"/>
                </a:lnTo>
                <a:lnTo>
                  <a:pt x="147" y="113"/>
                </a:lnTo>
                <a:lnTo>
                  <a:pt x="150" y="113"/>
                </a:lnTo>
                <a:lnTo>
                  <a:pt x="150" y="113"/>
                </a:lnTo>
                <a:lnTo>
                  <a:pt x="152" y="113"/>
                </a:lnTo>
                <a:lnTo>
                  <a:pt x="152" y="113"/>
                </a:lnTo>
                <a:lnTo>
                  <a:pt x="155" y="113"/>
                </a:lnTo>
                <a:lnTo>
                  <a:pt x="155" y="113"/>
                </a:lnTo>
                <a:lnTo>
                  <a:pt x="150" y="108"/>
                </a:lnTo>
                <a:lnTo>
                  <a:pt x="150" y="108"/>
                </a:lnTo>
                <a:lnTo>
                  <a:pt x="147" y="108"/>
                </a:lnTo>
                <a:lnTo>
                  <a:pt x="147" y="108"/>
                </a:lnTo>
                <a:close/>
                <a:moveTo>
                  <a:pt x="115" y="89"/>
                </a:moveTo>
                <a:lnTo>
                  <a:pt x="115" y="89"/>
                </a:lnTo>
                <a:lnTo>
                  <a:pt x="113" y="91"/>
                </a:lnTo>
                <a:lnTo>
                  <a:pt x="113" y="91"/>
                </a:lnTo>
                <a:lnTo>
                  <a:pt x="115" y="94"/>
                </a:lnTo>
                <a:lnTo>
                  <a:pt x="115" y="94"/>
                </a:lnTo>
                <a:lnTo>
                  <a:pt x="120" y="96"/>
                </a:lnTo>
                <a:lnTo>
                  <a:pt x="120" y="96"/>
                </a:lnTo>
                <a:lnTo>
                  <a:pt x="123" y="96"/>
                </a:lnTo>
                <a:lnTo>
                  <a:pt x="123" y="96"/>
                </a:lnTo>
                <a:lnTo>
                  <a:pt x="125" y="96"/>
                </a:lnTo>
                <a:lnTo>
                  <a:pt x="125" y="96"/>
                </a:lnTo>
                <a:lnTo>
                  <a:pt x="123" y="91"/>
                </a:lnTo>
                <a:lnTo>
                  <a:pt x="123" y="91"/>
                </a:lnTo>
                <a:lnTo>
                  <a:pt x="120" y="89"/>
                </a:lnTo>
                <a:lnTo>
                  <a:pt x="120" y="89"/>
                </a:lnTo>
                <a:lnTo>
                  <a:pt x="115" y="89"/>
                </a:lnTo>
                <a:lnTo>
                  <a:pt x="115" y="89"/>
                </a:lnTo>
                <a:close/>
                <a:moveTo>
                  <a:pt x="108" y="84"/>
                </a:moveTo>
                <a:lnTo>
                  <a:pt x="108" y="84"/>
                </a:lnTo>
                <a:lnTo>
                  <a:pt x="108" y="84"/>
                </a:lnTo>
                <a:lnTo>
                  <a:pt x="113" y="84"/>
                </a:lnTo>
                <a:lnTo>
                  <a:pt x="113" y="84"/>
                </a:lnTo>
                <a:lnTo>
                  <a:pt x="115" y="86"/>
                </a:lnTo>
                <a:lnTo>
                  <a:pt x="115" y="86"/>
                </a:lnTo>
                <a:lnTo>
                  <a:pt x="113" y="89"/>
                </a:lnTo>
                <a:lnTo>
                  <a:pt x="113" y="89"/>
                </a:lnTo>
                <a:lnTo>
                  <a:pt x="110" y="89"/>
                </a:lnTo>
                <a:lnTo>
                  <a:pt x="110" y="89"/>
                </a:lnTo>
                <a:lnTo>
                  <a:pt x="108" y="84"/>
                </a:lnTo>
                <a:lnTo>
                  <a:pt x="108" y="84"/>
                </a:lnTo>
                <a:close/>
                <a:moveTo>
                  <a:pt x="96" y="77"/>
                </a:moveTo>
                <a:lnTo>
                  <a:pt x="96" y="77"/>
                </a:lnTo>
                <a:lnTo>
                  <a:pt x="98" y="79"/>
                </a:lnTo>
                <a:lnTo>
                  <a:pt x="98" y="79"/>
                </a:lnTo>
                <a:lnTo>
                  <a:pt x="100" y="79"/>
                </a:lnTo>
                <a:lnTo>
                  <a:pt x="100" y="79"/>
                </a:lnTo>
                <a:lnTo>
                  <a:pt x="103" y="77"/>
                </a:lnTo>
                <a:lnTo>
                  <a:pt x="103" y="77"/>
                </a:lnTo>
                <a:lnTo>
                  <a:pt x="100" y="74"/>
                </a:lnTo>
                <a:lnTo>
                  <a:pt x="100" y="74"/>
                </a:lnTo>
                <a:lnTo>
                  <a:pt x="100" y="74"/>
                </a:lnTo>
                <a:lnTo>
                  <a:pt x="96" y="77"/>
                </a:lnTo>
                <a:lnTo>
                  <a:pt x="96" y="77"/>
                </a:lnTo>
                <a:close/>
                <a:moveTo>
                  <a:pt x="108" y="192"/>
                </a:moveTo>
                <a:lnTo>
                  <a:pt x="108" y="192"/>
                </a:lnTo>
                <a:lnTo>
                  <a:pt x="110" y="195"/>
                </a:lnTo>
                <a:lnTo>
                  <a:pt x="110" y="195"/>
                </a:lnTo>
                <a:lnTo>
                  <a:pt x="110" y="192"/>
                </a:lnTo>
                <a:lnTo>
                  <a:pt x="110" y="192"/>
                </a:lnTo>
                <a:lnTo>
                  <a:pt x="110" y="190"/>
                </a:lnTo>
                <a:lnTo>
                  <a:pt x="110" y="190"/>
                </a:lnTo>
                <a:lnTo>
                  <a:pt x="108" y="192"/>
                </a:lnTo>
                <a:lnTo>
                  <a:pt x="108" y="192"/>
                </a:lnTo>
                <a:close/>
                <a:moveTo>
                  <a:pt x="78" y="153"/>
                </a:moveTo>
                <a:lnTo>
                  <a:pt x="78" y="153"/>
                </a:lnTo>
                <a:lnTo>
                  <a:pt x="76" y="155"/>
                </a:lnTo>
                <a:lnTo>
                  <a:pt x="76" y="155"/>
                </a:lnTo>
                <a:lnTo>
                  <a:pt x="83" y="160"/>
                </a:lnTo>
                <a:lnTo>
                  <a:pt x="83" y="160"/>
                </a:lnTo>
                <a:lnTo>
                  <a:pt x="81" y="158"/>
                </a:lnTo>
                <a:lnTo>
                  <a:pt x="81" y="158"/>
                </a:lnTo>
                <a:lnTo>
                  <a:pt x="83" y="155"/>
                </a:lnTo>
                <a:lnTo>
                  <a:pt x="83" y="155"/>
                </a:lnTo>
                <a:lnTo>
                  <a:pt x="78" y="153"/>
                </a:lnTo>
                <a:lnTo>
                  <a:pt x="78" y="153"/>
                </a:lnTo>
                <a:close/>
                <a:moveTo>
                  <a:pt x="73" y="150"/>
                </a:moveTo>
                <a:lnTo>
                  <a:pt x="73" y="150"/>
                </a:lnTo>
                <a:lnTo>
                  <a:pt x="76" y="150"/>
                </a:lnTo>
                <a:lnTo>
                  <a:pt x="76" y="150"/>
                </a:lnTo>
                <a:lnTo>
                  <a:pt x="76" y="153"/>
                </a:lnTo>
                <a:lnTo>
                  <a:pt x="76" y="153"/>
                </a:lnTo>
                <a:lnTo>
                  <a:pt x="73" y="150"/>
                </a:lnTo>
                <a:lnTo>
                  <a:pt x="73" y="150"/>
                </a:lnTo>
                <a:close/>
                <a:moveTo>
                  <a:pt x="69" y="140"/>
                </a:moveTo>
                <a:lnTo>
                  <a:pt x="69" y="140"/>
                </a:lnTo>
                <a:lnTo>
                  <a:pt x="66" y="140"/>
                </a:lnTo>
                <a:lnTo>
                  <a:pt x="66" y="140"/>
                </a:lnTo>
                <a:lnTo>
                  <a:pt x="69" y="143"/>
                </a:lnTo>
                <a:lnTo>
                  <a:pt x="69" y="143"/>
                </a:lnTo>
                <a:lnTo>
                  <a:pt x="73" y="145"/>
                </a:lnTo>
                <a:lnTo>
                  <a:pt x="73" y="145"/>
                </a:lnTo>
                <a:lnTo>
                  <a:pt x="69" y="140"/>
                </a:lnTo>
                <a:lnTo>
                  <a:pt x="69" y="140"/>
                </a:lnTo>
                <a:close/>
                <a:moveTo>
                  <a:pt x="51" y="126"/>
                </a:moveTo>
                <a:lnTo>
                  <a:pt x="51" y="126"/>
                </a:lnTo>
                <a:lnTo>
                  <a:pt x="51" y="128"/>
                </a:lnTo>
                <a:lnTo>
                  <a:pt x="51" y="128"/>
                </a:lnTo>
                <a:lnTo>
                  <a:pt x="56" y="128"/>
                </a:lnTo>
                <a:lnTo>
                  <a:pt x="56" y="128"/>
                </a:lnTo>
                <a:lnTo>
                  <a:pt x="59" y="136"/>
                </a:lnTo>
                <a:lnTo>
                  <a:pt x="59" y="136"/>
                </a:lnTo>
                <a:lnTo>
                  <a:pt x="64" y="136"/>
                </a:lnTo>
                <a:lnTo>
                  <a:pt x="64" y="136"/>
                </a:lnTo>
                <a:lnTo>
                  <a:pt x="64" y="131"/>
                </a:lnTo>
                <a:lnTo>
                  <a:pt x="64" y="131"/>
                </a:lnTo>
                <a:lnTo>
                  <a:pt x="59" y="123"/>
                </a:lnTo>
                <a:lnTo>
                  <a:pt x="59" y="123"/>
                </a:lnTo>
                <a:lnTo>
                  <a:pt x="56" y="123"/>
                </a:lnTo>
                <a:lnTo>
                  <a:pt x="56" y="123"/>
                </a:lnTo>
                <a:lnTo>
                  <a:pt x="51" y="126"/>
                </a:lnTo>
                <a:lnTo>
                  <a:pt x="51" y="126"/>
                </a:lnTo>
                <a:close/>
                <a:moveTo>
                  <a:pt x="49" y="113"/>
                </a:moveTo>
                <a:lnTo>
                  <a:pt x="49" y="113"/>
                </a:lnTo>
                <a:lnTo>
                  <a:pt x="49" y="118"/>
                </a:lnTo>
                <a:lnTo>
                  <a:pt x="49" y="118"/>
                </a:lnTo>
                <a:lnTo>
                  <a:pt x="49" y="118"/>
                </a:lnTo>
                <a:lnTo>
                  <a:pt x="51" y="118"/>
                </a:lnTo>
                <a:lnTo>
                  <a:pt x="51" y="118"/>
                </a:lnTo>
                <a:lnTo>
                  <a:pt x="51" y="116"/>
                </a:lnTo>
                <a:lnTo>
                  <a:pt x="51" y="116"/>
                </a:lnTo>
                <a:lnTo>
                  <a:pt x="49" y="113"/>
                </a:lnTo>
                <a:lnTo>
                  <a:pt x="49" y="113"/>
                </a:lnTo>
                <a:close/>
                <a:moveTo>
                  <a:pt x="51" y="106"/>
                </a:moveTo>
                <a:lnTo>
                  <a:pt x="51" y="106"/>
                </a:lnTo>
                <a:lnTo>
                  <a:pt x="56" y="106"/>
                </a:lnTo>
                <a:lnTo>
                  <a:pt x="56" y="106"/>
                </a:lnTo>
                <a:lnTo>
                  <a:pt x="56" y="106"/>
                </a:lnTo>
                <a:lnTo>
                  <a:pt x="56" y="104"/>
                </a:lnTo>
                <a:lnTo>
                  <a:pt x="56" y="104"/>
                </a:lnTo>
                <a:lnTo>
                  <a:pt x="54" y="104"/>
                </a:lnTo>
                <a:lnTo>
                  <a:pt x="54" y="104"/>
                </a:lnTo>
                <a:lnTo>
                  <a:pt x="51" y="106"/>
                </a:lnTo>
                <a:lnTo>
                  <a:pt x="51" y="106"/>
                </a:lnTo>
                <a:close/>
                <a:moveTo>
                  <a:pt x="29" y="84"/>
                </a:moveTo>
                <a:lnTo>
                  <a:pt x="29" y="84"/>
                </a:lnTo>
                <a:lnTo>
                  <a:pt x="32" y="84"/>
                </a:lnTo>
                <a:lnTo>
                  <a:pt x="32" y="84"/>
                </a:lnTo>
                <a:lnTo>
                  <a:pt x="34" y="84"/>
                </a:lnTo>
                <a:lnTo>
                  <a:pt x="34" y="84"/>
                </a:lnTo>
                <a:lnTo>
                  <a:pt x="37" y="84"/>
                </a:lnTo>
                <a:lnTo>
                  <a:pt x="37" y="84"/>
                </a:lnTo>
                <a:lnTo>
                  <a:pt x="39" y="89"/>
                </a:lnTo>
                <a:lnTo>
                  <a:pt x="39" y="89"/>
                </a:lnTo>
                <a:lnTo>
                  <a:pt x="41" y="91"/>
                </a:lnTo>
                <a:lnTo>
                  <a:pt x="41" y="91"/>
                </a:lnTo>
                <a:lnTo>
                  <a:pt x="41" y="94"/>
                </a:lnTo>
                <a:lnTo>
                  <a:pt x="41" y="94"/>
                </a:lnTo>
                <a:lnTo>
                  <a:pt x="41" y="96"/>
                </a:lnTo>
                <a:lnTo>
                  <a:pt x="41" y="96"/>
                </a:lnTo>
                <a:lnTo>
                  <a:pt x="39" y="99"/>
                </a:lnTo>
                <a:lnTo>
                  <a:pt x="39" y="99"/>
                </a:lnTo>
                <a:lnTo>
                  <a:pt x="37" y="91"/>
                </a:lnTo>
                <a:lnTo>
                  <a:pt x="37" y="91"/>
                </a:lnTo>
                <a:lnTo>
                  <a:pt x="34" y="91"/>
                </a:lnTo>
                <a:lnTo>
                  <a:pt x="34" y="91"/>
                </a:lnTo>
                <a:lnTo>
                  <a:pt x="34" y="89"/>
                </a:lnTo>
                <a:lnTo>
                  <a:pt x="34" y="89"/>
                </a:lnTo>
                <a:lnTo>
                  <a:pt x="29" y="84"/>
                </a:lnTo>
                <a:lnTo>
                  <a:pt x="29" y="84"/>
                </a:lnTo>
                <a:close/>
                <a:moveTo>
                  <a:pt x="29" y="74"/>
                </a:moveTo>
                <a:lnTo>
                  <a:pt x="29" y="74"/>
                </a:lnTo>
                <a:lnTo>
                  <a:pt x="34" y="74"/>
                </a:lnTo>
                <a:lnTo>
                  <a:pt x="34" y="74"/>
                </a:lnTo>
                <a:lnTo>
                  <a:pt x="32" y="72"/>
                </a:lnTo>
                <a:lnTo>
                  <a:pt x="32" y="72"/>
                </a:lnTo>
                <a:lnTo>
                  <a:pt x="29" y="74"/>
                </a:lnTo>
                <a:lnTo>
                  <a:pt x="29" y="74"/>
                </a:lnTo>
                <a:close/>
                <a:moveTo>
                  <a:pt x="9" y="59"/>
                </a:moveTo>
                <a:lnTo>
                  <a:pt x="9" y="59"/>
                </a:lnTo>
                <a:lnTo>
                  <a:pt x="7" y="62"/>
                </a:lnTo>
                <a:lnTo>
                  <a:pt x="7" y="62"/>
                </a:lnTo>
                <a:lnTo>
                  <a:pt x="7" y="62"/>
                </a:lnTo>
                <a:lnTo>
                  <a:pt x="9" y="64"/>
                </a:lnTo>
                <a:lnTo>
                  <a:pt x="9" y="64"/>
                </a:lnTo>
                <a:lnTo>
                  <a:pt x="12" y="64"/>
                </a:lnTo>
                <a:lnTo>
                  <a:pt x="12" y="64"/>
                </a:lnTo>
                <a:lnTo>
                  <a:pt x="12" y="62"/>
                </a:lnTo>
                <a:lnTo>
                  <a:pt x="12" y="62"/>
                </a:lnTo>
                <a:lnTo>
                  <a:pt x="9" y="59"/>
                </a:lnTo>
                <a:lnTo>
                  <a:pt x="9" y="59"/>
                </a:lnTo>
                <a:close/>
                <a:moveTo>
                  <a:pt x="0" y="15"/>
                </a:moveTo>
                <a:lnTo>
                  <a:pt x="0" y="15"/>
                </a:lnTo>
                <a:lnTo>
                  <a:pt x="0" y="17"/>
                </a:lnTo>
                <a:lnTo>
                  <a:pt x="0" y="17"/>
                </a:lnTo>
                <a:lnTo>
                  <a:pt x="0" y="22"/>
                </a:lnTo>
                <a:lnTo>
                  <a:pt x="0" y="22"/>
                </a:lnTo>
                <a:lnTo>
                  <a:pt x="5" y="30"/>
                </a:lnTo>
                <a:lnTo>
                  <a:pt x="5" y="30"/>
                </a:lnTo>
                <a:lnTo>
                  <a:pt x="7" y="32"/>
                </a:lnTo>
                <a:lnTo>
                  <a:pt x="7" y="32"/>
                </a:lnTo>
                <a:lnTo>
                  <a:pt x="12" y="40"/>
                </a:lnTo>
                <a:lnTo>
                  <a:pt x="12" y="40"/>
                </a:lnTo>
                <a:lnTo>
                  <a:pt x="14" y="40"/>
                </a:lnTo>
                <a:lnTo>
                  <a:pt x="14" y="40"/>
                </a:lnTo>
                <a:lnTo>
                  <a:pt x="19" y="45"/>
                </a:lnTo>
                <a:lnTo>
                  <a:pt x="19" y="45"/>
                </a:lnTo>
                <a:lnTo>
                  <a:pt x="22" y="45"/>
                </a:lnTo>
                <a:lnTo>
                  <a:pt x="22" y="45"/>
                </a:lnTo>
                <a:lnTo>
                  <a:pt x="24" y="45"/>
                </a:lnTo>
                <a:lnTo>
                  <a:pt x="24" y="45"/>
                </a:lnTo>
                <a:lnTo>
                  <a:pt x="29" y="49"/>
                </a:lnTo>
                <a:lnTo>
                  <a:pt x="29" y="49"/>
                </a:lnTo>
                <a:lnTo>
                  <a:pt x="34" y="57"/>
                </a:lnTo>
                <a:lnTo>
                  <a:pt x="34" y="57"/>
                </a:lnTo>
                <a:lnTo>
                  <a:pt x="39" y="62"/>
                </a:lnTo>
                <a:lnTo>
                  <a:pt x="39" y="62"/>
                </a:lnTo>
                <a:lnTo>
                  <a:pt x="41" y="62"/>
                </a:lnTo>
                <a:lnTo>
                  <a:pt x="41" y="62"/>
                </a:lnTo>
                <a:lnTo>
                  <a:pt x="41" y="67"/>
                </a:lnTo>
                <a:lnTo>
                  <a:pt x="41" y="67"/>
                </a:lnTo>
                <a:lnTo>
                  <a:pt x="41" y="67"/>
                </a:lnTo>
                <a:lnTo>
                  <a:pt x="44" y="72"/>
                </a:lnTo>
                <a:lnTo>
                  <a:pt x="44" y="72"/>
                </a:lnTo>
                <a:lnTo>
                  <a:pt x="44" y="74"/>
                </a:lnTo>
                <a:lnTo>
                  <a:pt x="44" y="74"/>
                </a:lnTo>
                <a:lnTo>
                  <a:pt x="49" y="74"/>
                </a:lnTo>
                <a:lnTo>
                  <a:pt x="49" y="74"/>
                </a:lnTo>
                <a:lnTo>
                  <a:pt x="51" y="79"/>
                </a:lnTo>
                <a:lnTo>
                  <a:pt x="51" y="79"/>
                </a:lnTo>
                <a:lnTo>
                  <a:pt x="54" y="79"/>
                </a:lnTo>
                <a:lnTo>
                  <a:pt x="54" y="79"/>
                </a:lnTo>
                <a:lnTo>
                  <a:pt x="56" y="79"/>
                </a:lnTo>
                <a:lnTo>
                  <a:pt x="56" y="79"/>
                </a:lnTo>
                <a:lnTo>
                  <a:pt x="56" y="81"/>
                </a:lnTo>
                <a:lnTo>
                  <a:pt x="56" y="81"/>
                </a:lnTo>
                <a:lnTo>
                  <a:pt x="56" y="84"/>
                </a:lnTo>
                <a:lnTo>
                  <a:pt x="56" y="84"/>
                </a:lnTo>
                <a:lnTo>
                  <a:pt x="56" y="86"/>
                </a:lnTo>
                <a:lnTo>
                  <a:pt x="56" y="86"/>
                </a:lnTo>
                <a:lnTo>
                  <a:pt x="59" y="89"/>
                </a:lnTo>
                <a:lnTo>
                  <a:pt x="59" y="89"/>
                </a:lnTo>
                <a:lnTo>
                  <a:pt x="59" y="91"/>
                </a:lnTo>
                <a:lnTo>
                  <a:pt x="59" y="91"/>
                </a:lnTo>
                <a:lnTo>
                  <a:pt x="61" y="99"/>
                </a:lnTo>
                <a:lnTo>
                  <a:pt x="61" y="99"/>
                </a:lnTo>
                <a:lnTo>
                  <a:pt x="64" y="104"/>
                </a:lnTo>
                <a:lnTo>
                  <a:pt x="64" y="104"/>
                </a:lnTo>
                <a:lnTo>
                  <a:pt x="66" y="104"/>
                </a:lnTo>
                <a:lnTo>
                  <a:pt x="66" y="104"/>
                </a:lnTo>
                <a:lnTo>
                  <a:pt x="71" y="108"/>
                </a:lnTo>
                <a:lnTo>
                  <a:pt x="71" y="108"/>
                </a:lnTo>
                <a:lnTo>
                  <a:pt x="71" y="111"/>
                </a:lnTo>
                <a:lnTo>
                  <a:pt x="71" y="111"/>
                </a:lnTo>
                <a:lnTo>
                  <a:pt x="76" y="116"/>
                </a:lnTo>
                <a:lnTo>
                  <a:pt x="76" y="116"/>
                </a:lnTo>
                <a:lnTo>
                  <a:pt x="78" y="118"/>
                </a:lnTo>
                <a:lnTo>
                  <a:pt x="78" y="118"/>
                </a:lnTo>
                <a:lnTo>
                  <a:pt x="81" y="128"/>
                </a:lnTo>
                <a:lnTo>
                  <a:pt x="81" y="128"/>
                </a:lnTo>
                <a:lnTo>
                  <a:pt x="86" y="138"/>
                </a:lnTo>
                <a:lnTo>
                  <a:pt x="86" y="138"/>
                </a:lnTo>
                <a:lnTo>
                  <a:pt x="86" y="143"/>
                </a:lnTo>
                <a:lnTo>
                  <a:pt x="86" y="143"/>
                </a:lnTo>
                <a:lnTo>
                  <a:pt x="86" y="145"/>
                </a:lnTo>
                <a:lnTo>
                  <a:pt x="86" y="145"/>
                </a:lnTo>
                <a:lnTo>
                  <a:pt x="93" y="150"/>
                </a:lnTo>
                <a:lnTo>
                  <a:pt x="93" y="150"/>
                </a:lnTo>
                <a:lnTo>
                  <a:pt x="98" y="158"/>
                </a:lnTo>
                <a:lnTo>
                  <a:pt x="98" y="158"/>
                </a:lnTo>
                <a:lnTo>
                  <a:pt x="100" y="160"/>
                </a:lnTo>
                <a:lnTo>
                  <a:pt x="100" y="160"/>
                </a:lnTo>
                <a:lnTo>
                  <a:pt x="103" y="163"/>
                </a:lnTo>
                <a:lnTo>
                  <a:pt x="103" y="163"/>
                </a:lnTo>
                <a:lnTo>
                  <a:pt x="105" y="163"/>
                </a:lnTo>
                <a:lnTo>
                  <a:pt x="105" y="163"/>
                </a:lnTo>
                <a:lnTo>
                  <a:pt x="110" y="165"/>
                </a:lnTo>
                <a:lnTo>
                  <a:pt x="110" y="165"/>
                </a:lnTo>
                <a:lnTo>
                  <a:pt x="110" y="170"/>
                </a:lnTo>
                <a:lnTo>
                  <a:pt x="110" y="170"/>
                </a:lnTo>
                <a:lnTo>
                  <a:pt x="113" y="172"/>
                </a:lnTo>
                <a:lnTo>
                  <a:pt x="113" y="172"/>
                </a:lnTo>
                <a:lnTo>
                  <a:pt x="118" y="177"/>
                </a:lnTo>
                <a:lnTo>
                  <a:pt x="118" y="177"/>
                </a:lnTo>
                <a:lnTo>
                  <a:pt x="125" y="182"/>
                </a:lnTo>
                <a:lnTo>
                  <a:pt x="125" y="182"/>
                </a:lnTo>
                <a:lnTo>
                  <a:pt x="125" y="185"/>
                </a:lnTo>
                <a:lnTo>
                  <a:pt x="125" y="185"/>
                </a:lnTo>
                <a:lnTo>
                  <a:pt x="130" y="185"/>
                </a:lnTo>
                <a:lnTo>
                  <a:pt x="130" y="185"/>
                </a:lnTo>
                <a:lnTo>
                  <a:pt x="140" y="195"/>
                </a:lnTo>
                <a:lnTo>
                  <a:pt x="140" y="195"/>
                </a:lnTo>
                <a:lnTo>
                  <a:pt x="140" y="197"/>
                </a:lnTo>
                <a:lnTo>
                  <a:pt x="140" y="197"/>
                </a:lnTo>
                <a:lnTo>
                  <a:pt x="142" y="197"/>
                </a:lnTo>
                <a:lnTo>
                  <a:pt x="142" y="197"/>
                </a:lnTo>
                <a:lnTo>
                  <a:pt x="145" y="202"/>
                </a:lnTo>
                <a:lnTo>
                  <a:pt x="145" y="202"/>
                </a:lnTo>
                <a:lnTo>
                  <a:pt x="145" y="199"/>
                </a:lnTo>
                <a:lnTo>
                  <a:pt x="145" y="199"/>
                </a:lnTo>
                <a:lnTo>
                  <a:pt x="145" y="197"/>
                </a:lnTo>
                <a:lnTo>
                  <a:pt x="145" y="197"/>
                </a:lnTo>
                <a:lnTo>
                  <a:pt x="145" y="195"/>
                </a:lnTo>
                <a:lnTo>
                  <a:pt x="145" y="195"/>
                </a:lnTo>
                <a:lnTo>
                  <a:pt x="145" y="195"/>
                </a:lnTo>
                <a:lnTo>
                  <a:pt x="147" y="195"/>
                </a:lnTo>
                <a:lnTo>
                  <a:pt x="147" y="195"/>
                </a:lnTo>
                <a:lnTo>
                  <a:pt x="152" y="199"/>
                </a:lnTo>
                <a:lnTo>
                  <a:pt x="152" y="199"/>
                </a:lnTo>
                <a:lnTo>
                  <a:pt x="155" y="199"/>
                </a:lnTo>
                <a:lnTo>
                  <a:pt x="155" y="199"/>
                </a:lnTo>
                <a:lnTo>
                  <a:pt x="155" y="195"/>
                </a:lnTo>
                <a:lnTo>
                  <a:pt x="155" y="195"/>
                </a:lnTo>
                <a:lnTo>
                  <a:pt x="155" y="192"/>
                </a:lnTo>
                <a:lnTo>
                  <a:pt x="155" y="192"/>
                </a:lnTo>
                <a:lnTo>
                  <a:pt x="157" y="195"/>
                </a:lnTo>
                <a:lnTo>
                  <a:pt x="157" y="195"/>
                </a:lnTo>
                <a:lnTo>
                  <a:pt x="162" y="197"/>
                </a:lnTo>
                <a:lnTo>
                  <a:pt x="162" y="197"/>
                </a:lnTo>
                <a:lnTo>
                  <a:pt x="162" y="199"/>
                </a:lnTo>
                <a:lnTo>
                  <a:pt x="162" y="199"/>
                </a:lnTo>
                <a:lnTo>
                  <a:pt x="164" y="197"/>
                </a:lnTo>
                <a:lnTo>
                  <a:pt x="164" y="197"/>
                </a:lnTo>
                <a:lnTo>
                  <a:pt x="164" y="190"/>
                </a:lnTo>
                <a:lnTo>
                  <a:pt x="164" y="190"/>
                </a:lnTo>
                <a:lnTo>
                  <a:pt x="167" y="182"/>
                </a:lnTo>
                <a:lnTo>
                  <a:pt x="167" y="182"/>
                </a:lnTo>
                <a:lnTo>
                  <a:pt x="164" y="175"/>
                </a:lnTo>
                <a:lnTo>
                  <a:pt x="164" y="175"/>
                </a:lnTo>
                <a:lnTo>
                  <a:pt x="167" y="170"/>
                </a:lnTo>
                <a:lnTo>
                  <a:pt x="167" y="170"/>
                </a:lnTo>
                <a:lnTo>
                  <a:pt x="164" y="168"/>
                </a:lnTo>
                <a:lnTo>
                  <a:pt x="164" y="168"/>
                </a:lnTo>
                <a:lnTo>
                  <a:pt x="167" y="163"/>
                </a:lnTo>
                <a:lnTo>
                  <a:pt x="167" y="163"/>
                </a:lnTo>
                <a:lnTo>
                  <a:pt x="169" y="160"/>
                </a:lnTo>
                <a:lnTo>
                  <a:pt x="169" y="160"/>
                </a:lnTo>
                <a:lnTo>
                  <a:pt x="169" y="158"/>
                </a:lnTo>
                <a:lnTo>
                  <a:pt x="169" y="158"/>
                </a:lnTo>
                <a:lnTo>
                  <a:pt x="169" y="155"/>
                </a:lnTo>
                <a:lnTo>
                  <a:pt x="169" y="155"/>
                </a:lnTo>
                <a:lnTo>
                  <a:pt x="167" y="155"/>
                </a:lnTo>
                <a:lnTo>
                  <a:pt x="167" y="155"/>
                </a:lnTo>
                <a:lnTo>
                  <a:pt x="164" y="153"/>
                </a:lnTo>
                <a:lnTo>
                  <a:pt x="164" y="153"/>
                </a:lnTo>
                <a:lnTo>
                  <a:pt x="162" y="148"/>
                </a:lnTo>
                <a:lnTo>
                  <a:pt x="162" y="148"/>
                </a:lnTo>
                <a:lnTo>
                  <a:pt x="162" y="148"/>
                </a:lnTo>
                <a:lnTo>
                  <a:pt x="160" y="145"/>
                </a:lnTo>
                <a:lnTo>
                  <a:pt x="160" y="145"/>
                </a:lnTo>
                <a:lnTo>
                  <a:pt x="157" y="145"/>
                </a:lnTo>
                <a:lnTo>
                  <a:pt x="157" y="145"/>
                </a:lnTo>
                <a:lnTo>
                  <a:pt x="152" y="145"/>
                </a:lnTo>
                <a:lnTo>
                  <a:pt x="152" y="145"/>
                </a:lnTo>
                <a:lnTo>
                  <a:pt x="150" y="145"/>
                </a:lnTo>
                <a:lnTo>
                  <a:pt x="150" y="145"/>
                </a:lnTo>
                <a:lnTo>
                  <a:pt x="150" y="140"/>
                </a:lnTo>
                <a:lnTo>
                  <a:pt x="150" y="140"/>
                </a:lnTo>
                <a:lnTo>
                  <a:pt x="147" y="138"/>
                </a:lnTo>
                <a:lnTo>
                  <a:pt x="147" y="138"/>
                </a:lnTo>
                <a:lnTo>
                  <a:pt x="145" y="138"/>
                </a:lnTo>
                <a:lnTo>
                  <a:pt x="145" y="138"/>
                </a:lnTo>
                <a:lnTo>
                  <a:pt x="147" y="136"/>
                </a:lnTo>
                <a:lnTo>
                  <a:pt x="147" y="136"/>
                </a:lnTo>
                <a:lnTo>
                  <a:pt x="145" y="131"/>
                </a:lnTo>
                <a:lnTo>
                  <a:pt x="145" y="131"/>
                </a:lnTo>
                <a:lnTo>
                  <a:pt x="145" y="123"/>
                </a:lnTo>
                <a:lnTo>
                  <a:pt x="145" y="123"/>
                </a:lnTo>
                <a:lnTo>
                  <a:pt x="142" y="126"/>
                </a:lnTo>
                <a:lnTo>
                  <a:pt x="142" y="126"/>
                </a:lnTo>
                <a:lnTo>
                  <a:pt x="140" y="123"/>
                </a:lnTo>
                <a:lnTo>
                  <a:pt x="140" y="123"/>
                </a:lnTo>
                <a:lnTo>
                  <a:pt x="132" y="123"/>
                </a:lnTo>
                <a:lnTo>
                  <a:pt x="132" y="123"/>
                </a:lnTo>
                <a:lnTo>
                  <a:pt x="128" y="121"/>
                </a:lnTo>
                <a:lnTo>
                  <a:pt x="128" y="121"/>
                </a:lnTo>
                <a:lnTo>
                  <a:pt x="128" y="118"/>
                </a:lnTo>
                <a:lnTo>
                  <a:pt x="128" y="118"/>
                </a:lnTo>
                <a:lnTo>
                  <a:pt x="132" y="116"/>
                </a:lnTo>
                <a:lnTo>
                  <a:pt x="132" y="116"/>
                </a:lnTo>
                <a:lnTo>
                  <a:pt x="135" y="113"/>
                </a:lnTo>
                <a:lnTo>
                  <a:pt x="135" y="113"/>
                </a:lnTo>
                <a:lnTo>
                  <a:pt x="132" y="113"/>
                </a:lnTo>
                <a:lnTo>
                  <a:pt x="132" y="113"/>
                </a:lnTo>
                <a:lnTo>
                  <a:pt x="130" y="113"/>
                </a:lnTo>
                <a:lnTo>
                  <a:pt x="130" y="113"/>
                </a:lnTo>
                <a:lnTo>
                  <a:pt x="128" y="113"/>
                </a:lnTo>
                <a:lnTo>
                  <a:pt x="128" y="113"/>
                </a:lnTo>
                <a:lnTo>
                  <a:pt x="125" y="113"/>
                </a:lnTo>
                <a:lnTo>
                  <a:pt x="125" y="113"/>
                </a:lnTo>
                <a:lnTo>
                  <a:pt x="128" y="111"/>
                </a:lnTo>
                <a:lnTo>
                  <a:pt x="128" y="111"/>
                </a:lnTo>
                <a:lnTo>
                  <a:pt x="130" y="108"/>
                </a:lnTo>
                <a:lnTo>
                  <a:pt x="130" y="108"/>
                </a:lnTo>
                <a:lnTo>
                  <a:pt x="135" y="108"/>
                </a:lnTo>
                <a:lnTo>
                  <a:pt x="135" y="108"/>
                </a:lnTo>
                <a:lnTo>
                  <a:pt x="135" y="106"/>
                </a:lnTo>
                <a:lnTo>
                  <a:pt x="135" y="106"/>
                </a:lnTo>
                <a:lnTo>
                  <a:pt x="130" y="101"/>
                </a:lnTo>
                <a:lnTo>
                  <a:pt x="130" y="101"/>
                </a:lnTo>
                <a:lnTo>
                  <a:pt x="128" y="101"/>
                </a:lnTo>
                <a:lnTo>
                  <a:pt x="128" y="101"/>
                </a:lnTo>
                <a:lnTo>
                  <a:pt x="123" y="101"/>
                </a:lnTo>
                <a:lnTo>
                  <a:pt x="123" y="101"/>
                </a:lnTo>
                <a:lnTo>
                  <a:pt x="120" y="104"/>
                </a:lnTo>
                <a:lnTo>
                  <a:pt x="120" y="104"/>
                </a:lnTo>
                <a:lnTo>
                  <a:pt x="115" y="104"/>
                </a:lnTo>
                <a:lnTo>
                  <a:pt x="115" y="104"/>
                </a:lnTo>
                <a:lnTo>
                  <a:pt x="118" y="104"/>
                </a:lnTo>
                <a:lnTo>
                  <a:pt x="118" y="104"/>
                </a:lnTo>
                <a:lnTo>
                  <a:pt x="120" y="104"/>
                </a:lnTo>
                <a:lnTo>
                  <a:pt x="120" y="104"/>
                </a:lnTo>
                <a:lnTo>
                  <a:pt x="120" y="101"/>
                </a:lnTo>
                <a:lnTo>
                  <a:pt x="120" y="101"/>
                </a:lnTo>
                <a:lnTo>
                  <a:pt x="123" y="101"/>
                </a:lnTo>
                <a:lnTo>
                  <a:pt x="123" y="101"/>
                </a:lnTo>
                <a:lnTo>
                  <a:pt x="123" y="99"/>
                </a:lnTo>
                <a:lnTo>
                  <a:pt x="123" y="99"/>
                </a:lnTo>
                <a:lnTo>
                  <a:pt x="118" y="96"/>
                </a:lnTo>
                <a:lnTo>
                  <a:pt x="118" y="96"/>
                </a:lnTo>
                <a:lnTo>
                  <a:pt x="113" y="96"/>
                </a:lnTo>
                <a:lnTo>
                  <a:pt x="113" y="96"/>
                </a:lnTo>
                <a:lnTo>
                  <a:pt x="108" y="94"/>
                </a:lnTo>
                <a:lnTo>
                  <a:pt x="108" y="94"/>
                </a:lnTo>
                <a:lnTo>
                  <a:pt x="108" y="91"/>
                </a:lnTo>
                <a:lnTo>
                  <a:pt x="108" y="91"/>
                </a:lnTo>
                <a:lnTo>
                  <a:pt x="108" y="86"/>
                </a:lnTo>
                <a:lnTo>
                  <a:pt x="108" y="86"/>
                </a:lnTo>
                <a:lnTo>
                  <a:pt x="103" y="81"/>
                </a:lnTo>
                <a:lnTo>
                  <a:pt x="103" y="81"/>
                </a:lnTo>
                <a:lnTo>
                  <a:pt x="100" y="81"/>
                </a:lnTo>
                <a:lnTo>
                  <a:pt x="100" y="81"/>
                </a:lnTo>
                <a:lnTo>
                  <a:pt x="98" y="81"/>
                </a:lnTo>
                <a:lnTo>
                  <a:pt x="98" y="81"/>
                </a:lnTo>
                <a:lnTo>
                  <a:pt x="96" y="79"/>
                </a:lnTo>
                <a:lnTo>
                  <a:pt x="96" y="79"/>
                </a:lnTo>
                <a:lnTo>
                  <a:pt x="96" y="74"/>
                </a:lnTo>
                <a:lnTo>
                  <a:pt x="96" y="74"/>
                </a:lnTo>
                <a:lnTo>
                  <a:pt x="91" y="69"/>
                </a:lnTo>
                <a:lnTo>
                  <a:pt x="91" y="69"/>
                </a:lnTo>
                <a:lnTo>
                  <a:pt x="86" y="67"/>
                </a:lnTo>
                <a:lnTo>
                  <a:pt x="86" y="67"/>
                </a:lnTo>
                <a:lnTo>
                  <a:pt x="81" y="67"/>
                </a:lnTo>
                <a:lnTo>
                  <a:pt x="81" y="67"/>
                </a:lnTo>
                <a:lnTo>
                  <a:pt x="81" y="67"/>
                </a:lnTo>
                <a:lnTo>
                  <a:pt x="78" y="67"/>
                </a:lnTo>
                <a:lnTo>
                  <a:pt x="78" y="67"/>
                </a:lnTo>
                <a:lnTo>
                  <a:pt x="78" y="62"/>
                </a:lnTo>
                <a:lnTo>
                  <a:pt x="78" y="62"/>
                </a:lnTo>
                <a:lnTo>
                  <a:pt x="76" y="64"/>
                </a:lnTo>
                <a:lnTo>
                  <a:pt x="76" y="64"/>
                </a:lnTo>
                <a:lnTo>
                  <a:pt x="73" y="62"/>
                </a:lnTo>
                <a:lnTo>
                  <a:pt x="73" y="62"/>
                </a:lnTo>
                <a:lnTo>
                  <a:pt x="73" y="57"/>
                </a:lnTo>
                <a:lnTo>
                  <a:pt x="73" y="57"/>
                </a:lnTo>
                <a:lnTo>
                  <a:pt x="71" y="54"/>
                </a:lnTo>
                <a:lnTo>
                  <a:pt x="71" y="54"/>
                </a:lnTo>
                <a:lnTo>
                  <a:pt x="69" y="52"/>
                </a:lnTo>
                <a:lnTo>
                  <a:pt x="69" y="52"/>
                </a:lnTo>
                <a:lnTo>
                  <a:pt x="66" y="52"/>
                </a:lnTo>
                <a:lnTo>
                  <a:pt x="66" y="52"/>
                </a:lnTo>
                <a:lnTo>
                  <a:pt x="56" y="45"/>
                </a:lnTo>
                <a:lnTo>
                  <a:pt x="56" y="45"/>
                </a:lnTo>
                <a:lnTo>
                  <a:pt x="54" y="45"/>
                </a:lnTo>
                <a:lnTo>
                  <a:pt x="54" y="45"/>
                </a:lnTo>
                <a:lnTo>
                  <a:pt x="51" y="40"/>
                </a:lnTo>
                <a:lnTo>
                  <a:pt x="51" y="40"/>
                </a:lnTo>
                <a:lnTo>
                  <a:pt x="46" y="40"/>
                </a:lnTo>
                <a:lnTo>
                  <a:pt x="46" y="40"/>
                </a:lnTo>
                <a:lnTo>
                  <a:pt x="46" y="37"/>
                </a:lnTo>
                <a:lnTo>
                  <a:pt x="46" y="37"/>
                </a:lnTo>
                <a:lnTo>
                  <a:pt x="44" y="32"/>
                </a:lnTo>
                <a:lnTo>
                  <a:pt x="44" y="32"/>
                </a:lnTo>
                <a:lnTo>
                  <a:pt x="41" y="30"/>
                </a:lnTo>
                <a:lnTo>
                  <a:pt x="41" y="30"/>
                </a:lnTo>
                <a:lnTo>
                  <a:pt x="39" y="27"/>
                </a:lnTo>
                <a:lnTo>
                  <a:pt x="39" y="27"/>
                </a:lnTo>
                <a:lnTo>
                  <a:pt x="39" y="27"/>
                </a:lnTo>
                <a:lnTo>
                  <a:pt x="37" y="22"/>
                </a:lnTo>
                <a:lnTo>
                  <a:pt x="37" y="22"/>
                </a:lnTo>
                <a:lnTo>
                  <a:pt x="34" y="22"/>
                </a:lnTo>
                <a:lnTo>
                  <a:pt x="34" y="22"/>
                </a:lnTo>
                <a:lnTo>
                  <a:pt x="29" y="22"/>
                </a:lnTo>
                <a:lnTo>
                  <a:pt x="29" y="22"/>
                </a:lnTo>
                <a:lnTo>
                  <a:pt x="27" y="22"/>
                </a:lnTo>
                <a:lnTo>
                  <a:pt x="27" y="22"/>
                </a:lnTo>
                <a:lnTo>
                  <a:pt x="27" y="20"/>
                </a:lnTo>
                <a:lnTo>
                  <a:pt x="27" y="20"/>
                </a:lnTo>
                <a:lnTo>
                  <a:pt x="22" y="20"/>
                </a:lnTo>
                <a:lnTo>
                  <a:pt x="22" y="20"/>
                </a:lnTo>
                <a:lnTo>
                  <a:pt x="17" y="22"/>
                </a:lnTo>
                <a:lnTo>
                  <a:pt x="17" y="22"/>
                </a:lnTo>
                <a:lnTo>
                  <a:pt x="14" y="20"/>
                </a:lnTo>
                <a:lnTo>
                  <a:pt x="14" y="20"/>
                </a:lnTo>
                <a:lnTo>
                  <a:pt x="9" y="15"/>
                </a:lnTo>
                <a:lnTo>
                  <a:pt x="9" y="15"/>
                </a:lnTo>
                <a:lnTo>
                  <a:pt x="2" y="15"/>
                </a:lnTo>
                <a:lnTo>
                  <a:pt x="0"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8" name="Freeform 27"/>
          <p:cNvSpPr>
            <a:spLocks noEditPoints="1"/>
          </p:cNvSpPr>
          <p:nvPr/>
        </p:nvSpPr>
        <p:spPr bwMode="auto">
          <a:xfrm>
            <a:off x="7887096" y="4667492"/>
            <a:ext cx="81548" cy="23041"/>
          </a:xfrm>
          <a:custGeom>
            <a:avLst/>
            <a:gdLst/>
            <a:ahLst/>
            <a:cxnLst>
              <a:cxn ang="0">
                <a:pos x="0" y="12"/>
              </a:cxn>
              <a:cxn ang="0">
                <a:pos x="3" y="15"/>
              </a:cxn>
              <a:cxn ang="0">
                <a:pos x="5" y="12"/>
              </a:cxn>
              <a:cxn ang="0">
                <a:pos x="8" y="12"/>
              </a:cxn>
              <a:cxn ang="0">
                <a:pos x="8" y="10"/>
              </a:cxn>
              <a:cxn ang="0">
                <a:pos x="8" y="10"/>
              </a:cxn>
              <a:cxn ang="0">
                <a:pos x="3" y="10"/>
              </a:cxn>
              <a:cxn ang="0">
                <a:pos x="0" y="12"/>
              </a:cxn>
              <a:cxn ang="0">
                <a:pos x="0" y="12"/>
              </a:cxn>
              <a:cxn ang="0">
                <a:pos x="0" y="12"/>
              </a:cxn>
              <a:cxn ang="0">
                <a:pos x="13" y="7"/>
              </a:cxn>
              <a:cxn ang="0">
                <a:pos x="15" y="12"/>
              </a:cxn>
              <a:cxn ang="0">
                <a:pos x="20" y="15"/>
              </a:cxn>
              <a:cxn ang="0">
                <a:pos x="20" y="15"/>
              </a:cxn>
              <a:cxn ang="0">
                <a:pos x="23" y="12"/>
              </a:cxn>
              <a:cxn ang="0">
                <a:pos x="25" y="10"/>
              </a:cxn>
              <a:cxn ang="0">
                <a:pos x="28" y="10"/>
              </a:cxn>
              <a:cxn ang="0">
                <a:pos x="35" y="10"/>
              </a:cxn>
              <a:cxn ang="0">
                <a:pos x="40" y="7"/>
              </a:cxn>
              <a:cxn ang="0">
                <a:pos x="45" y="5"/>
              </a:cxn>
              <a:cxn ang="0">
                <a:pos x="45" y="5"/>
              </a:cxn>
              <a:cxn ang="0">
                <a:pos x="47" y="5"/>
              </a:cxn>
              <a:cxn ang="0">
                <a:pos x="50" y="2"/>
              </a:cxn>
              <a:cxn ang="0">
                <a:pos x="50" y="0"/>
              </a:cxn>
              <a:cxn ang="0">
                <a:pos x="47" y="0"/>
              </a:cxn>
              <a:cxn ang="0">
                <a:pos x="42" y="0"/>
              </a:cxn>
              <a:cxn ang="0">
                <a:pos x="40" y="0"/>
              </a:cxn>
              <a:cxn ang="0">
                <a:pos x="35" y="0"/>
              </a:cxn>
              <a:cxn ang="0">
                <a:pos x="32" y="0"/>
              </a:cxn>
              <a:cxn ang="0">
                <a:pos x="28" y="2"/>
              </a:cxn>
              <a:cxn ang="0">
                <a:pos x="23" y="2"/>
              </a:cxn>
              <a:cxn ang="0">
                <a:pos x="18" y="5"/>
              </a:cxn>
              <a:cxn ang="0">
                <a:pos x="13" y="7"/>
              </a:cxn>
              <a:cxn ang="0">
                <a:pos x="13" y="7"/>
              </a:cxn>
            </a:cxnLst>
            <a:rect l="0" t="0" r="r" b="b"/>
            <a:pathLst>
              <a:path w="50" h="15">
                <a:moveTo>
                  <a:pt x="0" y="12"/>
                </a:moveTo>
                <a:lnTo>
                  <a:pt x="3" y="15"/>
                </a:lnTo>
                <a:lnTo>
                  <a:pt x="5" y="12"/>
                </a:lnTo>
                <a:lnTo>
                  <a:pt x="8" y="12"/>
                </a:lnTo>
                <a:lnTo>
                  <a:pt x="8" y="10"/>
                </a:lnTo>
                <a:lnTo>
                  <a:pt x="8" y="10"/>
                </a:lnTo>
                <a:lnTo>
                  <a:pt x="3" y="10"/>
                </a:lnTo>
                <a:lnTo>
                  <a:pt x="0" y="12"/>
                </a:lnTo>
                <a:lnTo>
                  <a:pt x="0" y="12"/>
                </a:lnTo>
                <a:lnTo>
                  <a:pt x="0" y="12"/>
                </a:lnTo>
                <a:close/>
                <a:moveTo>
                  <a:pt x="13" y="7"/>
                </a:moveTo>
                <a:lnTo>
                  <a:pt x="15" y="12"/>
                </a:lnTo>
                <a:lnTo>
                  <a:pt x="20" y="15"/>
                </a:lnTo>
                <a:lnTo>
                  <a:pt x="20" y="15"/>
                </a:lnTo>
                <a:lnTo>
                  <a:pt x="23" y="12"/>
                </a:lnTo>
                <a:lnTo>
                  <a:pt x="25" y="10"/>
                </a:lnTo>
                <a:lnTo>
                  <a:pt x="28" y="10"/>
                </a:lnTo>
                <a:lnTo>
                  <a:pt x="35" y="10"/>
                </a:lnTo>
                <a:lnTo>
                  <a:pt x="40" y="7"/>
                </a:lnTo>
                <a:lnTo>
                  <a:pt x="45" y="5"/>
                </a:lnTo>
                <a:lnTo>
                  <a:pt x="45" y="5"/>
                </a:lnTo>
                <a:lnTo>
                  <a:pt x="47" y="5"/>
                </a:lnTo>
                <a:lnTo>
                  <a:pt x="50" y="2"/>
                </a:lnTo>
                <a:lnTo>
                  <a:pt x="50" y="0"/>
                </a:lnTo>
                <a:lnTo>
                  <a:pt x="47" y="0"/>
                </a:lnTo>
                <a:lnTo>
                  <a:pt x="42" y="0"/>
                </a:lnTo>
                <a:lnTo>
                  <a:pt x="40" y="0"/>
                </a:lnTo>
                <a:lnTo>
                  <a:pt x="35" y="0"/>
                </a:lnTo>
                <a:lnTo>
                  <a:pt x="32" y="0"/>
                </a:lnTo>
                <a:lnTo>
                  <a:pt x="28" y="2"/>
                </a:lnTo>
                <a:lnTo>
                  <a:pt x="23" y="2"/>
                </a:lnTo>
                <a:lnTo>
                  <a:pt x="18" y="5"/>
                </a:lnTo>
                <a:lnTo>
                  <a:pt x="13" y="7"/>
                </a:lnTo>
                <a:lnTo>
                  <a:pt x="13"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 name="Freeform 29"/>
          <p:cNvSpPr>
            <a:spLocks noEditPoints="1"/>
          </p:cNvSpPr>
          <p:nvPr/>
        </p:nvSpPr>
        <p:spPr bwMode="auto">
          <a:xfrm>
            <a:off x="7285272" y="4274267"/>
            <a:ext cx="486026" cy="158212"/>
          </a:xfrm>
          <a:custGeom>
            <a:avLst/>
            <a:gdLst/>
            <a:ahLst/>
            <a:cxnLst>
              <a:cxn ang="0">
                <a:pos x="180" y="76"/>
              </a:cxn>
              <a:cxn ang="0">
                <a:pos x="3" y="32"/>
              </a:cxn>
              <a:cxn ang="0">
                <a:pos x="0" y="27"/>
              </a:cxn>
              <a:cxn ang="0">
                <a:pos x="160" y="96"/>
              </a:cxn>
              <a:cxn ang="0">
                <a:pos x="173" y="103"/>
              </a:cxn>
              <a:cxn ang="0">
                <a:pos x="195" y="98"/>
              </a:cxn>
              <a:cxn ang="0">
                <a:pos x="214" y="98"/>
              </a:cxn>
              <a:cxn ang="0">
                <a:pos x="237" y="76"/>
              </a:cxn>
              <a:cxn ang="0">
                <a:pos x="246" y="49"/>
              </a:cxn>
              <a:cxn ang="0">
                <a:pos x="264" y="49"/>
              </a:cxn>
              <a:cxn ang="0">
                <a:pos x="278" y="52"/>
              </a:cxn>
              <a:cxn ang="0">
                <a:pos x="281" y="39"/>
              </a:cxn>
              <a:cxn ang="0">
                <a:pos x="298" y="32"/>
              </a:cxn>
              <a:cxn ang="0">
                <a:pos x="283" y="25"/>
              </a:cxn>
              <a:cxn ang="0">
                <a:pos x="278" y="22"/>
              </a:cxn>
              <a:cxn ang="0">
                <a:pos x="271" y="20"/>
              </a:cxn>
              <a:cxn ang="0">
                <a:pos x="266" y="12"/>
              </a:cxn>
              <a:cxn ang="0">
                <a:pos x="259" y="12"/>
              </a:cxn>
              <a:cxn ang="0">
                <a:pos x="254" y="12"/>
              </a:cxn>
              <a:cxn ang="0">
                <a:pos x="242" y="32"/>
              </a:cxn>
              <a:cxn ang="0">
                <a:pos x="237" y="37"/>
              </a:cxn>
              <a:cxn ang="0">
                <a:pos x="237" y="42"/>
              </a:cxn>
              <a:cxn ang="0">
                <a:pos x="234" y="42"/>
              </a:cxn>
              <a:cxn ang="0">
                <a:pos x="232" y="49"/>
              </a:cxn>
              <a:cxn ang="0">
                <a:pos x="219" y="42"/>
              </a:cxn>
              <a:cxn ang="0">
                <a:pos x="207" y="59"/>
              </a:cxn>
              <a:cxn ang="0">
                <a:pos x="185" y="74"/>
              </a:cxn>
              <a:cxn ang="0">
                <a:pos x="180" y="81"/>
              </a:cxn>
              <a:cxn ang="0">
                <a:pos x="175" y="96"/>
              </a:cxn>
              <a:cxn ang="0">
                <a:pos x="153" y="89"/>
              </a:cxn>
              <a:cxn ang="0">
                <a:pos x="259" y="2"/>
              </a:cxn>
              <a:cxn ang="0">
                <a:pos x="261" y="0"/>
              </a:cxn>
              <a:cxn ang="0">
                <a:pos x="266" y="0"/>
              </a:cxn>
              <a:cxn ang="0">
                <a:pos x="178" y="81"/>
              </a:cxn>
              <a:cxn ang="0">
                <a:pos x="182" y="79"/>
              </a:cxn>
              <a:cxn ang="0">
                <a:pos x="182" y="79"/>
              </a:cxn>
              <a:cxn ang="0">
                <a:pos x="180" y="76"/>
              </a:cxn>
              <a:cxn ang="0">
                <a:pos x="185" y="74"/>
              </a:cxn>
              <a:cxn ang="0">
                <a:pos x="8" y="10"/>
              </a:cxn>
              <a:cxn ang="0">
                <a:pos x="18" y="20"/>
              </a:cxn>
              <a:cxn ang="0">
                <a:pos x="25" y="22"/>
              </a:cxn>
              <a:cxn ang="0">
                <a:pos x="30" y="20"/>
              </a:cxn>
              <a:cxn ang="0">
                <a:pos x="50" y="32"/>
              </a:cxn>
              <a:cxn ang="0">
                <a:pos x="52" y="54"/>
              </a:cxn>
              <a:cxn ang="0">
                <a:pos x="59" y="74"/>
              </a:cxn>
              <a:cxn ang="0">
                <a:pos x="64" y="84"/>
              </a:cxn>
              <a:cxn ang="0">
                <a:pos x="69" y="96"/>
              </a:cxn>
              <a:cxn ang="0">
                <a:pos x="64" y="91"/>
              </a:cxn>
              <a:cxn ang="0">
                <a:pos x="62" y="96"/>
              </a:cxn>
              <a:cxn ang="0">
                <a:pos x="50" y="91"/>
              </a:cxn>
              <a:cxn ang="0">
                <a:pos x="37" y="86"/>
              </a:cxn>
              <a:cxn ang="0">
                <a:pos x="23" y="71"/>
              </a:cxn>
              <a:cxn ang="0">
                <a:pos x="18" y="59"/>
              </a:cxn>
              <a:cxn ang="0">
                <a:pos x="8" y="47"/>
              </a:cxn>
              <a:cxn ang="0">
                <a:pos x="5" y="20"/>
              </a:cxn>
            </a:cxnLst>
            <a:rect l="0" t="0" r="r" b="b"/>
            <a:pathLst>
              <a:path w="298" h="103">
                <a:moveTo>
                  <a:pt x="180" y="76"/>
                </a:moveTo>
                <a:lnTo>
                  <a:pt x="180" y="79"/>
                </a:lnTo>
                <a:lnTo>
                  <a:pt x="180" y="79"/>
                </a:lnTo>
                <a:lnTo>
                  <a:pt x="180" y="76"/>
                </a:lnTo>
                <a:lnTo>
                  <a:pt x="180" y="76"/>
                </a:lnTo>
                <a:lnTo>
                  <a:pt x="180" y="76"/>
                </a:lnTo>
                <a:lnTo>
                  <a:pt x="180" y="76"/>
                </a:lnTo>
                <a:lnTo>
                  <a:pt x="180" y="76"/>
                </a:lnTo>
                <a:close/>
                <a:moveTo>
                  <a:pt x="0" y="27"/>
                </a:moveTo>
                <a:lnTo>
                  <a:pt x="3" y="32"/>
                </a:lnTo>
                <a:lnTo>
                  <a:pt x="3" y="32"/>
                </a:lnTo>
                <a:lnTo>
                  <a:pt x="5" y="32"/>
                </a:lnTo>
                <a:lnTo>
                  <a:pt x="5" y="29"/>
                </a:lnTo>
                <a:lnTo>
                  <a:pt x="3" y="27"/>
                </a:lnTo>
                <a:lnTo>
                  <a:pt x="0" y="27"/>
                </a:lnTo>
                <a:lnTo>
                  <a:pt x="0" y="27"/>
                </a:lnTo>
                <a:lnTo>
                  <a:pt x="0" y="27"/>
                </a:lnTo>
                <a:close/>
                <a:moveTo>
                  <a:pt x="153" y="89"/>
                </a:moveTo>
                <a:lnTo>
                  <a:pt x="155" y="93"/>
                </a:lnTo>
                <a:lnTo>
                  <a:pt x="160" y="96"/>
                </a:lnTo>
                <a:lnTo>
                  <a:pt x="160" y="98"/>
                </a:lnTo>
                <a:lnTo>
                  <a:pt x="163" y="101"/>
                </a:lnTo>
                <a:lnTo>
                  <a:pt x="165" y="103"/>
                </a:lnTo>
                <a:lnTo>
                  <a:pt x="168" y="103"/>
                </a:lnTo>
                <a:lnTo>
                  <a:pt x="173" y="103"/>
                </a:lnTo>
                <a:lnTo>
                  <a:pt x="173" y="101"/>
                </a:lnTo>
                <a:lnTo>
                  <a:pt x="175" y="101"/>
                </a:lnTo>
                <a:lnTo>
                  <a:pt x="178" y="101"/>
                </a:lnTo>
                <a:lnTo>
                  <a:pt x="187" y="101"/>
                </a:lnTo>
                <a:lnTo>
                  <a:pt x="195" y="98"/>
                </a:lnTo>
                <a:lnTo>
                  <a:pt x="197" y="96"/>
                </a:lnTo>
                <a:lnTo>
                  <a:pt x="205" y="96"/>
                </a:lnTo>
                <a:lnTo>
                  <a:pt x="210" y="96"/>
                </a:lnTo>
                <a:lnTo>
                  <a:pt x="210" y="98"/>
                </a:lnTo>
                <a:lnTo>
                  <a:pt x="214" y="98"/>
                </a:lnTo>
                <a:lnTo>
                  <a:pt x="219" y="96"/>
                </a:lnTo>
                <a:lnTo>
                  <a:pt x="227" y="93"/>
                </a:lnTo>
                <a:lnTo>
                  <a:pt x="227" y="91"/>
                </a:lnTo>
                <a:lnTo>
                  <a:pt x="234" y="84"/>
                </a:lnTo>
                <a:lnTo>
                  <a:pt x="237" y="76"/>
                </a:lnTo>
                <a:lnTo>
                  <a:pt x="242" y="69"/>
                </a:lnTo>
                <a:lnTo>
                  <a:pt x="244" y="57"/>
                </a:lnTo>
                <a:lnTo>
                  <a:pt x="244" y="54"/>
                </a:lnTo>
                <a:lnTo>
                  <a:pt x="246" y="52"/>
                </a:lnTo>
                <a:lnTo>
                  <a:pt x="246" y="49"/>
                </a:lnTo>
                <a:lnTo>
                  <a:pt x="249" y="47"/>
                </a:lnTo>
                <a:lnTo>
                  <a:pt x="251" y="47"/>
                </a:lnTo>
                <a:lnTo>
                  <a:pt x="256" y="47"/>
                </a:lnTo>
                <a:lnTo>
                  <a:pt x="264" y="47"/>
                </a:lnTo>
                <a:lnTo>
                  <a:pt x="264" y="49"/>
                </a:lnTo>
                <a:lnTo>
                  <a:pt x="269" y="49"/>
                </a:lnTo>
                <a:lnTo>
                  <a:pt x="271" y="49"/>
                </a:lnTo>
                <a:lnTo>
                  <a:pt x="274" y="47"/>
                </a:lnTo>
                <a:lnTo>
                  <a:pt x="276" y="49"/>
                </a:lnTo>
                <a:lnTo>
                  <a:pt x="278" y="52"/>
                </a:lnTo>
                <a:lnTo>
                  <a:pt x="281" y="49"/>
                </a:lnTo>
                <a:lnTo>
                  <a:pt x="286" y="49"/>
                </a:lnTo>
                <a:lnTo>
                  <a:pt x="286" y="47"/>
                </a:lnTo>
                <a:lnTo>
                  <a:pt x="281" y="44"/>
                </a:lnTo>
                <a:lnTo>
                  <a:pt x="281" y="39"/>
                </a:lnTo>
                <a:lnTo>
                  <a:pt x="283" y="37"/>
                </a:lnTo>
                <a:lnTo>
                  <a:pt x="291" y="39"/>
                </a:lnTo>
                <a:lnTo>
                  <a:pt x="296" y="37"/>
                </a:lnTo>
                <a:lnTo>
                  <a:pt x="298" y="34"/>
                </a:lnTo>
                <a:lnTo>
                  <a:pt x="298" y="32"/>
                </a:lnTo>
                <a:lnTo>
                  <a:pt x="296" y="32"/>
                </a:lnTo>
                <a:lnTo>
                  <a:pt x="291" y="32"/>
                </a:lnTo>
                <a:lnTo>
                  <a:pt x="288" y="29"/>
                </a:lnTo>
                <a:lnTo>
                  <a:pt x="286" y="29"/>
                </a:lnTo>
                <a:lnTo>
                  <a:pt x="283" y="25"/>
                </a:lnTo>
                <a:lnTo>
                  <a:pt x="281" y="25"/>
                </a:lnTo>
                <a:lnTo>
                  <a:pt x="278" y="27"/>
                </a:lnTo>
                <a:lnTo>
                  <a:pt x="276" y="27"/>
                </a:lnTo>
                <a:lnTo>
                  <a:pt x="281" y="25"/>
                </a:lnTo>
                <a:lnTo>
                  <a:pt x="278" y="22"/>
                </a:lnTo>
                <a:lnTo>
                  <a:pt x="276" y="22"/>
                </a:lnTo>
                <a:lnTo>
                  <a:pt x="274" y="25"/>
                </a:lnTo>
                <a:lnTo>
                  <a:pt x="274" y="25"/>
                </a:lnTo>
                <a:lnTo>
                  <a:pt x="271" y="22"/>
                </a:lnTo>
                <a:lnTo>
                  <a:pt x="271" y="20"/>
                </a:lnTo>
                <a:lnTo>
                  <a:pt x="276" y="17"/>
                </a:lnTo>
                <a:lnTo>
                  <a:pt x="274" y="15"/>
                </a:lnTo>
                <a:lnTo>
                  <a:pt x="271" y="12"/>
                </a:lnTo>
                <a:lnTo>
                  <a:pt x="269" y="15"/>
                </a:lnTo>
                <a:lnTo>
                  <a:pt x="266" y="12"/>
                </a:lnTo>
                <a:lnTo>
                  <a:pt x="266" y="7"/>
                </a:lnTo>
                <a:lnTo>
                  <a:pt x="264" y="5"/>
                </a:lnTo>
                <a:lnTo>
                  <a:pt x="261" y="5"/>
                </a:lnTo>
                <a:lnTo>
                  <a:pt x="264" y="10"/>
                </a:lnTo>
                <a:lnTo>
                  <a:pt x="259" y="12"/>
                </a:lnTo>
                <a:lnTo>
                  <a:pt x="259" y="12"/>
                </a:lnTo>
                <a:lnTo>
                  <a:pt x="259" y="10"/>
                </a:lnTo>
                <a:lnTo>
                  <a:pt x="259" y="7"/>
                </a:lnTo>
                <a:lnTo>
                  <a:pt x="256" y="7"/>
                </a:lnTo>
                <a:lnTo>
                  <a:pt x="254" y="12"/>
                </a:lnTo>
                <a:lnTo>
                  <a:pt x="251" y="15"/>
                </a:lnTo>
                <a:lnTo>
                  <a:pt x="249" y="22"/>
                </a:lnTo>
                <a:lnTo>
                  <a:pt x="249" y="25"/>
                </a:lnTo>
                <a:lnTo>
                  <a:pt x="244" y="32"/>
                </a:lnTo>
                <a:lnTo>
                  <a:pt x="242" y="32"/>
                </a:lnTo>
                <a:lnTo>
                  <a:pt x="237" y="32"/>
                </a:lnTo>
                <a:lnTo>
                  <a:pt x="234" y="34"/>
                </a:lnTo>
                <a:lnTo>
                  <a:pt x="237" y="34"/>
                </a:lnTo>
                <a:lnTo>
                  <a:pt x="234" y="37"/>
                </a:lnTo>
                <a:lnTo>
                  <a:pt x="237" y="37"/>
                </a:lnTo>
                <a:lnTo>
                  <a:pt x="239" y="37"/>
                </a:lnTo>
                <a:lnTo>
                  <a:pt x="239" y="37"/>
                </a:lnTo>
                <a:lnTo>
                  <a:pt x="237" y="39"/>
                </a:lnTo>
                <a:lnTo>
                  <a:pt x="237" y="39"/>
                </a:lnTo>
                <a:lnTo>
                  <a:pt x="237" y="42"/>
                </a:lnTo>
                <a:lnTo>
                  <a:pt x="239" y="47"/>
                </a:lnTo>
                <a:lnTo>
                  <a:pt x="237" y="49"/>
                </a:lnTo>
                <a:lnTo>
                  <a:pt x="234" y="47"/>
                </a:lnTo>
                <a:lnTo>
                  <a:pt x="234" y="44"/>
                </a:lnTo>
                <a:lnTo>
                  <a:pt x="234" y="42"/>
                </a:lnTo>
                <a:lnTo>
                  <a:pt x="234" y="42"/>
                </a:lnTo>
                <a:lnTo>
                  <a:pt x="234" y="42"/>
                </a:lnTo>
                <a:lnTo>
                  <a:pt x="232" y="42"/>
                </a:lnTo>
                <a:lnTo>
                  <a:pt x="229" y="44"/>
                </a:lnTo>
                <a:lnTo>
                  <a:pt x="232" y="49"/>
                </a:lnTo>
                <a:lnTo>
                  <a:pt x="229" y="52"/>
                </a:lnTo>
                <a:lnTo>
                  <a:pt x="227" y="49"/>
                </a:lnTo>
                <a:lnTo>
                  <a:pt x="224" y="44"/>
                </a:lnTo>
                <a:lnTo>
                  <a:pt x="222" y="44"/>
                </a:lnTo>
                <a:lnTo>
                  <a:pt x="219" y="42"/>
                </a:lnTo>
                <a:lnTo>
                  <a:pt x="217" y="47"/>
                </a:lnTo>
                <a:lnTo>
                  <a:pt x="217" y="49"/>
                </a:lnTo>
                <a:lnTo>
                  <a:pt x="214" y="52"/>
                </a:lnTo>
                <a:lnTo>
                  <a:pt x="212" y="57"/>
                </a:lnTo>
                <a:lnTo>
                  <a:pt x="207" y="59"/>
                </a:lnTo>
                <a:lnTo>
                  <a:pt x="207" y="64"/>
                </a:lnTo>
                <a:lnTo>
                  <a:pt x="202" y="66"/>
                </a:lnTo>
                <a:lnTo>
                  <a:pt x="200" y="71"/>
                </a:lnTo>
                <a:lnTo>
                  <a:pt x="187" y="74"/>
                </a:lnTo>
                <a:lnTo>
                  <a:pt x="185" y="74"/>
                </a:lnTo>
                <a:lnTo>
                  <a:pt x="185" y="79"/>
                </a:lnTo>
                <a:lnTo>
                  <a:pt x="187" y="81"/>
                </a:lnTo>
                <a:lnTo>
                  <a:pt x="185" y="79"/>
                </a:lnTo>
                <a:lnTo>
                  <a:pt x="182" y="81"/>
                </a:lnTo>
                <a:lnTo>
                  <a:pt x="180" y="81"/>
                </a:lnTo>
                <a:lnTo>
                  <a:pt x="178" y="84"/>
                </a:lnTo>
                <a:lnTo>
                  <a:pt x="178" y="86"/>
                </a:lnTo>
                <a:lnTo>
                  <a:pt x="178" y="91"/>
                </a:lnTo>
                <a:lnTo>
                  <a:pt x="175" y="93"/>
                </a:lnTo>
                <a:lnTo>
                  <a:pt x="175" y="96"/>
                </a:lnTo>
                <a:lnTo>
                  <a:pt x="168" y="96"/>
                </a:lnTo>
                <a:lnTo>
                  <a:pt x="163" y="93"/>
                </a:lnTo>
                <a:lnTo>
                  <a:pt x="158" y="93"/>
                </a:lnTo>
                <a:lnTo>
                  <a:pt x="155" y="91"/>
                </a:lnTo>
                <a:lnTo>
                  <a:pt x="153" y="89"/>
                </a:lnTo>
                <a:lnTo>
                  <a:pt x="153" y="89"/>
                </a:lnTo>
                <a:lnTo>
                  <a:pt x="153" y="89"/>
                </a:lnTo>
                <a:lnTo>
                  <a:pt x="153" y="89"/>
                </a:lnTo>
                <a:close/>
                <a:moveTo>
                  <a:pt x="261" y="0"/>
                </a:moveTo>
                <a:lnTo>
                  <a:pt x="259" y="2"/>
                </a:lnTo>
                <a:lnTo>
                  <a:pt x="259" y="2"/>
                </a:lnTo>
                <a:lnTo>
                  <a:pt x="261" y="0"/>
                </a:lnTo>
                <a:lnTo>
                  <a:pt x="261" y="0"/>
                </a:lnTo>
                <a:lnTo>
                  <a:pt x="261" y="0"/>
                </a:lnTo>
                <a:lnTo>
                  <a:pt x="261" y="0"/>
                </a:lnTo>
                <a:close/>
                <a:moveTo>
                  <a:pt x="266" y="0"/>
                </a:moveTo>
                <a:lnTo>
                  <a:pt x="264" y="2"/>
                </a:lnTo>
                <a:lnTo>
                  <a:pt x="264" y="2"/>
                </a:lnTo>
                <a:lnTo>
                  <a:pt x="266" y="2"/>
                </a:lnTo>
                <a:lnTo>
                  <a:pt x="266" y="0"/>
                </a:lnTo>
                <a:lnTo>
                  <a:pt x="266" y="0"/>
                </a:lnTo>
                <a:lnTo>
                  <a:pt x="266" y="0"/>
                </a:lnTo>
                <a:lnTo>
                  <a:pt x="266" y="0"/>
                </a:lnTo>
                <a:close/>
                <a:moveTo>
                  <a:pt x="180" y="81"/>
                </a:moveTo>
                <a:lnTo>
                  <a:pt x="178" y="81"/>
                </a:lnTo>
                <a:lnTo>
                  <a:pt x="180" y="79"/>
                </a:lnTo>
                <a:lnTo>
                  <a:pt x="180" y="81"/>
                </a:lnTo>
                <a:lnTo>
                  <a:pt x="180" y="81"/>
                </a:lnTo>
                <a:lnTo>
                  <a:pt x="180" y="81"/>
                </a:lnTo>
                <a:close/>
                <a:moveTo>
                  <a:pt x="182" y="79"/>
                </a:moveTo>
                <a:lnTo>
                  <a:pt x="180" y="81"/>
                </a:lnTo>
                <a:lnTo>
                  <a:pt x="180" y="79"/>
                </a:lnTo>
                <a:lnTo>
                  <a:pt x="180" y="79"/>
                </a:lnTo>
                <a:lnTo>
                  <a:pt x="182" y="79"/>
                </a:lnTo>
                <a:lnTo>
                  <a:pt x="182" y="79"/>
                </a:lnTo>
                <a:lnTo>
                  <a:pt x="182" y="79"/>
                </a:lnTo>
                <a:close/>
                <a:moveTo>
                  <a:pt x="185" y="74"/>
                </a:moveTo>
                <a:lnTo>
                  <a:pt x="185" y="79"/>
                </a:lnTo>
                <a:lnTo>
                  <a:pt x="182" y="79"/>
                </a:lnTo>
                <a:lnTo>
                  <a:pt x="180" y="76"/>
                </a:lnTo>
                <a:lnTo>
                  <a:pt x="180" y="76"/>
                </a:lnTo>
                <a:lnTo>
                  <a:pt x="182" y="76"/>
                </a:lnTo>
                <a:lnTo>
                  <a:pt x="182" y="76"/>
                </a:lnTo>
                <a:lnTo>
                  <a:pt x="185" y="74"/>
                </a:lnTo>
                <a:lnTo>
                  <a:pt x="185" y="74"/>
                </a:lnTo>
                <a:lnTo>
                  <a:pt x="185" y="74"/>
                </a:lnTo>
                <a:close/>
                <a:moveTo>
                  <a:pt x="3" y="15"/>
                </a:moveTo>
                <a:lnTo>
                  <a:pt x="3" y="10"/>
                </a:lnTo>
                <a:lnTo>
                  <a:pt x="5" y="7"/>
                </a:lnTo>
                <a:lnTo>
                  <a:pt x="8" y="10"/>
                </a:lnTo>
                <a:lnTo>
                  <a:pt x="13" y="12"/>
                </a:lnTo>
                <a:lnTo>
                  <a:pt x="13" y="15"/>
                </a:lnTo>
                <a:lnTo>
                  <a:pt x="15" y="15"/>
                </a:lnTo>
                <a:lnTo>
                  <a:pt x="18" y="15"/>
                </a:lnTo>
                <a:lnTo>
                  <a:pt x="18" y="20"/>
                </a:lnTo>
                <a:lnTo>
                  <a:pt x="15" y="22"/>
                </a:lnTo>
                <a:lnTo>
                  <a:pt x="15" y="25"/>
                </a:lnTo>
                <a:lnTo>
                  <a:pt x="20" y="25"/>
                </a:lnTo>
                <a:lnTo>
                  <a:pt x="23" y="22"/>
                </a:lnTo>
                <a:lnTo>
                  <a:pt x="25" y="22"/>
                </a:lnTo>
                <a:lnTo>
                  <a:pt x="27" y="25"/>
                </a:lnTo>
                <a:lnTo>
                  <a:pt x="30" y="22"/>
                </a:lnTo>
                <a:lnTo>
                  <a:pt x="30" y="20"/>
                </a:lnTo>
                <a:lnTo>
                  <a:pt x="30" y="20"/>
                </a:lnTo>
                <a:lnTo>
                  <a:pt x="30" y="20"/>
                </a:lnTo>
                <a:lnTo>
                  <a:pt x="32" y="20"/>
                </a:lnTo>
                <a:lnTo>
                  <a:pt x="35" y="17"/>
                </a:lnTo>
                <a:lnTo>
                  <a:pt x="35" y="17"/>
                </a:lnTo>
                <a:lnTo>
                  <a:pt x="37" y="22"/>
                </a:lnTo>
                <a:lnTo>
                  <a:pt x="50" y="32"/>
                </a:lnTo>
                <a:lnTo>
                  <a:pt x="52" y="39"/>
                </a:lnTo>
                <a:lnTo>
                  <a:pt x="55" y="44"/>
                </a:lnTo>
                <a:lnTo>
                  <a:pt x="52" y="47"/>
                </a:lnTo>
                <a:lnTo>
                  <a:pt x="55" y="54"/>
                </a:lnTo>
                <a:lnTo>
                  <a:pt x="52" y="54"/>
                </a:lnTo>
                <a:lnTo>
                  <a:pt x="52" y="57"/>
                </a:lnTo>
                <a:lnTo>
                  <a:pt x="55" y="59"/>
                </a:lnTo>
                <a:lnTo>
                  <a:pt x="55" y="66"/>
                </a:lnTo>
                <a:lnTo>
                  <a:pt x="57" y="71"/>
                </a:lnTo>
                <a:lnTo>
                  <a:pt x="59" y="74"/>
                </a:lnTo>
                <a:lnTo>
                  <a:pt x="62" y="74"/>
                </a:lnTo>
                <a:lnTo>
                  <a:pt x="62" y="76"/>
                </a:lnTo>
                <a:lnTo>
                  <a:pt x="62" y="76"/>
                </a:lnTo>
                <a:lnTo>
                  <a:pt x="62" y="81"/>
                </a:lnTo>
                <a:lnTo>
                  <a:pt x="64" y="84"/>
                </a:lnTo>
                <a:lnTo>
                  <a:pt x="64" y="84"/>
                </a:lnTo>
                <a:lnTo>
                  <a:pt x="64" y="84"/>
                </a:lnTo>
                <a:lnTo>
                  <a:pt x="64" y="86"/>
                </a:lnTo>
                <a:lnTo>
                  <a:pt x="69" y="91"/>
                </a:lnTo>
                <a:lnTo>
                  <a:pt x="69" y="96"/>
                </a:lnTo>
                <a:lnTo>
                  <a:pt x="67" y="96"/>
                </a:lnTo>
                <a:lnTo>
                  <a:pt x="67" y="93"/>
                </a:lnTo>
                <a:lnTo>
                  <a:pt x="67" y="93"/>
                </a:lnTo>
                <a:lnTo>
                  <a:pt x="64" y="91"/>
                </a:lnTo>
                <a:lnTo>
                  <a:pt x="64" y="91"/>
                </a:lnTo>
                <a:lnTo>
                  <a:pt x="64" y="93"/>
                </a:lnTo>
                <a:lnTo>
                  <a:pt x="64" y="93"/>
                </a:lnTo>
                <a:lnTo>
                  <a:pt x="64" y="93"/>
                </a:lnTo>
                <a:lnTo>
                  <a:pt x="64" y="96"/>
                </a:lnTo>
                <a:lnTo>
                  <a:pt x="62" y="96"/>
                </a:lnTo>
                <a:lnTo>
                  <a:pt x="62" y="96"/>
                </a:lnTo>
                <a:lnTo>
                  <a:pt x="59" y="96"/>
                </a:lnTo>
                <a:lnTo>
                  <a:pt x="57" y="96"/>
                </a:lnTo>
                <a:lnTo>
                  <a:pt x="55" y="93"/>
                </a:lnTo>
                <a:lnTo>
                  <a:pt x="50" y="91"/>
                </a:lnTo>
                <a:lnTo>
                  <a:pt x="45" y="89"/>
                </a:lnTo>
                <a:lnTo>
                  <a:pt x="42" y="86"/>
                </a:lnTo>
                <a:lnTo>
                  <a:pt x="42" y="86"/>
                </a:lnTo>
                <a:lnTo>
                  <a:pt x="40" y="86"/>
                </a:lnTo>
                <a:lnTo>
                  <a:pt x="37" y="86"/>
                </a:lnTo>
                <a:lnTo>
                  <a:pt x="32" y="81"/>
                </a:lnTo>
                <a:lnTo>
                  <a:pt x="32" y="79"/>
                </a:lnTo>
                <a:lnTo>
                  <a:pt x="30" y="76"/>
                </a:lnTo>
                <a:lnTo>
                  <a:pt x="23" y="74"/>
                </a:lnTo>
                <a:lnTo>
                  <a:pt x="23" y="71"/>
                </a:lnTo>
                <a:lnTo>
                  <a:pt x="23" y="69"/>
                </a:lnTo>
                <a:lnTo>
                  <a:pt x="25" y="66"/>
                </a:lnTo>
                <a:lnTo>
                  <a:pt x="23" y="64"/>
                </a:lnTo>
                <a:lnTo>
                  <a:pt x="20" y="61"/>
                </a:lnTo>
                <a:lnTo>
                  <a:pt x="18" y="59"/>
                </a:lnTo>
                <a:lnTo>
                  <a:pt x="13" y="57"/>
                </a:lnTo>
                <a:lnTo>
                  <a:pt x="10" y="54"/>
                </a:lnTo>
                <a:lnTo>
                  <a:pt x="10" y="52"/>
                </a:lnTo>
                <a:lnTo>
                  <a:pt x="10" y="49"/>
                </a:lnTo>
                <a:lnTo>
                  <a:pt x="8" y="47"/>
                </a:lnTo>
                <a:lnTo>
                  <a:pt x="10" y="44"/>
                </a:lnTo>
                <a:lnTo>
                  <a:pt x="10" y="39"/>
                </a:lnTo>
                <a:lnTo>
                  <a:pt x="8" y="37"/>
                </a:lnTo>
                <a:lnTo>
                  <a:pt x="8" y="32"/>
                </a:lnTo>
                <a:lnTo>
                  <a:pt x="5" y="20"/>
                </a:lnTo>
                <a:lnTo>
                  <a:pt x="3" y="15"/>
                </a:lnTo>
                <a:lnTo>
                  <a:pt x="3" y="15"/>
                </a:lnTo>
                <a:close/>
              </a:path>
            </a:pathLst>
          </a:custGeom>
          <a:blipFill>
            <a:blip r:embed="rId7"/>
            <a:stretch>
              <a:fillRect l="-13776" t="-5091" r="13776" b="5091"/>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1" name="Freeform 30"/>
          <p:cNvSpPr>
            <a:spLocks noEditPoints="1"/>
          </p:cNvSpPr>
          <p:nvPr/>
        </p:nvSpPr>
        <p:spPr bwMode="auto">
          <a:xfrm>
            <a:off x="7642452" y="4331101"/>
            <a:ext cx="32620" cy="23041"/>
          </a:xfrm>
          <a:custGeom>
            <a:avLst/>
            <a:gdLst/>
            <a:ahLst/>
            <a:cxnLst>
              <a:cxn ang="0">
                <a:pos x="0" y="5"/>
              </a:cxn>
              <a:cxn ang="0">
                <a:pos x="3" y="7"/>
              </a:cxn>
              <a:cxn ang="0">
                <a:pos x="5" y="7"/>
              </a:cxn>
              <a:cxn ang="0">
                <a:pos x="8" y="12"/>
              </a:cxn>
              <a:cxn ang="0">
                <a:pos x="10" y="15"/>
              </a:cxn>
              <a:cxn ang="0">
                <a:pos x="13" y="12"/>
              </a:cxn>
              <a:cxn ang="0">
                <a:pos x="10" y="7"/>
              </a:cxn>
              <a:cxn ang="0">
                <a:pos x="13" y="5"/>
              </a:cxn>
              <a:cxn ang="0">
                <a:pos x="15" y="5"/>
              </a:cxn>
              <a:cxn ang="0">
                <a:pos x="15" y="2"/>
              </a:cxn>
              <a:cxn ang="0">
                <a:pos x="13" y="0"/>
              </a:cxn>
              <a:cxn ang="0">
                <a:pos x="10" y="0"/>
              </a:cxn>
              <a:cxn ang="0">
                <a:pos x="8" y="2"/>
              </a:cxn>
              <a:cxn ang="0">
                <a:pos x="0" y="5"/>
              </a:cxn>
              <a:cxn ang="0">
                <a:pos x="0" y="5"/>
              </a:cxn>
              <a:cxn ang="0">
                <a:pos x="0" y="5"/>
              </a:cxn>
              <a:cxn ang="0">
                <a:pos x="0" y="5"/>
              </a:cxn>
              <a:cxn ang="0">
                <a:pos x="15" y="5"/>
              </a:cxn>
              <a:cxn ang="0">
                <a:pos x="15" y="7"/>
              </a:cxn>
              <a:cxn ang="0">
                <a:pos x="15" y="10"/>
              </a:cxn>
              <a:cxn ang="0">
                <a:pos x="18" y="12"/>
              </a:cxn>
              <a:cxn ang="0">
                <a:pos x="20" y="10"/>
              </a:cxn>
              <a:cxn ang="0">
                <a:pos x="18" y="5"/>
              </a:cxn>
              <a:cxn ang="0">
                <a:pos x="18" y="2"/>
              </a:cxn>
              <a:cxn ang="0">
                <a:pos x="15" y="5"/>
              </a:cxn>
              <a:cxn ang="0">
                <a:pos x="15" y="5"/>
              </a:cxn>
              <a:cxn ang="0">
                <a:pos x="15" y="5"/>
              </a:cxn>
            </a:cxnLst>
            <a:rect l="0" t="0" r="r" b="b"/>
            <a:pathLst>
              <a:path w="20" h="15">
                <a:moveTo>
                  <a:pt x="0" y="5"/>
                </a:moveTo>
                <a:lnTo>
                  <a:pt x="3" y="7"/>
                </a:lnTo>
                <a:lnTo>
                  <a:pt x="5" y="7"/>
                </a:lnTo>
                <a:lnTo>
                  <a:pt x="8" y="12"/>
                </a:lnTo>
                <a:lnTo>
                  <a:pt x="10" y="15"/>
                </a:lnTo>
                <a:lnTo>
                  <a:pt x="13" y="12"/>
                </a:lnTo>
                <a:lnTo>
                  <a:pt x="10" y="7"/>
                </a:lnTo>
                <a:lnTo>
                  <a:pt x="13" y="5"/>
                </a:lnTo>
                <a:lnTo>
                  <a:pt x="15" y="5"/>
                </a:lnTo>
                <a:lnTo>
                  <a:pt x="15" y="2"/>
                </a:lnTo>
                <a:lnTo>
                  <a:pt x="13" y="0"/>
                </a:lnTo>
                <a:lnTo>
                  <a:pt x="10" y="0"/>
                </a:lnTo>
                <a:lnTo>
                  <a:pt x="8" y="2"/>
                </a:lnTo>
                <a:lnTo>
                  <a:pt x="0" y="5"/>
                </a:lnTo>
                <a:lnTo>
                  <a:pt x="0" y="5"/>
                </a:lnTo>
                <a:lnTo>
                  <a:pt x="0" y="5"/>
                </a:lnTo>
                <a:lnTo>
                  <a:pt x="0" y="5"/>
                </a:lnTo>
                <a:close/>
                <a:moveTo>
                  <a:pt x="15" y="5"/>
                </a:moveTo>
                <a:lnTo>
                  <a:pt x="15" y="7"/>
                </a:lnTo>
                <a:lnTo>
                  <a:pt x="15" y="10"/>
                </a:lnTo>
                <a:lnTo>
                  <a:pt x="18" y="12"/>
                </a:lnTo>
                <a:lnTo>
                  <a:pt x="20" y="10"/>
                </a:lnTo>
                <a:lnTo>
                  <a:pt x="18" y="5"/>
                </a:lnTo>
                <a:lnTo>
                  <a:pt x="18" y="2"/>
                </a:lnTo>
                <a:lnTo>
                  <a:pt x="15" y="5"/>
                </a:lnTo>
                <a:lnTo>
                  <a:pt x="15" y="5"/>
                </a:lnTo>
                <a:lnTo>
                  <a:pt x="15"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 name="Freeform 31"/>
          <p:cNvSpPr>
            <a:spLocks noEditPoints="1"/>
          </p:cNvSpPr>
          <p:nvPr/>
        </p:nvSpPr>
        <p:spPr bwMode="auto">
          <a:xfrm>
            <a:off x="7309737" y="3862608"/>
            <a:ext cx="205501" cy="380937"/>
          </a:xfrm>
          <a:custGeom>
            <a:avLst/>
            <a:gdLst/>
            <a:ahLst/>
            <a:cxnLst>
              <a:cxn ang="0">
                <a:pos x="5" y="12"/>
              </a:cxn>
              <a:cxn ang="0">
                <a:pos x="12" y="15"/>
              </a:cxn>
              <a:cxn ang="0">
                <a:pos x="22" y="12"/>
              </a:cxn>
              <a:cxn ang="0">
                <a:pos x="35" y="10"/>
              </a:cxn>
              <a:cxn ang="0">
                <a:pos x="47" y="0"/>
              </a:cxn>
              <a:cxn ang="0">
                <a:pos x="64" y="7"/>
              </a:cxn>
              <a:cxn ang="0">
                <a:pos x="69" y="12"/>
              </a:cxn>
              <a:cxn ang="0">
                <a:pos x="76" y="27"/>
              </a:cxn>
              <a:cxn ang="0">
                <a:pos x="89" y="29"/>
              </a:cxn>
              <a:cxn ang="0">
                <a:pos x="89" y="34"/>
              </a:cxn>
              <a:cxn ang="0">
                <a:pos x="79" y="37"/>
              </a:cxn>
              <a:cxn ang="0">
                <a:pos x="74" y="42"/>
              </a:cxn>
              <a:cxn ang="0">
                <a:pos x="69" y="44"/>
              </a:cxn>
              <a:cxn ang="0">
                <a:pos x="69" y="52"/>
              </a:cxn>
              <a:cxn ang="0">
                <a:pos x="62" y="59"/>
              </a:cxn>
              <a:cxn ang="0">
                <a:pos x="59" y="64"/>
              </a:cxn>
              <a:cxn ang="0">
                <a:pos x="57" y="76"/>
              </a:cxn>
              <a:cxn ang="0">
                <a:pos x="64" y="84"/>
              </a:cxn>
              <a:cxn ang="0">
                <a:pos x="72" y="93"/>
              </a:cxn>
              <a:cxn ang="0">
                <a:pos x="84" y="108"/>
              </a:cxn>
              <a:cxn ang="0">
                <a:pos x="111" y="130"/>
              </a:cxn>
              <a:cxn ang="0">
                <a:pos x="116" y="140"/>
              </a:cxn>
              <a:cxn ang="0">
                <a:pos x="118" y="152"/>
              </a:cxn>
              <a:cxn ang="0">
                <a:pos x="123" y="165"/>
              </a:cxn>
              <a:cxn ang="0">
                <a:pos x="126" y="175"/>
              </a:cxn>
              <a:cxn ang="0">
                <a:pos x="126" y="177"/>
              </a:cxn>
              <a:cxn ang="0">
                <a:pos x="123" y="184"/>
              </a:cxn>
              <a:cxn ang="0">
                <a:pos x="123" y="197"/>
              </a:cxn>
              <a:cxn ang="0">
                <a:pos x="113" y="206"/>
              </a:cxn>
              <a:cxn ang="0">
                <a:pos x="104" y="214"/>
              </a:cxn>
              <a:cxn ang="0">
                <a:pos x="86" y="219"/>
              </a:cxn>
              <a:cxn ang="0">
                <a:pos x="84" y="216"/>
              </a:cxn>
              <a:cxn ang="0">
                <a:pos x="86" y="221"/>
              </a:cxn>
              <a:cxn ang="0">
                <a:pos x="84" y="226"/>
              </a:cxn>
              <a:cxn ang="0">
                <a:pos x="76" y="229"/>
              </a:cxn>
              <a:cxn ang="0">
                <a:pos x="76" y="234"/>
              </a:cxn>
              <a:cxn ang="0">
                <a:pos x="69" y="238"/>
              </a:cxn>
              <a:cxn ang="0">
                <a:pos x="59" y="248"/>
              </a:cxn>
              <a:cxn ang="0">
                <a:pos x="59" y="243"/>
              </a:cxn>
              <a:cxn ang="0">
                <a:pos x="59" y="234"/>
              </a:cxn>
              <a:cxn ang="0">
                <a:pos x="64" y="221"/>
              </a:cxn>
              <a:cxn ang="0">
                <a:pos x="52" y="221"/>
              </a:cxn>
              <a:cxn ang="0">
                <a:pos x="57" y="214"/>
              </a:cxn>
              <a:cxn ang="0">
                <a:pos x="74" y="209"/>
              </a:cxn>
              <a:cxn ang="0">
                <a:pos x="76" y="204"/>
              </a:cxn>
              <a:cxn ang="0">
                <a:pos x="84" y="192"/>
              </a:cxn>
              <a:cxn ang="0">
                <a:pos x="96" y="179"/>
              </a:cxn>
              <a:cxn ang="0">
                <a:pos x="94" y="157"/>
              </a:cxn>
              <a:cxn ang="0">
                <a:pos x="94" y="145"/>
              </a:cxn>
              <a:cxn ang="0">
                <a:pos x="94" y="133"/>
              </a:cxn>
              <a:cxn ang="0">
                <a:pos x="91" y="123"/>
              </a:cxn>
              <a:cxn ang="0">
                <a:pos x="84" y="115"/>
              </a:cxn>
              <a:cxn ang="0">
                <a:pos x="74" y="108"/>
              </a:cxn>
              <a:cxn ang="0">
                <a:pos x="64" y="96"/>
              </a:cxn>
              <a:cxn ang="0">
                <a:pos x="44" y="81"/>
              </a:cxn>
              <a:cxn ang="0">
                <a:pos x="37" y="71"/>
              </a:cxn>
              <a:cxn ang="0">
                <a:pos x="42" y="64"/>
              </a:cxn>
              <a:cxn ang="0">
                <a:pos x="44" y="52"/>
              </a:cxn>
              <a:cxn ang="0">
                <a:pos x="32" y="42"/>
              </a:cxn>
              <a:cxn ang="0">
                <a:pos x="10" y="32"/>
              </a:cxn>
              <a:cxn ang="0">
                <a:pos x="0" y="20"/>
              </a:cxn>
              <a:cxn ang="0">
                <a:pos x="44" y="221"/>
              </a:cxn>
              <a:cxn ang="0">
                <a:pos x="47" y="219"/>
              </a:cxn>
            </a:cxnLst>
            <a:rect l="0" t="0" r="r" b="b"/>
            <a:pathLst>
              <a:path w="126" h="248">
                <a:moveTo>
                  <a:pt x="0" y="17"/>
                </a:moveTo>
                <a:lnTo>
                  <a:pt x="0" y="15"/>
                </a:lnTo>
                <a:lnTo>
                  <a:pt x="3" y="15"/>
                </a:lnTo>
                <a:lnTo>
                  <a:pt x="3" y="15"/>
                </a:lnTo>
                <a:lnTo>
                  <a:pt x="5" y="12"/>
                </a:lnTo>
                <a:lnTo>
                  <a:pt x="8" y="12"/>
                </a:lnTo>
                <a:lnTo>
                  <a:pt x="10" y="12"/>
                </a:lnTo>
                <a:lnTo>
                  <a:pt x="10" y="15"/>
                </a:lnTo>
                <a:lnTo>
                  <a:pt x="10" y="15"/>
                </a:lnTo>
                <a:lnTo>
                  <a:pt x="12" y="15"/>
                </a:lnTo>
                <a:lnTo>
                  <a:pt x="12" y="12"/>
                </a:lnTo>
                <a:lnTo>
                  <a:pt x="15" y="10"/>
                </a:lnTo>
                <a:lnTo>
                  <a:pt x="20" y="12"/>
                </a:lnTo>
                <a:lnTo>
                  <a:pt x="20" y="12"/>
                </a:lnTo>
                <a:lnTo>
                  <a:pt x="22" y="12"/>
                </a:lnTo>
                <a:lnTo>
                  <a:pt x="22" y="12"/>
                </a:lnTo>
                <a:lnTo>
                  <a:pt x="27" y="12"/>
                </a:lnTo>
                <a:lnTo>
                  <a:pt x="27" y="10"/>
                </a:lnTo>
                <a:lnTo>
                  <a:pt x="30" y="7"/>
                </a:lnTo>
                <a:lnTo>
                  <a:pt x="35" y="10"/>
                </a:lnTo>
                <a:lnTo>
                  <a:pt x="40" y="7"/>
                </a:lnTo>
                <a:lnTo>
                  <a:pt x="40" y="2"/>
                </a:lnTo>
                <a:lnTo>
                  <a:pt x="42" y="2"/>
                </a:lnTo>
                <a:lnTo>
                  <a:pt x="47" y="2"/>
                </a:lnTo>
                <a:lnTo>
                  <a:pt x="47" y="0"/>
                </a:lnTo>
                <a:lnTo>
                  <a:pt x="52" y="2"/>
                </a:lnTo>
                <a:lnTo>
                  <a:pt x="52" y="5"/>
                </a:lnTo>
                <a:lnTo>
                  <a:pt x="54" y="5"/>
                </a:lnTo>
                <a:lnTo>
                  <a:pt x="57" y="7"/>
                </a:lnTo>
                <a:lnTo>
                  <a:pt x="64" y="7"/>
                </a:lnTo>
                <a:lnTo>
                  <a:pt x="64" y="7"/>
                </a:lnTo>
                <a:lnTo>
                  <a:pt x="69" y="7"/>
                </a:lnTo>
                <a:lnTo>
                  <a:pt x="72" y="10"/>
                </a:lnTo>
                <a:lnTo>
                  <a:pt x="72" y="12"/>
                </a:lnTo>
                <a:lnTo>
                  <a:pt x="69" y="12"/>
                </a:lnTo>
                <a:lnTo>
                  <a:pt x="67" y="17"/>
                </a:lnTo>
                <a:lnTo>
                  <a:pt x="69" y="20"/>
                </a:lnTo>
                <a:lnTo>
                  <a:pt x="69" y="22"/>
                </a:lnTo>
                <a:lnTo>
                  <a:pt x="76" y="24"/>
                </a:lnTo>
                <a:lnTo>
                  <a:pt x="76" y="27"/>
                </a:lnTo>
                <a:lnTo>
                  <a:pt x="79" y="27"/>
                </a:lnTo>
                <a:lnTo>
                  <a:pt x="81" y="29"/>
                </a:lnTo>
                <a:lnTo>
                  <a:pt x="86" y="27"/>
                </a:lnTo>
                <a:lnTo>
                  <a:pt x="86" y="29"/>
                </a:lnTo>
                <a:lnTo>
                  <a:pt x="89" y="29"/>
                </a:lnTo>
                <a:lnTo>
                  <a:pt x="91" y="29"/>
                </a:lnTo>
                <a:lnTo>
                  <a:pt x="91" y="29"/>
                </a:lnTo>
                <a:lnTo>
                  <a:pt x="91" y="32"/>
                </a:lnTo>
                <a:lnTo>
                  <a:pt x="91" y="32"/>
                </a:lnTo>
                <a:lnTo>
                  <a:pt x="89" y="34"/>
                </a:lnTo>
                <a:lnTo>
                  <a:pt x="89" y="34"/>
                </a:lnTo>
                <a:lnTo>
                  <a:pt x="86" y="34"/>
                </a:lnTo>
                <a:lnTo>
                  <a:pt x="84" y="34"/>
                </a:lnTo>
                <a:lnTo>
                  <a:pt x="79" y="37"/>
                </a:lnTo>
                <a:lnTo>
                  <a:pt x="79" y="37"/>
                </a:lnTo>
                <a:lnTo>
                  <a:pt x="79" y="39"/>
                </a:lnTo>
                <a:lnTo>
                  <a:pt x="79" y="39"/>
                </a:lnTo>
                <a:lnTo>
                  <a:pt x="76" y="42"/>
                </a:lnTo>
                <a:lnTo>
                  <a:pt x="76" y="39"/>
                </a:lnTo>
                <a:lnTo>
                  <a:pt x="74" y="42"/>
                </a:lnTo>
                <a:lnTo>
                  <a:pt x="72" y="42"/>
                </a:lnTo>
                <a:lnTo>
                  <a:pt x="72" y="42"/>
                </a:lnTo>
                <a:lnTo>
                  <a:pt x="72" y="42"/>
                </a:lnTo>
                <a:lnTo>
                  <a:pt x="69" y="42"/>
                </a:lnTo>
                <a:lnTo>
                  <a:pt x="69" y="44"/>
                </a:lnTo>
                <a:lnTo>
                  <a:pt x="69" y="44"/>
                </a:lnTo>
                <a:lnTo>
                  <a:pt x="69" y="47"/>
                </a:lnTo>
                <a:lnTo>
                  <a:pt x="69" y="49"/>
                </a:lnTo>
                <a:lnTo>
                  <a:pt x="69" y="52"/>
                </a:lnTo>
                <a:lnTo>
                  <a:pt x="69" y="52"/>
                </a:lnTo>
                <a:lnTo>
                  <a:pt x="69" y="54"/>
                </a:lnTo>
                <a:lnTo>
                  <a:pt x="69" y="54"/>
                </a:lnTo>
                <a:lnTo>
                  <a:pt x="67" y="54"/>
                </a:lnTo>
                <a:lnTo>
                  <a:pt x="64" y="59"/>
                </a:lnTo>
                <a:lnTo>
                  <a:pt x="62" y="59"/>
                </a:lnTo>
                <a:lnTo>
                  <a:pt x="62" y="56"/>
                </a:lnTo>
                <a:lnTo>
                  <a:pt x="62" y="59"/>
                </a:lnTo>
                <a:lnTo>
                  <a:pt x="59" y="59"/>
                </a:lnTo>
                <a:lnTo>
                  <a:pt x="59" y="61"/>
                </a:lnTo>
                <a:lnTo>
                  <a:pt x="59" y="64"/>
                </a:lnTo>
                <a:lnTo>
                  <a:pt x="59" y="66"/>
                </a:lnTo>
                <a:lnTo>
                  <a:pt x="59" y="66"/>
                </a:lnTo>
                <a:lnTo>
                  <a:pt x="62" y="69"/>
                </a:lnTo>
                <a:lnTo>
                  <a:pt x="59" y="74"/>
                </a:lnTo>
                <a:lnTo>
                  <a:pt x="57" y="76"/>
                </a:lnTo>
                <a:lnTo>
                  <a:pt x="62" y="79"/>
                </a:lnTo>
                <a:lnTo>
                  <a:pt x="59" y="81"/>
                </a:lnTo>
                <a:lnTo>
                  <a:pt x="57" y="81"/>
                </a:lnTo>
                <a:lnTo>
                  <a:pt x="59" y="81"/>
                </a:lnTo>
                <a:lnTo>
                  <a:pt x="64" y="84"/>
                </a:lnTo>
                <a:lnTo>
                  <a:pt x="69" y="88"/>
                </a:lnTo>
                <a:lnTo>
                  <a:pt x="72" y="88"/>
                </a:lnTo>
                <a:lnTo>
                  <a:pt x="72" y="91"/>
                </a:lnTo>
                <a:lnTo>
                  <a:pt x="72" y="93"/>
                </a:lnTo>
                <a:lnTo>
                  <a:pt x="72" y="93"/>
                </a:lnTo>
                <a:lnTo>
                  <a:pt x="74" y="98"/>
                </a:lnTo>
                <a:lnTo>
                  <a:pt x="74" y="101"/>
                </a:lnTo>
                <a:lnTo>
                  <a:pt x="79" y="106"/>
                </a:lnTo>
                <a:lnTo>
                  <a:pt x="84" y="106"/>
                </a:lnTo>
                <a:lnTo>
                  <a:pt x="84" y="108"/>
                </a:lnTo>
                <a:lnTo>
                  <a:pt x="91" y="113"/>
                </a:lnTo>
                <a:lnTo>
                  <a:pt x="99" y="118"/>
                </a:lnTo>
                <a:lnTo>
                  <a:pt x="101" y="120"/>
                </a:lnTo>
                <a:lnTo>
                  <a:pt x="108" y="125"/>
                </a:lnTo>
                <a:lnTo>
                  <a:pt x="111" y="130"/>
                </a:lnTo>
                <a:lnTo>
                  <a:pt x="111" y="133"/>
                </a:lnTo>
                <a:lnTo>
                  <a:pt x="111" y="133"/>
                </a:lnTo>
                <a:lnTo>
                  <a:pt x="111" y="135"/>
                </a:lnTo>
                <a:lnTo>
                  <a:pt x="116" y="138"/>
                </a:lnTo>
                <a:lnTo>
                  <a:pt x="116" y="140"/>
                </a:lnTo>
                <a:lnTo>
                  <a:pt x="116" y="140"/>
                </a:lnTo>
                <a:lnTo>
                  <a:pt x="116" y="143"/>
                </a:lnTo>
                <a:lnTo>
                  <a:pt x="118" y="145"/>
                </a:lnTo>
                <a:lnTo>
                  <a:pt x="118" y="150"/>
                </a:lnTo>
                <a:lnTo>
                  <a:pt x="118" y="152"/>
                </a:lnTo>
                <a:lnTo>
                  <a:pt x="121" y="157"/>
                </a:lnTo>
                <a:lnTo>
                  <a:pt x="121" y="157"/>
                </a:lnTo>
                <a:lnTo>
                  <a:pt x="121" y="160"/>
                </a:lnTo>
                <a:lnTo>
                  <a:pt x="121" y="162"/>
                </a:lnTo>
                <a:lnTo>
                  <a:pt x="123" y="165"/>
                </a:lnTo>
                <a:lnTo>
                  <a:pt x="121" y="167"/>
                </a:lnTo>
                <a:lnTo>
                  <a:pt x="123" y="170"/>
                </a:lnTo>
                <a:lnTo>
                  <a:pt x="123" y="172"/>
                </a:lnTo>
                <a:lnTo>
                  <a:pt x="123" y="172"/>
                </a:lnTo>
                <a:lnTo>
                  <a:pt x="126" y="175"/>
                </a:lnTo>
                <a:lnTo>
                  <a:pt x="126" y="177"/>
                </a:lnTo>
                <a:lnTo>
                  <a:pt x="126" y="179"/>
                </a:lnTo>
                <a:lnTo>
                  <a:pt x="126" y="179"/>
                </a:lnTo>
                <a:lnTo>
                  <a:pt x="126" y="179"/>
                </a:lnTo>
                <a:lnTo>
                  <a:pt x="126" y="177"/>
                </a:lnTo>
                <a:lnTo>
                  <a:pt x="123" y="179"/>
                </a:lnTo>
                <a:lnTo>
                  <a:pt x="123" y="182"/>
                </a:lnTo>
                <a:lnTo>
                  <a:pt x="126" y="182"/>
                </a:lnTo>
                <a:lnTo>
                  <a:pt x="126" y="184"/>
                </a:lnTo>
                <a:lnTo>
                  <a:pt x="123" y="184"/>
                </a:lnTo>
                <a:lnTo>
                  <a:pt x="123" y="187"/>
                </a:lnTo>
                <a:lnTo>
                  <a:pt x="121" y="189"/>
                </a:lnTo>
                <a:lnTo>
                  <a:pt x="123" y="192"/>
                </a:lnTo>
                <a:lnTo>
                  <a:pt x="121" y="194"/>
                </a:lnTo>
                <a:lnTo>
                  <a:pt x="123" y="197"/>
                </a:lnTo>
                <a:lnTo>
                  <a:pt x="121" y="197"/>
                </a:lnTo>
                <a:lnTo>
                  <a:pt x="118" y="199"/>
                </a:lnTo>
                <a:lnTo>
                  <a:pt x="118" y="202"/>
                </a:lnTo>
                <a:lnTo>
                  <a:pt x="116" y="204"/>
                </a:lnTo>
                <a:lnTo>
                  <a:pt x="113" y="206"/>
                </a:lnTo>
                <a:lnTo>
                  <a:pt x="111" y="206"/>
                </a:lnTo>
                <a:lnTo>
                  <a:pt x="108" y="209"/>
                </a:lnTo>
                <a:lnTo>
                  <a:pt x="108" y="211"/>
                </a:lnTo>
                <a:lnTo>
                  <a:pt x="104" y="211"/>
                </a:lnTo>
                <a:lnTo>
                  <a:pt x="104" y="214"/>
                </a:lnTo>
                <a:lnTo>
                  <a:pt x="96" y="219"/>
                </a:lnTo>
                <a:lnTo>
                  <a:pt x="91" y="219"/>
                </a:lnTo>
                <a:lnTo>
                  <a:pt x="91" y="219"/>
                </a:lnTo>
                <a:lnTo>
                  <a:pt x="86" y="219"/>
                </a:lnTo>
                <a:lnTo>
                  <a:pt x="86" y="219"/>
                </a:lnTo>
                <a:lnTo>
                  <a:pt x="86" y="216"/>
                </a:lnTo>
                <a:lnTo>
                  <a:pt x="86" y="214"/>
                </a:lnTo>
                <a:lnTo>
                  <a:pt x="86" y="216"/>
                </a:lnTo>
                <a:lnTo>
                  <a:pt x="86" y="216"/>
                </a:lnTo>
                <a:lnTo>
                  <a:pt x="84" y="216"/>
                </a:lnTo>
                <a:lnTo>
                  <a:pt x="86" y="219"/>
                </a:lnTo>
                <a:lnTo>
                  <a:pt x="86" y="219"/>
                </a:lnTo>
                <a:lnTo>
                  <a:pt x="84" y="219"/>
                </a:lnTo>
                <a:lnTo>
                  <a:pt x="81" y="219"/>
                </a:lnTo>
                <a:lnTo>
                  <a:pt x="86" y="221"/>
                </a:lnTo>
                <a:lnTo>
                  <a:pt x="84" y="221"/>
                </a:lnTo>
                <a:lnTo>
                  <a:pt x="86" y="224"/>
                </a:lnTo>
                <a:lnTo>
                  <a:pt x="84" y="226"/>
                </a:lnTo>
                <a:lnTo>
                  <a:pt x="81" y="224"/>
                </a:lnTo>
                <a:lnTo>
                  <a:pt x="84" y="226"/>
                </a:lnTo>
                <a:lnTo>
                  <a:pt x="84" y="229"/>
                </a:lnTo>
                <a:lnTo>
                  <a:pt x="81" y="229"/>
                </a:lnTo>
                <a:lnTo>
                  <a:pt x="81" y="229"/>
                </a:lnTo>
                <a:lnTo>
                  <a:pt x="79" y="226"/>
                </a:lnTo>
                <a:lnTo>
                  <a:pt x="76" y="229"/>
                </a:lnTo>
                <a:lnTo>
                  <a:pt x="79" y="231"/>
                </a:lnTo>
                <a:lnTo>
                  <a:pt x="79" y="231"/>
                </a:lnTo>
                <a:lnTo>
                  <a:pt x="79" y="231"/>
                </a:lnTo>
                <a:lnTo>
                  <a:pt x="76" y="234"/>
                </a:lnTo>
                <a:lnTo>
                  <a:pt x="76" y="234"/>
                </a:lnTo>
                <a:lnTo>
                  <a:pt x="76" y="234"/>
                </a:lnTo>
                <a:lnTo>
                  <a:pt x="72" y="236"/>
                </a:lnTo>
                <a:lnTo>
                  <a:pt x="72" y="236"/>
                </a:lnTo>
                <a:lnTo>
                  <a:pt x="69" y="236"/>
                </a:lnTo>
                <a:lnTo>
                  <a:pt x="69" y="238"/>
                </a:lnTo>
                <a:lnTo>
                  <a:pt x="69" y="241"/>
                </a:lnTo>
                <a:lnTo>
                  <a:pt x="67" y="243"/>
                </a:lnTo>
                <a:lnTo>
                  <a:pt x="64" y="243"/>
                </a:lnTo>
                <a:lnTo>
                  <a:pt x="64" y="243"/>
                </a:lnTo>
                <a:lnTo>
                  <a:pt x="59" y="248"/>
                </a:lnTo>
                <a:lnTo>
                  <a:pt x="54" y="246"/>
                </a:lnTo>
                <a:lnTo>
                  <a:pt x="57" y="246"/>
                </a:lnTo>
                <a:lnTo>
                  <a:pt x="59" y="243"/>
                </a:lnTo>
                <a:lnTo>
                  <a:pt x="62" y="243"/>
                </a:lnTo>
                <a:lnTo>
                  <a:pt x="59" y="243"/>
                </a:lnTo>
                <a:lnTo>
                  <a:pt x="57" y="241"/>
                </a:lnTo>
                <a:lnTo>
                  <a:pt x="59" y="236"/>
                </a:lnTo>
                <a:lnTo>
                  <a:pt x="59" y="236"/>
                </a:lnTo>
                <a:lnTo>
                  <a:pt x="57" y="236"/>
                </a:lnTo>
                <a:lnTo>
                  <a:pt x="59" y="234"/>
                </a:lnTo>
                <a:lnTo>
                  <a:pt x="57" y="229"/>
                </a:lnTo>
                <a:lnTo>
                  <a:pt x="59" y="226"/>
                </a:lnTo>
                <a:lnTo>
                  <a:pt x="64" y="221"/>
                </a:lnTo>
                <a:lnTo>
                  <a:pt x="67" y="221"/>
                </a:lnTo>
                <a:lnTo>
                  <a:pt x="64" y="221"/>
                </a:lnTo>
                <a:lnTo>
                  <a:pt x="59" y="221"/>
                </a:lnTo>
                <a:lnTo>
                  <a:pt x="59" y="221"/>
                </a:lnTo>
                <a:lnTo>
                  <a:pt x="57" y="221"/>
                </a:lnTo>
                <a:lnTo>
                  <a:pt x="54" y="221"/>
                </a:lnTo>
                <a:lnTo>
                  <a:pt x="52" y="221"/>
                </a:lnTo>
                <a:lnTo>
                  <a:pt x="52" y="221"/>
                </a:lnTo>
                <a:lnTo>
                  <a:pt x="52" y="219"/>
                </a:lnTo>
                <a:lnTo>
                  <a:pt x="52" y="216"/>
                </a:lnTo>
                <a:lnTo>
                  <a:pt x="54" y="214"/>
                </a:lnTo>
                <a:lnTo>
                  <a:pt x="57" y="214"/>
                </a:lnTo>
                <a:lnTo>
                  <a:pt x="59" y="209"/>
                </a:lnTo>
                <a:lnTo>
                  <a:pt x="62" y="209"/>
                </a:lnTo>
                <a:lnTo>
                  <a:pt x="64" y="209"/>
                </a:lnTo>
                <a:lnTo>
                  <a:pt x="72" y="209"/>
                </a:lnTo>
                <a:lnTo>
                  <a:pt x="74" y="209"/>
                </a:lnTo>
                <a:lnTo>
                  <a:pt x="76" y="211"/>
                </a:lnTo>
                <a:lnTo>
                  <a:pt x="81" y="211"/>
                </a:lnTo>
                <a:lnTo>
                  <a:pt x="79" y="209"/>
                </a:lnTo>
                <a:lnTo>
                  <a:pt x="79" y="206"/>
                </a:lnTo>
                <a:lnTo>
                  <a:pt x="76" y="204"/>
                </a:lnTo>
                <a:lnTo>
                  <a:pt x="74" y="202"/>
                </a:lnTo>
                <a:lnTo>
                  <a:pt x="72" y="197"/>
                </a:lnTo>
                <a:lnTo>
                  <a:pt x="76" y="194"/>
                </a:lnTo>
                <a:lnTo>
                  <a:pt x="81" y="194"/>
                </a:lnTo>
                <a:lnTo>
                  <a:pt x="84" y="192"/>
                </a:lnTo>
                <a:lnTo>
                  <a:pt x="86" y="189"/>
                </a:lnTo>
                <a:lnTo>
                  <a:pt x="91" y="187"/>
                </a:lnTo>
                <a:lnTo>
                  <a:pt x="91" y="184"/>
                </a:lnTo>
                <a:lnTo>
                  <a:pt x="94" y="184"/>
                </a:lnTo>
                <a:lnTo>
                  <a:pt x="96" y="179"/>
                </a:lnTo>
                <a:lnTo>
                  <a:pt x="96" y="177"/>
                </a:lnTo>
                <a:lnTo>
                  <a:pt x="99" y="172"/>
                </a:lnTo>
                <a:lnTo>
                  <a:pt x="96" y="170"/>
                </a:lnTo>
                <a:lnTo>
                  <a:pt x="96" y="165"/>
                </a:lnTo>
                <a:lnTo>
                  <a:pt x="94" y="157"/>
                </a:lnTo>
                <a:lnTo>
                  <a:pt x="91" y="157"/>
                </a:lnTo>
                <a:lnTo>
                  <a:pt x="89" y="152"/>
                </a:lnTo>
                <a:lnTo>
                  <a:pt x="91" y="152"/>
                </a:lnTo>
                <a:lnTo>
                  <a:pt x="94" y="150"/>
                </a:lnTo>
                <a:lnTo>
                  <a:pt x="94" y="145"/>
                </a:lnTo>
                <a:lnTo>
                  <a:pt x="91" y="143"/>
                </a:lnTo>
                <a:lnTo>
                  <a:pt x="91" y="140"/>
                </a:lnTo>
                <a:lnTo>
                  <a:pt x="96" y="135"/>
                </a:lnTo>
                <a:lnTo>
                  <a:pt x="96" y="133"/>
                </a:lnTo>
                <a:lnTo>
                  <a:pt x="94" y="133"/>
                </a:lnTo>
                <a:lnTo>
                  <a:pt x="91" y="130"/>
                </a:lnTo>
                <a:lnTo>
                  <a:pt x="91" y="125"/>
                </a:lnTo>
                <a:lnTo>
                  <a:pt x="94" y="123"/>
                </a:lnTo>
                <a:lnTo>
                  <a:pt x="94" y="123"/>
                </a:lnTo>
                <a:lnTo>
                  <a:pt x="91" y="123"/>
                </a:lnTo>
                <a:lnTo>
                  <a:pt x="89" y="123"/>
                </a:lnTo>
                <a:lnTo>
                  <a:pt x="86" y="120"/>
                </a:lnTo>
                <a:lnTo>
                  <a:pt x="84" y="120"/>
                </a:lnTo>
                <a:lnTo>
                  <a:pt x="81" y="118"/>
                </a:lnTo>
                <a:lnTo>
                  <a:pt x="84" y="115"/>
                </a:lnTo>
                <a:lnTo>
                  <a:pt x="81" y="115"/>
                </a:lnTo>
                <a:lnTo>
                  <a:pt x="79" y="115"/>
                </a:lnTo>
                <a:lnTo>
                  <a:pt x="76" y="113"/>
                </a:lnTo>
                <a:lnTo>
                  <a:pt x="76" y="111"/>
                </a:lnTo>
                <a:lnTo>
                  <a:pt x="74" y="108"/>
                </a:lnTo>
                <a:lnTo>
                  <a:pt x="72" y="108"/>
                </a:lnTo>
                <a:lnTo>
                  <a:pt x="69" y="106"/>
                </a:lnTo>
                <a:lnTo>
                  <a:pt x="69" y="103"/>
                </a:lnTo>
                <a:lnTo>
                  <a:pt x="64" y="98"/>
                </a:lnTo>
                <a:lnTo>
                  <a:pt x="64" y="96"/>
                </a:lnTo>
                <a:lnTo>
                  <a:pt x="59" y="91"/>
                </a:lnTo>
                <a:lnTo>
                  <a:pt x="57" y="88"/>
                </a:lnTo>
                <a:lnTo>
                  <a:pt x="52" y="84"/>
                </a:lnTo>
                <a:lnTo>
                  <a:pt x="49" y="84"/>
                </a:lnTo>
                <a:lnTo>
                  <a:pt x="44" y="81"/>
                </a:lnTo>
                <a:lnTo>
                  <a:pt x="40" y="81"/>
                </a:lnTo>
                <a:lnTo>
                  <a:pt x="37" y="76"/>
                </a:lnTo>
                <a:lnTo>
                  <a:pt x="35" y="76"/>
                </a:lnTo>
                <a:lnTo>
                  <a:pt x="35" y="74"/>
                </a:lnTo>
                <a:lnTo>
                  <a:pt x="37" y="71"/>
                </a:lnTo>
                <a:lnTo>
                  <a:pt x="32" y="69"/>
                </a:lnTo>
                <a:lnTo>
                  <a:pt x="32" y="66"/>
                </a:lnTo>
                <a:lnTo>
                  <a:pt x="35" y="66"/>
                </a:lnTo>
                <a:lnTo>
                  <a:pt x="40" y="64"/>
                </a:lnTo>
                <a:lnTo>
                  <a:pt x="42" y="64"/>
                </a:lnTo>
                <a:lnTo>
                  <a:pt x="44" y="61"/>
                </a:lnTo>
                <a:lnTo>
                  <a:pt x="47" y="56"/>
                </a:lnTo>
                <a:lnTo>
                  <a:pt x="47" y="54"/>
                </a:lnTo>
                <a:lnTo>
                  <a:pt x="47" y="52"/>
                </a:lnTo>
                <a:lnTo>
                  <a:pt x="44" y="52"/>
                </a:lnTo>
                <a:lnTo>
                  <a:pt x="44" y="49"/>
                </a:lnTo>
                <a:lnTo>
                  <a:pt x="42" y="47"/>
                </a:lnTo>
                <a:lnTo>
                  <a:pt x="40" y="44"/>
                </a:lnTo>
                <a:lnTo>
                  <a:pt x="37" y="42"/>
                </a:lnTo>
                <a:lnTo>
                  <a:pt x="32" y="42"/>
                </a:lnTo>
                <a:lnTo>
                  <a:pt x="30" y="44"/>
                </a:lnTo>
                <a:lnTo>
                  <a:pt x="25" y="44"/>
                </a:lnTo>
                <a:lnTo>
                  <a:pt x="20" y="44"/>
                </a:lnTo>
                <a:lnTo>
                  <a:pt x="15" y="37"/>
                </a:lnTo>
                <a:lnTo>
                  <a:pt x="10" y="32"/>
                </a:lnTo>
                <a:lnTo>
                  <a:pt x="12" y="29"/>
                </a:lnTo>
                <a:lnTo>
                  <a:pt x="10" y="27"/>
                </a:lnTo>
                <a:lnTo>
                  <a:pt x="8" y="24"/>
                </a:lnTo>
                <a:lnTo>
                  <a:pt x="5" y="20"/>
                </a:lnTo>
                <a:lnTo>
                  <a:pt x="0" y="20"/>
                </a:lnTo>
                <a:lnTo>
                  <a:pt x="0" y="17"/>
                </a:lnTo>
                <a:lnTo>
                  <a:pt x="0" y="17"/>
                </a:lnTo>
                <a:lnTo>
                  <a:pt x="0" y="17"/>
                </a:lnTo>
                <a:close/>
                <a:moveTo>
                  <a:pt x="42" y="219"/>
                </a:moveTo>
                <a:lnTo>
                  <a:pt x="44" y="221"/>
                </a:lnTo>
                <a:lnTo>
                  <a:pt x="42" y="221"/>
                </a:lnTo>
                <a:lnTo>
                  <a:pt x="44" y="224"/>
                </a:lnTo>
                <a:lnTo>
                  <a:pt x="47" y="224"/>
                </a:lnTo>
                <a:lnTo>
                  <a:pt x="47" y="219"/>
                </a:lnTo>
                <a:lnTo>
                  <a:pt x="47" y="219"/>
                </a:lnTo>
                <a:lnTo>
                  <a:pt x="44" y="216"/>
                </a:lnTo>
                <a:lnTo>
                  <a:pt x="42" y="219"/>
                </a:lnTo>
                <a:lnTo>
                  <a:pt x="42" y="21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 name="Freeform 32"/>
          <p:cNvSpPr>
            <a:spLocks/>
          </p:cNvSpPr>
          <p:nvPr/>
        </p:nvSpPr>
        <p:spPr bwMode="auto">
          <a:xfrm>
            <a:off x="7334201" y="4088407"/>
            <a:ext cx="137000" cy="105987"/>
          </a:xfrm>
          <a:custGeom>
            <a:avLst/>
            <a:gdLst/>
            <a:ahLst/>
            <a:cxnLst>
              <a:cxn ang="0">
                <a:pos x="39" y="67"/>
              </a:cxn>
              <a:cxn ang="0">
                <a:pos x="44" y="62"/>
              </a:cxn>
              <a:cxn ang="0">
                <a:pos x="49" y="62"/>
              </a:cxn>
              <a:cxn ang="0">
                <a:pos x="59" y="62"/>
              </a:cxn>
              <a:cxn ang="0">
                <a:pos x="66" y="64"/>
              </a:cxn>
              <a:cxn ang="0">
                <a:pos x="64" y="59"/>
              </a:cxn>
              <a:cxn ang="0">
                <a:pos x="59" y="55"/>
              </a:cxn>
              <a:cxn ang="0">
                <a:pos x="61" y="47"/>
              </a:cxn>
              <a:cxn ang="0">
                <a:pos x="69" y="45"/>
              </a:cxn>
              <a:cxn ang="0">
                <a:pos x="76" y="40"/>
              </a:cxn>
              <a:cxn ang="0">
                <a:pos x="79" y="37"/>
              </a:cxn>
              <a:cxn ang="0">
                <a:pos x="81" y="30"/>
              </a:cxn>
              <a:cxn ang="0">
                <a:pos x="81" y="23"/>
              </a:cxn>
              <a:cxn ang="0">
                <a:pos x="79" y="10"/>
              </a:cxn>
              <a:cxn ang="0">
                <a:pos x="74" y="5"/>
              </a:cxn>
              <a:cxn ang="0">
                <a:pos x="69" y="3"/>
              </a:cxn>
              <a:cxn ang="0">
                <a:pos x="66" y="0"/>
              </a:cxn>
              <a:cxn ang="0">
                <a:pos x="57" y="3"/>
              </a:cxn>
              <a:cxn ang="0">
                <a:pos x="61" y="10"/>
              </a:cxn>
              <a:cxn ang="0">
                <a:pos x="61" y="15"/>
              </a:cxn>
              <a:cxn ang="0">
                <a:pos x="54" y="8"/>
              </a:cxn>
              <a:cxn ang="0">
                <a:pos x="47" y="5"/>
              </a:cxn>
              <a:cxn ang="0">
                <a:pos x="42" y="5"/>
              </a:cxn>
              <a:cxn ang="0">
                <a:pos x="34" y="3"/>
              </a:cxn>
              <a:cxn ang="0">
                <a:pos x="29" y="3"/>
              </a:cxn>
              <a:cxn ang="0">
                <a:pos x="22" y="3"/>
              </a:cxn>
              <a:cxn ang="0">
                <a:pos x="12" y="5"/>
              </a:cxn>
              <a:cxn ang="0">
                <a:pos x="5" y="10"/>
              </a:cxn>
              <a:cxn ang="0">
                <a:pos x="2" y="18"/>
              </a:cxn>
              <a:cxn ang="0">
                <a:pos x="2" y="30"/>
              </a:cxn>
              <a:cxn ang="0">
                <a:pos x="7" y="35"/>
              </a:cxn>
              <a:cxn ang="0">
                <a:pos x="5" y="42"/>
              </a:cxn>
              <a:cxn ang="0">
                <a:pos x="7" y="45"/>
              </a:cxn>
              <a:cxn ang="0">
                <a:pos x="10" y="50"/>
              </a:cxn>
              <a:cxn ang="0">
                <a:pos x="12" y="55"/>
              </a:cxn>
              <a:cxn ang="0">
                <a:pos x="15" y="57"/>
              </a:cxn>
              <a:cxn ang="0">
                <a:pos x="15" y="62"/>
              </a:cxn>
              <a:cxn ang="0">
                <a:pos x="17" y="64"/>
              </a:cxn>
              <a:cxn ang="0">
                <a:pos x="20" y="62"/>
              </a:cxn>
              <a:cxn ang="0">
                <a:pos x="25" y="59"/>
              </a:cxn>
              <a:cxn ang="0">
                <a:pos x="25" y="62"/>
              </a:cxn>
              <a:cxn ang="0">
                <a:pos x="22" y="67"/>
              </a:cxn>
              <a:cxn ang="0">
                <a:pos x="25" y="69"/>
              </a:cxn>
              <a:cxn ang="0">
                <a:pos x="27" y="67"/>
              </a:cxn>
              <a:cxn ang="0">
                <a:pos x="29" y="67"/>
              </a:cxn>
              <a:cxn ang="0">
                <a:pos x="34" y="67"/>
              </a:cxn>
              <a:cxn ang="0">
                <a:pos x="37" y="69"/>
              </a:cxn>
            </a:cxnLst>
            <a:rect l="0" t="0" r="r" b="b"/>
            <a:pathLst>
              <a:path w="84" h="69">
                <a:moveTo>
                  <a:pt x="37" y="69"/>
                </a:moveTo>
                <a:lnTo>
                  <a:pt x="39" y="67"/>
                </a:lnTo>
                <a:lnTo>
                  <a:pt x="42" y="67"/>
                </a:lnTo>
                <a:lnTo>
                  <a:pt x="44" y="62"/>
                </a:lnTo>
                <a:lnTo>
                  <a:pt x="47" y="62"/>
                </a:lnTo>
                <a:lnTo>
                  <a:pt x="49" y="62"/>
                </a:lnTo>
                <a:lnTo>
                  <a:pt x="57" y="62"/>
                </a:lnTo>
                <a:lnTo>
                  <a:pt x="59" y="62"/>
                </a:lnTo>
                <a:lnTo>
                  <a:pt x="61" y="64"/>
                </a:lnTo>
                <a:lnTo>
                  <a:pt x="66" y="64"/>
                </a:lnTo>
                <a:lnTo>
                  <a:pt x="64" y="62"/>
                </a:lnTo>
                <a:lnTo>
                  <a:pt x="64" y="59"/>
                </a:lnTo>
                <a:lnTo>
                  <a:pt x="61" y="57"/>
                </a:lnTo>
                <a:lnTo>
                  <a:pt x="59" y="55"/>
                </a:lnTo>
                <a:lnTo>
                  <a:pt x="57" y="50"/>
                </a:lnTo>
                <a:lnTo>
                  <a:pt x="61" y="47"/>
                </a:lnTo>
                <a:lnTo>
                  <a:pt x="66" y="47"/>
                </a:lnTo>
                <a:lnTo>
                  <a:pt x="69" y="45"/>
                </a:lnTo>
                <a:lnTo>
                  <a:pt x="71" y="42"/>
                </a:lnTo>
                <a:lnTo>
                  <a:pt x="76" y="40"/>
                </a:lnTo>
                <a:lnTo>
                  <a:pt x="76" y="37"/>
                </a:lnTo>
                <a:lnTo>
                  <a:pt x="79" y="37"/>
                </a:lnTo>
                <a:lnTo>
                  <a:pt x="81" y="32"/>
                </a:lnTo>
                <a:lnTo>
                  <a:pt x="81" y="30"/>
                </a:lnTo>
                <a:lnTo>
                  <a:pt x="84" y="25"/>
                </a:lnTo>
                <a:lnTo>
                  <a:pt x="81" y="23"/>
                </a:lnTo>
                <a:lnTo>
                  <a:pt x="81" y="18"/>
                </a:lnTo>
                <a:lnTo>
                  <a:pt x="79" y="10"/>
                </a:lnTo>
                <a:lnTo>
                  <a:pt x="76" y="10"/>
                </a:lnTo>
                <a:lnTo>
                  <a:pt x="74" y="5"/>
                </a:lnTo>
                <a:lnTo>
                  <a:pt x="71" y="5"/>
                </a:lnTo>
                <a:lnTo>
                  <a:pt x="69" y="3"/>
                </a:lnTo>
                <a:lnTo>
                  <a:pt x="66" y="3"/>
                </a:lnTo>
                <a:lnTo>
                  <a:pt x="66" y="0"/>
                </a:lnTo>
                <a:lnTo>
                  <a:pt x="61" y="0"/>
                </a:lnTo>
                <a:lnTo>
                  <a:pt x="57" y="3"/>
                </a:lnTo>
                <a:lnTo>
                  <a:pt x="61" y="8"/>
                </a:lnTo>
                <a:lnTo>
                  <a:pt x="61" y="10"/>
                </a:lnTo>
                <a:lnTo>
                  <a:pt x="61" y="13"/>
                </a:lnTo>
                <a:lnTo>
                  <a:pt x="61" y="15"/>
                </a:lnTo>
                <a:lnTo>
                  <a:pt x="57" y="13"/>
                </a:lnTo>
                <a:lnTo>
                  <a:pt x="54" y="8"/>
                </a:lnTo>
                <a:lnTo>
                  <a:pt x="49" y="8"/>
                </a:lnTo>
                <a:lnTo>
                  <a:pt x="47" y="5"/>
                </a:lnTo>
                <a:lnTo>
                  <a:pt x="44" y="3"/>
                </a:lnTo>
                <a:lnTo>
                  <a:pt x="42" y="5"/>
                </a:lnTo>
                <a:lnTo>
                  <a:pt x="39" y="3"/>
                </a:lnTo>
                <a:lnTo>
                  <a:pt x="34" y="3"/>
                </a:lnTo>
                <a:lnTo>
                  <a:pt x="32" y="3"/>
                </a:lnTo>
                <a:lnTo>
                  <a:pt x="29" y="3"/>
                </a:lnTo>
                <a:lnTo>
                  <a:pt x="25" y="3"/>
                </a:lnTo>
                <a:lnTo>
                  <a:pt x="22" y="3"/>
                </a:lnTo>
                <a:lnTo>
                  <a:pt x="20" y="3"/>
                </a:lnTo>
                <a:lnTo>
                  <a:pt x="12" y="5"/>
                </a:lnTo>
                <a:lnTo>
                  <a:pt x="7" y="5"/>
                </a:lnTo>
                <a:lnTo>
                  <a:pt x="5" y="10"/>
                </a:lnTo>
                <a:lnTo>
                  <a:pt x="5" y="13"/>
                </a:lnTo>
                <a:lnTo>
                  <a:pt x="2" y="18"/>
                </a:lnTo>
                <a:lnTo>
                  <a:pt x="0" y="23"/>
                </a:lnTo>
                <a:lnTo>
                  <a:pt x="2" y="30"/>
                </a:lnTo>
                <a:lnTo>
                  <a:pt x="5" y="30"/>
                </a:lnTo>
                <a:lnTo>
                  <a:pt x="7" y="35"/>
                </a:lnTo>
                <a:lnTo>
                  <a:pt x="7" y="40"/>
                </a:lnTo>
                <a:lnTo>
                  <a:pt x="5" y="42"/>
                </a:lnTo>
                <a:lnTo>
                  <a:pt x="5" y="42"/>
                </a:lnTo>
                <a:lnTo>
                  <a:pt x="7" y="45"/>
                </a:lnTo>
                <a:lnTo>
                  <a:pt x="7" y="47"/>
                </a:lnTo>
                <a:lnTo>
                  <a:pt x="10" y="50"/>
                </a:lnTo>
                <a:lnTo>
                  <a:pt x="10" y="52"/>
                </a:lnTo>
                <a:lnTo>
                  <a:pt x="12" y="55"/>
                </a:lnTo>
                <a:lnTo>
                  <a:pt x="15" y="55"/>
                </a:lnTo>
                <a:lnTo>
                  <a:pt x="15" y="57"/>
                </a:lnTo>
                <a:lnTo>
                  <a:pt x="15" y="59"/>
                </a:lnTo>
                <a:lnTo>
                  <a:pt x="15" y="62"/>
                </a:lnTo>
                <a:lnTo>
                  <a:pt x="17" y="64"/>
                </a:lnTo>
                <a:lnTo>
                  <a:pt x="17" y="64"/>
                </a:lnTo>
                <a:lnTo>
                  <a:pt x="20" y="64"/>
                </a:lnTo>
                <a:lnTo>
                  <a:pt x="20" y="62"/>
                </a:lnTo>
                <a:lnTo>
                  <a:pt x="22" y="59"/>
                </a:lnTo>
                <a:lnTo>
                  <a:pt x="25" y="59"/>
                </a:lnTo>
                <a:lnTo>
                  <a:pt x="25" y="59"/>
                </a:lnTo>
                <a:lnTo>
                  <a:pt x="25" y="62"/>
                </a:lnTo>
                <a:lnTo>
                  <a:pt x="25" y="64"/>
                </a:lnTo>
                <a:lnTo>
                  <a:pt x="22" y="67"/>
                </a:lnTo>
                <a:lnTo>
                  <a:pt x="25" y="69"/>
                </a:lnTo>
                <a:lnTo>
                  <a:pt x="25" y="69"/>
                </a:lnTo>
                <a:lnTo>
                  <a:pt x="25" y="69"/>
                </a:lnTo>
                <a:lnTo>
                  <a:pt x="27" y="67"/>
                </a:lnTo>
                <a:lnTo>
                  <a:pt x="27" y="67"/>
                </a:lnTo>
                <a:lnTo>
                  <a:pt x="29" y="67"/>
                </a:lnTo>
                <a:lnTo>
                  <a:pt x="32" y="69"/>
                </a:lnTo>
                <a:lnTo>
                  <a:pt x="34" y="67"/>
                </a:lnTo>
                <a:lnTo>
                  <a:pt x="37" y="69"/>
                </a:lnTo>
                <a:lnTo>
                  <a:pt x="37" y="6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 name="Freeform 33"/>
          <p:cNvSpPr>
            <a:spLocks/>
          </p:cNvSpPr>
          <p:nvPr/>
        </p:nvSpPr>
        <p:spPr bwMode="auto">
          <a:xfrm>
            <a:off x="7257546" y="3888722"/>
            <a:ext cx="208763" cy="222726"/>
          </a:xfrm>
          <a:custGeom>
            <a:avLst/>
            <a:gdLst/>
            <a:ahLst/>
            <a:cxnLst>
              <a:cxn ang="0">
                <a:pos x="20" y="20"/>
              </a:cxn>
              <a:cxn ang="0">
                <a:pos x="25" y="15"/>
              </a:cxn>
              <a:cxn ang="0">
                <a:pos x="22" y="3"/>
              </a:cxn>
              <a:cxn ang="0">
                <a:pos x="32" y="0"/>
              </a:cxn>
              <a:cxn ang="0">
                <a:pos x="40" y="7"/>
              </a:cxn>
              <a:cxn ang="0">
                <a:pos x="42" y="15"/>
              </a:cxn>
              <a:cxn ang="0">
                <a:pos x="57" y="27"/>
              </a:cxn>
              <a:cxn ang="0">
                <a:pos x="69" y="25"/>
              </a:cxn>
              <a:cxn ang="0">
                <a:pos x="76" y="32"/>
              </a:cxn>
              <a:cxn ang="0">
                <a:pos x="79" y="37"/>
              </a:cxn>
              <a:cxn ang="0">
                <a:pos x="74" y="47"/>
              </a:cxn>
              <a:cxn ang="0">
                <a:pos x="64" y="49"/>
              </a:cxn>
              <a:cxn ang="0">
                <a:pos x="67" y="57"/>
              </a:cxn>
              <a:cxn ang="0">
                <a:pos x="72" y="64"/>
              </a:cxn>
              <a:cxn ang="0">
                <a:pos x="84" y="67"/>
              </a:cxn>
              <a:cxn ang="0">
                <a:pos x="96" y="79"/>
              </a:cxn>
              <a:cxn ang="0">
                <a:pos x="101" y="89"/>
              </a:cxn>
              <a:cxn ang="0">
                <a:pos x="108" y="94"/>
              </a:cxn>
              <a:cxn ang="0">
                <a:pos x="113" y="98"/>
              </a:cxn>
              <a:cxn ang="0">
                <a:pos x="116" y="103"/>
              </a:cxn>
              <a:cxn ang="0">
                <a:pos x="123" y="106"/>
              </a:cxn>
              <a:cxn ang="0">
                <a:pos x="123" y="108"/>
              </a:cxn>
              <a:cxn ang="0">
                <a:pos x="128" y="116"/>
              </a:cxn>
              <a:cxn ang="0">
                <a:pos x="123" y="126"/>
              </a:cxn>
              <a:cxn ang="0">
                <a:pos x="123" y="135"/>
              </a:cxn>
              <a:cxn ang="0">
                <a:pos x="113" y="133"/>
              </a:cxn>
              <a:cxn ang="0">
                <a:pos x="104" y="133"/>
              </a:cxn>
              <a:cxn ang="0">
                <a:pos x="108" y="143"/>
              </a:cxn>
              <a:cxn ang="0">
                <a:pos x="101" y="138"/>
              </a:cxn>
              <a:cxn ang="0">
                <a:pos x="91" y="133"/>
              </a:cxn>
              <a:cxn ang="0">
                <a:pos x="96" y="126"/>
              </a:cxn>
              <a:cxn ang="0">
                <a:pos x="96" y="118"/>
              </a:cxn>
              <a:cxn ang="0">
                <a:pos x="91" y="111"/>
              </a:cxn>
              <a:cxn ang="0">
                <a:pos x="86" y="106"/>
              </a:cxn>
              <a:cxn ang="0">
                <a:pos x="81" y="98"/>
              </a:cxn>
              <a:cxn ang="0">
                <a:pos x="81" y="89"/>
              </a:cxn>
              <a:cxn ang="0">
                <a:pos x="76" y="81"/>
              </a:cxn>
              <a:cxn ang="0">
                <a:pos x="62" y="69"/>
              </a:cxn>
              <a:cxn ang="0">
                <a:pos x="47" y="79"/>
              </a:cxn>
              <a:cxn ang="0">
                <a:pos x="35" y="71"/>
              </a:cxn>
              <a:cxn ang="0">
                <a:pos x="25" y="79"/>
              </a:cxn>
              <a:cxn ang="0">
                <a:pos x="22" y="67"/>
              </a:cxn>
              <a:cxn ang="0">
                <a:pos x="22" y="59"/>
              </a:cxn>
              <a:cxn ang="0">
                <a:pos x="22" y="49"/>
              </a:cxn>
              <a:cxn ang="0">
                <a:pos x="10" y="49"/>
              </a:cxn>
              <a:cxn ang="0">
                <a:pos x="10" y="39"/>
              </a:cxn>
              <a:cxn ang="0">
                <a:pos x="0" y="32"/>
              </a:cxn>
              <a:cxn ang="0">
                <a:pos x="8" y="27"/>
              </a:cxn>
              <a:cxn ang="0">
                <a:pos x="8" y="20"/>
              </a:cxn>
              <a:cxn ang="0">
                <a:pos x="15" y="15"/>
              </a:cxn>
            </a:cxnLst>
            <a:rect l="0" t="0" r="r" b="b"/>
            <a:pathLst>
              <a:path w="128" h="145">
                <a:moveTo>
                  <a:pt x="15" y="15"/>
                </a:moveTo>
                <a:lnTo>
                  <a:pt x="17" y="17"/>
                </a:lnTo>
                <a:lnTo>
                  <a:pt x="20" y="20"/>
                </a:lnTo>
                <a:lnTo>
                  <a:pt x="22" y="20"/>
                </a:lnTo>
                <a:lnTo>
                  <a:pt x="25" y="20"/>
                </a:lnTo>
                <a:lnTo>
                  <a:pt x="25" y="15"/>
                </a:lnTo>
                <a:lnTo>
                  <a:pt x="25" y="12"/>
                </a:lnTo>
                <a:lnTo>
                  <a:pt x="22" y="7"/>
                </a:lnTo>
                <a:lnTo>
                  <a:pt x="22" y="3"/>
                </a:lnTo>
                <a:lnTo>
                  <a:pt x="25" y="3"/>
                </a:lnTo>
                <a:lnTo>
                  <a:pt x="25" y="0"/>
                </a:lnTo>
                <a:lnTo>
                  <a:pt x="32" y="0"/>
                </a:lnTo>
                <a:lnTo>
                  <a:pt x="32" y="3"/>
                </a:lnTo>
                <a:lnTo>
                  <a:pt x="37" y="3"/>
                </a:lnTo>
                <a:lnTo>
                  <a:pt x="40" y="7"/>
                </a:lnTo>
                <a:lnTo>
                  <a:pt x="42" y="10"/>
                </a:lnTo>
                <a:lnTo>
                  <a:pt x="44" y="12"/>
                </a:lnTo>
                <a:lnTo>
                  <a:pt x="42" y="15"/>
                </a:lnTo>
                <a:lnTo>
                  <a:pt x="47" y="20"/>
                </a:lnTo>
                <a:lnTo>
                  <a:pt x="52" y="27"/>
                </a:lnTo>
                <a:lnTo>
                  <a:pt x="57" y="27"/>
                </a:lnTo>
                <a:lnTo>
                  <a:pt x="62" y="27"/>
                </a:lnTo>
                <a:lnTo>
                  <a:pt x="64" y="25"/>
                </a:lnTo>
                <a:lnTo>
                  <a:pt x="69" y="25"/>
                </a:lnTo>
                <a:lnTo>
                  <a:pt x="72" y="27"/>
                </a:lnTo>
                <a:lnTo>
                  <a:pt x="74" y="30"/>
                </a:lnTo>
                <a:lnTo>
                  <a:pt x="76" y="32"/>
                </a:lnTo>
                <a:lnTo>
                  <a:pt x="76" y="35"/>
                </a:lnTo>
                <a:lnTo>
                  <a:pt x="79" y="35"/>
                </a:lnTo>
                <a:lnTo>
                  <a:pt x="79" y="37"/>
                </a:lnTo>
                <a:lnTo>
                  <a:pt x="79" y="39"/>
                </a:lnTo>
                <a:lnTo>
                  <a:pt x="76" y="44"/>
                </a:lnTo>
                <a:lnTo>
                  <a:pt x="74" y="47"/>
                </a:lnTo>
                <a:lnTo>
                  <a:pt x="72" y="47"/>
                </a:lnTo>
                <a:lnTo>
                  <a:pt x="67" y="49"/>
                </a:lnTo>
                <a:lnTo>
                  <a:pt x="64" y="49"/>
                </a:lnTo>
                <a:lnTo>
                  <a:pt x="64" y="52"/>
                </a:lnTo>
                <a:lnTo>
                  <a:pt x="69" y="54"/>
                </a:lnTo>
                <a:lnTo>
                  <a:pt x="67" y="57"/>
                </a:lnTo>
                <a:lnTo>
                  <a:pt x="67" y="59"/>
                </a:lnTo>
                <a:lnTo>
                  <a:pt x="69" y="59"/>
                </a:lnTo>
                <a:lnTo>
                  <a:pt x="72" y="64"/>
                </a:lnTo>
                <a:lnTo>
                  <a:pt x="76" y="64"/>
                </a:lnTo>
                <a:lnTo>
                  <a:pt x="81" y="67"/>
                </a:lnTo>
                <a:lnTo>
                  <a:pt x="84" y="67"/>
                </a:lnTo>
                <a:lnTo>
                  <a:pt x="89" y="71"/>
                </a:lnTo>
                <a:lnTo>
                  <a:pt x="91" y="74"/>
                </a:lnTo>
                <a:lnTo>
                  <a:pt x="96" y="79"/>
                </a:lnTo>
                <a:lnTo>
                  <a:pt x="96" y="81"/>
                </a:lnTo>
                <a:lnTo>
                  <a:pt x="101" y="86"/>
                </a:lnTo>
                <a:lnTo>
                  <a:pt x="101" y="89"/>
                </a:lnTo>
                <a:lnTo>
                  <a:pt x="104" y="91"/>
                </a:lnTo>
                <a:lnTo>
                  <a:pt x="106" y="91"/>
                </a:lnTo>
                <a:lnTo>
                  <a:pt x="108" y="94"/>
                </a:lnTo>
                <a:lnTo>
                  <a:pt x="108" y="96"/>
                </a:lnTo>
                <a:lnTo>
                  <a:pt x="111" y="98"/>
                </a:lnTo>
                <a:lnTo>
                  <a:pt x="113" y="98"/>
                </a:lnTo>
                <a:lnTo>
                  <a:pt x="116" y="98"/>
                </a:lnTo>
                <a:lnTo>
                  <a:pt x="113" y="101"/>
                </a:lnTo>
                <a:lnTo>
                  <a:pt x="116" y="103"/>
                </a:lnTo>
                <a:lnTo>
                  <a:pt x="118" y="103"/>
                </a:lnTo>
                <a:lnTo>
                  <a:pt x="121" y="106"/>
                </a:lnTo>
                <a:lnTo>
                  <a:pt x="123" y="106"/>
                </a:lnTo>
                <a:lnTo>
                  <a:pt x="126" y="106"/>
                </a:lnTo>
                <a:lnTo>
                  <a:pt x="126" y="106"/>
                </a:lnTo>
                <a:lnTo>
                  <a:pt x="123" y="108"/>
                </a:lnTo>
                <a:lnTo>
                  <a:pt x="123" y="113"/>
                </a:lnTo>
                <a:lnTo>
                  <a:pt x="126" y="116"/>
                </a:lnTo>
                <a:lnTo>
                  <a:pt x="128" y="116"/>
                </a:lnTo>
                <a:lnTo>
                  <a:pt x="128" y="118"/>
                </a:lnTo>
                <a:lnTo>
                  <a:pt x="123" y="123"/>
                </a:lnTo>
                <a:lnTo>
                  <a:pt x="123" y="126"/>
                </a:lnTo>
                <a:lnTo>
                  <a:pt x="126" y="128"/>
                </a:lnTo>
                <a:lnTo>
                  <a:pt x="126" y="133"/>
                </a:lnTo>
                <a:lnTo>
                  <a:pt x="123" y="135"/>
                </a:lnTo>
                <a:lnTo>
                  <a:pt x="118" y="135"/>
                </a:lnTo>
                <a:lnTo>
                  <a:pt x="116" y="133"/>
                </a:lnTo>
                <a:lnTo>
                  <a:pt x="113" y="133"/>
                </a:lnTo>
                <a:lnTo>
                  <a:pt x="113" y="130"/>
                </a:lnTo>
                <a:lnTo>
                  <a:pt x="108" y="130"/>
                </a:lnTo>
                <a:lnTo>
                  <a:pt x="104" y="133"/>
                </a:lnTo>
                <a:lnTo>
                  <a:pt x="108" y="138"/>
                </a:lnTo>
                <a:lnTo>
                  <a:pt x="108" y="140"/>
                </a:lnTo>
                <a:lnTo>
                  <a:pt x="108" y="143"/>
                </a:lnTo>
                <a:lnTo>
                  <a:pt x="108" y="145"/>
                </a:lnTo>
                <a:lnTo>
                  <a:pt x="104" y="143"/>
                </a:lnTo>
                <a:lnTo>
                  <a:pt x="101" y="138"/>
                </a:lnTo>
                <a:lnTo>
                  <a:pt x="96" y="138"/>
                </a:lnTo>
                <a:lnTo>
                  <a:pt x="94" y="135"/>
                </a:lnTo>
                <a:lnTo>
                  <a:pt x="91" y="133"/>
                </a:lnTo>
                <a:lnTo>
                  <a:pt x="94" y="133"/>
                </a:lnTo>
                <a:lnTo>
                  <a:pt x="96" y="130"/>
                </a:lnTo>
                <a:lnTo>
                  <a:pt x="96" y="126"/>
                </a:lnTo>
                <a:lnTo>
                  <a:pt x="94" y="123"/>
                </a:lnTo>
                <a:lnTo>
                  <a:pt x="96" y="121"/>
                </a:lnTo>
                <a:lnTo>
                  <a:pt x="96" y="118"/>
                </a:lnTo>
                <a:lnTo>
                  <a:pt x="96" y="113"/>
                </a:lnTo>
                <a:lnTo>
                  <a:pt x="96" y="113"/>
                </a:lnTo>
                <a:lnTo>
                  <a:pt x="91" y="111"/>
                </a:lnTo>
                <a:lnTo>
                  <a:pt x="91" y="108"/>
                </a:lnTo>
                <a:lnTo>
                  <a:pt x="89" y="106"/>
                </a:lnTo>
                <a:lnTo>
                  <a:pt x="86" y="106"/>
                </a:lnTo>
                <a:lnTo>
                  <a:pt x="84" y="103"/>
                </a:lnTo>
                <a:lnTo>
                  <a:pt x="81" y="101"/>
                </a:lnTo>
                <a:lnTo>
                  <a:pt x="81" y="98"/>
                </a:lnTo>
                <a:lnTo>
                  <a:pt x="81" y="94"/>
                </a:lnTo>
                <a:lnTo>
                  <a:pt x="81" y="91"/>
                </a:lnTo>
                <a:lnTo>
                  <a:pt x="81" y="89"/>
                </a:lnTo>
                <a:lnTo>
                  <a:pt x="81" y="86"/>
                </a:lnTo>
                <a:lnTo>
                  <a:pt x="81" y="84"/>
                </a:lnTo>
                <a:lnTo>
                  <a:pt x="76" y="81"/>
                </a:lnTo>
                <a:lnTo>
                  <a:pt x="69" y="76"/>
                </a:lnTo>
                <a:lnTo>
                  <a:pt x="67" y="71"/>
                </a:lnTo>
                <a:lnTo>
                  <a:pt x="62" y="69"/>
                </a:lnTo>
                <a:lnTo>
                  <a:pt x="54" y="69"/>
                </a:lnTo>
                <a:lnTo>
                  <a:pt x="52" y="76"/>
                </a:lnTo>
                <a:lnTo>
                  <a:pt x="47" y="79"/>
                </a:lnTo>
                <a:lnTo>
                  <a:pt x="42" y="74"/>
                </a:lnTo>
                <a:lnTo>
                  <a:pt x="40" y="74"/>
                </a:lnTo>
                <a:lnTo>
                  <a:pt x="35" y="71"/>
                </a:lnTo>
                <a:lnTo>
                  <a:pt x="30" y="74"/>
                </a:lnTo>
                <a:lnTo>
                  <a:pt x="30" y="76"/>
                </a:lnTo>
                <a:lnTo>
                  <a:pt x="25" y="79"/>
                </a:lnTo>
                <a:lnTo>
                  <a:pt x="22" y="81"/>
                </a:lnTo>
                <a:lnTo>
                  <a:pt x="22" y="71"/>
                </a:lnTo>
                <a:lnTo>
                  <a:pt x="22" y="67"/>
                </a:lnTo>
                <a:lnTo>
                  <a:pt x="20" y="64"/>
                </a:lnTo>
                <a:lnTo>
                  <a:pt x="22" y="62"/>
                </a:lnTo>
                <a:lnTo>
                  <a:pt x="22" y="59"/>
                </a:lnTo>
                <a:lnTo>
                  <a:pt x="20" y="54"/>
                </a:lnTo>
                <a:lnTo>
                  <a:pt x="22" y="52"/>
                </a:lnTo>
                <a:lnTo>
                  <a:pt x="22" y="49"/>
                </a:lnTo>
                <a:lnTo>
                  <a:pt x="15" y="49"/>
                </a:lnTo>
                <a:lnTo>
                  <a:pt x="13" y="52"/>
                </a:lnTo>
                <a:lnTo>
                  <a:pt x="10" y="49"/>
                </a:lnTo>
                <a:lnTo>
                  <a:pt x="8" y="47"/>
                </a:lnTo>
                <a:lnTo>
                  <a:pt x="10" y="44"/>
                </a:lnTo>
                <a:lnTo>
                  <a:pt x="10" y="39"/>
                </a:lnTo>
                <a:lnTo>
                  <a:pt x="8" y="37"/>
                </a:lnTo>
                <a:lnTo>
                  <a:pt x="3" y="37"/>
                </a:lnTo>
                <a:lnTo>
                  <a:pt x="0" y="32"/>
                </a:lnTo>
                <a:lnTo>
                  <a:pt x="3" y="30"/>
                </a:lnTo>
                <a:lnTo>
                  <a:pt x="5" y="30"/>
                </a:lnTo>
                <a:lnTo>
                  <a:pt x="8" y="27"/>
                </a:lnTo>
                <a:lnTo>
                  <a:pt x="8" y="25"/>
                </a:lnTo>
                <a:lnTo>
                  <a:pt x="8" y="22"/>
                </a:lnTo>
                <a:lnTo>
                  <a:pt x="8" y="20"/>
                </a:lnTo>
                <a:lnTo>
                  <a:pt x="13" y="17"/>
                </a:lnTo>
                <a:lnTo>
                  <a:pt x="15" y="15"/>
                </a:lnTo>
                <a:lnTo>
                  <a:pt x="15"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5" name="Freeform 34"/>
          <p:cNvSpPr>
            <a:spLocks noEditPoints="1"/>
          </p:cNvSpPr>
          <p:nvPr/>
        </p:nvSpPr>
        <p:spPr bwMode="auto">
          <a:xfrm>
            <a:off x="7197200" y="3937875"/>
            <a:ext cx="216918" cy="374793"/>
          </a:xfrm>
          <a:custGeom>
            <a:avLst/>
            <a:gdLst/>
            <a:ahLst/>
            <a:cxnLst>
              <a:cxn ang="0">
                <a:pos x="47" y="12"/>
              </a:cxn>
              <a:cxn ang="0">
                <a:pos x="59" y="17"/>
              </a:cxn>
              <a:cxn ang="0">
                <a:pos x="57" y="32"/>
              </a:cxn>
              <a:cxn ang="0">
                <a:pos x="67" y="44"/>
              </a:cxn>
              <a:cxn ang="0">
                <a:pos x="84" y="47"/>
              </a:cxn>
              <a:cxn ang="0">
                <a:pos x="106" y="44"/>
              </a:cxn>
              <a:cxn ang="0">
                <a:pos x="118" y="59"/>
              </a:cxn>
              <a:cxn ang="0">
                <a:pos x="123" y="74"/>
              </a:cxn>
              <a:cxn ang="0">
                <a:pos x="133" y="86"/>
              </a:cxn>
              <a:cxn ang="0">
                <a:pos x="131" y="101"/>
              </a:cxn>
              <a:cxn ang="0">
                <a:pos x="113" y="101"/>
              </a:cxn>
              <a:cxn ang="0">
                <a:pos x="91" y="103"/>
              </a:cxn>
              <a:cxn ang="0">
                <a:pos x="86" y="128"/>
              </a:cxn>
              <a:cxn ang="0">
                <a:pos x="89" y="140"/>
              </a:cxn>
              <a:cxn ang="0">
                <a:pos x="81" y="135"/>
              </a:cxn>
              <a:cxn ang="0">
                <a:pos x="74" y="135"/>
              </a:cxn>
              <a:cxn ang="0">
                <a:pos x="62" y="130"/>
              </a:cxn>
              <a:cxn ang="0">
                <a:pos x="59" y="118"/>
              </a:cxn>
              <a:cxn ang="0">
                <a:pos x="52" y="118"/>
              </a:cxn>
              <a:cxn ang="0">
                <a:pos x="50" y="123"/>
              </a:cxn>
              <a:cxn ang="0">
                <a:pos x="50" y="135"/>
              </a:cxn>
              <a:cxn ang="0">
                <a:pos x="42" y="160"/>
              </a:cxn>
              <a:cxn ang="0">
                <a:pos x="40" y="172"/>
              </a:cxn>
              <a:cxn ang="0">
                <a:pos x="40" y="189"/>
              </a:cxn>
              <a:cxn ang="0">
                <a:pos x="47" y="187"/>
              </a:cxn>
              <a:cxn ang="0">
                <a:pos x="52" y="197"/>
              </a:cxn>
              <a:cxn ang="0">
                <a:pos x="57" y="199"/>
              </a:cxn>
              <a:cxn ang="0">
                <a:pos x="59" y="214"/>
              </a:cxn>
              <a:cxn ang="0">
                <a:pos x="62" y="217"/>
              </a:cxn>
              <a:cxn ang="0">
                <a:pos x="72" y="226"/>
              </a:cxn>
              <a:cxn ang="0">
                <a:pos x="84" y="236"/>
              </a:cxn>
              <a:cxn ang="0">
                <a:pos x="77" y="241"/>
              </a:cxn>
              <a:cxn ang="0">
                <a:pos x="72" y="234"/>
              </a:cxn>
              <a:cxn ang="0">
                <a:pos x="59" y="226"/>
              </a:cxn>
              <a:cxn ang="0">
                <a:pos x="47" y="226"/>
              </a:cxn>
              <a:cxn ang="0">
                <a:pos x="45" y="219"/>
              </a:cxn>
              <a:cxn ang="0">
                <a:pos x="32" y="207"/>
              </a:cxn>
              <a:cxn ang="0">
                <a:pos x="27" y="204"/>
              </a:cxn>
              <a:cxn ang="0">
                <a:pos x="27" y="192"/>
              </a:cxn>
              <a:cxn ang="0">
                <a:pos x="30" y="177"/>
              </a:cxn>
              <a:cxn ang="0">
                <a:pos x="32" y="165"/>
              </a:cxn>
              <a:cxn ang="0">
                <a:pos x="42" y="143"/>
              </a:cxn>
              <a:cxn ang="0">
                <a:pos x="37" y="126"/>
              </a:cxn>
              <a:cxn ang="0">
                <a:pos x="30" y="106"/>
              </a:cxn>
              <a:cxn ang="0">
                <a:pos x="22" y="86"/>
              </a:cxn>
              <a:cxn ang="0">
                <a:pos x="25" y="69"/>
              </a:cxn>
              <a:cxn ang="0">
                <a:pos x="13" y="52"/>
              </a:cxn>
              <a:cxn ang="0">
                <a:pos x="3" y="39"/>
              </a:cxn>
              <a:cxn ang="0">
                <a:pos x="8" y="27"/>
              </a:cxn>
              <a:cxn ang="0">
                <a:pos x="20" y="15"/>
              </a:cxn>
              <a:cxn ang="0">
                <a:pos x="32" y="7"/>
              </a:cxn>
              <a:cxn ang="0">
                <a:pos x="37" y="0"/>
              </a:cxn>
              <a:cxn ang="0">
                <a:pos x="47" y="229"/>
              </a:cxn>
              <a:cxn ang="0">
                <a:pos x="37" y="214"/>
              </a:cxn>
              <a:cxn ang="0">
                <a:pos x="27" y="209"/>
              </a:cxn>
              <a:cxn ang="0">
                <a:pos x="86" y="143"/>
              </a:cxn>
              <a:cxn ang="0">
                <a:pos x="52" y="177"/>
              </a:cxn>
              <a:cxn ang="0">
                <a:pos x="54" y="182"/>
              </a:cxn>
            </a:cxnLst>
            <a:rect l="0" t="0" r="r" b="b"/>
            <a:pathLst>
              <a:path w="133" h="244">
                <a:moveTo>
                  <a:pt x="37" y="0"/>
                </a:moveTo>
                <a:lnTo>
                  <a:pt x="37" y="0"/>
                </a:lnTo>
                <a:lnTo>
                  <a:pt x="40" y="5"/>
                </a:lnTo>
                <a:lnTo>
                  <a:pt x="40" y="5"/>
                </a:lnTo>
                <a:lnTo>
                  <a:pt x="45" y="5"/>
                </a:lnTo>
                <a:lnTo>
                  <a:pt x="45" y="5"/>
                </a:lnTo>
                <a:lnTo>
                  <a:pt x="47" y="7"/>
                </a:lnTo>
                <a:lnTo>
                  <a:pt x="47" y="7"/>
                </a:lnTo>
                <a:lnTo>
                  <a:pt x="47" y="12"/>
                </a:lnTo>
                <a:lnTo>
                  <a:pt x="47" y="12"/>
                </a:lnTo>
                <a:lnTo>
                  <a:pt x="45" y="15"/>
                </a:lnTo>
                <a:lnTo>
                  <a:pt x="45" y="15"/>
                </a:lnTo>
                <a:lnTo>
                  <a:pt x="47" y="17"/>
                </a:lnTo>
                <a:lnTo>
                  <a:pt x="47" y="17"/>
                </a:lnTo>
                <a:lnTo>
                  <a:pt x="50" y="20"/>
                </a:lnTo>
                <a:lnTo>
                  <a:pt x="50" y="20"/>
                </a:lnTo>
                <a:lnTo>
                  <a:pt x="52" y="17"/>
                </a:lnTo>
                <a:lnTo>
                  <a:pt x="52" y="17"/>
                </a:lnTo>
                <a:lnTo>
                  <a:pt x="59" y="17"/>
                </a:lnTo>
                <a:lnTo>
                  <a:pt x="59" y="17"/>
                </a:lnTo>
                <a:lnTo>
                  <a:pt x="59" y="20"/>
                </a:lnTo>
                <a:lnTo>
                  <a:pt x="59" y="20"/>
                </a:lnTo>
                <a:lnTo>
                  <a:pt x="57" y="22"/>
                </a:lnTo>
                <a:lnTo>
                  <a:pt x="57" y="22"/>
                </a:lnTo>
                <a:lnTo>
                  <a:pt x="59" y="27"/>
                </a:lnTo>
                <a:lnTo>
                  <a:pt x="59" y="27"/>
                </a:lnTo>
                <a:lnTo>
                  <a:pt x="59" y="30"/>
                </a:lnTo>
                <a:lnTo>
                  <a:pt x="59" y="30"/>
                </a:lnTo>
                <a:lnTo>
                  <a:pt x="57" y="32"/>
                </a:lnTo>
                <a:lnTo>
                  <a:pt x="57" y="32"/>
                </a:lnTo>
                <a:lnTo>
                  <a:pt x="59" y="35"/>
                </a:lnTo>
                <a:lnTo>
                  <a:pt x="59" y="35"/>
                </a:lnTo>
                <a:lnTo>
                  <a:pt x="59" y="39"/>
                </a:lnTo>
                <a:lnTo>
                  <a:pt x="59" y="39"/>
                </a:lnTo>
                <a:lnTo>
                  <a:pt x="59" y="49"/>
                </a:lnTo>
                <a:lnTo>
                  <a:pt x="59" y="49"/>
                </a:lnTo>
                <a:lnTo>
                  <a:pt x="62" y="47"/>
                </a:lnTo>
                <a:lnTo>
                  <a:pt x="62" y="47"/>
                </a:lnTo>
                <a:lnTo>
                  <a:pt x="67" y="44"/>
                </a:lnTo>
                <a:lnTo>
                  <a:pt x="67" y="44"/>
                </a:lnTo>
                <a:lnTo>
                  <a:pt x="67" y="42"/>
                </a:lnTo>
                <a:lnTo>
                  <a:pt x="67" y="42"/>
                </a:lnTo>
                <a:lnTo>
                  <a:pt x="72" y="39"/>
                </a:lnTo>
                <a:lnTo>
                  <a:pt x="72" y="39"/>
                </a:lnTo>
                <a:lnTo>
                  <a:pt x="77" y="42"/>
                </a:lnTo>
                <a:lnTo>
                  <a:pt x="77" y="42"/>
                </a:lnTo>
                <a:lnTo>
                  <a:pt x="79" y="42"/>
                </a:lnTo>
                <a:lnTo>
                  <a:pt x="79" y="42"/>
                </a:lnTo>
                <a:lnTo>
                  <a:pt x="84" y="47"/>
                </a:lnTo>
                <a:lnTo>
                  <a:pt x="84" y="47"/>
                </a:lnTo>
                <a:lnTo>
                  <a:pt x="89" y="44"/>
                </a:lnTo>
                <a:lnTo>
                  <a:pt x="89" y="44"/>
                </a:lnTo>
                <a:lnTo>
                  <a:pt x="91" y="37"/>
                </a:lnTo>
                <a:lnTo>
                  <a:pt x="91" y="37"/>
                </a:lnTo>
                <a:lnTo>
                  <a:pt x="99" y="37"/>
                </a:lnTo>
                <a:lnTo>
                  <a:pt x="99" y="37"/>
                </a:lnTo>
                <a:lnTo>
                  <a:pt x="104" y="39"/>
                </a:lnTo>
                <a:lnTo>
                  <a:pt x="104" y="39"/>
                </a:lnTo>
                <a:lnTo>
                  <a:pt x="106" y="44"/>
                </a:lnTo>
                <a:lnTo>
                  <a:pt x="106" y="44"/>
                </a:lnTo>
                <a:lnTo>
                  <a:pt x="113" y="49"/>
                </a:lnTo>
                <a:lnTo>
                  <a:pt x="113" y="49"/>
                </a:lnTo>
                <a:lnTo>
                  <a:pt x="118" y="52"/>
                </a:lnTo>
                <a:lnTo>
                  <a:pt x="118" y="52"/>
                </a:lnTo>
                <a:lnTo>
                  <a:pt x="118" y="54"/>
                </a:lnTo>
                <a:lnTo>
                  <a:pt x="118" y="54"/>
                </a:lnTo>
                <a:lnTo>
                  <a:pt x="118" y="57"/>
                </a:lnTo>
                <a:lnTo>
                  <a:pt x="118" y="57"/>
                </a:lnTo>
                <a:lnTo>
                  <a:pt x="118" y="59"/>
                </a:lnTo>
                <a:lnTo>
                  <a:pt x="118" y="59"/>
                </a:lnTo>
                <a:lnTo>
                  <a:pt x="118" y="62"/>
                </a:lnTo>
                <a:lnTo>
                  <a:pt x="118" y="62"/>
                </a:lnTo>
                <a:lnTo>
                  <a:pt x="118" y="66"/>
                </a:lnTo>
                <a:lnTo>
                  <a:pt x="118" y="66"/>
                </a:lnTo>
                <a:lnTo>
                  <a:pt x="118" y="69"/>
                </a:lnTo>
                <a:lnTo>
                  <a:pt x="118" y="69"/>
                </a:lnTo>
                <a:lnTo>
                  <a:pt x="121" y="71"/>
                </a:lnTo>
                <a:lnTo>
                  <a:pt x="121" y="71"/>
                </a:lnTo>
                <a:lnTo>
                  <a:pt x="123" y="74"/>
                </a:lnTo>
                <a:lnTo>
                  <a:pt x="123" y="74"/>
                </a:lnTo>
                <a:lnTo>
                  <a:pt x="126" y="74"/>
                </a:lnTo>
                <a:lnTo>
                  <a:pt x="126" y="74"/>
                </a:lnTo>
                <a:lnTo>
                  <a:pt x="128" y="76"/>
                </a:lnTo>
                <a:lnTo>
                  <a:pt x="128" y="76"/>
                </a:lnTo>
                <a:lnTo>
                  <a:pt x="128" y="79"/>
                </a:lnTo>
                <a:lnTo>
                  <a:pt x="128" y="79"/>
                </a:lnTo>
                <a:lnTo>
                  <a:pt x="133" y="81"/>
                </a:lnTo>
                <a:lnTo>
                  <a:pt x="133" y="81"/>
                </a:lnTo>
                <a:lnTo>
                  <a:pt x="133" y="81"/>
                </a:lnTo>
                <a:lnTo>
                  <a:pt x="133" y="86"/>
                </a:lnTo>
                <a:lnTo>
                  <a:pt x="133" y="86"/>
                </a:lnTo>
                <a:lnTo>
                  <a:pt x="133" y="89"/>
                </a:lnTo>
                <a:lnTo>
                  <a:pt x="133" y="89"/>
                </a:lnTo>
                <a:lnTo>
                  <a:pt x="131" y="91"/>
                </a:lnTo>
                <a:lnTo>
                  <a:pt x="131" y="91"/>
                </a:lnTo>
                <a:lnTo>
                  <a:pt x="133" y="94"/>
                </a:lnTo>
                <a:lnTo>
                  <a:pt x="133" y="94"/>
                </a:lnTo>
                <a:lnTo>
                  <a:pt x="133" y="98"/>
                </a:lnTo>
                <a:lnTo>
                  <a:pt x="133" y="98"/>
                </a:lnTo>
                <a:lnTo>
                  <a:pt x="131" y="101"/>
                </a:lnTo>
                <a:lnTo>
                  <a:pt x="131" y="101"/>
                </a:lnTo>
                <a:lnTo>
                  <a:pt x="126" y="103"/>
                </a:lnTo>
                <a:lnTo>
                  <a:pt x="126" y="103"/>
                </a:lnTo>
                <a:lnTo>
                  <a:pt x="123" y="101"/>
                </a:lnTo>
                <a:lnTo>
                  <a:pt x="123" y="101"/>
                </a:lnTo>
                <a:lnTo>
                  <a:pt x="118" y="101"/>
                </a:lnTo>
                <a:lnTo>
                  <a:pt x="118" y="101"/>
                </a:lnTo>
                <a:lnTo>
                  <a:pt x="116" y="101"/>
                </a:lnTo>
                <a:lnTo>
                  <a:pt x="116" y="101"/>
                </a:lnTo>
                <a:lnTo>
                  <a:pt x="113" y="101"/>
                </a:lnTo>
                <a:lnTo>
                  <a:pt x="113" y="101"/>
                </a:lnTo>
                <a:lnTo>
                  <a:pt x="109" y="101"/>
                </a:lnTo>
                <a:lnTo>
                  <a:pt x="109" y="101"/>
                </a:lnTo>
                <a:lnTo>
                  <a:pt x="106" y="101"/>
                </a:lnTo>
                <a:lnTo>
                  <a:pt x="106" y="101"/>
                </a:lnTo>
                <a:lnTo>
                  <a:pt x="104" y="101"/>
                </a:lnTo>
                <a:lnTo>
                  <a:pt x="104" y="101"/>
                </a:lnTo>
                <a:lnTo>
                  <a:pt x="96" y="103"/>
                </a:lnTo>
                <a:lnTo>
                  <a:pt x="96" y="103"/>
                </a:lnTo>
                <a:lnTo>
                  <a:pt x="91" y="103"/>
                </a:lnTo>
                <a:lnTo>
                  <a:pt x="91" y="103"/>
                </a:lnTo>
                <a:lnTo>
                  <a:pt x="89" y="108"/>
                </a:lnTo>
                <a:lnTo>
                  <a:pt x="89" y="108"/>
                </a:lnTo>
                <a:lnTo>
                  <a:pt x="89" y="111"/>
                </a:lnTo>
                <a:lnTo>
                  <a:pt x="89" y="111"/>
                </a:lnTo>
                <a:lnTo>
                  <a:pt x="86" y="116"/>
                </a:lnTo>
                <a:lnTo>
                  <a:pt x="86" y="116"/>
                </a:lnTo>
                <a:lnTo>
                  <a:pt x="84" y="121"/>
                </a:lnTo>
                <a:lnTo>
                  <a:pt x="84" y="121"/>
                </a:lnTo>
                <a:lnTo>
                  <a:pt x="86" y="128"/>
                </a:lnTo>
                <a:lnTo>
                  <a:pt x="86" y="128"/>
                </a:lnTo>
                <a:lnTo>
                  <a:pt x="89" y="128"/>
                </a:lnTo>
                <a:lnTo>
                  <a:pt x="89" y="128"/>
                </a:lnTo>
                <a:lnTo>
                  <a:pt x="91" y="133"/>
                </a:lnTo>
                <a:lnTo>
                  <a:pt x="91" y="133"/>
                </a:lnTo>
                <a:lnTo>
                  <a:pt x="91" y="138"/>
                </a:lnTo>
                <a:lnTo>
                  <a:pt x="91" y="138"/>
                </a:lnTo>
                <a:lnTo>
                  <a:pt x="89" y="140"/>
                </a:lnTo>
                <a:lnTo>
                  <a:pt x="89" y="140"/>
                </a:lnTo>
                <a:lnTo>
                  <a:pt x="89" y="140"/>
                </a:lnTo>
                <a:lnTo>
                  <a:pt x="89" y="143"/>
                </a:lnTo>
                <a:lnTo>
                  <a:pt x="89" y="143"/>
                </a:lnTo>
                <a:lnTo>
                  <a:pt x="89" y="143"/>
                </a:lnTo>
                <a:lnTo>
                  <a:pt x="86" y="140"/>
                </a:lnTo>
                <a:lnTo>
                  <a:pt x="86" y="140"/>
                </a:lnTo>
                <a:lnTo>
                  <a:pt x="84" y="138"/>
                </a:lnTo>
                <a:lnTo>
                  <a:pt x="84" y="138"/>
                </a:lnTo>
                <a:lnTo>
                  <a:pt x="84" y="138"/>
                </a:lnTo>
                <a:lnTo>
                  <a:pt x="84" y="138"/>
                </a:lnTo>
                <a:lnTo>
                  <a:pt x="81" y="135"/>
                </a:lnTo>
                <a:lnTo>
                  <a:pt x="81" y="135"/>
                </a:lnTo>
                <a:lnTo>
                  <a:pt x="77" y="133"/>
                </a:lnTo>
                <a:lnTo>
                  <a:pt x="77" y="133"/>
                </a:lnTo>
                <a:lnTo>
                  <a:pt x="74" y="130"/>
                </a:lnTo>
                <a:lnTo>
                  <a:pt x="74" y="130"/>
                </a:lnTo>
                <a:lnTo>
                  <a:pt x="74" y="133"/>
                </a:lnTo>
                <a:lnTo>
                  <a:pt x="74" y="133"/>
                </a:lnTo>
                <a:lnTo>
                  <a:pt x="74" y="133"/>
                </a:lnTo>
                <a:lnTo>
                  <a:pt x="74" y="135"/>
                </a:lnTo>
                <a:lnTo>
                  <a:pt x="74" y="135"/>
                </a:lnTo>
                <a:lnTo>
                  <a:pt x="72" y="133"/>
                </a:lnTo>
                <a:lnTo>
                  <a:pt x="72" y="133"/>
                </a:lnTo>
                <a:lnTo>
                  <a:pt x="69" y="133"/>
                </a:lnTo>
                <a:lnTo>
                  <a:pt x="69" y="133"/>
                </a:lnTo>
                <a:lnTo>
                  <a:pt x="64" y="133"/>
                </a:lnTo>
                <a:lnTo>
                  <a:pt x="64" y="133"/>
                </a:lnTo>
                <a:lnTo>
                  <a:pt x="64" y="133"/>
                </a:lnTo>
                <a:lnTo>
                  <a:pt x="62" y="133"/>
                </a:lnTo>
                <a:lnTo>
                  <a:pt x="62" y="133"/>
                </a:lnTo>
                <a:lnTo>
                  <a:pt x="62" y="130"/>
                </a:lnTo>
                <a:lnTo>
                  <a:pt x="62" y="130"/>
                </a:lnTo>
                <a:lnTo>
                  <a:pt x="62" y="130"/>
                </a:lnTo>
                <a:lnTo>
                  <a:pt x="62" y="128"/>
                </a:lnTo>
                <a:lnTo>
                  <a:pt x="62" y="128"/>
                </a:lnTo>
                <a:lnTo>
                  <a:pt x="62" y="123"/>
                </a:lnTo>
                <a:lnTo>
                  <a:pt x="62" y="123"/>
                </a:lnTo>
                <a:lnTo>
                  <a:pt x="62" y="121"/>
                </a:lnTo>
                <a:lnTo>
                  <a:pt x="62" y="121"/>
                </a:lnTo>
                <a:lnTo>
                  <a:pt x="62" y="121"/>
                </a:lnTo>
                <a:lnTo>
                  <a:pt x="59" y="118"/>
                </a:lnTo>
                <a:lnTo>
                  <a:pt x="59" y="118"/>
                </a:lnTo>
                <a:lnTo>
                  <a:pt x="59" y="118"/>
                </a:lnTo>
                <a:lnTo>
                  <a:pt x="57" y="118"/>
                </a:lnTo>
                <a:lnTo>
                  <a:pt x="57" y="118"/>
                </a:lnTo>
                <a:lnTo>
                  <a:pt x="57" y="118"/>
                </a:lnTo>
                <a:lnTo>
                  <a:pt x="54" y="121"/>
                </a:lnTo>
                <a:lnTo>
                  <a:pt x="54" y="121"/>
                </a:lnTo>
                <a:lnTo>
                  <a:pt x="52" y="121"/>
                </a:lnTo>
                <a:lnTo>
                  <a:pt x="52" y="121"/>
                </a:lnTo>
                <a:lnTo>
                  <a:pt x="52" y="118"/>
                </a:lnTo>
                <a:lnTo>
                  <a:pt x="52" y="118"/>
                </a:lnTo>
                <a:lnTo>
                  <a:pt x="50" y="121"/>
                </a:lnTo>
                <a:lnTo>
                  <a:pt x="50" y="121"/>
                </a:lnTo>
                <a:lnTo>
                  <a:pt x="47" y="121"/>
                </a:lnTo>
                <a:lnTo>
                  <a:pt x="47" y="121"/>
                </a:lnTo>
                <a:lnTo>
                  <a:pt x="47" y="121"/>
                </a:lnTo>
                <a:lnTo>
                  <a:pt x="47" y="121"/>
                </a:lnTo>
                <a:lnTo>
                  <a:pt x="47" y="123"/>
                </a:lnTo>
                <a:lnTo>
                  <a:pt x="47" y="123"/>
                </a:lnTo>
                <a:lnTo>
                  <a:pt x="50" y="123"/>
                </a:lnTo>
                <a:lnTo>
                  <a:pt x="50" y="123"/>
                </a:lnTo>
                <a:lnTo>
                  <a:pt x="50" y="126"/>
                </a:lnTo>
                <a:lnTo>
                  <a:pt x="50" y="126"/>
                </a:lnTo>
                <a:lnTo>
                  <a:pt x="47" y="128"/>
                </a:lnTo>
                <a:lnTo>
                  <a:pt x="47" y="128"/>
                </a:lnTo>
                <a:lnTo>
                  <a:pt x="47" y="133"/>
                </a:lnTo>
                <a:lnTo>
                  <a:pt x="47" y="133"/>
                </a:lnTo>
                <a:lnTo>
                  <a:pt x="47" y="135"/>
                </a:lnTo>
                <a:lnTo>
                  <a:pt x="47" y="135"/>
                </a:lnTo>
                <a:lnTo>
                  <a:pt x="50" y="135"/>
                </a:lnTo>
                <a:lnTo>
                  <a:pt x="50" y="135"/>
                </a:lnTo>
                <a:lnTo>
                  <a:pt x="47" y="140"/>
                </a:lnTo>
                <a:lnTo>
                  <a:pt x="47" y="140"/>
                </a:lnTo>
                <a:lnTo>
                  <a:pt x="47" y="143"/>
                </a:lnTo>
                <a:lnTo>
                  <a:pt x="47" y="143"/>
                </a:lnTo>
                <a:lnTo>
                  <a:pt x="45" y="145"/>
                </a:lnTo>
                <a:lnTo>
                  <a:pt x="45" y="145"/>
                </a:lnTo>
                <a:lnTo>
                  <a:pt x="42" y="148"/>
                </a:lnTo>
                <a:lnTo>
                  <a:pt x="42" y="148"/>
                </a:lnTo>
                <a:lnTo>
                  <a:pt x="42" y="160"/>
                </a:lnTo>
                <a:lnTo>
                  <a:pt x="42" y="160"/>
                </a:lnTo>
                <a:lnTo>
                  <a:pt x="40" y="165"/>
                </a:lnTo>
                <a:lnTo>
                  <a:pt x="40" y="165"/>
                </a:lnTo>
                <a:lnTo>
                  <a:pt x="40" y="167"/>
                </a:lnTo>
                <a:lnTo>
                  <a:pt x="40" y="167"/>
                </a:lnTo>
                <a:lnTo>
                  <a:pt x="37" y="172"/>
                </a:lnTo>
                <a:lnTo>
                  <a:pt x="37" y="172"/>
                </a:lnTo>
                <a:lnTo>
                  <a:pt x="40" y="172"/>
                </a:lnTo>
                <a:lnTo>
                  <a:pt x="40" y="172"/>
                </a:lnTo>
                <a:lnTo>
                  <a:pt x="40" y="172"/>
                </a:lnTo>
                <a:lnTo>
                  <a:pt x="37" y="175"/>
                </a:lnTo>
                <a:lnTo>
                  <a:pt x="37" y="175"/>
                </a:lnTo>
                <a:lnTo>
                  <a:pt x="37" y="175"/>
                </a:lnTo>
                <a:lnTo>
                  <a:pt x="40" y="180"/>
                </a:lnTo>
                <a:lnTo>
                  <a:pt x="40" y="180"/>
                </a:lnTo>
                <a:lnTo>
                  <a:pt x="40" y="182"/>
                </a:lnTo>
                <a:lnTo>
                  <a:pt x="40" y="182"/>
                </a:lnTo>
                <a:lnTo>
                  <a:pt x="42" y="185"/>
                </a:lnTo>
                <a:lnTo>
                  <a:pt x="42" y="185"/>
                </a:lnTo>
                <a:lnTo>
                  <a:pt x="40" y="189"/>
                </a:lnTo>
                <a:lnTo>
                  <a:pt x="40" y="189"/>
                </a:lnTo>
                <a:lnTo>
                  <a:pt x="42" y="189"/>
                </a:lnTo>
                <a:lnTo>
                  <a:pt x="42" y="189"/>
                </a:lnTo>
                <a:lnTo>
                  <a:pt x="42" y="189"/>
                </a:lnTo>
                <a:lnTo>
                  <a:pt x="42" y="187"/>
                </a:lnTo>
                <a:lnTo>
                  <a:pt x="42" y="187"/>
                </a:lnTo>
                <a:lnTo>
                  <a:pt x="45" y="187"/>
                </a:lnTo>
                <a:lnTo>
                  <a:pt x="45" y="187"/>
                </a:lnTo>
                <a:lnTo>
                  <a:pt x="45" y="187"/>
                </a:lnTo>
                <a:lnTo>
                  <a:pt x="47" y="187"/>
                </a:lnTo>
                <a:lnTo>
                  <a:pt x="47" y="187"/>
                </a:lnTo>
                <a:lnTo>
                  <a:pt x="50" y="189"/>
                </a:lnTo>
                <a:lnTo>
                  <a:pt x="50" y="189"/>
                </a:lnTo>
                <a:lnTo>
                  <a:pt x="50" y="192"/>
                </a:lnTo>
                <a:lnTo>
                  <a:pt x="50" y="192"/>
                </a:lnTo>
                <a:lnTo>
                  <a:pt x="52" y="194"/>
                </a:lnTo>
                <a:lnTo>
                  <a:pt x="52" y="194"/>
                </a:lnTo>
                <a:lnTo>
                  <a:pt x="50" y="197"/>
                </a:lnTo>
                <a:lnTo>
                  <a:pt x="50" y="197"/>
                </a:lnTo>
                <a:lnTo>
                  <a:pt x="52" y="197"/>
                </a:lnTo>
                <a:lnTo>
                  <a:pt x="52" y="197"/>
                </a:lnTo>
                <a:lnTo>
                  <a:pt x="54" y="202"/>
                </a:lnTo>
                <a:lnTo>
                  <a:pt x="54" y="202"/>
                </a:lnTo>
                <a:lnTo>
                  <a:pt x="54" y="202"/>
                </a:lnTo>
                <a:lnTo>
                  <a:pt x="54" y="199"/>
                </a:lnTo>
                <a:lnTo>
                  <a:pt x="54" y="199"/>
                </a:lnTo>
                <a:lnTo>
                  <a:pt x="57" y="197"/>
                </a:lnTo>
                <a:lnTo>
                  <a:pt x="57" y="197"/>
                </a:lnTo>
                <a:lnTo>
                  <a:pt x="57" y="199"/>
                </a:lnTo>
                <a:lnTo>
                  <a:pt x="57" y="199"/>
                </a:lnTo>
                <a:lnTo>
                  <a:pt x="59" y="202"/>
                </a:lnTo>
                <a:lnTo>
                  <a:pt x="59" y="202"/>
                </a:lnTo>
                <a:lnTo>
                  <a:pt x="59" y="204"/>
                </a:lnTo>
                <a:lnTo>
                  <a:pt x="59" y="204"/>
                </a:lnTo>
                <a:lnTo>
                  <a:pt x="59" y="207"/>
                </a:lnTo>
                <a:lnTo>
                  <a:pt x="59" y="207"/>
                </a:lnTo>
                <a:lnTo>
                  <a:pt x="62" y="212"/>
                </a:lnTo>
                <a:lnTo>
                  <a:pt x="62" y="212"/>
                </a:lnTo>
                <a:lnTo>
                  <a:pt x="59" y="214"/>
                </a:lnTo>
                <a:lnTo>
                  <a:pt x="59" y="214"/>
                </a:lnTo>
                <a:lnTo>
                  <a:pt x="59" y="214"/>
                </a:lnTo>
                <a:lnTo>
                  <a:pt x="59" y="214"/>
                </a:lnTo>
                <a:lnTo>
                  <a:pt x="57" y="214"/>
                </a:lnTo>
                <a:lnTo>
                  <a:pt x="57" y="214"/>
                </a:lnTo>
                <a:lnTo>
                  <a:pt x="57" y="217"/>
                </a:lnTo>
                <a:lnTo>
                  <a:pt x="57" y="217"/>
                </a:lnTo>
                <a:lnTo>
                  <a:pt x="62" y="219"/>
                </a:lnTo>
                <a:lnTo>
                  <a:pt x="62" y="219"/>
                </a:lnTo>
                <a:lnTo>
                  <a:pt x="62" y="217"/>
                </a:lnTo>
                <a:lnTo>
                  <a:pt x="62" y="217"/>
                </a:lnTo>
                <a:lnTo>
                  <a:pt x="62" y="217"/>
                </a:lnTo>
                <a:lnTo>
                  <a:pt x="62" y="219"/>
                </a:lnTo>
                <a:lnTo>
                  <a:pt x="62" y="219"/>
                </a:lnTo>
                <a:lnTo>
                  <a:pt x="64" y="221"/>
                </a:lnTo>
                <a:lnTo>
                  <a:pt x="64" y="221"/>
                </a:lnTo>
                <a:lnTo>
                  <a:pt x="69" y="226"/>
                </a:lnTo>
                <a:lnTo>
                  <a:pt x="69" y="226"/>
                </a:lnTo>
                <a:lnTo>
                  <a:pt x="72" y="226"/>
                </a:lnTo>
                <a:lnTo>
                  <a:pt x="72" y="226"/>
                </a:lnTo>
                <a:lnTo>
                  <a:pt x="72" y="226"/>
                </a:lnTo>
                <a:lnTo>
                  <a:pt x="74" y="226"/>
                </a:lnTo>
                <a:lnTo>
                  <a:pt x="74" y="226"/>
                </a:lnTo>
                <a:lnTo>
                  <a:pt x="79" y="229"/>
                </a:lnTo>
                <a:lnTo>
                  <a:pt x="79" y="229"/>
                </a:lnTo>
                <a:lnTo>
                  <a:pt x="79" y="234"/>
                </a:lnTo>
                <a:lnTo>
                  <a:pt x="79" y="234"/>
                </a:lnTo>
                <a:lnTo>
                  <a:pt x="81" y="234"/>
                </a:lnTo>
                <a:lnTo>
                  <a:pt x="81" y="234"/>
                </a:lnTo>
                <a:lnTo>
                  <a:pt x="84" y="236"/>
                </a:lnTo>
                <a:lnTo>
                  <a:pt x="84" y="236"/>
                </a:lnTo>
                <a:lnTo>
                  <a:pt x="84" y="239"/>
                </a:lnTo>
                <a:lnTo>
                  <a:pt x="84" y="239"/>
                </a:lnTo>
                <a:lnTo>
                  <a:pt x="84" y="239"/>
                </a:lnTo>
                <a:lnTo>
                  <a:pt x="84" y="241"/>
                </a:lnTo>
                <a:lnTo>
                  <a:pt x="84" y="241"/>
                </a:lnTo>
                <a:lnTo>
                  <a:pt x="81" y="244"/>
                </a:lnTo>
                <a:lnTo>
                  <a:pt x="81" y="244"/>
                </a:lnTo>
                <a:lnTo>
                  <a:pt x="79" y="241"/>
                </a:lnTo>
                <a:lnTo>
                  <a:pt x="79" y="241"/>
                </a:lnTo>
                <a:lnTo>
                  <a:pt x="77" y="241"/>
                </a:lnTo>
                <a:lnTo>
                  <a:pt x="77" y="241"/>
                </a:lnTo>
                <a:lnTo>
                  <a:pt x="74" y="244"/>
                </a:lnTo>
                <a:lnTo>
                  <a:pt x="74" y="244"/>
                </a:lnTo>
                <a:lnTo>
                  <a:pt x="69" y="244"/>
                </a:lnTo>
                <a:lnTo>
                  <a:pt x="69" y="244"/>
                </a:lnTo>
                <a:lnTo>
                  <a:pt x="69" y="241"/>
                </a:lnTo>
                <a:lnTo>
                  <a:pt x="69" y="241"/>
                </a:lnTo>
                <a:lnTo>
                  <a:pt x="72" y="239"/>
                </a:lnTo>
                <a:lnTo>
                  <a:pt x="72" y="239"/>
                </a:lnTo>
                <a:lnTo>
                  <a:pt x="72" y="234"/>
                </a:lnTo>
                <a:lnTo>
                  <a:pt x="72" y="234"/>
                </a:lnTo>
                <a:lnTo>
                  <a:pt x="69" y="234"/>
                </a:lnTo>
                <a:lnTo>
                  <a:pt x="69" y="234"/>
                </a:lnTo>
                <a:lnTo>
                  <a:pt x="67" y="234"/>
                </a:lnTo>
                <a:lnTo>
                  <a:pt x="67" y="234"/>
                </a:lnTo>
                <a:lnTo>
                  <a:pt x="67" y="231"/>
                </a:lnTo>
                <a:lnTo>
                  <a:pt x="67" y="231"/>
                </a:lnTo>
                <a:lnTo>
                  <a:pt x="62" y="229"/>
                </a:lnTo>
                <a:lnTo>
                  <a:pt x="62" y="229"/>
                </a:lnTo>
                <a:lnTo>
                  <a:pt x="59" y="226"/>
                </a:lnTo>
                <a:lnTo>
                  <a:pt x="59" y="226"/>
                </a:lnTo>
                <a:lnTo>
                  <a:pt x="57" y="229"/>
                </a:lnTo>
                <a:lnTo>
                  <a:pt x="57" y="229"/>
                </a:lnTo>
                <a:lnTo>
                  <a:pt x="57" y="234"/>
                </a:lnTo>
                <a:lnTo>
                  <a:pt x="57" y="234"/>
                </a:lnTo>
                <a:lnTo>
                  <a:pt x="54" y="231"/>
                </a:lnTo>
                <a:lnTo>
                  <a:pt x="54" y="231"/>
                </a:lnTo>
                <a:lnTo>
                  <a:pt x="47" y="226"/>
                </a:lnTo>
                <a:lnTo>
                  <a:pt x="47" y="226"/>
                </a:lnTo>
                <a:lnTo>
                  <a:pt x="47" y="226"/>
                </a:lnTo>
                <a:lnTo>
                  <a:pt x="50" y="224"/>
                </a:lnTo>
                <a:lnTo>
                  <a:pt x="50" y="224"/>
                </a:lnTo>
                <a:lnTo>
                  <a:pt x="50" y="221"/>
                </a:lnTo>
                <a:lnTo>
                  <a:pt x="50" y="221"/>
                </a:lnTo>
                <a:lnTo>
                  <a:pt x="47" y="221"/>
                </a:lnTo>
                <a:lnTo>
                  <a:pt x="47" y="221"/>
                </a:lnTo>
                <a:lnTo>
                  <a:pt x="47" y="219"/>
                </a:lnTo>
                <a:lnTo>
                  <a:pt x="47" y="219"/>
                </a:lnTo>
                <a:lnTo>
                  <a:pt x="45" y="219"/>
                </a:lnTo>
                <a:lnTo>
                  <a:pt x="45" y="219"/>
                </a:lnTo>
                <a:lnTo>
                  <a:pt x="45" y="217"/>
                </a:lnTo>
                <a:lnTo>
                  <a:pt x="45" y="217"/>
                </a:lnTo>
                <a:lnTo>
                  <a:pt x="40" y="212"/>
                </a:lnTo>
                <a:lnTo>
                  <a:pt x="40" y="212"/>
                </a:lnTo>
                <a:lnTo>
                  <a:pt x="37" y="212"/>
                </a:lnTo>
                <a:lnTo>
                  <a:pt x="37" y="212"/>
                </a:lnTo>
                <a:lnTo>
                  <a:pt x="35" y="207"/>
                </a:lnTo>
                <a:lnTo>
                  <a:pt x="35" y="207"/>
                </a:lnTo>
                <a:lnTo>
                  <a:pt x="32" y="207"/>
                </a:lnTo>
                <a:lnTo>
                  <a:pt x="32" y="207"/>
                </a:lnTo>
                <a:lnTo>
                  <a:pt x="32" y="204"/>
                </a:lnTo>
                <a:lnTo>
                  <a:pt x="32" y="204"/>
                </a:lnTo>
                <a:lnTo>
                  <a:pt x="32" y="202"/>
                </a:lnTo>
                <a:lnTo>
                  <a:pt x="32" y="202"/>
                </a:lnTo>
                <a:lnTo>
                  <a:pt x="32" y="202"/>
                </a:lnTo>
                <a:lnTo>
                  <a:pt x="27" y="202"/>
                </a:lnTo>
                <a:lnTo>
                  <a:pt x="27" y="202"/>
                </a:lnTo>
                <a:lnTo>
                  <a:pt x="30" y="204"/>
                </a:lnTo>
                <a:lnTo>
                  <a:pt x="30" y="204"/>
                </a:lnTo>
                <a:lnTo>
                  <a:pt x="27" y="204"/>
                </a:lnTo>
                <a:lnTo>
                  <a:pt x="27" y="204"/>
                </a:lnTo>
                <a:lnTo>
                  <a:pt x="25" y="202"/>
                </a:lnTo>
                <a:lnTo>
                  <a:pt x="25" y="202"/>
                </a:lnTo>
                <a:lnTo>
                  <a:pt x="25" y="197"/>
                </a:lnTo>
                <a:lnTo>
                  <a:pt x="25" y="197"/>
                </a:lnTo>
                <a:lnTo>
                  <a:pt x="25" y="197"/>
                </a:lnTo>
                <a:lnTo>
                  <a:pt x="25" y="192"/>
                </a:lnTo>
                <a:lnTo>
                  <a:pt x="25" y="192"/>
                </a:lnTo>
                <a:lnTo>
                  <a:pt x="27" y="192"/>
                </a:lnTo>
                <a:lnTo>
                  <a:pt x="27" y="192"/>
                </a:lnTo>
                <a:lnTo>
                  <a:pt x="27" y="185"/>
                </a:lnTo>
                <a:lnTo>
                  <a:pt x="27" y="185"/>
                </a:lnTo>
                <a:lnTo>
                  <a:pt x="27" y="185"/>
                </a:lnTo>
                <a:lnTo>
                  <a:pt x="30" y="182"/>
                </a:lnTo>
                <a:lnTo>
                  <a:pt x="30" y="182"/>
                </a:lnTo>
                <a:lnTo>
                  <a:pt x="27" y="182"/>
                </a:lnTo>
                <a:lnTo>
                  <a:pt x="27" y="182"/>
                </a:lnTo>
                <a:lnTo>
                  <a:pt x="30" y="180"/>
                </a:lnTo>
                <a:lnTo>
                  <a:pt x="30" y="180"/>
                </a:lnTo>
                <a:lnTo>
                  <a:pt x="30" y="177"/>
                </a:lnTo>
                <a:lnTo>
                  <a:pt x="30" y="177"/>
                </a:lnTo>
                <a:lnTo>
                  <a:pt x="32" y="175"/>
                </a:lnTo>
                <a:lnTo>
                  <a:pt x="32" y="175"/>
                </a:lnTo>
                <a:lnTo>
                  <a:pt x="30" y="175"/>
                </a:lnTo>
                <a:lnTo>
                  <a:pt x="30" y="175"/>
                </a:lnTo>
                <a:lnTo>
                  <a:pt x="30" y="170"/>
                </a:lnTo>
                <a:lnTo>
                  <a:pt x="30" y="170"/>
                </a:lnTo>
                <a:lnTo>
                  <a:pt x="30" y="167"/>
                </a:lnTo>
                <a:lnTo>
                  <a:pt x="30" y="167"/>
                </a:lnTo>
                <a:lnTo>
                  <a:pt x="32" y="165"/>
                </a:lnTo>
                <a:lnTo>
                  <a:pt x="32" y="165"/>
                </a:lnTo>
                <a:lnTo>
                  <a:pt x="32" y="160"/>
                </a:lnTo>
                <a:lnTo>
                  <a:pt x="32" y="160"/>
                </a:lnTo>
                <a:lnTo>
                  <a:pt x="37" y="157"/>
                </a:lnTo>
                <a:lnTo>
                  <a:pt x="37" y="157"/>
                </a:lnTo>
                <a:lnTo>
                  <a:pt x="40" y="150"/>
                </a:lnTo>
                <a:lnTo>
                  <a:pt x="40" y="150"/>
                </a:lnTo>
                <a:lnTo>
                  <a:pt x="42" y="148"/>
                </a:lnTo>
                <a:lnTo>
                  <a:pt x="42" y="148"/>
                </a:lnTo>
                <a:lnTo>
                  <a:pt x="42" y="143"/>
                </a:lnTo>
                <a:lnTo>
                  <a:pt x="42" y="143"/>
                </a:lnTo>
                <a:lnTo>
                  <a:pt x="40" y="140"/>
                </a:lnTo>
                <a:lnTo>
                  <a:pt x="40" y="140"/>
                </a:lnTo>
                <a:lnTo>
                  <a:pt x="40" y="135"/>
                </a:lnTo>
                <a:lnTo>
                  <a:pt x="40" y="135"/>
                </a:lnTo>
                <a:lnTo>
                  <a:pt x="40" y="133"/>
                </a:lnTo>
                <a:lnTo>
                  <a:pt x="40" y="133"/>
                </a:lnTo>
                <a:lnTo>
                  <a:pt x="37" y="128"/>
                </a:lnTo>
                <a:lnTo>
                  <a:pt x="37" y="128"/>
                </a:lnTo>
                <a:lnTo>
                  <a:pt x="37" y="126"/>
                </a:lnTo>
                <a:lnTo>
                  <a:pt x="37" y="126"/>
                </a:lnTo>
                <a:lnTo>
                  <a:pt x="37" y="123"/>
                </a:lnTo>
                <a:lnTo>
                  <a:pt x="37" y="123"/>
                </a:lnTo>
                <a:lnTo>
                  <a:pt x="35" y="118"/>
                </a:lnTo>
                <a:lnTo>
                  <a:pt x="35" y="118"/>
                </a:lnTo>
                <a:lnTo>
                  <a:pt x="37" y="116"/>
                </a:lnTo>
                <a:lnTo>
                  <a:pt x="37" y="116"/>
                </a:lnTo>
                <a:lnTo>
                  <a:pt x="35" y="111"/>
                </a:lnTo>
                <a:lnTo>
                  <a:pt x="35" y="111"/>
                </a:lnTo>
                <a:lnTo>
                  <a:pt x="30" y="106"/>
                </a:lnTo>
                <a:lnTo>
                  <a:pt x="30" y="106"/>
                </a:lnTo>
                <a:lnTo>
                  <a:pt x="25" y="103"/>
                </a:lnTo>
                <a:lnTo>
                  <a:pt x="25" y="103"/>
                </a:lnTo>
                <a:lnTo>
                  <a:pt x="22" y="98"/>
                </a:lnTo>
                <a:lnTo>
                  <a:pt x="22" y="98"/>
                </a:lnTo>
                <a:lnTo>
                  <a:pt x="22" y="94"/>
                </a:lnTo>
                <a:lnTo>
                  <a:pt x="22" y="94"/>
                </a:lnTo>
                <a:lnTo>
                  <a:pt x="20" y="89"/>
                </a:lnTo>
                <a:lnTo>
                  <a:pt x="20" y="89"/>
                </a:lnTo>
                <a:lnTo>
                  <a:pt x="22" y="86"/>
                </a:lnTo>
                <a:lnTo>
                  <a:pt x="22" y="86"/>
                </a:lnTo>
                <a:lnTo>
                  <a:pt x="22" y="84"/>
                </a:lnTo>
                <a:lnTo>
                  <a:pt x="22" y="84"/>
                </a:lnTo>
                <a:lnTo>
                  <a:pt x="22" y="76"/>
                </a:lnTo>
                <a:lnTo>
                  <a:pt x="22" y="76"/>
                </a:lnTo>
                <a:lnTo>
                  <a:pt x="22" y="74"/>
                </a:lnTo>
                <a:lnTo>
                  <a:pt x="22" y="74"/>
                </a:lnTo>
                <a:lnTo>
                  <a:pt x="25" y="74"/>
                </a:lnTo>
                <a:lnTo>
                  <a:pt x="25" y="74"/>
                </a:lnTo>
                <a:lnTo>
                  <a:pt x="25" y="69"/>
                </a:lnTo>
                <a:lnTo>
                  <a:pt x="25" y="69"/>
                </a:lnTo>
                <a:lnTo>
                  <a:pt x="22" y="69"/>
                </a:lnTo>
                <a:lnTo>
                  <a:pt x="22" y="69"/>
                </a:lnTo>
                <a:lnTo>
                  <a:pt x="22" y="64"/>
                </a:lnTo>
                <a:lnTo>
                  <a:pt x="22" y="64"/>
                </a:lnTo>
                <a:lnTo>
                  <a:pt x="20" y="62"/>
                </a:lnTo>
                <a:lnTo>
                  <a:pt x="20" y="62"/>
                </a:lnTo>
                <a:lnTo>
                  <a:pt x="18" y="59"/>
                </a:lnTo>
                <a:lnTo>
                  <a:pt x="18" y="59"/>
                </a:lnTo>
                <a:lnTo>
                  <a:pt x="13" y="52"/>
                </a:lnTo>
                <a:lnTo>
                  <a:pt x="13" y="52"/>
                </a:lnTo>
                <a:lnTo>
                  <a:pt x="10" y="49"/>
                </a:lnTo>
                <a:lnTo>
                  <a:pt x="10" y="49"/>
                </a:lnTo>
                <a:lnTo>
                  <a:pt x="8" y="47"/>
                </a:lnTo>
                <a:lnTo>
                  <a:pt x="8" y="47"/>
                </a:lnTo>
                <a:lnTo>
                  <a:pt x="8" y="44"/>
                </a:lnTo>
                <a:lnTo>
                  <a:pt x="8" y="44"/>
                </a:lnTo>
                <a:lnTo>
                  <a:pt x="3" y="39"/>
                </a:lnTo>
                <a:lnTo>
                  <a:pt x="3" y="39"/>
                </a:lnTo>
                <a:lnTo>
                  <a:pt x="3" y="39"/>
                </a:lnTo>
                <a:lnTo>
                  <a:pt x="0" y="37"/>
                </a:lnTo>
                <a:lnTo>
                  <a:pt x="0" y="37"/>
                </a:lnTo>
                <a:lnTo>
                  <a:pt x="5" y="37"/>
                </a:lnTo>
                <a:lnTo>
                  <a:pt x="5" y="37"/>
                </a:lnTo>
                <a:lnTo>
                  <a:pt x="8" y="35"/>
                </a:lnTo>
                <a:lnTo>
                  <a:pt x="8" y="35"/>
                </a:lnTo>
                <a:lnTo>
                  <a:pt x="8" y="32"/>
                </a:lnTo>
                <a:lnTo>
                  <a:pt x="8" y="32"/>
                </a:lnTo>
                <a:lnTo>
                  <a:pt x="8" y="27"/>
                </a:lnTo>
                <a:lnTo>
                  <a:pt x="8" y="27"/>
                </a:lnTo>
                <a:lnTo>
                  <a:pt x="10" y="25"/>
                </a:lnTo>
                <a:lnTo>
                  <a:pt x="10" y="25"/>
                </a:lnTo>
                <a:lnTo>
                  <a:pt x="8" y="20"/>
                </a:lnTo>
                <a:lnTo>
                  <a:pt x="8" y="20"/>
                </a:lnTo>
                <a:lnTo>
                  <a:pt x="10" y="15"/>
                </a:lnTo>
                <a:lnTo>
                  <a:pt x="10" y="15"/>
                </a:lnTo>
                <a:lnTo>
                  <a:pt x="18" y="17"/>
                </a:lnTo>
                <a:lnTo>
                  <a:pt x="18" y="17"/>
                </a:lnTo>
                <a:lnTo>
                  <a:pt x="20" y="15"/>
                </a:lnTo>
                <a:lnTo>
                  <a:pt x="20" y="15"/>
                </a:lnTo>
                <a:lnTo>
                  <a:pt x="25" y="15"/>
                </a:lnTo>
                <a:lnTo>
                  <a:pt x="25" y="15"/>
                </a:lnTo>
                <a:lnTo>
                  <a:pt x="25" y="15"/>
                </a:lnTo>
                <a:lnTo>
                  <a:pt x="25" y="10"/>
                </a:lnTo>
                <a:lnTo>
                  <a:pt x="25" y="10"/>
                </a:lnTo>
                <a:lnTo>
                  <a:pt x="27" y="7"/>
                </a:lnTo>
                <a:lnTo>
                  <a:pt x="27" y="7"/>
                </a:lnTo>
                <a:lnTo>
                  <a:pt x="30" y="7"/>
                </a:lnTo>
                <a:lnTo>
                  <a:pt x="30" y="7"/>
                </a:lnTo>
                <a:lnTo>
                  <a:pt x="32" y="7"/>
                </a:lnTo>
                <a:lnTo>
                  <a:pt x="32" y="7"/>
                </a:lnTo>
                <a:lnTo>
                  <a:pt x="30" y="5"/>
                </a:lnTo>
                <a:lnTo>
                  <a:pt x="30" y="5"/>
                </a:lnTo>
                <a:lnTo>
                  <a:pt x="30" y="3"/>
                </a:lnTo>
                <a:lnTo>
                  <a:pt x="30" y="3"/>
                </a:lnTo>
                <a:lnTo>
                  <a:pt x="35" y="3"/>
                </a:lnTo>
                <a:lnTo>
                  <a:pt x="35" y="3"/>
                </a:lnTo>
                <a:lnTo>
                  <a:pt x="37" y="3"/>
                </a:lnTo>
                <a:lnTo>
                  <a:pt x="37" y="3"/>
                </a:lnTo>
                <a:lnTo>
                  <a:pt x="37" y="0"/>
                </a:lnTo>
                <a:lnTo>
                  <a:pt x="37" y="0"/>
                </a:lnTo>
                <a:close/>
                <a:moveTo>
                  <a:pt x="47" y="229"/>
                </a:moveTo>
                <a:lnTo>
                  <a:pt x="47" y="229"/>
                </a:lnTo>
                <a:lnTo>
                  <a:pt x="47" y="231"/>
                </a:lnTo>
                <a:lnTo>
                  <a:pt x="47" y="231"/>
                </a:lnTo>
                <a:lnTo>
                  <a:pt x="50" y="231"/>
                </a:lnTo>
                <a:lnTo>
                  <a:pt x="50" y="231"/>
                </a:lnTo>
                <a:lnTo>
                  <a:pt x="50" y="229"/>
                </a:lnTo>
                <a:lnTo>
                  <a:pt x="50" y="229"/>
                </a:lnTo>
                <a:lnTo>
                  <a:pt x="47" y="229"/>
                </a:lnTo>
                <a:lnTo>
                  <a:pt x="47" y="229"/>
                </a:lnTo>
                <a:lnTo>
                  <a:pt x="47" y="229"/>
                </a:lnTo>
                <a:close/>
                <a:moveTo>
                  <a:pt x="37" y="214"/>
                </a:moveTo>
                <a:lnTo>
                  <a:pt x="37" y="214"/>
                </a:lnTo>
                <a:lnTo>
                  <a:pt x="37" y="217"/>
                </a:lnTo>
                <a:lnTo>
                  <a:pt x="37" y="217"/>
                </a:lnTo>
                <a:lnTo>
                  <a:pt x="37" y="214"/>
                </a:lnTo>
                <a:lnTo>
                  <a:pt x="37" y="214"/>
                </a:lnTo>
                <a:lnTo>
                  <a:pt x="37" y="214"/>
                </a:lnTo>
                <a:lnTo>
                  <a:pt x="37" y="214"/>
                </a:lnTo>
                <a:close/>
                <a:moveTo>
                  <a:pt x="27" y="207"/>
                </a:moveTo>
                <a:lnTo>
                  <a:pt x="27" y="207"/>
                </a:lnTo>
                <a:lnTo>
                  <a:pt x="25" y="209"/>
                </a:lnTo>
                <a:lnTo>
                  <a:pt x="25" y="209"/>
                </a:lnTo>
                <a:lnTo>
                  <a:pt x="27" y="209"/>
                </a:lnTo>
                <a:lnTo>
                  <a:pt x="27" y="209"/>
                </a:lnTo>
                <a:lnTo>
                  <a:pt x="25" y="212"/>
                </a:lnTo>
                <a:lnTo>
                  <a:pt x="25" y="212"/>
                </a:lnTo>
                <a:lnTo>
                  <a:pt x="27" y="209"/>
                </a:lnTo>
                <a:lnTo>
                  <a:pt x="27" y="209"/>
                </a:lnTo>
                <a:lnTo>
                  <a:pt x="27" y="207"/>
                </a:lnTo>
                <a:lnTo>
                  <a:pt x="27" y="207"/>
                </a:lnTo>
                <a:lnTo>
                  <a:pt x="27" y="207"/>
                </a:lnTo>
                <a:close/>
                <a:moveTo>
                  <a:pt x="81" y="140"/>
                </a:moveTo>
                <a:lnTo>
                  <a:pt x="81" y="140"/>
                </a:lnTo>
                <a:lnTo>
                  <a:pt x="81" y="143"/>
                </a:lnTo>
                <a:lnTo>
                  <a:pt x="81" y="143"/>
                </a:lnTo>
                <a:lnTo>
                  <a:pt x="84" y="145"/>
                </a:lnTo>
                <a:lnTo>
                  <a:pt x="84" y="145"/>
                </a:lnTo>
                <a:lnTo>
                  <a:pt x="86" y="143"/>
                </a:lnTo>
                <a:lnTo>
                  <a:pt x="86" y="143"/>
                </a:lnTo>
                <a:lnTo>
                  <a:pt x="81" y="140"/>
                </a:lnTo>
                <a:lnTo>
                  <a:pt x="81" y="140"/>
                </a:lnTo>
                <a:close/>
                <a:moveTo>
                  <a:pt x="52" y="177"/>
                </a:moveTo>
                <a:lnTo>
                  <a:pt x="52" y="177"/>
                </a:lnTo>
                <a:lnTo>
                  <a:pt x="50" y="180"/>
                </a:lnTo>
                <a:lnTo>
                  <a:pt x="50" y="180"/>
                </a:lnTo>
                <a:lnTo>
                  <a:pt x="52" y="180"/>
                </a:lnTo>
                <a:lnTo>
                  <a:pt x="52" y="180"/>
                </a:lnTo>
                <a:lnTo>
                  <a:pt x="52" y="177"/>
                </a:lnTo>
                <a:lnTo>
                  <a:pt x="52" y="177"/>
                </a:lnTo>
                <a:close/>
                <a:moveTo>
                  <a:pt x="52" y="182"/>
                </a:moveTo>
                <a:lnTo>
                  <a:pt x="52" y="182"/>
                </a:lnTo>
                <a:lnTo>
                  <a:pt x="50" y="182"/>
                </a:lnTo>
                <a:lnTo>
                  <a:pt x="50" y="182"/>
                </a:lnTo>
                <a:lnTo>
                  <a:pt x="50" y="185"/>
                </a:lnTo>
                <a:lnTo>
                  <a:pt x="50" y="185"/>
                </a:lnTo>
                <a:lnTo>
                  <a:pt x="52" y="187"/>
                </a:lnTo>
                <a:lnTo>
                  <a:pt x="52" y="187"/>
                </a:lnTo>
                <a:lnTo>
                  <a:pt x="54" y="182"/>
                </a:lnTo>
                <a:lnTo>
                  <a:pt x="52" y="18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6" name="Freeform 35"/>
          <p:cNvSpPr>
            <a:spLocks noEditPoints="1"/>
          </p:cNvSpPr>
          <p:nvPr/>
        </p:nvSpPr>
        <p:spPr bwMode="auto">
          <a:xfrm>
            <a:off x="7061832" y="3733581"/>
            <a:ext cx="223441" cy="476172"/>
          </a:xfrm>
          <a:custGeom>
            <a:avLst/>
            <a:gdLst/>
            <a:ahLst/>
            <a:cxnLst>
              <a:cxn ang="0">
                <a:pos x="76" y="5"/>
              </a:cxn>
              <a:cxn ang="0">
                <a:pos x="88" y="25"/>
              </a:cxn>
              <a:cxn ang="0">
                <a:pos x="83" y="47"/>
              </a:cxn>
              <a:cxn ang="0">
                <a:pos x="76" y="54"/>
              </a:cxn>
              <a:cxn ang="0">
                <a:pos x="78" y="67"/>
              </a:cxn>
              <a:cxn ang="0">
                <a:pos x="93" y="74"/>
              </a:cxn>
              <a:cxn ang="0">
                <a:pos x="101" y="86"/>
              </a:cxn>
              <a:cxn ang="0">
                <a:pos x="113" y="89"/>
              </a:cxn>
              <a:cxn ang="0">
                <a:pos x="105" y="106"/>
              </a:cxn>
              <a:cxn ang="0">
                <a:pos x="118" y="111"/>
              </a:cxn>
              <a:cxn ang="0">
                <a:pos x="137" y="113"/>
              </a:cxn>
              <a:cxn ang="0">
                <a:pos x="128" y="128"/>
              </a:cxn>
              <a:cxn ang="0">
                <a:pos x="113" y="138"/>
              </a:cxn>
              <a:cxn ang="0">
                <a:pos x="108" y="148"/>
              </a:cxn>
              <a:cxn ang="0">
                <a:pos x="91" y="160"/>
              </a:cxn>
              <a:cxn ang="0">
                <a:pos x="86" y="172"/>
              </a:cxn>
              <a:cxn ang="0">
                <a:pos x="103" y="195"/>
              </a:cxn>
              <a:cxn ang="0">
                <a:pos x="105" y="209"/>
              </a:cxn>
              <a:cxn ang="0">
                <a:pos x="108" y="236"/>
              </a:cxn>
              <a:cxn ang="0">
                <a:pos x="120" y="259"/>
              </a:cxn>
              <a:cxn ang="0">
                <a:pos x="125" y="281"/>
              </a:cxn>
              <a:cxn ang="0">
                <a:pos x="113" y="303"/>
              </a:cxn>
              <a:cxn ang="0">
                <a:pos x="108" y="298"/>
              </a:cxn>
              <a:cxn ang="0">
                <a:pos x="113" y="290"/>
              </a:cxn>
              <a:cxn ang="0">
                <a:pos x="113" y="276"/>
              </a:cxn>
              <a:cxn ang="0">
                <a:pos x="108" y="254"/>
              </a:cxn>
              <a:cxn ang="0">
                <a:pos x="103" y="249"/>
              </a:cxn>
              <a:cxn ang="0">
                <a:pos x="96" y="229"/>
              </a:cxn>
              <a:cxn ang="0">
                <a:pos x="91" y="209"/>
              </a:cxn>
              <a:cxn ang="0">
                <a:pos x="88" y="202"/>
              </a:cxn>
              <a:cxn ang="0">
                <a:pos x="78" y="190"/>
              </a:cxn>
              <a:cxn ang="0">
                <a:pos x="78" y="192"/>
              </a:cxn>
              <a:cxn ang="0">
                <a:pos x="69" y="199"/>
              </a:cxn>
              <a:cxn ang="0">
                <a:pos x="66" y="204"/>
              </a:cxn>
              <a:cxn ang="0">
                <a:pos x="51" y="212"/>
              </a:cxn>
              <a:cxn ang="0">
                <a:pos x="44" y="214"/>
              </a:cxn>
              <a:cxn ang="0">
                <a:pos x="41" y="209"/>
              </a:cxn>
              <a:cxn ang="0">
                <a:pos x="44" y="190"/>
              </a:cxn>
              <a:cxn ang="0">
                <a:pos x="37" y="172"/>
              </a:cxn>
              <a:cxn ang="0">
                <a:pos x="27" y="155"/>
              </a:cxn>
              <a:cxn ang="0">
                <a:pos x="17" y="155"/>
              </a:cxn>
              <a:cxn ang="0">
                <a:pos x="24" y="155"/>
              </a:cxn>
              <a:cxn ang="0">
                <a:pos x="24" y="145"/>
              </a:cxn>
              <a:cxn ang="0">
                <a:pos x="12" y="143"/>
              </a:cxn>
              <a:cxn ang="0">
                <a:pos x="10" y="140"/>
              </a:cxn>
              <a:cxn ang="0">
                <a:pos x="0" y="123"/>
              </a:cxn>
              <a:cxn ang="0">
                <a:pos x="10" y="108"/>
              </a:cxn>
              <a:cxn ang="0">
                <a:pos x="14" y="94"/>
              </a:cxn>
              <a:cxn ang="0">
                <a:pos x="22" y="77"/>
              </a:cxn>
              <a:cxn ang="0">
                <a:pos x="32" y="45"/>
              </a:cxn>
              <a:cxn ang="0">
                <a:pos x="44" y="20"/>
              </a:cxn>
              <a:cxn ang="0">
                <a:pos x="59" y="13"/>
              </a:cxn>
              <a:cxn ang="0">
                <a:pos x="61" y="3"/>
              </a:cxn>
              <a:cxn ang="0">
                <a:pos x="19" y="165"/>
              </a:cxn>
            </a:cxnLst>
            <a:rect l="0" t="0" r="r" b="b"/>
            <a:pathLst>
              <a:path w="137" h="310">
                <a:moveTo>
                  <a:pt x="61" y="3"/>
                </a:moveTo>
                <a:lnTo>
                  <a:pt x="64" y="0"/>
                </a:lnTo>
                <a:lnTo>
                  <a:pt x="69" y="3"/>
                </a:lnTo>
                <a:lnTo>
                  <a:pt x="71" y="0"/>
                </a:lnTo>
                <a:lnTo>
                  <a:pt x="73" y="0"/>
                </a:lnTo>
                <a:lnTo>
                  <a:pt x="76" y="5"/>
                </a:lnTo>
                <a:lnTo>
                  <a:pt x="78" y="8"/>
                </a:lnTo>
                <a:lnTo>
                  <a:pt x="81" y="13"/>
                </a:lnTo>
                <a:lnTo>
                  <a:pt x="83" y="13"/>
                </a:lnTo>
                <a:lnTo>
                  <a:pt x="86" y="15"/>
                </a:lnTo>
                <a:lnTo>
                  <a:pt x="86" y="20"/>
                </a:lnTo>
                <a:lnTo>
                  <a:pt x="88" y="25"/>
                </a:lnTo>
                <a:lnTo>
                  <a:pt x="88" y="30"/>
                </a:lnTo>
                <a:lnTo>
                  <a:pt x="88" y="37"/>
                </a:lnTo>
                <a:lnTo>
                  <a:pt x="88" y="40"/>
                </a:lnTo>
                <a:lnTo>
                  <a:pt x="86" y="42"/>
                </a:lnTo>
                <a:lnTo>
                  <a:pt x="83" y="42"/>
                </a:lnTo>
                <a:lnTo>
                  <a:pt x="83" y="47"/>
                </a:lnTo>
                <a:lnTo>
                  <a:pt x="81" y="47"/>
                </a:lnTo>
                <a:lnTo>
                  <a:pt x="81" y="49"/>
                </a:lnTo>
                <a:lnTo>
                  <a:pt x="83" y="52"/>
                </a:lnTo>
                <a:lnTo>
                  <a:pt x="81" y="54"/>
                </a:lnTo>
                <a:lnTo>
                  <a:pt x="78" y="52"/>
                </a:lnTo>
                <a:lnTo>
                  <a:pt x="76" y="54"/>
                </a:lnTo>
                <a:lnTo>
                  <a:pt x="76" y="57"/>
                </a:lnTo>
                <a:lnTo>
                  <a:pt x="76" y="59"/>
                </a:lnTo>
                <a:lnTo>
                  <a:pt x="76" y="62"/>
                </a:lnTo>
                <a:lnTo>
                  <a:pt x="76" y="64"/>
                </a:lnTo>
                <a:lnTo>
                  <a:pt x="78" y="64"/>
                </a:lnTo>
                <a:lnTo>
                  <a:pt x="78" y="67"/>
                </a:lnTo>
                <a:lnTo>
                  <a:pt x="81" y="69"/>
                </a:lnTo>
                <a:lnTo>
                  <a:pt x="81" y="74"/>
                </a:lnTo>
                <a:lnTo>
                  <a:pt x="83" y="77"/>
                </a:lnTo>
                <a:lnTo>
                  <a:pt x="86" y="74"/>
                </a:lnTo>
                <a:lnTo>
                  <a:pt x="93" y="72"/>
                </a:lnTo>
                <a:lnTo>
                  <a:pt x="93" y="74"/>
                </a:lnTo>
                <a:lnTo>
                  <a:pt x="93" y="77"/>
                </a:lnTo>
                <a:lnTo>
                  <a:pt x="96" y="79"/>
                </a:lnTo>
                <a:lnTo>
                  <a:pt x="98" y="77"/>
                </a:lnTo>
                <a:lnTo>
                  <a:pt x="101" y="79"/>
                </a:lnTo>
                <a:lnTo>
                  <a:pt x="98" y="84"/>
                </a:lnTo>
                <a:lnTo>
                  <a:pt x="101" y="86"/>
                </a:lnTo>
                <a:lnTo>
                  <a:pt x="105" y="86"/>
                </a:lnTo>
                <a:lnTo>
                  <a:pt x="103" y="86"/>
                </a:lnTo>
                <a:lnTo>
                  <a:pt x="105" y="89"/>
                </a:lnTo>
                <a:lnTo>
                  <a:pt x="105" y="89"/>
                </a:lnTo>
                <a:lnTo>
                  <a:pt x="110" y="89"/>
                </a:lnTo>
                <a:lnTo>
                  <a:pt x="113" y="89"/>
                </a:lnTo>
                <a:lnTo>
                  <a:pt x="113" y="91"/>
                </a:lnTo>
                <a:lnTo>
                  <a:pt x="110" y="94"/>
                </a:lnTo>
                <a:lnTo>
                  <a:pt x="110" y="96"/>
                </a:lnTo>
                <a:lnTo>
                  <a:pt x="108" y="101"/>
                </a:lnTo>
                <a:lnTo>
                  <a:pt x="105" y="106"/>
                </a:lnTo>
                <a:lnTo>
                  <a:pt x="105" y="106"/>
                </a:lnTo>
                <a:lnTo>
                  <a:pt x="108" y="106"/>
                </a:lnTo>
                <a:lnTo>
                  <a:pt x="113" y="106"/>
                </a:lnTo>
                <a:lnTo>
                  <a:pt x="113" y="108"/>
                </a:lnTo>
                <a:lnTo>
                  <a:pt x="115" y="106"/>
                </a:lnTo>
                <a:lnTo>
                  <a:pt x="118" y="108"/>
                </a:lnTo>
                <a:lnTo>
                  <a:pt x="118" y="111"/>
                </a:lnTo>
                <a:lnTo>
                  <a:pt x="118" y="116"/>
                </a:lnTo>
                <a:lnTo>
                  <a:pt x="123" y="116"/>
                </a:lnTo>
                <a:lnTo>
                  <a:pt x="125" y="116"/>
                </a:lnTo>
                <a:lnTo>
                  <a:pt x="128" y="116"/>
                </a:lnTo>
                <a:lnTo>
                  <a:pt x="135" y="111"/>
                </a:lnTo>
                <a:lnTo>
                  <a:pt x="137" y="113"/>
                </a:lnTo>
                <a:lnTo>
                  <a:pt x="137" y="116"/>
                </a:lnTo>
                <a:lnTo>
                  <a:pt x="133" y="118"/>
                </a:lnTo>
                <a:lnTo>
                  <a:pt x="128" y="121"/>
                </a:lnTo>
                <a:lnTo>
                  <a:pt x="128" y="123"/>
                </a:lnTo>
                <a:lnTo>
                  <a:pt x="128" y="126"/>
                </a:lnTo>
                <a:lnTo>
                  <a:pt x="128" y="128"/>
                </a:lnTo>
                <a:lnTo>
                  <a:pt x="125" y="131"/>
                </a:lnTo>
                <a:lnTo>
                  <a:pt x="123" y="131"/>
                </a:lnTo>
                <a:lnTo>
                  <a:pt x="120" y="136"/>
                </a:lnTo>
                <a:lnTo>
                  <a:pt x="118" y="136"/>
                </a:lnTo>
                <a:lnTo>
                  <a:pt x="113" y="136"/>
                </a:lnTo>
                <a:lnTo>
                  <a:pt x="113" y="138"/>
                </a:lnTo>
                <a:lnTo>
                  <a:pt x="115" y="140"/>
                </a:lnTo>
                <a:lnTo>
                  <a:pt x="113" y="140"/>
                </a:lnTo>
                <a:lnTo>
                  <a:pt x="110" y="140"/>
                </a:lnTo>
                <a:lnTo>
                  <a:pt x="108" y="143"/>
                </a:lnTo>
                <a:lnTo>
                  <a:pt x="108" y="148"/>
                </a:lnTo>
                <a:lnTo>
                  <a:pt x="108" y="148"/>
                </a:lnTo>
                <a:lnTo>
                  <a:pt x="103" y="148"/>
                </a:lnTo>
                <a:lnTo>
                  <a:pt x="101" y="150"/>
                </a:lnTo>
                <a:lnTo>
                  <a:pt x="93" y="148"/>
                </a:lnTo>
                <a:lnTo>
                  <a:pt x="91" y="153"/>
                </a:lnTo>
                <a:lnTo>
                  <a:pt x="93" y="158"/>
                </a:lnTo>
                <a:lnTo>
                  <a:pt x="91" y="160"/>
                </a:lnTo>
                <a:lnTo>
                  <a:pt x="91" y="165"/>
                </a:lnTo>
                <a:lnTo>
                  <a:pt x="91" y="168"/>
                </a:lnTo>
                <a:lnTo>
                  <a:pt x="88" y="170"/>
                </a:lnTo>
                <a:lnTo>
                  <a:pt x="83" y="170"/>
                </a:lnTo>
                <a:lnTo>
                  <a:pt x="86" y="172"/>
                </a:lnTo>
                <a:lnTo>
                  <a:pt x="86" y="172"/>
                </a:lnTo>
                <a:lnTo>
                  <a:pt x="91" y="177"/>
                </a:lnTo>
                <a:lnTo>
                  <a:pt x="91" y="180"/>
                </a:lnTo>
                <a:lnTo>
                  <a:pt x="93" y="182"/>
                </a:lnTo>
                <a:lnTo>
                  <a:pt x="96" y="185"/>
                </a:lnTo>
                <a:lnTo>
                  <a:pt x="101" y="192"/>
                </a:lnTo>
                <a:lnTo>
                  <a:pt x="103" y="195"/>
                </a:lnTo>
                <a:lnTo>
                  <a:pt x="105" y="197"/>
                </a:lnTo>
                <a:lnTo>
                  <a:pt x="105" y="202"/>
                </a:lnTo>
                <a:lnTo>
                  <a:pt x="108" y="202"/>
                </a:lnTo>
                <a:lnTo>
                  <a:pt x="108" y="207"/>
                </a:lnTo>
                <a:lnTo>
                  <a:pt x="105" y="207"/>
                </a:lnTo>
                <a:lnTo>
                  <a:pt x="105" y="209"/>
                </a:lnTo>
                <a:lnTo>
                  <a:pt x="105" y="217"/>
                </a:lnTo>
                <a:lnTo>
                  <a:pt x="105" y="219"/>
                </a:lnTo>
                <a:lnTo>
                  <a:pt x="103" y="222"/>
                </a:lnTo>
                <a:lnTo>
                  <a:pt x="105" y="227"/>
                </a:lnTo>
                <a:lnTo>
                  <a:pt x="105" y="231"/>
                </a:lnTo>
                <a:lnTo>
                  <a:pt x="108" y="236"/>
                </a:lnTo>
                <a:lnTo>
                  <a:pt x="113" y="239"/>
                </a:lnTo>
                <a:lnTo>
                  <a:pt x="118" y="244"/>
                </a:lnTo>
                <a:lnTo>
                  <a:pt x="120" y="249"/>
                </a:lnTo>
                <a:lnTo>
                  <a:pt x="118" y="251"/>
                </a:lnTo>
                <a:lnTo>
                  <a:pt x="120" y="256"/>
                </a:lnTo>
                <a:lnTo>
                  <a:pt x="120" y="259"/>
                </a:lnTo>
                <a:lnTo>
                  <a:pt x="120" y="261"/>
                </a:lnTo>
                <a:lnTo>
                  <a:pt x="123" y="266"/>
                </a:lnTo>
                <a:lnTo>
                  <a:pt x="123" y="268"/>
                </a:lnTo>
                <a:lnTo>
                  <a:pt x="123" y="273"/>
                </a:lnTo>
                <a:lnTo>
                  <a:pt x="125" y="276"/>
                </a:lnTo>
                <a:lnTo>
                  <a:pt x="125" y="281"/>
                </a:lnTo>
                <a:lnTo>
                  <a:pt x="123" y="283"/>
                </a:lnTo>
                <a:lnTo>
                  <a:pt x="120" y="290"/>
                </a:lnTo>
                <a:lnTo>
                  <a:pt x="115" y="293"/>
                </a:lnTo>
                <a:lnTo>
                  <a:pt x="115" y="298"/>
                </a:lnTo>
                <a:lnTo>
                  <a:pt x="113" y="300"/>
                </a:lnTo>
                <a:lnTo>
                  <a:pt x="113" y="303"/>
                </a:lnTo>
                <a:lnTo>
                  <a:pt x="113" y="303"/>
                </a:lnTo>
                <a:lnTo>
                  <a:pt x="113" y="305"/>
                </a:lnTo>
                <a:lnTo>
                  <a:pt x="110" y="310"/>
                </a:lnTo>
                <a:lnTo>
                  <a:pt x="110" y="305"/>
                </a:lnTo>
                <a:lnTo>
                  <a:pt x="110" y="300"/>
                </a:lnTo>
                <a:lnTo>
                  <a:pt x="108" y="298"/>
                </a:lnTo>
                <a:lnTo>
                  <a:pt x="108" y="298"/>
                </a:lnTo>
                <a:lnTo>
                  <a:pt x="110" y="298"/>
                </a:lnTo>
                <a:lnTo>
                  <a:pt x="110" y="298"/>
                </a:lnTo>
                <a:lnTo>
                  <a:pt x="113" y="293"/>
                </a:lnTo>
                <a:lnTo>
                  <a:pt x="113" y="290"/>
                </a:lnTo>
                <a:lnTo>
                  <a:pt x="113" y="290"/>
                </a:lnTo>
                <a:lnTo>
                  <a:pt x="113" y="286"/>
                </a:lnTo>
                <a:lnTo>
                  <a:pt x="113" y="286"/>
                </a:lnTo>
                <a:lnTo>
                  <a:pt x="113" y="283"/>
                </a:lnTo>
                <a:lnTo>
                  <a:pt x="113" y="281"/>
                </a:lnTo>
                <a:lnTo>
                  <a:pt x="115" y="278"/>
                </a:lnTo>
                <a:lnTo>
                  <a:pt x="113" y="276"/>
                </a:lnTo>
                <a:lnTo>
                  <a:pt x="110" y="273"/>
                </a:lnTo>
                <a:lnTo>
                  <a:pt x="110" y="268"/>
                </a:lnTo>
                <a:lnTo>
                  <a:pt x="113" y="268"/>
                </a:lnTo>
                <a:lnTo>
                  <a:pt x="110" y="266"/>
                </a:lnTo>
                <a:lnTo>
                  <a:pt x="110" y="263"/>
                </a:lnTo>
                <a:lnTo>
                  <a:pt x="108" y="254"/>
                </a:lnTo>
                <a:lnTo>
                  <a:pt x="105" y="254"/>
                </a:lnTo>
                <a:lnTo>
                  <a:pt x="105" y="249"/>
                </a:lnTo>
                <a:lnTo>
                  <a:pt x="103" y="246"/>
                </a:lnTo>
                <a:lnTo>
                  <a:pt x="103" y="251"/>
                </a:lnTo>
                <a:lnTo>
                  <a:pt x="103" y="251"/>
                </a:lnTo>
                <a:lnTo>
                  <a:pt x="103" y="249"/>
                </a:lnTo>
                <a:lnTo>
                  <a:pt x="101" y="246"/>
                </a:lnTo>
                <a:lnTo>
                  <a:pt x="101" y="239"/>
                </a:lnTo>
                <a:lnTo>
                  <a:pt x="98" y="236"/>
                </a:lnTo>
                <a:lnTo>
                  <a:pt x="98" y="234"/>
                </a:lnTo>
                <a:lnTo>
                  <a:pt x="101" y="231"/>
                </a:lnTo>
                <a:lnTo>
                  <a:pt x="96" y="229"/>
                </a:lnTo>
                <a:lnTo>
                  <a:pt x="96" y="224"/>
                </a:lnTo>
                <a:lnTo>
                  <a:pt x="96" y="224"/>
                </a:lnTo>
                <a:lnTo>
                  <a:pt x="93" y="212"/>
                </a:lnTo>
                <a:lnTo>
                  <a:pt x="91" y="212"/>
                </a:lnTo>
                <a:lnTo>
                  <a:pt x="91" y="209"/>
                </a:lnTo>
                <a:lnTo>
                  <a:pt x="91" y="209"/>
                </a:lnTo>
                <a:lnTo>
                  <a:pt x="91" y="207"/>
                </a:lnTo>
                <a:lnTo>
                  <a:pt x="91" y="202"/>
                </a:lnTo>
                <a:lnTo>
                  <a:pt x="91" y="202"/>
                </a:lnTo>
                <a:lnTo>
                  <a:pt x="91" y="199"/>
                </a:lnTo>
                <a:lnTo>
                  <a:pt x="91" y="202"/>
                </a:lnTo>
                <a:lnTo>
                  <a:pt x="88" y="202"/>
                </a:lnTo>
                <a:lnTo>
                  <a:pt x="86" y="202"/>
                </a:lnTo>
                <a:lnTo>
                  <a:pt x="83" y="199"/>
                </a:lnTo>
                <a:lnTo>
                  <a:pt x="83" y="197"/>
                </a:lnTo>
                <a:lnTo>
                  <a:pt x="81" y="190"/>
                </a:lnTo>
                <a:lnTo>
                  <a:pt x="78" y="190"/>
                </a:lnTo>
                <a:lnTo>
                  <a:pt x="78" y="190"/>
                </a:lnTo>
                <a:lnTo>
                  <a:pt x="78" y="187"/>
                </a:lnTo>
                <a:lnTo>
                  <a:pt x="76" y="185"/>
                </a:lnTo>
                <a:lnTo>
                  <a:pt x="76" y="187"/>
                </a:lnTo>
                <a:lnTo>
                  <a:pt x="76" y="190"/>
                </a:lnTo>
                <a:lnTo>
                  <a:pt x="76" y="190"/>
                </a:lnTo>
                <a:lnTo>
                  <a:pt x="78" y="192"/>
                </a:lnTo>
                <a:lnTo>
                  <a:pt x="78" y="195"/>
                </a:lnTo>
                <a:lnTo>
                  <a:pt x="76" y="197"/>
                </a:lnTo>
                <a:lnTo>
                  <a:pt x="76" y="199"/>
                </a:lnTo>
                <a:lnTo>
                  <a:pt x="73" y="202"/>
                </a:lnTo>
                <a:lnTo>
                  <a:pt x="71" y="202"/>
                </a:lnTo>
                <a:lnTo>
                  <a:pt x="69" y="199"/>
                </a:lnTo>
                <a:lnTo>
                  <a:pt x="66" y="199"/>
                </a:lnTo>
                <a:lnTo>
                  <a:pt x="69" y="202"/>
                </a:lnTo>
                <a:lnTo>
                  <a:pt x="69" y="202"/>
                </a:lnTo>
                <a:lnTo>
                  <a:pt x="71" y="202"/>
                </a:lnTo>
                <a:lnTo>
                  <a:pt x="66" y="204"/>
                </a:lnTo>
                <a:lnTo>
                  <a:pt x="66" y="204"/>
                </a:lnTo>
                <a:lnTo>
                  <a:pt x="64" y="204"/>
                </a:lnTo>
                <a:lnTo>
                  <a:pt x="64" y="207"/>
                </a:lnTo>
                <a:lnTo>
                  <a:pt x="56" y="212"/>
                </a:lnTo>
                <a:lnTo>
                  <a:pt x="54" y="212"/>
                </a:lnTo>
                <a:lnTo>
                  <a:pt x="54" y="212"/>
                </a:lnTo>
                <a:lnTo>
                  <a:pt x="51" y="212"/>
                </a:lnTo>
                <a:lnTo>
                  <a:pt x="51" y="209"/>
                </a:lnTo>
                <a:lnTo>
                  <a:pt x="51" y="212"/>
                </a:lnTo>
                <a:lnTo>
                  <a:pt x="49" y="212"/>
                </a:lnTo>
                <a:lnTo>
                  <a:pt x="46" y="209"/>
                </a:lnTo>
                <a:lnTo>
                  <a:pt x="44" y="212"/>
                </a:lnTo>
                <a:lnTo>
                  <a:pt x="44" y="214"/>
                </a:lnTo>
                <a:lnTo>
                  <a:pt x="41" y="214"/>
                </a:lnTo>
                <a:lnTo>
                  <a:pt x="41" y="209"/>
                </a:lnTo>
                <a:lnTo>
                  <a:pt x="46" y="207"/>
                </a:lnTo>
                <a:lnTo>
                  <a:pt x="46" y="202"/>
                </a:lnTo>
                <a:lnTo>
                  <a:pt x="44" y="207"/>
                </a:lnTo>
                <a:lnTo>
                  <a:pt x="41" y="209"/>
                </a:lnTo>
                <a:lnTo>
                  <a:pt x="39" y="212"/>
                </a:lnTo>
                <a:lnTo>
                  <a:pt x="37" y="212"/>
                </a:lnTo>
                <a:lnTo>
                  <a:pt x="39" y="209"/>
                </a:lnTo>
                <a:lnTo>
                  <a:pt x="37" y="207"/>
                </a:lnTo>
                <a:lnTo>
                  <a:pt x="39" y="192"/>
                </a:lnTo>
                <a:lnTo>
                  <a:pt x="44" y="190"/>
                </a:lnTo>
                <a:lnTo>
                  <a:pt x="41" y="187"/>
                </a:lnTo>
                <a:lnTo>
                  <a:pt x="39" y="182"/>
                </a:lnTo>
                <a:lnTo>
                  <a:pt x="39" y="175"/>
                </a:lnTo>
                <a:lnTo>
                  <a:pt x="37" y="175"/>
                </a:lnTo>
                <a:lnTo>
                  <a:pt x="37" y="172"/>
                </a:lnTo>
                <a:lnTo>
                  <a:pt x="37" y="172"/>
                </a:lnTo>
                <a:lnTo>
                  <a:pt x="34" y="170"/>
                </a:lnTo>
                <a:lnTo>
                  <a:pt x="34" y="165"/>
                </a:lnTo>
                <a:lnTo>
                  <a:pt x="32" y="163"/>
                </a:lnTo>
                <a:lnTo>
                  <a:pt x="32" y="160"/>
                </a:lnTo>
                <a:lnTo>
                  <a:pt x="32" y="158"/>
                </a:lnTo>
                <a:lnTo>
                  <a:pt x="27" y="155"/>
                </a:lnTo>
                <a:lnTo>
                  <a:pt x="29" y="158"/>
                </a:lnTo>
                <a:lnTo>
                  <a:pt x="29" y="165"/>
                </a:lnTo>
                <a:lnTo>
                  <a:pt x="24" y="163"/>
                </a:lnTo>
                <a:lnTo>
                  <a:pt x="22" y="160"/>
                </a:lnTo>
                <a:lnTo>
                  <a:pt x="19" y="158"/>
                </a:lnTo>
                <a:lnTo>
                  <a:pt x="17" y="155"/>
                </a:lnTo>
                <a:lnTo>
                  <a:pt x="17" y="153"/>
                </a:lnTo>
                <a:lnTo>
                  <a:pt x="19" y="153"/>
                </a:lnTo>
                <a:lnTo>
                  <a:pt x="22" y="155"/>
                </a:lnTo>
                <a:lnTo>
                  <a:pt x="24" y="158"/>
                </a:lnTo>
                <a:lnTo>
                  <a:pt x="24" y="155"/>
                </a:lnTo>
                <a:lnTo>
                  <a:pt x="24" y="155"/>
                </a:lnTo>
                <a:lnTo>
                  <a:pt x="22" y="153"/>
                </a:lnTo>
                <a:lnTo>
                  <a:pt x="24" y="153"/>
                </a:lnTo>
                <a:lnTo>
                  <a:pt x="24" y="153"/>
                </a:lnTo>
                <a:lnTo>
                  <a:pt x="27" y="153"/>
                </a:lnTo>
                <a:lnTo>
                  <a:pt x="27" y="150"/>
                </a:lnTo>
                <a:lnTo>
                  <a:pt x="24" y="145"/>
                </a:lnTo>
                <a:lnTo>
                  <a:pt x="19" y="145"/>
                </a:lnTo>
                <a:lnTo>
                  <a:pt x="17" y="143"/>
                </a:lnTo>
                <a:lnTo>
                  <a:pt x="14" y="143"/>
                </a:lnTo>
                <a:lnTo>
                  <a:pt x="14" y="140"/>
                </a:lnTo>
                <a:lnTo>
                  <a:pt x="14" y="143"/>
                </a:lnTo>
                <a:lnTo>
                  <a:pt x="12" y="143"/>
                </a:lnTo>
                <a:lnTo>
                  <a:pt x="12" y="140"/>
                </a:lnTo>
                <a:lnTo>
                  <a:pt x="14" y="138"/>
                </a:lnTo>
                <a:lnTo>
                  <a:pt x="10" y="138"/>
                </a:lnTo>
                <a:lnTo>
                  <a:pt x="7" y="138"/>
                </a:lnTo>
                <a:lnTo>
                  <a:pt x="7" y="138"/>
                </a:lnTo>
                <a:lnTo>
                  <a:pt x="10" y="140"/>
                </a:lnTo>
                <a:lnTo>
                  <a:pt x="2" y="136"/>
                </a:lnTo>
                <a:lnTo>
                  <a:pt x="2" y="131"/>
                </a:lnTo>
                <a:lnTo>
                  <a:pt x="0" y="128"/>
                </a:lnTo>
                <a:lnTo>
                  <a:pt x="0" y="128"/>
                </a:lnTo>
                <a:lnTo>
                  <a:pt x="0" y="126"/>
                </a:lnTo>
                <a:lnTo>
                  <a:pt x="0" y="123"/>
                </a:lnTo>
                <a:lnTo>
                  <a:pt x="2" y="121"/>
                </a:lnTo>
                <a:lnTo>
                  <a:pt x="5" y="121"/>
                </a:lnTo>
                <a:lnTo>
                  <a:pt x="7" y="118"/>
                </a:lnTo>
                <a:lnTo>
                  <a:pt x="7" y="111"/>
                </a:lnTo>
                <a:lnTo>
                  <a:pt x="7" y="108"/>
                </a:lnTo>
                <a:lnTo>
                  <a:pt x="10" y="108"/>
                </a:lnTo>
                <a:lnTo>
                  <a:pt x="10" y="108"/>
                </a:lnTo>
                <a:lnTo>
                  <a:pt x="12" y="104"/>
                </a:lnTo>
                <a:lnTo>
                  <a:pt x="12" y="101"/>
                </a:lnTo>
                <a:lnTo>
                  <a:pt x="12" y="96"/>
                </a:lnTo>
                <a:lnTo>
                  <a:pt x="12" y="94"/>
                </a:lnTo>
                <a:lnTo>
                  <a:pt x="14" y="94"/>
                </a:lnTo>
                <a:lnTo>
                  <a:pt x="14" y="86"/>
                </a:lnTo>
                <a:lnTo>
                  <a:pt x="14" y="84"/>
                </a:lnTo>
                <a:lnTo>
                  <a:pt x="12" y="77"/>
                </a:lnTo>
                <a:lnTo>
                  <a:pt x="17" y="77"/>
                </a:lnTo>
                <a:lnTo>
                  <a:pt x="19" y="77"/>
                </a:lnTo>
                <a:lnTo>
                  <a:pt x="22" y="77"/>
                </a:lnTo>
                <a:lnTo>
                  <a:pt x="24" y="72"/>
                </a:lnTo>
                <a:lnTo>
                  <a:pt x="27" y="64"/>
                </a:lnTo>
                <a:lnTo>
                  <a:pt x="29" y="57"/>
                </a:lnTo>
                <a:lnTo>
                  <a:pt x="27" y="54"/>
                </a:lnTo>
                <a:lnTo>
                  <a:pt x="27" y="52"/>
                </a:lnTo>
                <a:lnTo>
                  <a:pt x="32" y="45"/>
                </a:lnTo>
                <a:lnTo>
                  <a:pt x="32" y="40"/>
                </a:lnTo>
                <a:lnTo>
                  <a:pt x="32" y="37"/>
                </a:lnTo>
                <a:lnTo>
                  <a:pt x="32" y="35"/>
                </a:lnTo>
                <a:lnTo>
                  <a:pt x="37" y="25"/>
                </a:lnTo>
                <a:lnTo>
                  <a:pt x="41" y="25"/>
                </a:lnTo>
                <a:lnTo>
                  <a:pt x="44" y="20"/>
                </a:lnTo>
                <a:lnTo>
                  <a:pt x="46" y="15"/>
                </a:lnTo>
                <a:lnTo>
                  <a:pt x="51" y="15"/>
                </a:lnTo>
                <a:lnTo>
                  <a:pt x="54" y="13"/>
                </a:lnTo>
                <a:lnTo>
                  <a:pt x="59" y="13"/>
                </a:lnTo>
                <a:lnTo>
                  <a:pt x="61" y="15"/>
                </a:lnTo>
                <a:lnTo>
                  <a:pt x="59" y="13"/>
                </a:lnTo>
                <a:lnTo>
                  <a:pt x="59" y="8"/>
                </a:lnTo>
                <a:lnTo>
                  <a:pt x="64" y="5"/>
                </a:lnTo>
                <a:lnTo>
                  <a:pt x="61" y="3"/>
                </a:lnTo>
                <a:lnTo>
                  <a:pt x="61" y="3"/>
                </a:lnTo>
                <a:lnTo>
                  <a:pt x="61" y="3"/>
                </a:lnTo>
                <a:lnTo>
                  <a:pt x="61" y="3"/>
                </a:lnTo>
                <a:close/>
                <a:moveTo>
                  <a:pt x="19" y="165"/>
                </a:moveTo>
                <a:lnTo>
                  <a:pt x="22" y="168"/>
                </a:lnTo>
                <a:lnTo>
                  <a:pt x="24" y="170"/>
                </a:lnTo>
                <a:lnTo>
                  <a:pt x="24" y="168"/>
                </a:lnTo>
                <a:lnTo>
                  <a:pt x="22" y="165"/>
                </a:lnTo>
                <a:lnTo>
                  <a:pt x="19" y="165"/>
                </a:lnTo>
                <a:lnTo>
                  <a:pt x="19" y="16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7" name="Freeform 36"/>
          <p:cNvSpPr>
            <a:spLocks noEditPoints="1"/>
          </p:cNvSpPr>
          <p:nvPr/>
        </p:nvSpPr>
        <p:spPr bwMode="auto">
          <a:xfrm>
            <a:off x="6768259" y="4214362"/>
            <a:ext cx="57085" cy="93699"/>
          </a:xfrm>
          <a:custGeom>
            <a:avLst/>
            <a:gdLst/>
            <a:ahLst/>
            <a:cxnLst>
              <a:cxn ang="0">
                <a:pos x="0" y="27"/>
              </a:cxn>
              <a:cxn ang="0">
                <a:pos x="3" y="22"/>
              </a:cxn>
              <a:cxn ang="0">
                <a:pos x="0" y="24"/>
              </a:cxn>
              <a:cxn ang="0">
                <a:pos x="0" y="29"/>
              </a:cxn>
              <a:cxn ang="0">
                <a:pos x="0" y="29"/>
              </a:cxn>
              <a:cxn ang="0">
                <a:pos x="3" y="2"/>
              </a:cxn>
              <a:cxn ang="0">
                <a:pos x="7" y="0"/>
              </a:cxn>
              <a:cxn ang="0">
                <a:pos x="7" y="2"/>
              </a:cxn>
              <a:cxn ang="0">
                <a:pos x="5" y="5"/>
              </a:cxn>
              <a:cxn ang="0">
                <a:pos x="5" y="5"/>
              </a:cxn>
              <a:cxn ang="0">
                <a:pos x="12" y="0"/>
              </a:cxn>
              <a:cxn ang="0">
                <a:pos x="15" y="5"/>
              </a:cxn>
              <a:cxn ang="0">
                <a:pos x="15" y="5"/>
              </a:cxn>
              <a:cxn ang="0">
                <a:pos x="12" y="5"/>
              </a:cxn>
              <a:cxn ang="0">
                <a:pos x="7" y="2"/>
              </a:cxn>
              <a:cxn ang="0">
                <a:pos x="10" y="2"/>
              </a:cxn>
              <a:cxn ang="0">
                <a:pos x="10" y="0"/>
              </a:cxn>
              <a:cxn ang="0">
                <a:pos x="7" y="5"/>
              </a:cxn>
              <a:cxn ang="0">
                <a:pos x="7" y="7"/>
              </a:cxn>
              <a:cxn ang="0">
                <a:pos x="7" y="7"/>
              </a:cxn>
              <a:cxn ang="0">
                <a:pos x="7" y="9"/>
              </a:cxn>
              <a:cxn ang="0">
                <a:pos x="5" y="12"/>
              </a:cxn>
              <a:cxn ang="0">
                <a:pos x="0" y="12"/>
              </a:cxn>
              <a:cxn ang="0">
                <a:pos x="3" y="12"/>
              </a:cxn>
              <a:cxn ang="0">
                <a:pos x="3" y="14"/>
              </a:cxn>
              <a:cxn ang="0">
                <a:pos x="3" y="22"/>
              </a:cxn>
              <a:cxn ang="0">
                <a:pos x="3" y="32"/>
              </a:cxn>
              <a:cxn ang="0">
                <a:pos x="0" y="34"/>
              </a:cxn>
              <a:cxn ang="0">
                <a:pos x="3" y="41"/>
              </a:cxn>
              <a:cxn ang="0">
                <a:pos x="7" y="56"/>
              </a:cxn>
              <a:cxn ang="0">
                <a:pos x="12" y="61"/>
              </a:cxn>
              <a:cxn ang="0">
                <a:pos x="20" y="61"/>
              </a:cxn>
              <a:cxn ang="0">
                <a:pos x="30" y="54"/>
              </a:cxn>
              <a:cxn ang="0">
                <a:pos x="35" y="46"/>
              </a:cxn>
              <a:cxn ang="0">
                <a:pos x="35" y="44"/>
              </a:cxn>
              <a:cxn ang="0">
                <a:pos x="32" y="37"/>
              </a:cxn>
              <a:cxn ang="0">
                <a:pos x="32" y="34"/>
              </a:cxn>
              <a:cxn ang="0">
                <a:pos x="27" y="22"/>
              </a:cxn>
              <a:cxn ang="0">
                <a:pos x="25" y="22"/>
              </a:cxn>
              <a:cxn ang="0">
                <a:pos x="25" y="19"/>
              </a:cxn>
              <a:cxn ang="0">
                <a:pos x="22" y="17"/>
              </a:cxn>
              <a:cxn ang="0">
                <a:pos x="20" y="14"/>
              </a:cxn>
              <a:cxn ang="0">
                <a:pos x="17" y="9"/>
              </a:cxn>
              <a:cxn ang="0">
                <a:pos x="12" y="7"/>
              </a:cxn>
              <a:cxn ang="0">
                <a:pos x="10" y="7"/>
              </a:cxn>
              <a:cxn ang="0">
                <a:pos x="7" y="5"/>
              </a:cxn>
            </a:cxnLst>
            <a:rect l="0" t="0" r="r" b="b"/>
            <a:pathLst>
              <a:path w="35" h="61">
                <a:moveTo>
                  <a:pt x="0" y="29"/>
                </a:moveTo>
                <a:lnTo>
                  <a:pt x="0" y="27"/>
                </a:lnTo>
                <a:lnTo>
                  <a:pt x="0" y="24"/>
                </a:lnTo>
                <a:lnTo>
                  <a:pt x="3" y="22"/>
                </a:lnTo>
                <a:lnTo>
                  <a:pt x="3" y="24"/>
                </a:lnTo>
                <a:lnTo>
                  <a:pt x="0" y="24"/>
                </a:lnTo>
                <a:lnTo>
                  <a:pt x="3" y="27"/>
                </a:lnTo>
                <a:lnTo>
                  <a:pt x="0" y="29"/>
                </a:lnTo>
                <a:lnTo>
                  <a:pt x="0" y="29"/>
                </a:lnTo>
                <a:lnTo>
                  <a:pt x="0" y="29"/>
                </a:lnTo>
                <a:close/>
                <a:moveTo>
                  <a:pt x="5" y="5"/>
                </a:moveTo>
                <a:lnTo>
                  <a:pt x="3" y="2"/>
                </a:lnTo>
                <a:lnTo>
                  <a:pt x="3" y="0"/>
                </a:lnTo>
                <a:lnTo>
                  <a:pt x="7" y="0"/>
                </a:lnTo>
                <a:lnTo>
                  <a:pt x="7" y="0"/>
                </a:lnTo>
                <a:lnTo>
                  <a:pt x="7" y="2"/>
                </a:lnTo>
                <a:lnTo>
                  <a:pt x="5" y="2"/>
                </a:lnTo>
                <a:lnTo>
                  <a:pt x="5" y="5"/>
                </a:lnTo>
                <a:lnTo>
                  <a:pt x="5" y="5"/>
                </a:lnTo>
                <a:lnTo>
                  <a:pt x="5" y="5"/>
                </a:lnTo>
                <a:close/>
                <a:moveTo>
                  <a:pt x="10" y="0"/>
                </a:moveTo>
                <a:lnTo>
                  <a:pt x="12" y="0"/>
                </a:lnTo>
                <a:lnTo>
                  <a:pt x="12" y="2"/>
                </a:lnTo>
                <a:lnTo>
                  <a:pt x="15" y="5"/>
                </a:lnTo>
                <a:lnTo>
                  <a:pt x="17" y="7"/>
                </a:lnTo>
                <a:lnTo>
                  <a:pt x="15" y="5"/>
                </a:lnTo>
                <a:lnTo>
                  <a:pt x="12" y="5"/>
                </a:lnTo>
                <a:lnTo>
                  <a:pt x="12" y="5"/>
                </a:lnTo>
                <a:lnTo>
                  <a:pt x="7" y="2"/>
                </a:lnTo>
                <a:lnTo>
                  <a:pt x="7" y="2"/>
                </a:lnTo>
                <a:lnTo>
                  <a:pt x="10" y="2"/>
                </a:lnTo>
                <a:lnTo>
                  <a:pt x="10" y="2"/>
                </a:lnTo>
                <a:lnTo>
                  <a:pt x="10" y="0"/>
                </a:lnTo>
                <a:lnTo>
                  <a:pt x="10" y="0"/>
                </a:lnTo>
                <a:lnTo>
                  <a:pt x="10" y="0"/>
                </a:lnTo>
                <a:close/>
                <a:moveTo>
                  <a:pt x="7" y="5"/>
                </a:moveTo>
                <a:lnTo>
                  <a:pt x="7" y="5"/>
                </a:lnTo>
                <a:lnTo>
                  <a:pt x="7" y="7"/>
                </a:lnTo>
                <a:lnTo>
                  <a:pt x="7" y="7"/>
                </a:lnTo>
                <a:lnTo>
                  <a:pt x="7" y="7"/>
                </a:lnTo>
                <a:lnTo>
                  <a:pt x="7" y="9"/>
                </a:lnTo>
                <a:lnTo>
                  <a:pt x="7" y="9"/>
                </a:lnTo>
                <a:lnTo>
                  <a:pt x="5" y="14"/>
                </a:lnTo>
                <a:lnTo>
                  <a:pt x="5" y="12"/>
                </a:lnTo>
                <a:lnTo>
                  <a:pt x="3" y="12"/>
                </a:lnTo>
                <a:lnTo>
                  <a:pt x="0" y="12"/>
                </a:lnTo>
                <a:lnTo>
                  <a:pt x="0" y="12"/>
                </a:lnTo>
                <a:lnTo>
                  <a:pt x="3" y="12"/>
                </a:lnTo>
                <a:lnTo>
                  <a:pt x="3" y="14"/>
                </a:lnTo>
                <a:lnTo>
                  <a:pt x="3" y="14"/>
                </a:lnTo>
                <a:lnTo>
                  <a:pt x="3" y="17"/>
                </a:lnTo>
                <a:lnTo>
                  <a:pt x="3" y="22"/>
                </a:lnTo>
                <a:lnTo>
                  <a:pt x="3" y="24"/>
                </a:lnTo>
                <a:lnTo>
                  <a:pt x="3" y="32"/>
                </a:lnTo>
                <a:lnTo>
                  <a:pt x="3" y="32"/>
                </a:lnTo>
                <a:lnTo>
                  <a:pt x="0" y="34"/>
                </a:lnTo>
                <a:lnTo>
                  <a:pt x="3" y="39"/>
                </a:lnTo>
                <a:lnTo>
                  <a:pt x="3" y="41"/>
                </a:lnTo>
                <a:lnTo>
                  <a:pt x="5" y="49"/>
                </a:lnTo>
                <a:lnTo>
                  <a:pt x="7" y="56"/>
                </a:lnTo>
                <a:lnTo>
                  <a:pt x="10" y="61"/>
                </a:lnTo>
                <a:lnTo>
                  <a:pt x="12" y="61"/>
                </a:lnTo>
                <a:lnTo>
                  <a:pt x="15" y="61"/>
                </a:lnTo>
                <a:lnTo>
                  <a:pt x="20" y="61"/>
                </a:lnTo>
                <a:lnTo>
                  <a:pt x="25" y="59"/>
                </a:lnTo>
                <a:lnTo>
                  <a:pt x="30" y="54"/>
                </a:lnTo>
                <a:lnTo>
                  <a:pt x="32" y="49"/>
                </a:lnTo>
                <a:lnTo>
                  <a:pt x="35" y="46"/>
                </a:lnTo>
                <a:lnTo>
                  <a:pt x="35" y="44"/>
                </a:lnTo>
                <a:lnTo>
                  <a:pt x="35" y="44"/>
                </a:lnTo>
                <a:lnTo>
                  <a:pt x="35" y="39"/>
                </a:lnTo>
                <a:lnTo>
                  <a:pt x="32" y="37"/>
                </a:lnTo>
                <a:lnTo>
                  <a:pt x="35" y="34"/>
                </a:lnTo>
                <a:lnTo>
                  <a:pt x="32" y="34"/>
                </a:lnTo>
                <a:lnTo>
                  <a:pt x="30" y="27"/>
                </a:lnTo>
                <a:lnTo>
                  <a:pt x="27" y="22"/>
                </a:lnTo>
                <a:lnTo>
                  <a:pt x="25" y="22"/>
                </a:lnTo>
                <a:lnTo>
                  <a:pt x="25" y="22"/>
                </a:lnTo>
                <a:lnTo>
                  <a:pt x="22" y="22"/>
                </a:lnTo>
                <a:lnTo>
                  <a:pt x="25" y="19"/>
                </a:lnTo>
                <a:lnTo>
                  <a:pt x="25" y="17"/>
                </a:lnTo>
                <a:lnTo>
                  <a:pt x="22" y="17"/>
                </a:lnTo>
                <a:lnTo>
                  <a:pt x="20" y="14"/>
                </a:lnTo>
                <a:lnTo>
                  <a:pt x="20" y="14"/>
                </a:lnTo>
                <a:lnTo>
                  <a:pt x="17" y="12"/>
                </a:lnTo>
                <a:lnTo>
                  <a:pt x="17" y="9"/>
                </a:lnTo>
                <a:lnTo>
                  <a:pt x="17" y="7"/>
                </a:lnTo>
                <a:lnTo>
                  <a:pt x="12" y="7"/>
                </a:lnTo>
                <a:lnTo>
                  <a:pt x="12" y="7"/>
                </a:lnTo>
                <a:lnTo>
                  <a:pt x="10" y="7"/>
                </a:lnTo>
                <a:lnTo>
                  <a:pt x="10" y="5"/>
                </a:lnTo>
                <a:lnTo>
                  <a:pt x="7" y="5"/>
                </a:lnTo>
                <a:lnTo>
                  <a:pt x="7"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9" name="Freeform 38"/>
          <p:cNvSpPr>
            <a:spLocks noEditPoints="1"/>
          </p:cNvSpPr>
          <p:nvPr/>
        </p:nvSpPr>
        <p:spPr bwMode="auto">
          <a:xfrm>
            <a:off x="6944403" y="3779662"/>
            <a:ext cx="128847" cy="158212"/>
          </a:xfrm>
          <a:custGeom>
            <a:avLst/>
            <a:gdLst/>
            <a:ahLst/>
            <a:cxnLst>
              <a:cxn ang="0">
                <a:pos x="77" y="91"/>
              </a:cxn>
              <a:cxn ang="0">
                <a:pos x="72" y="96"/>
              </a:cxn>
              <a:cxn ang="0">
                <a:pos x="72" y="103"/>
              </a:cxn>
              <a:cxn ang="0">
                <a:pos x="67" y="91"/>
              </a:cxn>
              <a:cxn ang="0">
                <a:pos x="67" y="88"/>
              </a:cxn>
              <a:cxn ang="0">
                <a:pos x="64" y="83"/>
              </a:cxn>
              <a:cxn ang="0">
                <a:pos x="62" y="76"/>
              </a:cxn>
              <a:cxn ang="0">
                <a:pos x="54" y="66"/>
              </a:cxn>
              <a:cxn ang="0">
                <a:pos x="47" y="64"/>
              </a:cxn>
              <a:cxn ang="0">
                <a:pos x="40" y="59"/>
              </a:cxn>
              <a:cxn ang="0">
                <a:pos x="42" y="69"/>
              </a:cxn>
              <a:cxn ang="0">
                <a:pos x="45" y="74"/>
              </a:cxn>
              <a:cxn ang="0">
                <a:pos x="37" y="83"/>
              </a:cxn>
              <a:cxn ang="0">
                <a:pos x="37" y="78"/>
              </a:cxn>
              <a:cxn ang="0">
                <a:pos x="35" y="81"/>
              </a:cxn>
              <a:cxn ang="0">
                <a:pos x="35" y="71"/>
              </a:cxn>
              <a:cxn ang="0">
                <a:pos x="32" y="74"/>
              </a:cxn>
              <a:cxn ang="0">
                <a:pos x="32" y="81"/>
              </a:cxn>
              <a:cxn ang="0">
                <a:pos x="30" y="83"/>
              </a:cxn>
              <a:cxn ang="0">
                <a:pos x="25" y="86"/>
              </a:cxn>
              <a:cxn ang="0">
                <a:pos x="22" y="76"/>
              </a:cxn>
              <a:cxn ang="0">
                <a:pos x="15" y="64"/>
              </a:cxn>
              <a:cxn ang="0">
                <a:pos x="15" y="51"/>
              </a:cxn>
              <a:cxn ang="0">
                <a:pos x="5" y="42"/>
              </a:cxn>
              <a:cxn ang="0">
                <a:pos x="5" y="29"/>
              </a:cxn>
              <a:cxn ang="0">
                <a:pos x="10" y="24"/>
              </a:cxn>
              <a:cxn ang="0">
                <a:pos x="13" y="17"/>
              </a:cxn>
              <a:cxn ang="0">
                <a:pos x="0" y="17"/>
              </a:cxn>
              <a:cxn ang="0">
                <a:pos x="5" y="5"/>
              </a:cxn>
              <a:cxn ang="0">
                <a:pos x="5" y="0"/>
              </a:cxn>
              <a:cxn ang="0">
                <a:pos x="10" y="7"/>
              </a:cxn>
              <a:cxn ang="0">
                <a:pos x="13" y="7"/>
              </a:cxn>
              <a:cxn ang="0">
                <a:pos x="18" y="7"/>
              </a:cxn>
              <a:cxn ang="0">
                <a:pos x="22" y="7"/>
              </a:cxn>
              <a:cxn ang="0">
                <a:pos x="27" y="17"/>
              </a:cxn>
              <a:cxn ang="0">
                <a:pos x="30" y="24"/>
              </a:cxn>
              <a:cxn ang="0">
                <a:pos x="40" y="24"/>
              </a:cxn>
              <a:cxn ang="0">
                <a:pos x="57" y="24"/>
              </a:cxn>
              <a:cxn ang="0">
                <a:pos x="62" y="24"/>
              </a:cxn>
              <a:cxn ang="0">
                <a:pos x="64" y="32"/>
              </a:cxn>
              <a:cxn ang="0">
                <a:pos x="59" y="42"/>
              </a:cxn>
              <a:cxn ang="0">
                <a:pos x="57" y="44"/>
              </a:cxn>
              <a:cxn ang="0">
                <a:pos x="52" y="49"/>
              </a:cxn>
              <a:cxn ang="0">
                <a:pos x="54" y="56"/>
              </a:cxn>
              <a:cxn ang="0">
                <a:pos x="62" y="64"/>
              </a:cxn>
              <a:cxn ang="0">
                <a:pos x="62" y="56"/>
              </a:cxn>
              <a:cxn ang="0">
                <a:pos x="62" y="54"/>
              </a:cxn>
              <a:cxn ang="0">
                <a:pos x="69" y="54"/>
              </a:cxn>
              <a:cxn ang="0">
                <a:pos x="72" y="64"/>
              </a:cxn>
              <a:cxn ang="0">
                <a:pos x="74" y="76"/>
              </a:cxn>
              <a:cxn ang="0">
                <a:pos x="77" y="81"/>
              </a:cxn>
              <a:cxn ang="0">
                <a:pos x="57" y="71"/>
              </a:cxn>
              <a:cxn ang="0">
                <a:pos x="57" y="74"/>
              </a:cxn>
              <a:cxn ang="0">
                <a:pos x="52" y="74"/>
              </a:cxn>
              <a:cxn ang="0">
                <a:pos x="54" y="74"/>
              </a:cxn>
              <a:cxn ang="0">
                <a:pos x="50" y="71"/>
              </a:cxn>
              <a:cxn ang="0">
                <a:pos x="45" y="71"/>
              </a:cxn>
              <a:cxn ang="0">
                <a:pos x="47" y="69"/>
              </a:cxn>
            </a:cxnLst>
            <a:rect l="0" t="0" r="r" b="b"/>
            <a:pathLst>
              <a:path w="79" h="103">
                <a:moveTo>
                  <a:pt x="79" y="83"/>
                </a:moveTo>
                <a:lnTo>
                  <a:pt x="79" y="83"/>
                </a:lnTo>
                <a:lnTo>
                  <a:pt x="79" y="88"/>
                </a:lnTo>
                <a:lnTo>
                  <a:pt x="79" y="88"/>
                </a:lnTo>
                <a:lnTo>
                  <a:pt x="77" y="91"/>
                </a:lnTo>
                <a:lnTo>
                  <a:pt x="77" y="91"/>
                </a:lnTo>
                <a:lnTo>
                  <a:pt x="74" y="91"/>
                </a:lnTo>
                <a:lnTo>
                  <a:pt x="74" y="91"/>
                </a:lnTo>
                <a:lnTo>
                  <a:pt x="72" y="93"/>
                </a:lnTo>
                <a:lnTo>
                  <a:pt x="72" y="93"/>
                </a:lnTo>
                <a:lnTo>
                  <a:pt x="72" y="96"/>
                </a:lnTo>
                <a:lnTo>
                  <a:pt x="72" y="96"/>
                </a:lnTo>
                <a:lnTo>
                  <a:pt x="72" y="98"/>
                </a:lnTo>
                <a:lnTo>
                  <a:pt x="72" y="98"/>
                </a:lnTo>
                <a:lnTo>
                  <a:pt x="72" y="98"/>
                </a:lnTo>
                <a:lnTo>
                  <a:pt x="72" y="103"/>
                </a:lnTo>
                <a:lnTo>
                  <a:pt x="72" y="103"/>
                </a:lnTo>
                <a:lnTo>
                  <a:pt x="72" y="103"/>
                </a:lnTo>
                <a:lnTo>
                  <a:pt x="69" y="96"/>
                </a:lnTo>
                <a:lnTo>
                  <a:pt x="69" y="96"/>
                </a:lnTo>
                <a:lnTo>
                  <a:pt x="67" y="93"/>
                </a:lnTo>
                <a:lnTo>
                  <a:pt x="67" y="93"/>
                </a:lnTo>
                <a:lnTo>
                  <a:pt x="67" y="91"/>
                </a:lnTo>
                <a:lnTo>
                  <a:pt x="67" y="91"/>
                </a:lnTo>
                <a:lnTo>
                  <a:pt x="67" y="88"/>
                </a:lnTo>
                <a:lnTo>
                  <a:pt x="67" y="88"/>
                </a:lnTo>
                <a:lnTo>
                  <a:pt x="67" y="86"/>
                </a:lnTo>
                <a:lnTo>
                  <a:pt x="67" y="86"/>
                </a:lnTo>
                <a:lnTo>
                  <a:pt x="67" y="88"/>
                </a:lnTo>
                <a:lnTo>
                  <a:pt x="67" y="88"/>
                </a:lnTo>
                <a:lnTo>
                  <a:pt x="64" y="91"/>
                </a:lnTo>
                <a:lnTo>
                  <a:pt x="64" y="91"/>
                </a:lnTo>
                <a:lnTo>
                  <a:pt x="64" y="88"/>
                </a:lnTo>
                <a:lnTo>
                  <a:pt x="64" y="88"/>
                </a:lnTo>
                <a:lnTo>
                  <a:pt x="64" y="83"/>
                </a:lnTo>
                <a:lnTo>
                  <a:pt x="64" y="83"/>
                </a:lnTo>
                <a:lnTo>
                  <a:pt x="64" y="83"/>
                </a:lnTo>
                <a:lnTo>
                  <a:pt x="64" y="81"/>
                </a:lnTo>
                <a:lnTo>
                  <a:pt x="64" y="81"/>
                </a:lnTo>
                <a:lnTo>
                  <a:pt x="64" y="78"/>
                </a:lnTo>
                <a:lnTo>
                  <a:pt x="64" y="78"/>
                </a:lnTo>
                <a:lnTo>
                  <a:pt x="62" y="76"/>
                </a:lnTo>
                <a:lnTo>
                  <a:pt x="62" y="76"/>
                </a:lnTo>
                <a:lnTo>
                  <a:pt x="57" y="66"/>
                </a:lnTo>
                <a:lnTo>
                  <a:pt x="57" y="66"/>
                </a:lnTo>
                <a:lnTo>
                  <a:pt x="57" y="66"/>
                </a:lnTo>
                <a:lnTo>
                  <a:pt x="57" y="66"/>
                </a:lnTo>
                <a:lnTo>
                  <a:pt x="54" y="66"/>
                </a:lnTo>
                <a:lnTo>
                  <a:pt x="54" y="66"/>
                </a:lnTo>
                <a:lnTo>
                  <a:pt x="52" y="69"/>
                </a:lnTo>
                <a:lnTo>
                  <a:pt x="52" y="69"/>
                </a:lnTo>
                <a:lnTo>
                  <a:pt x="47" y="66"/>
                </a:lnTo>
                <a:lnTo>
                  <a:pt x="47" y="66"/>
                </a:lnTo>
                <a:lnTo>
                  <a:pt x="47" y="64"/>
                </a:lnTo>
                <a:lnTo>
                  <a:pt x="47" y="64"/>
                </a:lnTo>
                <a:lnTo>
                  <a:pt x="45" y="64"/>
                </a:lnTo>
                <a:lnTo>
                  <a:pt x="45" y="64"/>
                </a:lnTo>
                <a:lnTo>
                  <a:pt x="42" y="61"/>
                </a:lnTo>
                <a:lnTo>
                  <a:pt x="42" y="61"/>
                </a:lnTo>
                <a:lnTo>
                  <a:pt x="40" y="59"/>
                </a:lnTo>
                <a:lnTo>
                  <a:pt x="40" y="59"/>
                </a:lnTo>
                <a:lnTo>
                  <a:pt x="42" y="64"/>
                </a:lnTo>
                <a:lnTo>
                  <a:pt x="42" y="64"/>
                </a:lnTo>
                <a:lnTo>
                  <a:pt x="42" y="66"/>
                </a:lnTo>
                <a:lnTo>
                  <a:pt x="42" y="66"/>
                </a:lnTo>
                <a:lnTo>
                  <a:pt x="42" y="69"/>
                </a:lnTo>
                <a:lnTo>
                  <a:pt x="42" y="69"/>
                </a:lnTo>
                <a:lnTo>
                  <a:pt x="40" y="69"/>
                </a:lnTo>
                <a:lnTo>
                  <a:pt x="40" y="69"/>
                </a:lnTo>
                <a:lnTo>
                  <a:pt x="42" y="69"/>
                </a:lnTo>
                <a:lnTo>
                  <a:pt x="42" y="69"/>
                </a:lnTo>
                <a:lnTo>
                  <a:pt x="45" y="74"/>
                </a:lnTo>
                <a:lnTo>
                  <a:pt x="45" y="74"/>
                </a:lnTo>
                <a:lnTo>
                  <a:pt x="42" y="78"/>
                </a:lnTo>
                <a:lnTo>
                  <a:pt x="42" y="78"/>
                </a:lnTo>
                <a:lnTo>
                  <a:pt x="40" y="78"/>
                </a:lnTo>
                <a:lnTo>
                  <a:pt x="40" y="78"/>
                </a:lnTo>
                <a:lnTo>
                  <a:pt x="37" y="83"/>
                </a:lnTo>
                <a:lnTo>
                  <a:pt x="37" y="83"/>
                </a:lnTo>
                <a:lnTo>
                  <a:pt x="35" y="81"/>
                </a:lnTo>
                <a:lnTo>
                  <a:pt x="35" y="81"/>
                </a:lnTo>
                <a:lnTo>
                  <a:pt x="37" y="78"/>
                </a:lnTo>
                <a:lnTo>
                  <a:pt x="37" y="78"/>
                </a:lnTo>
                <a:lnTo>
                  <a:pt x="37" y="78"/>
                </a:lnTo>
                <a:lnTo>
                  <a:pt x="40" y="76"/>
                </a:lnTo>
                <a:lnTo>
                  <a:pt x="40" y="76"/>
                </a:lnTo>
                <a:lnTo>
                  <a:pt x="37" y="78"/>
                </a:lnTo>
                <a:lnTo>
                  <a:pt x="37" y="78"/>
                </a:lnTo>
                <a:lnTo>
                  <a:pt x="35" y="81"/>
                </a:lnTo>
                <a:lnTo>
                  <a:pt x="35" y="81"/>
                </a:lnTo>
                <a:lnTo>
                  <a:pt x="32" y="78"/>
                </a:lnTo>
                <a:lnTo>
                  <a:pt x="32" y="78"/>
                </a:lnTo>
                <a:lnTo>
                  <a:pt x="35" y="74"/>
                </a:lnTo>
                <a:lnTo>
                  <a:pt x="35" y="74"/>
                </a:lnTo>
                <a:lnTo>
                  <a:pt x="35" y="71"/>
                </a:lnTo>
                <a:lnTo>
                  <a:pt x="35" y="71"/>
                </a:lnTo>
                <a:lnTo>
                  <a:pt x="32" y="71"/>
                </a:lnTo>
                <a:lnTo>
                  <a:pt x="32" y="71"/>
                </a:lnTo>
                <a:lnTo>
                  <a:pt x="35" y="71"/>
                </a:lnTo>
                <a:lnTo>
                  <a:pt x="35" y="71"/>
                </a:lnTo>
                <a:lnTo>
                  <a:pt x="32" y="74"/>
                </a:lnTo>
                <a:lnTo>
                  <a:pt x="32" y="74"/>
                </a:lnTo>
                <a:lnTo>
                  <a:pt x="32" y="76"/>
                </a:lnTo>
                <a:lnTo>
                  <a:pt x="32" y="76"/>
                </a:lnTo>
                <a:lnTo>
                  <a:pt x="32" y="78"/>
                </a:lnTo>
                <a:lnTo>
                  <a:pt x="32" y="78"/>
                </a:lnTo>
                <a:lnTo>
                  <a:pt x="32" y="81"/>
                </a:lnTo>
                <a:lnTo>
                  <a:pt x="32" y="81"/>
                </a:lnTo>
                <a:lnTo>
                  <a:pt x="32" y="83"/>
                </a:lnTo>
                <a:lnTo>
                  <a:pt x="32" y="83"/>
                </a:lnTo>
                <a:lnTo>
                  <a:pt x="32" y="83"/>
                </a:lnTo>
                <a:lnTo>
                  <a:pt x="32" y="83"/>
                </a:lnTo>
                <a:lnTo>
                  <a:pt x="30" y="83"/>
                </a:lnTo>
                <a:lnTo>
                  <a:pt x="30" y="83"/>
                </a:lnTo>
                <a:lnTo>
                  <a:pt x="27" y="83"/>
                </a:lnTo>
                <a:lnTo>
                  <a:pt x="27" y="83"/>
                </a:lnTo>
                <a:lnTo>
                  <a:pt x="27" y="86"/>
                </a:lnTo>
                <a:lnTo>
                  <a:pt x="27" y="86"/>
                </a:lnTo>
                <a:lnTo>
                  <a:pt x="25" y="86"/>
                </a:lnTo>
                <a:lnTo>
                  <a:pt x="25" y="86"/>
                </a:lnTo>
                <a:lnTo>
                  <a:pt x="25" y="83"/>
                </a:lnTo>
                <a:lnTo>
                  <a:pt x="25" y="83"/>
                </a:lnTo>
                <a:lnTo>
                  <a:pt x="22" y="81"/>
                </a:lnTo>
                <a:lnTo>
                  <a:pt x="22" y="81"/>
                </a:lnTo>
                <a:lnTo>
                  <a:pt x="22" y="81"/>
                </a:lnTo>
                <a:lnTo>
                  <a:pt x="22" y="76"/>
                </a:lnTo>
                <a:lnTo>
                  <a:pt x="22" y="76"/>
                </a:lnTo>
                <a:lnTo>
                  <a:pt x="20" y="74"/>
                </a:lnTo>
                <a:lnTo>
                  <a:pt x="20" y="74"/>
                </a:lnTo>
                <a:lnTo>
                  <a:pt x="20" y="71"/>
                </a:lnTo>
                <a:lnTo>
                  <a:pt x="20" y="71"/>
                </a:lnTo>
                <a:lnTo>
                  <a:pt x="15" y="64"/>
                </a:lnTo>
                <a:lnTo>
                  <a:pt x="15" y="64"/>
                </a:lnTo>
                <a:lnTo>
                  <a:pt x="15" y="59"/>
                </a:lnTo>
                <a:lnTo>
                  <a:pt x="15" y="59"/>
                </a:lnTo>
                <a:lnTo>
                  <a:pt x="15" y="56"/>
                </a:lnTo>
                <a:lnTo>
                  <a:pt x="15" y="56"/>
                </a:lnTo>
                <a:lnTo>
                  <a:pt x="15" y="51"/>
                </a:lnTo>
                <a:lnTo>
                  <a:pt x="15" y="51"/>
                </a:lnTo>
                <a:lnTo>
                  <a:pt x="15" y="47"/>
                </a:lnTo>
                <a:lnTo>
                  <a:pt x="15" y="47"/>
                </a:lnTo>
                <a:lnTo>
                  <a:pt x="10" y="42"/>
                </a:lnTo>
                <a:lnTo>
                  <a:pt x="10" y="42"/>
                </a:lnTo>
                <a:lnTo>
                  <a:pt x="5" y="42"/>
                </a:lnTo>
                <a:lnTo>
                  <a:pt x="5" y="42"/>
                </a:lnTo>
                <a:lnTo>
                  <a:pt x="3" y="37"/>
                </a:lnTo>
                <a:lnTo>
                  <a:pt x="3" y="37"/>
                </a:lnTo>
                <a:lnTo>
                  <a:pt x="3" y="32"/>
                </a:lnTo>
                <a:lnTo>
                  <a:pt x="3" y="32"/>
                </a:lnTo>
                <a:lnTo>
                  <a:pt x="5" y="29"/>
                </a:lnTo>
                <a:lnTo>
                  <a:pt x="5" y="29"/>
                </a:lnTo>
                <a:lnTo>
                  <a:pt x="8" y="27"/>
                </a:lnTo>
                <a:lnTo>
                  <a:pt x="8" y="27"/>
                </a:lnTo>
                <a:lnTo>
                  <a:pt x="10" y="24"/>
                </a:lnTo>
                <a:lnTo>
                  <a:pt x="10" y="24"/>
                </a:lnTo>
                <a:lnTo>
                  <a:pt x="10" y="24"/>
                </a:lnTo>
                <a:lnTo>
                  <a:pt x="13" y="24"/>
                </a:lnTo>
                <a:lnTo>
                  <a:pt x="13" y="24"/>
                </a:lnTo>
                <a:lnTo>
                  <a:pt x="13" y="19"/>
                </a:lnTo>
                <a:lnTo>
                  <a:pt x="13" y="19"/>
                </a:lnTo>
                <a:lnTo>
                  <a:pt x="13" y="17"/>
                </a:lnTo>
                <a:lnTo>
                  <a:pt x="13" y="17"/>
                </a:lnTo>
                <a:lnTo>
                  <a:pt x="10" y="17"/>
                </a:lnTo>
                <a:lnTo>
                  <a:pt x="10" y="17"/>
                </a:lnTo>
                <a:lnTo>
                  <a:pt x="5" y="19"/>
                </a:lnTo>
                <a:lnTo>
                  <a:pt x="5" y="19"/>
                </a:lnTo>
                <a:lnTo>
                  <a:pt x="0" y="17"/>
                </a:lnTo>
                <a:lnTo>
                  <a:pt x="0" y="17"/>
                </a:lnTo>
                <a:lnTo>
                  <a:pt x="0" y="12"/>
                </a:lnTo>
                <a:lnTo>
                  <a:pt x="0" y="12"/>
                </a:lnTo>
                <a:lnTo>
                  <a:pt x="3" y="10"/>
                </a:lnTo>
                <a:lnTo>
                  <a:pt x="3" y="10"/>
                </a:lnTo>
                <a:lnTo>
                  <a:pt x="5" y="5"/>
                </a:lnTo>
                <a:lnTo>
                  <a:pt x="5" y="5"/>
                </a:lnTo>
                <a:lnTo>
                  <a:pt x="3" y="2"/>
                </a:lnTo>
                <a:lnTo>
                  <a:pt x="3" y="2"/>
                </a:lnTo>
                <a:lnTo>
                  <a:pt x="3" y="2"/>
                </a:lnTo>
                <a:lnTo>
                  <a:pt x="3" y="2"/>
                </a:lnTo>
                <a:lnTo>
                  <a:pt x="5" y="0"/>
                </a:lnTo>
                <a:lnTo>
                  <a:pt x="5" y="0"/>
                </a:lnTo>
                <a:lnTo>
                  <a:pt x="5" y="0"/>
                </a:lnTo>
                <a:lnTo>
                  <a:pt x="8" y="2"/>
                </a:lnTo>
                <a:lnTo>
                  <a:pt x="8" y="2"/>
                </a:lnTo>
                <a:lnTo>
                  <a:pt x="8" y="5"/>
                </a:lnTo>
                <a:lnTo>
                  <a:pt x="8" y="5"/>
                </a:lnTo>
                <a:lnTo>
                  <a:pt x="10" y="7"/>
                </a:lnTo>
                <a:lnTo>
                  <a:pt x="10" y="7"/>
                </a:lnTo>
                <a:lnTo>
                  <a:pt x="13" y="7"/>
                </a:lnTo>
                <a:lnTo>
                  <a:pt x="13" y="7"/>
                </a:lnTo>
                <a:lnTo>
                  <a:pt x="15" y="7"/>
                </a:lnTo>
                <a:lnTo>
                  <a:pt x="15" y="7"/>
                </a:lnTo>
                <a:lnTo>
                  <a:pt x="13" y="7"/>
                </a:lnTo>
                <a:lnTo>
                  <a:pt x="13" y="7"/>
                </a:lnTo>
                <a:lnTo>
                  <a:pt x="13" y="5"/>
                </a:lnTo>
                <a:lnTo>
                  <a:pt x="13" y="5"/>
                </a:lnTo>
                <a:lnTo>
                  <a:pt x="15" y="5"/>
                </a:lnTo>
                <a:lnTo>
                  <a:pt x="15" y="5"/>
                </a:lnTo>
                <a:lnTo>
                  <a:pt x="18" y="7"/>
                </a:lnTo>
                <a:lnTo>
                  <a:pt x="18" y="7"/>
                </a:lnTo>
                <a:lnTo>
                  <a:pt x="18" y="7"/>
                </a:lnTo>
                <a:lnTo>
                  <a:pt x="22" y="10"/>
                </a:lnTo>
                <a:lnTo>
                  <a:pt x="22" y="10"/>
                </a:lnTo>
                <a:lnTo>
                  <a:pt x="22" y="7"/>
                </a:lnTo>
                <a:lnTo>
                  <a:pt x="22" y="7"/>
                </a:lnTo>
                <a:lnTo>
                  <a:pt x="22" y="7"/>
                </a:lnTo>
                <a:lnTo>
                  <a:pt x="25" y="12"/>
                </a:lnTo>
                <a:lnTo>
                  <a:pt x="25" y="12"/>
                </a:lnTo>
                <a:lnTo>
                  <a:pt x="25" y="15"/>
                </a:lnTo>
                <a:lnTo>
                  <a:pt x="25" y="15"/>
                </a:lnTo>
                <a:lnTo>
                  <a:pt x="27" y="17"/>
                </a:lnTo>
                <a:lnTo>
                  <a:pt x="27" y="17"/>
                </a:lnTo>
                <a:lnTo>
                  <a:pt x="27" y="19"/>
                </a:lnTo>
                <a:lnTo>
                  <a:pt x="27" y="19"/>
                </a:lnTo>
                <a:lnTo>
                  <a:pt x="27" y="22"/>
                </a:lnTo>
                <a:lnTo>
                  <a:pt x="27" y="22"/>
                </a:lnTo>
                <a:lnTo>
                  <a:pt x="30" y="24"/>
                </a:lnTo>
                <a:lnTo>
                  <a:pt x="30" y="24"/>
                </a:lnTo>
                <a:lnTo>
                  <a:pt x="32" y="22"/>
                </a:lnTo>
                <a:lnTo>
                  <a:pt x="32" y="22"/>
                </a:lnTo>
                <a:lnTo>
                  <a:pt x="37" y="24"/>
                </a:lnTo>
                <a:lnTo>
                  <a:pt x="37" y="24"/>
                </a:lnTo>
                <a:lnTo>
                  <a:pt x="40" y="24"/>
                </a:lnTo>
                <a:lnTo>
                  <a:pt x="40" y="24"/>
                </a:lnTo>
                <a:lnTo>
                  <a:pt x="47" y="24"/>
                </a:lnTo>
                <a:lnTo>
                  <a:pt x="47" y="24"/>
                </a:lnTo>
                <a:lnTo>
                  <a:pt x="52" y="24"/>
                </a:lnTo>
                <a:lnTo>
                  <a:pt x="52" y="24"/>
                </a:lnTo>
                <a:lnTo>
                  <a:pt x="57" y="24"/>
                </a:lnTo>
                <a:lnTo>
                  <a:pt x="57" y="24"/>
                </a:lnTo>
                <a:lnTo>
                  <a:pt x="59" y="24"/>
                </a:lnTo>
                <a:lnTo>
                  <a:pt x="59" y="24"/>
                </a:lnTo>
                <a:lnTo>
                  <a:pt x="59" y="24"/>
                </a:lnTo>
                <a:lnTo>
                  <a:pt x="62" y="24"/>
                </a:lnTo>
                <a:lnTo>
                  <a:pt x="62" y="24"/>
                </a:lnTo>
                <a:lnTo>
                  <a:pt x="64" y="27"/>
                </a:lnTo>
                <a:lnTo>
                  <a:pt x="64" y="27"/>
                </a:lnTo>
                <a:lnTo>
                  <a:pt x="67" y="27"/>
                </a:lnTo>
                <a:lnTo>
                  <a:pt x="67" y="27"/>
                </a:lnTo>
                <a:lnTo>
                  <a:pt x="64" y="32"/>
                </a:lnTo>
                <a:lnTo>
                  <a:pt x="64" y="32"/>
                </a:lnTo>
                <a:lnTo>
                  <a:pt x="64" y="34"/>
                </a:lnTo>
                <a:lnTo>
                  <a:pt x="64" y="34"/>
                </a:lnTo>
                <a:lnTo>
                  <a:pt x="62" y="39"/>
                </a:lnTo>
                <a:lnTo>
                  <a:pt x="62" y="39"/>
                </a:lnTo>
                <a:lnTo>
                  <a:pt x="59" y="42"/>
                </a:lnTo>
                <a:lnTo>
                  <a:pt x="59" y="42"/>
                </a:lnTo>
                <a:lnTo>
                  <a:pt x="59" y="44"/>
                </a:lnTo>
                <a:lnTo>
                  <a:pt x="59" y="44"/>
                </a:lnTo>
                <a:lnTo>
                  <a:pt x="59" y="44"/>
                </a:lnTo>
                <a:lnTo>
                  <a:pt x="57" y="44"/>
                </a:lnTo>
                <a:lnTo>
                  <a:pt x="57" y="44"/>
                </a:lnTo>
                <a:lnTo>
                  <a:pt x="57" y="44"/>
                </a:lnTo>
                <a:lnTo>
                  <a:pt x="54" y="47"/>
                </a:lnTo>
                <a:lnTo>
                  <a:pt x="54" y="47"/>
                </a:lnTo>
                <a:lnTo>
                  <a:pt x="52" y="47"/>
                </a:lnTo>
                <a:lnTo>
                  <a:pt x="52" y="47"/>
                </a:lnTo>
                <a:lnTo>
                  <a:pt x="52" y="49"/>
                </a:lnTo>
                <a:lnTo>
                  <a:pt x="52" y="49"/>
                </a:lnTo>
                <a:lnTo>
                  <a:pt x="52" y="51"/>
                </a:lnTo>
                <a:lnTo>
                  <a:pt x="52" y="51"/>
                </a:lnTo>
                <a:lnTo>
                  <a:pt x="52" y="54"/>
                </a:lnTo>
                <a:lnTo>
                  <a:pt x="52" y="54"/>
                </a:lnTo>
                <a:lnTo>
                  <a:pt x="54" y="56"/>
                </a:lnTo>
                <a:lnTo>
                  <a:pt x="54" y="56"/>
                </a:lnTo>
                <a:lnTo>
                  <a:pt x="54" y="56"/>
                </a:lnTo>
                <a:lnTo>
                  <a:pt x="57" y="59"/>
                </a:lnTo>
                <a:lnTo>
                  <a:pt x="57" y="59"/>
                </a:lnTo>
                <a:lnTo>
                  <a:pt x="59" y="64"/>
                </a:lnTo>
                <a:lnTo>
                  <a:pt x="59" y="64"/>
                </a:lnTo>
                <a:lnTo>
                  <a:pt x="62" y="64"/>
                </a:lnTo>
                <a:lnTo>
                  <a:pt x="62" y="64"/>
                </a:lnTo>
                <a:lnTo>
                  <a:pt x="62" y="61"/>
                </a:lnTo>
                <a:lnTo>
                  <a:pt x="62" y="61"/>
                </a:lnTo>
                <a:lnTo>
                  <a:pt x="62" y="59"/>
                </a:lnTo>
                <a:lnTo>
                  <a:pt x="62" y="59"/>
                </a:lnTo>
                <a:lnTo>
                  <a:pt x="62" y="56"/>
                </a:lnTo>
                <a:lnTo>
                  <a:pt x="62" y="56"/>
                </a:lnTo>
                <a:lnTo>
                  <a:pt x="62" y="56"/>
                </a:lnTo>
                <a:lnTo>
                  <a:pt x="64" y="54"/>
                </a:lnTo>
                <a:lnTo>
                  <a:pt x="64" y="54"/>
                </a:lnTo>
                <a:lnTo>
                  <a:pt x="62" y="54"/>
                </a:lnTo>
                <a:lnTo>
                  <a:pt x="62" y="54"/>
                </a:lnTo>
                <a:lnTo>
                  <a:pt x="64" y="51"/>
                </a:lnTo>
                <a:lnTo>
                  <a:pt x="64" y="51"/>
                </a:lnTo>
                <a:lnTo>
                  <a:pt x="67" y="54"/>
                </a:lnTo>
                <a:lnTo>
                  <a:pt x="67" y="54"/>
                </a:lnTo>
                <a:lnTo>
                  <a:pt x="69" y="54"/>
                </a:lnTo>
                <a:lnTo>
                  <a:pt x="69" y="54"/>
                </a:lnTo>
                <a:lnTo>
                  <a:pt x="69" y="54"/>
                </a:lnTo>
                <a:lnTo>
                  <a:pt x="72" y="56"/>
                </a:lnTo>
                <a:lnTo>
                  <a:pt x="72" y="56"/>
                </a:lnTo>
                <a:lnTo>
                  <a:pt x="72" y="61"/>
                </a:lnTo>
                <a:lnTo>
                  <a:pt x="72" y="61"/>
                </a:lnTo>
                <a:lnTo>
                  <a:pt x="72" y="64"/>
                </a:lnTo>
                <a:lnTo>
                  <a:pt x="72" y="64"/>
                </a:lnTo>
                <a:lnTo>
                  <a:pt x="72" y="66"/>
                </a:lnTo>
                <a:lnTo>
                  <a:pt x="72" y="66"/>
                </a:lnTo>
                <a:lnTo>
                  <a:pt x="74" y="74"/>
                </a:lnTo>
                <a:lnTo>
                  <a:pt x="74" y="74"/>
                </a:lnTo>
                <a:lnTo>
                  <a:pt x="74" y="76"/>
                </a:lnTo>
                <a:lnTo>
                  <a:pt x="74" y="76"/>
                </a:lnTo>
                <a:lnTo>
                  <a:pt x="77" y="78"/>
                </a:lnTo>
                <a:lnTo>
                  <a:pt x="77" y="78"/>
                </a:lnTo>
                <a:lnTo>
                  <a:pt x="77" y="81"/>
                </a:lnTo>
                <a:lnTo>
                  <a:pt x="77" y="81"/>
                </a:lnTo>
                <a:lnTo>
                  <a:pt x="77" y="81"/>
                </a:lnTo>
                <a:lnTo>
                  <a:pt x="77" y="83"/>
                </a:lnTo>
                <a:lnTo>
                  <a:pt x="77" y="83"/>
                </a:lnTo>
                <a:lnTo>
                  <a:pt x="79" y="83"/>
                </a:lnTo>
                <a:lnTo>
                  <a:pt x="79" y="83"/>
                </a:lnTo>
                <a:close/>
                <a:moveTo>
                  <a:pt x="57" y="71"/>
                </a:moveTo>
                <a:lnTo>
                  <a:pt x="57" y="71"/>
                </a:lnTo>
                <a:lnTo>
                  <a:pt x="57" y="71"/>
                </a:lnTo>
                <a:lnTo>
                  <a:pt x="54" y="71"/>
                </a:lnTo>
                <a:lnTo>
                  <a:pt x="54" y="71"/>
                </a:lnTo>
                <a:lnTo>
                  <a:pt x="54" y="74"/>
                </a:lnTo>
                <a:lnTo>
                  <a:pt x="54" y="74"/>
                </a:lnTo>
                <a:lnTo>
                  <a:pt x="57" y="74"/>
                </a:lnTo>
                <a:lnTo>
                  <a:pt x="57" y="74"/>
                </a:lnTo>
                <a:lnTo>
                  <a:pt x="57" y="71"/>
                </a:lnTo>
                <a:lnTo>
                  <a:pt x="57" y="71"/>
                </a:lnTo>
                <a:close/>
                <a:moveTo>
                  <a:pt x="50" y="71"/>
                </a:moveTo>
                <a:lnTo>
                  <a:pt x="50" y="71"/>
                </a:lnTo>
                <a:lnTo>
                  <a:pt x="52" y="74"/>
                </a:lnTo>
                <a:lnTo>
                  <a:pt x="52" y="74"/>
                </a:lnTo>
                <a:lnTo>
                  <a:pt x="50" y="76"/>
                </a:lnTo>
                <a:lnTo>
                  <a:pt x="50" y="76"/>
                </a:lnTo>
                <a:lnTo>
                  <a:pt x="52" y="78"/>
                </a:lnTo>
                <a:lnTo>
                  <a:pt x="52" y="78"/>
                </a:lnTo>
                <a:lnTo>
                  <a:pt x="54" y="74"/>
                </a:lnTo>
                <a:lnTo>
                  <a:pt x="54" y="74"/>
                </a:lnTo>
                <a:lnTo>
                  <a:pt x="52" y="71"/>
                </a:lnTo>
                <a:lnTo>
                  <a:pt x="52" y="71"/>
                </a:lnTo>
                <a:lnTo>
                  <a:pt x="50" y="69"/>
                </a:lnTo>
                <a:lnTo>
                  <a:pt x="50" y="71"/>
                </a:lnTo>
                <a:lnTo>
                  <a:pt x="50" y="71"/>
                </a:lnTo>
                <a:close/>
                <a:moveTo>
                  <a:pt x="47" y="69"/>
                </a:moveTo>
                <a:lnTo>
                  <a:pt x="47" y="69"/>
                </a:lnTo>
                <a:lnTo>
                  <a:pt x="42" y="69"/>
                </a:lnTo>
                <a:lnTo>
                  <a:pt x="42" y="69"/>
                </a:lnTo>
                <a:lnTo>
                  <a:pt x="45" y="71"/>
                </a:lnTo>
                <a:lnTo>
                  <a:pt x="45" y="71"/>
                </a:lnTo>
                <a:lnTo>
                  <a:pt x="45" y="76"/>
                </a:lnTo>
                <a:lnTo>
                  <a:pt x="45" y="76"/>
                </a:lnTo>
                <a:lnTo>
                  <a:pt x="50" y="76"/>
                </a:lnTo>
                <a:lnTo>
                  <a:pt x="50" y="76"/>
                </a:lnTo>
                <a:lnTo>
                  <a:pt x="47" y="71"/>
                </a:lnTo>
                <a:lnTo>
                  <a:pt x="47" y="6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0" name="Freeform 39"/>
          <p:cNvSpPr>
            <a:spLocks/>
          </p:cNvSpPr>
          <p:nvPr/>
        </p:nvSpPr>
        <p:spPr bwMode="auto">
          <a:xfrm>
            <a:off x="6957450" y="3738190"/>
            <a:ext cx="75024" cy="41474"/>
          </a:xfrm>
          <a:custGeom>
            <a:avLst/>
            <a:gdLst/>
            <a:ahLst/>
            <a:cxnLst>
              <a:cxn ang="0">
                <a:pos x="0" y="12"/>
              </a:cxn>
              <a:cxn ang="0">
                <a:pos x="2" y="10"/>
              </a:cxn>
              <a:cxn ang="0">
                <a:pos x="7" y="5"/>
              </a:cxn>
              <a:cxn ang="0">
                <a:pos x="14" y="0"/>
              </a:cxn>
              <a:cxn ang="0">
                <a:pos x="19" y="0"/>
              </a:cxn>
              <a:cxn ang="0">
                <a:pos x="22" y="2"/>
              </a:cxn>
              <a:cxn ang="0">
                <a:pos x="29" y="2"/>
              </a:cxn>
              <a:cxn ang="0">
                <a:pos x="32" y="2"/>
              </a:cxn>
              <a:cxn ang="0">
                <a:pos x="34" y="2"/>
              </a:cxn>
              <a:cxn ang="0">
                <a:pos x="39" y="2"/>
              </a:cxn>
              <a:cxn ang="0">
                <a:pos x="42" y="5"/>
              </a:cxn>
              <a:cxn ang="0">
                <a:pos x="42" y="5"/>
              </a:cxn>
              <a:cxn ang="0">
                <a:pos x="42" y="10"/>
              </a:cxn>
              <a:cxn ang="0">
                <a:pos x="42" y="12"/>
              </a:cxn>
              <a:cxn ang="0">
                <a:pos x="46" y="14"/>
              </a:cxn>
              <a:cxn ang="0">
                <a:pos x="46" y="19"/>
              </a:cxn>
              <a:cxn ang="0">
                <a:pos x="46" y="22"/>
              </a:cxn>
              <a:cxn ang="0">
                <a:pos x="39" y="22"/>
              </a:cxn>
              <a:cxn ang="0">
                <a:pos x="37" y="22"/>
              </a:cxn>
              <a:cxn ang="0">
                <a:pos x="29" y="24"/>
              </a:cxn>
              <a:cxn ang="0">
                <a:pos x="27" y="22"/>
              </a:cxn>
              <a:cxn ang="0">
                <a:pos x="24" y="24"/>
              </a:cxn>
              <a:cxn ang="0">
                <a:pos x="22" y="27"/>
              </a:cxn>
              <a:cxn ang="0">
                <a:pos x="17" y="27"/>
              </a:cxn>
              <a:cxn ang="0">
                <a:pos x="10" y="22"/>
              </a:cxn>
              <a:cxn ang="0">
                <a:pos x="7" y="24"/>
              </a:cxn>
              <a:cxn ang="0">
                <a:pos x="2" y="22"/>
              </a:cxn>
              <a:cxn ang="0">
                <a:pos x="0" y="19"/>
              </a:cxn>
              <a:cxn ang="0">
                <a:pos x="0" y="14"/>
              </a:cxn>
              <a:cxn ang="0">
                <a:pos x="0" y="12"/>
              </a:cxn>
              <a:cxn ang="0">
                <a:pos x="0" y="12"/>
              </a:cxn>
            </a:cxnLst>
            <a:rect l="0" t="0" r="r" b="b"/>
            <a:pathLst>
              <a:path w="46" h="27">
                <a:moveTo>
                  <a:pt x="0" y="12"/>
                </a:moveTo>
                <a:lnTo>
                  <a:pt x="2" y="10"/>
                </a:lnTo>
                <a:lnTo>
                  <a:pt x="7" y="5"/>
                </a:lnTo>
                <a:lnTo>
                  <a:pt x="14" y="0"/>
                </a:lnTo>
                <a:lnTo>
                  <a:pt x="19" y="0"/>
                </a:lnTo>
                <a:lnTo>
                  <a:pt x="22" y="2"/>
                </a:lnTo>
                <a:lnTo>
                  <a:pt x="29" y="2"/>
                </a:lnTo>
                <a:lnTo>
                  <a:pt x="32" y="2"/>
                </a:lnTo>
                <a:lnTo>
                  <a:pt x="34" y="2"/>
                </a:lnTo>
                <a:lnTo>
                  <a:pt x="39" y="2"/>
                </a:lnTo>
                <a:lnTo>
                  <a:pt x="42" y="5"/>
                </a:lnTo>
                <a:lnTo>
                  <a:pt x="42" y="5"/>
                </a:lnTo>
                <a:lnTo>
                  <a:pt x="42" y="10"/>
                </a:lnTo>
                <a:lnTo>
                  <a:pt x="42" y="12"/>
                </a:lnTo>
                <a:lnTo>
                  <a:pt x="46" y="14"/>
                </a:lnTo>
                <a:lnTo>
                  <a:pt x="46" y="19"/>
                </a:lnTo>
                <a:lnTo>
                  <a:pt x="46" y="22"/>
                </a:lnTo>
                <a:lnTo>
                  <a:pt x="39" y="22"/>
                </a:lnTo>
                <a:lnTo>
                  <a:pt x="37" y="22"/>
                </a:lnTo>
                <a:lnTo>
                  <a:pt x="29" y="24"/>
                </a:lnTo>
                <a:lnTo>
                  <a:pt x="27" y="22"/>
                </a:lnTo>
                <a:lnTo>
                  <a:pt x="24" y="24"/>
                </a:lnTo>
                <a:lnTo>
                  <a:pt x="22" y="27"/>
                </a:lnTo>
                <a:lnTo>
                  <a:pt x="17" y="27"/>
                </a:lnTo>
                <a:lnTo>
                  <a:pt x="10" y="22"/>
                </a:lnTo>
                <a:lnTo>
                  <a:pt x="7" y="24"/>
                </a:lnTo>
                <a:lnTo>
                  <a:pt x="2" y="22"/>
                </a:lnTo>
                <a:lnTo>
                  <a:pt x="0" y="19"/>
                </a:lnTo>
                <a:lnTo>
                  <a:pt x="0" y="14"/>
                </a:lnTo>
                <a:lnTo>
                  <a:pt x="0" y="12"/>
                </a:lnTo>
                <a:lnTo>
                  <a:pt x="0" y="1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1" name="Freeform 40"/>
          <p:cNvSpPr>
            <a:spLocks/>
          </p:cNvSpPr>
          <p:nvPr/>
        </p:nvSpPr>
        <p:spPr bwMode="auto">
          <a:xfrm>
            <a:off x="6732378" y="3681356"/>
            <a:ext cx="208763" cy="105987"/>
          </a:xfrm>
          <a:custGeom>
            <a:avLst/>
            <a:gdLst/>
            <a:ahLst/>
            <a:cxnLst>
              <a:cxn ang="0">
                <a:pos x="7" y="0"/>
              </a:cxn>
              <a:cxn ang="0">
                <a:pos x="12" y="5"/>
              </a:cxn>
              <a:cxn ang="0">
                <a:pos x="17" y="5"/>
              </a:cxn>
              <a:cxn ang="0">
                <a:pos x="22" y="2"/>
              </a:cxn>
              <a:cxn ang="0">
                <a:pos x="29" y="7"/>
              </a:cxn>
              <a:cxn ang="0">
                <a:pos x="37" y="7"/>
              </a:cxn>
              <a:cxn ang="0">
                <a:pos x="44" y="12"/>
              </a:cxn>
              <a:cxn ang="0">
                <a:pos x="49" y="17"/>
              </a:cxn>
              <a:cxn ang="0">
                <a:pos x="52" y="22"/>
              </a:cxn>
              <a:cxn ang="0">
                <a:pos x="54" y="17"/>
              </a:cxn>
              <a:cxn ang="0">
                <a:pos x="57" y="17"/>
              </a:cxn>
              <a:cxn ang="0">
                <a:pos x="64" y="20"/>
              </a:cxn>
              <a:cxn ang="0">
                <a:pos x="69" y="27"/>
              </a:cxn>
              <a:cxn ang="0">
                <a:pos x="76" y="27"/>
              </a:cxn>
              <a:cxn ang="0">
                <a:pos x="79" y="37"/>
              </a:cxn>
              <a:cxn ang="0">
                <a:pos x="86" y="37"/>
              </a:cxn>
              <a:cxn ang="0">
                <a:pos x="91" y="34"/>
              </a:cxn>
              <a:cxn ang="0">
                <a:pos x="98" y="32"/>
              </a:cxn>
              <a:cxn ang="0">
                <a:pos x="103" y="39"/>
              </a:cxn>
              <a:cxn ang="0">
                <a:pos x="111" y="44"/>
              </a:cxn>
              <a:cxn ang="0">
                <a:pos x="118" y="44"/>
              </a:cxn>
              <a:cxn ang="0">
                <a:pos x="123" y="42"/>
              </a:cxn>
              <a:cxn ang="0">
                <a:pos x="128" y="47"/>
              </a:cxn>
              <a:cxn ang="0">
                <a:pos x="128" y="59"/>
              </a:cxn>
              <a:cxn ang="0">
                <a:pos x="118" y="69"/>
              </a:cxn>
              <a:cxn ang="0">
                <a:pos x="108" y="66"/>
              </a:cxn>
              <a:cxn ang="0">
                <a:pos x="91" y="61"/>
              </a:cxn>
              <a:cxn ang="0">
                <a:pos x="79" y="61"/>
              </a:cxn>
              <a:cxn ang="0">
                <a:pos x="74" y="54"/>
              </a:cxn>
              <a:cxn ang="0">
                <a:pos x="59" y="54"/>
              </a:cxn>
              <a:cxn ang="0">
                <a:pos x="49" y="54"/>
              </a:cxn>
              <a:cxn ang="0">
                <a:pos x="39" y="49"/>
              </a:cxn>
              <a:cxn ang="0">
                <a:pos x="29" y="47"/>
              </a:cxn>
              <a:cxn ang="0">
                <a:pos x="17" y="37"/>
              </a:cxn>
              <a:cxn ang="0">
                <a:pos x="10" y="32"/>
              </a:cxn>
              <a:cxn ang="0">
                <a:pos x="5" y="29"/>
              </a:cxn>
              <a:cxn ang="0">
                <a:pos x="0" y="27"/>
              </a:cxn>
              <a:cxn ang="0">
                <a:pos x="5" y="15"/>
              </a:cxn>
              <a:cxn ang="0">
                <a:pos x="5" y="2"/>
              </a:cxn>
            </a:cxnLst>
            <a:rect l="0" t="0" r="r" b="b"/>
            <a:pathLst>
              <a:path w="128" h="69">
                <a:moveTo>
                  <a:pt x="5" y="2"/>
                </a:moveTo>
                <a:lnTo>
                  <a:pt x="7" y="0"/>
                </a:lnTo>
                <a:lnTo>
                  <a:pt x="12" y="2"/>
                </a:lnTo>
                <a:lnTo>
                  <a:pt x="12" y="5"/>
                </a:lnTo>
                <a:lnTo>
                  <a:pt x="15" y="5"/>
                </a:lnTo>
                <a:lnTo>
                  <a:pt x="17" y="5"/>
                </a:lnTo>
                <a:lnTo>
                  <a:pt x="20" y="2"/>
                </a:lnTo>
                <a:lnTo>
                  <a:pt x="22" y="2"/>
                </a:lnTo>
                <a:lnTo>
                  <a:pt x="29" y="5"/>
                </a:lnTo>
                <a:lnTo>
                  <a:pt x="29" y="7"/>
                </a:lnTo>
                <a:lnTo>
                  <a:pt x="34" y="7"/>
                </a:lnTo>
                <a:lnTo>
                  <a:pt x="37" y="7"/>
                </a:lnTo>
                <a:lnTo>
                  <a:pt x="42" y="12"/>
                </a:lnTo>
                <a:lnTo>
                  <a:pt x="44" y="12"/>
                </a:lnTo>
                <a:lnTo>
                  <a:pt x="47" y="15"/>
                </a:lnTo>
                <a:lnTo>
                  <a:pt x="49" y="17"/>
                </a:lnTo>
                <a:lnTo>
                  <a:pt x="52" y="20"/>
                </a:lnTo>
                <a:lnTo>
                  <a:pt x="52" y="22"/>
                </a:lnTo>
                <a:lnTo>
                  <a:pt x="54" y="22"/>
                </a:lnTo>
                <a:lnTo>
                  <a:pt x="54" y="17"/>
                </a:lnTo>
                <a:lnTo>
                  <a:pt x="57" y="17"/>
                </a:lnTo>
                <a:lnTo>
                  <a:pt x="57" y="17"/>
                </a:lnTo>
                <a:lnTo>
                  <a:pt x="61" y="17"/>
                </a:lnTo>
                <a:lnTo>
                  <a:pt x="64" y="20"/>
                </a:lnTo>
                <a:lnTo>
                  <a:pt x="64" y="24"/>
                </a:lnTo>
                <a:lnTo>
                  <a:pt x="69" y="27"/>
                </a:lnTo>
                <a:lnTo>
                  <a:pt x="74" y="27"/>
                </a:lnTo>
                <a:lnTo>
                  <a:pt x="76" y="27"/>
                </a:lnTo>
                <a:lnTo>
                  <a:pt x="76" y="32"/>
                </a:lnTo>
                <a:lnTo>
                  <a:pt x="79" y="37"/>
                </a:lnTo>
                <a:lnTo>
                  <a:pt x="81" y="37"/>
                </a:lnTo>
                <a:lnTo>
                  <a:pt x="86" y="37"/>
                </a:lnTo>
                <a:lnTo>
                  <a:pt x="86" y="37"/>
                </a:lnTo>
                <a:lnTo>
                  <a:pt x="91" y="34"/>
                </a:lnTo>
                <a:lnTo>
                  <a:pt x="93" y="32"/>
                </a:lnTo>
                <a:lnTo>
                  <a:pt x="98" y="32"/>
                </a:lnTo>
                <a:lnTo>
                  <a:pt x="103" y="34"/>
                </a:lnTo>
                <a:lnTo>
                  <a:pt x="103" y="39"/>
                </a:lnTo>
                <a:lnTo>
                  <a:pt x="108" y="39"/>
                </a:lnTo>
                <a:lnTo>
                  <a:pt x="111" y="44"/>
                </a:lnTo>
                <a:lnTo>
                  <a:pt x="113" y="44"/>
                </a:lnTo>
                <a:lnTo>
                  <a:pt x="118" y="44"/>
                </a:lnTo>
                <a:lnTo>
                  <a:pt x="118" y="44"/>
                </a:lnTo>
                <a:lnTo>
                  <a:pt x="123" y="42"/>
                </a:lnTo>
                <a:lnTo>
                  <a:pt x="125" y="42"/>
                </a:lnTo>
                <a:lnTo>
                  <a:pt x="128" y="47"/>
                </a:lnTo>
                <a:lnTo>
                  <a:pt x="125" y="54"/>
                </a:lnTo>
                <a:lnTo>
                  <a:pt x="128" y="59"/>
                </a:lnTo>
                <a:lnTo>
                  <a:pt x="128" y="66"/>
                </a:lnTo>
                <a:lnTo>
                  <a:pt x="118" y="69"/>
                </a:lnTo>
                <a:lnTo>
                  <a:pt x="113" y="66"/>
                </a:lnTo>
                <a:lnTo>
                  <a:pt x="108" y="66"/>
                </a:lnTo>
                <a:lnTo>
                  <a:pt x="96" y="61"/>
                </a:lnTo>
                <a:lnTo>
                  <a:pt x="91" y="61"/>
                </a:lnTo>
                <a:lnTo>
                  <a:pt x="89" y="64"/>
                </a:lnTo>
                <a:lnTo>
                  <a:pt x="79" y="61"/>
                </a:lnTo>
                <a:lnTo>
                  <a:pt x="76" y="59"/>
                </a:lnTo>
                <a:lnTo>
                  <a:pt x="74" y="54"/>
                </a:lnTo>
                <a:lnTo>
                  <a:pt x="66" y="51"/>
                </a:lnTo>
                <a:lnTo>
                  <a:pt x="59" y="54"/>
                </a:lnTo>
                <a:lnTo>
                  <a:pt x="57" y="51"/>
                </a:lnTo>
                <a:lnTo>
                  <a:pt x="49" y="54"/>
                </a:lnTo>
                <a:lnTo>
                  <a:pt x="44" y="49"/>
                </a:lnTo>
                <a:lnTo>
                  <a:pt x="39" y="49"/>
                </a:lnTo>
                <a:lnTo>
                  <a:pt x="37" y="47"/>
                </a:lnTo>
                <a:lnTo>
                  <a:pt x="29" y="47"/>
                </a:lnTo>
                <a:lnTo>
                  <a:pt x="25" y="39"/>
                </a:lnTo>
                <a:lnTo>
                  <a:pt x="17" y="37"/>
                </a:lnTo>
                <a:lnTo>
                  <a:pt x="12" y="34"/>
                </a:lnTo>
                <a:lnTo>
                  <a:pt x="10" y="32"/>
                </a:lnTo>
                <a:lnTo>
                  <a:pt x="7" y="32"/>
                </a:lnTo>
                <a:lnTo>
                  <a:pt x="5" y="29"/>
                </a:lnTo>
                <a:lnTo>
                  <a:pt x="2" y="29"/>
                </a:lnTo>
                <a:lnTo>
                  <a:pt x="0" y="27"/>
                </a:lnTo>
                <a:lnTo>
                  <a:pt x="5" y="20"/>
                </a:lnTo>
                <a:lnTo>
                  <a:pt x="5" y="15"/>
                </a:lnTo>
                <a:lnTo>
                  <a:pt x="7" y="7"/>
                </a:lnTo>
                <a:lnTo>
                  <a:pt x="5" y="2"/>
                </a:lnTo>
                <a:lnTo>
                  <a:pt x="5"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2" name="Freeform 41"/>
          <p:cNvSpPr>
            <a:spLocks/>
          </p:cNvSpPr>
          <p:nvPr/>
        </p:nvSpPr>
        <p:spPr bwMode="auto">
          <a:xfrm>
            <a:off x="6254507" y="3507784"/>
            <a:ext cx="349025" cy="362505"/>
          </a:xfrm>
          <a:custGeom>
            <a:avLst/>
            <a:gdLst/>
            <a:ahLst/>
            <a:cxnLst>
              <a:cxn ang="0">
                <a:pos x="128" y="226"/>
              </a:cxn>
              <a:cxn ang="0">
                <a:pos x="145" y="224"/>
              </a:cxn>
              <a:cxn ang="0">
                <a:pos x="155" y="221"/>
              </a:cxn>
              <a:cxn ang="0">
                <a:pos x="163" y="219"/>
              </a:cxn>
              <a:cxn ang="0">
                <a:pos x="158" y="199"/>
              </a:cxn>
              <a:cxn ang="0">
                <a:pos x="145" y="189"/>
              </a:cxn>
              <a:cxn ang="0">
                <a:pos x="140" y="182"/>
              </a:cxn>
              <a:cxn ang="0">
                <a:pos x="136" y="169"/>
              </a:cxn>
              <a:cxn ang="0">
                <a:pos x="145" y="160"/>
              </a:cxn>
              <a:cxn ang="0">
                <a:pos x="153" y="162"/>
              </a:cxn>
              <a:cxn ang="0">
                <a:pos x="175" y="145"/>
              </a:cxn>
              <a:cxn ang="0">
                <a:pos x="190" y="125"/>
              </a:cxn>
              <a:cxn ang="0">
                <a:pos x="195" y="115"/>
              </a:cxn>
              <a:cxn ang="0">
                <a:pos x="202" y="98"/>
              </a:cxn>
              <a:cxn ang="0">
                <a:pos x="207" y="86"/>
              </a:cxn>
              <a:cxn ang="0">
                <a:pos x="214" y="76"/>
              </a:cxn>
              <a:cxn ang="0">
                <a:pos x="199" y="71"/>
              </a:cxn>
              <a:cxn ang="0">
                <a:pos x="182" y="59"/>
              </a:cxn>
              <a:cxn ang="0">
                <a:pos x="180" y="37"/>
              </a:cxn>
              <a:cxn ang="0">
                <a:pos x="180" y="27"/>
              </a:cxn>
              <a:cxn ang="0">
                <a:pos x="167" y="14"/>
              </a:cxn>
              <a:cxn ang="0">
                <a:pos x="160" y="7"/>
              </a:cxn>
              <a:cxn ang="0">
                <a:pos x="158" y="0"/>
              </a:cxn>
              <a:cxn ang="0">
                <a:pos x="143" y="10"/>
              </a:cxn>
              <a:cxn ang="0">
                <a:pos x="138" y="37"/>
              </a:cxn>
              <a:cxn ang="0">
                <a:pos x="133" y="51"/>
              </a:cxn>
              <a:cxn ang="0">
                <a:pos x="128" y="56"/>
              </a:cxn>
              <a:cxn ang="0">
                <a:pos x="123" y="66"/>
              </a:cxn>
              <a:cxn ang="0">
                <a:pos x="121" y="81"/>
              </a:cxn>
              <a:cxn ang="0">
                <a:pos x="113" y="88"/>
              </a:cxn>
              <a:cxn ang="0">
                <a:pos x="106" y="91"/>
              </a:cxn>
              <a:cxn ang="0">
                <a:pos x="99" y="98"/>
              </a:cxn>
              <a:cxn ang="0">
                <a:pos x="86" y="103"/>
              </a:cxn>
              <a:cxn ang="0">
                <a:pos x="79" y="110"/>
              </a:cxn>
              <a:cxn ang="0">
                <a:pos x="81" y="125"/>
              </a:cxn>
              <a:cxn ang="0">
                <a:pos x="64" y="133"/>
              </a:cxn>
              <a:cxn ang="0">
                <a:pos x="44" y="135"/>
              </a:cxn>
              <a:cxn ang="0">
                <a:pos x="0" y="130"/>
              </a:cxn>
              <a:cxn ang="0">
                <a:pos x="17" y="152"/>
              </a:cxn>
              <a:cxn ang="0">
                <a:pos x="27" y="157"/>
              </a:cxn>
              <a:cxn ang="0">
                <a:pos x="32" y="169"/>
              </a:cxn>
              <a:cxn ang="0">
                <a:pos x="42" y="182"/>
              </a:cxn>
              <a:cxn ang="0">
                <a:pos x="27" y="184"/>
              </a:cxn>
              <a:cxn ang="0">
                <a:pos x="17" y="196"/>
              </a:cxn>
              <a:cxn ang="0">
                <a:pos x="20" y="209"/>
              </a:cxn>
              <a:cxn ang="0">
                <a:pos x="30" y="209"/>
              </a:cxn>
              <a:cxn ang="0">
                <a:pos x="37" y="206"/>
              </a:cxn>
              <a:cxn ang="0">
                <a:pos x="44" y="206"/>
              </a:cxn>
              <a:cxn ang="0">
                <a:pos x="52" y="206"/>
              </a:cxn>
              <a:cxn ang="0">
                <a:pos x="57" y="206"/>
              </a:cxn>
              <a:cxn ang="0">
                <a:pos x="69" y="204"/>
              </a:cxn>
              <a:cxn ang="0">
                <a:pos x="76" y="204"/>
              </a:cxn>
              <a:cxn ang="0">
                <a:pos x="91" y="204"/>
              </a:cxn>
              <a:cxn ang="0">
                <a:pos x="96" y="211"/>
              </a:cxn>
              <a:cxn ang="0">
                <a:pos x="101" y="211"/>
              </a:cxn>
              <a:cxn ang="0">
                <a:pos x="106" y="224"/>
              </a:cxn>
              <a:cxn ang="0">
                <a:pos x="108" y="228"/>
              </a:cxn>
              <a:cxn ang="0">
                <a:pos x="121" y="233"/>
              </a:cxn>
            </a:cxnLst>
            <a:rect l="0" t="0" r="r" b="b"/>
            <a:pathLst>
              <a:path w="214" h="236">
                <a:moveTo>
                  <a:pt x="123" y="233"/>
                </a:moveTo>
                <a:lnTo>
                  <a:pt x="123" y="228"/>
                </a:lnTo>
                <a:lnTo>
                  <a:pt x="126" y="228"/>
                </a:lnTo>
                <a:lnTo>
                  <a:pt x="128" y="226"/>
                </a:lnTo>
                <a:lnTo>
                  <a:pt x="131" y="224"/>
                </a:lnTo>
                <a:lnTo>
                  <a:pt x="133" y="224"/>
                </a:lnTo>
                <a:lnTo>
                  <a:pt x="136" y="221"/>
                </a:lnTo>
                <a:lnTo>
                  <a:pt x="145" y="224"/>
                </a:lnTo>
                <a:lnTo>
                  <a:pt x="153" y="221"/>
                </a:lnTo>
                <a:lnTo>
                  <a:pt x="153" y="219"/>
                </a:lnTo>
                <a:lnTo>
                  <a:pt x="158" y="219"/>
                </a:lnTo>
                <a:lnTo>
                  <a:pt x="155" y="221"/>
                </a:lnTo>
                <a:lnTo>
                  <a:pt x="158" y="221"/>
                </a:lnTo>
                <a:lnTo>
                  <a:pt x="160" y="221"/>
                </a:lnTo>
                <a:lnTo>
                  <a:pt x="163" y="219"/>
                </a:lnTo>
                <a:lnTo>
                  <a:pt x="163" y="219"/>
                </a:lnTo>
                <a:lnTo>
                  <a:pt x="163" y="216"/>
                </a:lnTo>
                <a:lnTo>
                  <a:pt x="160" y="206"/>
                </a:lnTo>
                <a:lnTo>
                  <a:pt x="155" y="201"/>
                </a:lnTo>
                <a:lnTo>
                  <a:pt x="158" y="199"/>
                </a:lnTo>
                <a:lnTo>
                  <a:pt x="155" y="196"/>
                </a:lnTo>
                <a:lnTo>
                  <a:pt x="153" y="199"/>
                </a:lnTo>
                <a:lnTo>
                  <a:pt x="148" y="194"/>
                </a:lnTo>
                <a:lnTo>
                  <a:pt x="145" y="189"/>
                </a:lnTo>
                <a:lnTo>
                  <a:pt x="145" y="184"/>
                </a:lnTo>
                <a:lnTo>
                  <a:pt x="143" y="179"/>
                </a:lnTo>
                <a:lnTo>
                  <a:pt x="140" y="179"/>
                </a:lnTo>
                <a:lnTo>
                  <a:pt x="140" y="182"/>
                </a:lnTo>
                <a:lnTo>
                  <a:pt x="136" y="179"/>
                </a:lnTo>
                <a:lnTo>
                  <a:pt x="133" y="179"/>
                </a:lnTo>
                <a:lnTo>
                  <a:pt x="133" y="177"/>
                </a:lnTo>
                <a:lnTo>
                  <a:pt x="136" y="169"/>
                </a:lnTo>
                <a:lnTo>
                  <a:pt x="138" y="169"/>
                </a:lnTo>
                <a:lnTo>
                  <a:pt x="143" y="162"/>
                </a:lnTo>
                <a:lnTo>
                  <a:pt x="143" y="160"/>
                </a:lnTo>
                <a:lnTo>
                  <a:pt x="145" y="160"/>
                </a:lnTo>
                <a:lnTo>
                  <a:pt x="148" y="157"/>
                </a:lnTo>
                <a:lnTo>
                  <a:pt x="150" y="160"/>
                </a:lnTo>
                <a:lnTo>
                  <a:pt x="153" y="162"/>
                </a:lnTo>
                <a:lnTo>
                  <a:pt x="153" y="162"/>
                </a:lnTo>
                <a:lnTo>
                  <a:pt x="160" y="160"/>
                </a:lnTo>
                <a:lnTo>
                  <a:pt x="167" y="160"/>
                </a:lnTo>
                <a:lnTo>
                  <a:pt x="172" y="155"/>
                </a:lnTo>
                <a:lnTo>
                  <a:pt x="175" y="145"/>
                </a:lnTo>
                <a:lnTo>
                  <a:pt x="182" y="140"/>
                </a:lnTo>
                <a:lnTo>
                  <a:pt x="185" y="135"/>
                </a:lnTo>
                <a:lnTo>
                  <a:pt x="185" y="130"/>
                </a:lnTo>
                <a:lnTo>
                  <a:pt x="190" y="125"/>
                </a:lnTo>
                <a:lnTo>
                  <a:pt x="195" y="123"/>
                </a:lnTo>
                <a:lnTo>
                  <a:pt x="195" y="120"/>
                </a:lnTo>
                <a:lnTo>
                  <a:pt x="195" y="118"/>
                </a:lnTo>
                <a:lnTo>
                  <a:pt x="195" y="115"/>
                </a:lnTo>
                <a:lnTo>
                  <a:pt x="197" y="110"/>
                </a:lnTo>
                <a:lnTo>
                  <a:pt x="199" y="108"/>
                </a:lnTo>
                <a:lnTo>
                  <a:pt x="199" y="105"/>
                </a:lnTo>
                <a:lnTo>
                  <a:pt x="202" y="98"/>
                </a:lnTo>
                <a:lnTo>
                  <a:pt x="199" y="91"/>
                </a:lnTo>
                <a:lnTo>
                  <a:pt x="199" y="91"/>
                </a:lnTo>
                <a:lnTo>
                  <a:pt x="204" y="86"/>
                </a:lnTo>
                <a:lnTo>
                  <a:pt x="207" y="86"/>
                </a:lnTo>
                <a:lnTo>
                  <a:pt x="209" y="83"/>
                </a:lnTo>
                <a:lnTo>
                  <a:pt x="212" y="83"/>
                </a:lnTo>
                <a:lnTo>
                  <a:pt x="214" y="81"/>
                </a:lnTo>
                <a:lnTo>
                  <a:pt x="214" y="76"/>
                </a:lnTo>
                <a:lnTo>
                  <a:pt x="209" y="76"/>
                </a:lnTo>
                <a:lnTo>
                  <a:pt x="207" y="76"/>
                </a:lnTo>
                <a:lnTo>
                  <a:pt x="202" y="76"/>
                </a:lnTo>
                <a:lnTo>
                  <a:pt x="199" y="71"/>
                </a:lnTo>
                <a:lnTo>
                  <a:pt x="195" y="69"/>
                </a:lnTo>
                <a:lnTo>
                  <a:pt x="190" y="69"/>
                </a:lnTo>
                <a:lnTo>
                  <a:pt x="182" y="64"/>
                </a:lnTo>
                <a:lnTo>
                  <a:pt x="182" y="59"/>
                </a:lnTo>
                <a:lnTo>
                  <a:pt x="180" y="49"/>
                </a:lnTo>
                <a:lnTo>
                  <a:pt x="177" y="44"/>
                </a:lnTo>
                <a:lnTo>
                  <a:pt x="177" y="39"/>
                </a:lnTo>
                <a:lnTo>
                  <a:pt x="180" y="37"/>
                </a:lnTo>
                <a:lnTo>
                  <a:pt x="180" y="34"/>
                </a:lnTo>
                <a:lnTo>
                  <a:pt x="185" y="32"/>
                </a:lnTo>
                <a:lnTo>
                  <a:pt x="185" y="29"/>
                </a:lnTo>
                <a:lnTo>
                  <a:pt x="180" y="27"/>
                </a:lnTo>
                <a:lnTo>
                  <a:pt x="180" y="24"/>
                </a:lnTo>
                <a:lnTo>
                  <a:pt x="175" y="22"/>
                </a:lnTo>
                <a:lnTo>
                  <a:pt x="170" y="17"/>
                </a:lnTo>
                <a:lnTo>
                  <a:pt x="167" y="14"/>
                </a:lnTo>
                <a:lnTo>
                  <a:pt x="165" y="14"/>
                </a:lnTo>
                <a:lnTo>
                  <a:pt x="163" y="17"/>
                </a:lnTo>
                <a:lnTo>
                  <a:pt x="160" y="14"/>
                </a:lnTo>
                <a:lnTo>
                  <a:pt x="160" y="7"/>
                </a:lnTo>
                <a:lnTo>
                  <a:pt x="167" y="2"/>
                </a:lnTo>
                <a:lnTo>
                  <a:pt x="165" y="0"/>
                </a:lnTo>
                <a:lnTo>
                  <a:pt x="163" y="0"/>
                </a:lnTo>
                <a:lnTo>
                  <a:pt x="158" y="0"/>
                </a:lnTo>
                <a:lnTo>
                  <a:pt x="153" y="2"/>
                </a:lnTo>
                <a:lnTo>
                  <a:pt x="148" y="5"/>
                </a:lnTo>
                <a:lnTo>
                  <a:pt x="145" y="5"/>
                </a:lnTo>
                <a:lnTo>
                  <a:pt x="143" y="10"/>
                </a:lnTo>
                <a:lnTo>
                  <a:pt x="140" y="12"/>
                </a:lnTo>
                <a:lnTo>
                  <a:pt x="145" y="22"/>
                </a:lnTo>
                <a:lnTo>
                  <a:pt x="145" y="27"/>
                </a:lnTo>
                <a:lnTo>
                  <a:pt x="138" y="37"/>
                </a:lnTo>
                <a:lnTo>
                  <a:pt x="143" y="42"/>
                </a:lnTo>
                <a:lnTo>
                  <a:pt x="143" y="46"/>
                </a:lnTo>
                <a:lnTo>
                  <a:pt x="138" y="51"/>
                </a:lnTo>
                <a:lnTo>
                  <a:pt x="133" y="51"/>
                </a:lnTo>
                <a:lnTo>
                  <a:pt x="128" y="49"/>
                </a:lnTo>
                <a:lnTo>
                  <a:pt x="123" y="51"/>
                </a:lnTo>
                <a:lnTo>
                  <a:pt x="126" y="56"/>
                </a:lnTo>
                <a:lnTo>
                  <a:pt x="128" y="56"/>
                </a:lnTo>
                <a:lnTo>
                  <a:pt x="131" y="61"/>
                </a:lnTo>
                <a:lnTo>
                  <a:pt x="131" y="64"/>
                </a:lnTo>
                <a:lnTo>
                  <a:pt x="126" y="66"/>
                </a:lnTo>
                <a:lnTo>
                  <a:pt x="123" y="66"/>
                </a:lnTo>
                <a:lnTo>
                  <a:pt x="121" y="69"/>
                </a:lnTo>
                <a:lnTo>
                  <a:pt x="121" y="73"/>
                </a:lnTo>
                <a:lnTo>
                  <a:pt x="121" y="78"/>
                </a:lnTo>
                <a:lnTo>
                  <a:pt x="121" y="81"/>
                </a:lnTo>
                <a:lnTo>
                  <a:pt x="118" y="81"/>
                </a:lnTo>
                <a:lnTo>
                  <a:pt x="121" y="88"/>
                </a:lnTo>
                <a:lnTo>
                  <a:pt x="116" y="93"/>
                </a:lnTo>
                <a:lnTo>
                  <a:pt x="113" y="88"/>
                </a:lnTo>
                <a:lnTo>
                  <a:pt x="111" y="88"/>
                </a:lnTo>
                <a:lnTo>
                  <a:pt x="111" y="91"/>
                </a:lnTo>
                <a:lnTo>
                  <a:pt x="108" y="91"/>
                </a:lnTo>
                <a:lnTo>
                  <a:pt x="106" y="91"/>
                </a:lnTo>
                <a:lnTo>
                  <a:pt x="104" y="91"/>
                </a:lnTo>
                <a:lnTo>
                  <a:pt x="101" y="93"/>
                </a:lnTo>
                <a:lnTo>
                  <a:pt x="96" y="96"/>
                </a:lnTo>
                <a:lnTo>
                  <a:pt x="99" y="98"/>
                </a:lnTo>
                <a:lnTo>
                  <a:pt x="96" y="101"/>
                </a:lnTo>
                <a:lnTo>
                  <a:pt x="91" y="103"/>
                </a:lnTo>
                <a:lnTo>
                  <a:pt x="89" y="101"/>
                </a:lnTo>
                <a:lnTo>
                  <a:pt x="86" y="103"/>
                </a:lnTo>
                <a:lnTo>
                  <a:pt x="84" y="103"/>
                </a:lnTo>
                <a:lnTo>
                  <a:pt x="84" y="105"/>
                </a:lnTo>
                <a:lnTo>
                  <a:pt x="81" y="108"/>
                </a:lnTo>
                <a:lnTo>
                  <a:pt x="79" y="110"/>
                </a:lnTo>
                <a:lnTo>
                  <a:pt x="79" y="115"/>
                </a:lnTo>
                <a:lnTo>
                  <a:pt x="79" y="120"/>
                </a:lnTo>
                <a:lnTo>
                  <a:pt x="79" y="123"/>
                </a:lnTo>
                <a:lnTo>
                  <a:pt x="81" y="125"/>
                </a:lnTo>
                <a:lnTo>
                  <a:pt x="79" y="128"/>
                </a:lnTo>
                <a:lnTo>
                  <a:pt x="74" y="130"/>
                </a:lnTo>
                <a:lnTo>
                  <a:pt x="69" y="130"/>
                </a:lnTo>
                <a:lnTo>
                  <a:pt x="64" y="133"/>
                </a:lnTo>
                <a:lnTo>
                  <a:pt x="54" y="133"/>
                </a:lnTo>
                <a:lnTo>
                  <a:pt x="49" y="133"/>
                </a:lnTo>
                <a:lnTo>
                  <a:pt x="49" y="135"/>
                </a:lnTo>
                <a:lnTo>
                  <a:pt x="44" y="135"/>
                </a:lnTo>
                <a:lnTo>
                  <a:pt x="37" y="137"/>
                </a:lnTo>
                <a:lnTo>
                  <a:pt x="20" y="137"/>
                </a:lnTo>
                <a:lnTo>
                  <a:pt x="0" y="130"/>
                </a:lnTo>
                <a:lnTo>
                  <a:pt x="0" y="130"/>
                </a:lnTo>
                <a:lnTo>
                  <a:pt x="8" y="142"/>
                </a:lnTo>
                <a:lnTo>
                  <a:pt x="10" y="145"/>
                </a:lnTo>
                <a:lnTo>
                  <a:pt x="13" y="150"/>
                </a:lnTo>
                <a:lnTo>
                  <a:pt x="17" y="152"/>
                </a:lnTo>
                <a:lnTo>
                  <a:pt x="17" y="152"/>
                </a:lnTo>
                <a:lnTo>
                  <a:pt x="22" y="152"/>
                </a:lnTo>
                <a:lnTo>
                  <a:pt x="27" y="155"/>
                </a:lnTo>
                <a:lnTo>
                  <a:pt x="27" y="157"/>
                </a:lnTo>
                <a:lnTo>
                  <a:pt x="30" y="157"/>
                </a:lnTo>
                <a:lnTo>
                  <a:pt x="30" y="162"/>
                </a:lnTo>
                <a:lnTo>
                  <a:pt x="32" y="164"/>
                </a:lnTo>
                <a:lnTo>
                  <a:pt x="32" y="169"/>
                </a:lnTo>
                <a:lnTo>
                  <a:pt x="32" y="172"/>
                </a:lnTo>
                <a:lnTo>
                  <a:pt x="37" y="172"/>
                </a:lnTo>
                <a:lnTo>
                  <a:pt x="42" y="174"/>
                </a:lnTo>
                <a:lnTo>
                  <a:pt x="42" y="182"/>
                </a:lnTo>
                <a:lnTo>
                  <a:pt x="40" y="184"/>
                </a:lnTo>
                <a:lnTo>
                  <a:pt x="35" y="182"/>
                </a:lnTo>
                <a:lnTo>
                  <a:pt x="27" y="184"/>
                </a:lnTo>
                <a:lnTo>
                  <a:pt x="27" y="184"/>
                </a:lnTo>
                <a:lnTo>
                  <a:pt x="22" y="187"/>
                </a:lnTo>
                <a:lnTo>
                  <a:pt x="20" y="189"/>
                </a:lnTo>
                <a:lnTo>
                  <a:pt x="20" y="194"/>
                </a:lnTo>
                <a:lnTo>
                  <a:pt x="17" y="196"/>
                </a:lnTo>
                <a:lnTo>
                  <a:pt x="20" y="199"/>
                </a:lnTo>
                <a:lnTo>
                  <a:pt x="20" y="206"/>
                </a:lnTo>
                <a:lnTo>
                  <a:pt x="20" y="209"/>
                </a:lnTo>
                <a:lnTo>
                  <a:pt x="20" y="209"/>
                </a:lnTo>
                <a:lnTo>
                  <a:pt x="20" y="211"/>
                </a:lnTo>
                <a:lnTo>
                  <a:pt x="22" y="211"/>
                </a:lnTo>
                <a:lnTo>
                  <a:pt x="27" y="209"/>
                </a:lnTo>
                <a:lnTo>
                  <a:pt x="30" y="209"/>
                </a:lnTo>
                <a:lnTo>
                  <a:pt x="30" y="209"/>
                </a:lnTo>
                <a:lnTo>
                  <a:pt x="32" y="209"/>
                </a:lnTo>
                <a:lnTo>
                  <a:pt x="35" y="206"/>
                </a:lnTo>
                <a:lnTo>
                  <a:pt x="37" y="206"/>
                </a:lnTo>
                <a:lnTo>
                  <a:pt x="40" y="206"/>
                </a:lnTo>
                <a:lnTo>
                  <a:pt x="42" y="206"/>
                </a:lnTo>
                <a:lnTo>
                  <a:pt x="42" y="206"/>
                </a:lnTo>
                <a:lnTo>
                  <a:pt x="44" y="206"/>
                </a:lnTo>
                <a:lnTo>
                  <a:pt x="44" y="206"/>
                </a:lnTo>
                <a:lnTo>
                  <a:pt x="47" y="204"/>
                </a:lnTo>
                <a:lnTo>
                  <a:pt x="49" y="206"/>
                </a:lnTo>
                <a:lnTo>
                  <a:pt x="52" y="206"/>
                </a:lnTo>
                <a:lnTo>
                  <a:pt x="52" y="204"/>
                </a:lnTo>
                <a:lnTo>
                  <a:pt x="54" y="204"/>
                </a:lnTo>
                <a:lnTo>
                  <a:pt x="54" y="206"/>
                </a:lnTo>
                <a:lnTo>
                  <a:pt x="57" y="206"/>
                </a:lnTo>
                <a:lnTo>
                  <a:pt x="59" y="209"/>
                </a:lnTo>
                <a:lnTo>
                  <a:pt x="62" y="209"/>
                </a:lnTo>
                <a:lnTo>
                  <a:pt x="64" y="204"/>
                </a:lnTo>
                <a:lnTo>
                  <a:pt x="69" y="204"/>
                </a:lnTo>
                <a:lnTo>
                  <a:pt x="72" y="206"/>
                </a:lnTo>
                <a:lnTo>
                  <a:pt x="74" y="204"/>
                </a:lnTo>
                <a:lnTo>
                  <a:pt x="76" y="204"/>
                </a:lnTo>
                <a:lnTo>
                  <a:pt x="76" y="204"/>
                </a:lnTo>
                <a:lnTo>
                  <a:pt x="79" y="204"/>
                </a:lnTo>
                <a:lnTo>
                  <a:pt x="81" y="204"/>
                </a:lnTo>
                <a:lnTo>
                  <a:pt x="86" y="204"/>
                </a:lnTo>
                <a:lnTo>
                  <a:pt x="91" y="204"/>
                </a:lnTo>
                <a:lnTo>
                  <a:pt x="94" y="206"/>
                </a:lnTo>
                <a:lnTo>
                  <a:pt x="96" y="209"/>
                </a:lnTo>
                <a:lnTo>
                  <a:pt x="96" y="211"/>
                </a:lnTo>
                <a:lnTo>
                  <a:pt x="96" y="211"/>
                </a:lnTo>
                <a:lnTo>
                  <a:pt x="94" y="211"/>
                </a:lnTo>
                <a:lnTo>
                  <a:pt x="94" y="214"/>
                </a:lnTo>
                <a:lnTo>
                  <a:pt x="96" y="214"/>
                </a:lnTo>
                <a:lnTo>
                  <a:pt x="101" y="211"/>
                </a:lnTo>
                <a:lnTo>
                  <a:pt x="101" y="214"/>
                </a:lnTo>
                <a:lnTo>
                  <a:pt x="106" y="219"/>
                </a:lnTo>
                <a:lnTo>
                  <a:pt x="106" y="224"/>
                </a:lnTo>
                <a:lnTo>
                  <a:pt x="106" y="224"/>
                </a:lnTo>
                <a:lnTo>
                  <a:pt x="106" y="226"/>
                </a:lnTo>
                <a:lnTo>
                  <a:pt x="106" y="228"/>
                </a:lnTo>
                <a:lnTo>
                  <a:pt x="106" y="228"/>
                </a:lnTo>
                <a:lnTo>
                  <a:pt x="108" y="228"/>
                </a:lnTo>
                <a:lnTo>
                  <a:pt x="108" y="231"/>
                </a:lnTo>
                <a:lnTo>
                  <a:pt x="111" y="231"/>
                </a:lnTo>
                <a:lnTo>
                  <a:pt x="116" y="231"/>
                </a:lnTo>
                <a:lnTo>
                  <a:pt x="121" y="233"/>
                </a:lnTo>
                <a:lnTo>
                  <a:pt x="121" y="236"/>
                </a:lnTo>
                <a:lnTo>
                  <a:pt x="123" y="233"/>
                </a:lnTo>
                <a:lnTo>
                  <a:pt x="123" y="23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3" name="Freeform 42"/>
          <p:cNvSpPr>
            <a:spLocks/>
          </p:cNvSpPr>
          <p:nvPr/>
        </p:nvSpPr>
        <p:spPr bwMode="auto">
          <a:xfrm>
            <a:off x="6515460" y="3487815"/>
            <a:ext cx="184299" cy="144388"/>
          </a:xfrm>
          <a:custGeom>
            <a:avLst/>
            <a:gdLst/>
            <a:ahLst/>
            <a:cxnLst>
              <a:cxn ang="0">
                <a:pos x="57" y="91"/>
              </a:cxn>
              <a:cxn ang="0">
                <a:pos x="64" y="79"/>
              </a:cxn>
              <a:cxn ang="0">
                <a:pos x="71" y="77"/>
              </a:cxn>
              <a:cxn ang="0">
                <a:pos x="81" y="82"/>
              </a:cxn>
              <a:cxn ang="0">
                <a:pos x="91" y="82"/>
              </a:cxn>
              <a:cxn ang="0">
                <a:pos x="96" y="84"/>
              </a:cxn>
              <a:cxn ang="0">
                <a:pos x="108" y="84"/>
              </a:cxn>
              <a:cxn ang="0">
                <a:pos x="111" y="86"/>
              </a:cxn>
              <a:cxn ang="0">
                <a:pos x="111" y="79"/>
              </a:cxn>
              <a:cxn ang="0">
                <a:pos x="106" y="72"/>
              </a:cxn>
              <a:cxn ang="0">
                <a:pos x="103" y="57"/>
              </a:cxn>
              <a:cxn ang="0">
                <a:pos x="96" y="50"/>
              </a:cxn>
              <a:cxn ang="0">
                <a:pos x="89" y="37"/>
              </a:cxn>
              <a:cxn ang="0">
                <a:pos x="79" y="32"/>
              </a:cxn>
              <a:cxn ang="0">
                <a:pos x="74" y="27"/>
              </a:cxn>
              <a:cxn ang="0">
                <a:pos x="62" y="27"/>
              </a:cxn>
              <a:cxn ang="0">
                <a:pos x="57" y="25"/>
              </a:cxn>
              <a:cxn ang="0">
                <a:pos x="54" y="18"/>
              </a:cxn>
              <a:cxn ang="0">
                <a:pos x="44" y="3"/>
              </a:cxn>
              <a:cxn ang="0">
                <a:pos x="39" y="0"/>
              </a:cxn>
              <a:cxn ang="0">
                <a:pos x="37" y="3"/>
              </a:cxn>
              <a:cxn ang="0">
                <a:pos x="32" y="3"/>
              </a:cxn>
              <a:cxn ang="0">
                <a:pos x="27" y="0"/>
              </a:cxn>
              <a:cxn ang="0">
                <a:pos x="27" y="3"/>
              </a:cxn>
              <a:cxn ang="0">
                <a:pos x="17" y="10"/>
              </a:cxn>
              <a:cxn ang="0">
                <a:pos x="7" y="15"/>
              </a:cxn>
              <a:cxn ang="0">
                <a:pos x="0" y="27"/>
              </a:cxn>
              <a:cxn ang="0">
                <a:pos x="5" y="27"/>
              </a:cxn>
              <a:cxn ang="0">
                <a:pos x="10" y="30"/>
              </a:cxn>
              <a:cxn ang="0">
                <a:pos x="20" y="37"/>
              </a:cxn>
              <a:cxn ang="0">
                <a:pos x="25" y="42"/>
              </a:cxn>
              <a:cxn ang="0">
                <a:pos x="20" y="47"/>
              </a:cxn>
              <a:cxn ang="0">
                <a:pos x="17" y="52"/>
              </a:cxn>
              <a:cxn ang="0">
                <a:pos x="20" y="62"/>
              </a:cxn>
              <a:cxn ang="0">
                <a:pos x="22" y="77"/>
              </a:cxn>
              <a:cxn ang="0">
                <a:pos x="35" y="82"/>
              </a:cxn>
              <a:cxn ang="0">
                <a:pos x="42" y="89"/>
              </a:cxn>
              <a:cxn ang="0">
                <a:pos x="49" y="89"/>
              </a:cxn>
              <a:cxn ang="0">
                <a:pos x="54" y="94"/>
              </a:cxn>
            </a:cxnLst>
            <a:rect l="0" t="0" r="r" b="b"/>
            <a:pathLst>
              <a:path w="113" h="94">
                <a:moveTo>
                  <a:pt x="54" y="94"/>
                </a:moveTo>
                <a:lnTo>
                  <a:pt x="57" y="91"/>
                </a:lnTo>
                <a:lnTo>
                  <a:pt x="59" y="84"/>
                </a:lnTo>
                <a:lnTo>
                  <a:pt x="64" y="79"/>
                </a:lnTo>
                <a:lnTo>
                  <a:pt x="69" y="79"/>
                </a:lnTo>
                <a:lnTo>
                  <a:pt x="71" y="77"/>
                </a:lnTo>
                <a:lnTo>
                  <a:pt x="74" y="77"/>
                </a:lnTo>
                <a:lnTo>
                  <a:pt x="81" y="82"/>
                </a:lnTo>
                <a:lnTo>
                  <a:pt x="86" y="79"/>
                </a:lnTo>
                <a:lnTo>
                  <a:pt x="91" y="82"/>
                </a:lnTo>
                <a:lnTo>
                  <a:pt x="94" y="86"/>
                </a:lnTo>
                <a:lnTo>
                  <a:pt x="96" y="84"/>
                </a:lnTo>
                <a:lnTo>
                  <a:pt x="103" y="89"/>
                </a:lnTo>
                <a:lnTo>
                  <a:pt x="108" y="84"/>
                </a:lnTo>
                <a:lnTo>
                  <a:pt x="111" y="84"/>
                </a:lnTo>
                <a:lnTo>
                  <a:pt x="111" y="86"/>
                </a:lnTo>
                <a:lnTo>
                  <a:pt x="113" y="84"/>
                </a:lnTo>
                <a:lnTo>
                  <a:pt x="111" y="79"/>
                </a:lnTo>
                <a:lnTo>
                  <a:pt x="108" y="72"/>
                </a:lnTo>
                <a:lnTo>
                  <a:pt x="106" y="72"/>
                </a:lnTo>
                <a:lnTo>
                  <a:pt x="103" y="64"/>
                </a:lnTo>
                <a:lnTo>
                  <a:pt x="103" y="57"/>
                </a:lnTo>
                <a:lnTo>
                  <a:pt x="101" y="52"/>
                </a:lnTo>
                <a:lnTo>
                  <a:pt x="96" y="50"/>
                </a:lnTo>
                <a:lnTo>
                  <a:pt x="91" y="45"/>
                </a:lnTo>
                <a:lnTo>
                  <a:pt x="89" y="37"/>
                </a:lnTo>
                <a:lnTo>
                  <a:pt x="84" y="35"/>
                </a:lnTo>
                <a:lnTo>
                  <a:pt x="79" y="32"/>
                </a:lnTo>
                <a:lnTo>
                  <a:pt x="76" y="30"/>
                </a:lnTo>
                <a:lnTo>
                  <a:pt x="74" y="27"/>
                </a:lnTo>
                <a:lnTo>
                  <a:pt x="69" y="30"/>
                </a:lnTo>
                <a:lnTo>
                  <a:pt x="62" y="27"/>
                </a:lnTo>
                <a:lnTo>
                  <a:pt x="59" y="25"/>
                </a:lnTo>
                <a:lnTo>
                  <a:pt x="57" y="25"/>
                </a:lnTo>
                <a:lnTo>
                  <a:pt x="57" y="20"/>
                </a:lnTo>
                <a:lnTo>
                  <a:pt x="54" y="18"/>
                </a:lnTo>
                <a:lnTo>
                  <a:pt x="47" y="8"/>
                </a:lnTo>
                <a:lnTo>
                  <a:pt x="44" y="3"/>
                </a:lnTo>
                <a:lnTo>
                  <a:pt x="42" y="0"/>
                </a:lnTo>
                <a:lnTo>
                  <a:pt x="39" y="0"/>
                </a:lnTo>
                <a:lnTo>
                  <a:pt x="39" y="0"/>
                </a:lnTo>
                <a:lnTo>
                  <a:pt x="37" y="3"/>
                </a:lnTo>
                <a:lnTo>
                  <a:pt x="35" y="3"/>
                </a:lnTo>
                <a:lnTo>
                  <a:pt x="32" y="3"/>
                </a:lnTo>
                <a:lnTo>
                  <a:pt x="30" y="0"/>
                </a:lnTo>
                <a:lnTo>
                  <a:pt x="27" y="0"/>
                </a:lnTo>
                <a:lnTo>
                  <a:pt x="27" y="3"/>
                </a:lnTo>
                <a:lnTo>
                  <a:pt x="27" y="3"/>
                </a:lnTo>
                <a:lnTo>
                  <a:pt x="25" y="8"/>
                </a:lnTo>
                <a:lnTo>
                  <a:pt x="17" y="10"/>
                </a:lnTo>
                <a:lnTo>
                  <a:pt x="5" y="13"/>
                </a:lnTo>
                <a:lnTo>
                  <a:pt x="7" y="15"/>
                </a:lnTo>
                <a:lnTo>
                  <a:pt x="0" y="20"/>
                </a:lnTo>
                <a:lnTo>
                  <a:pt x="0" y="27"/>
                </a:lnTo>
                <a:lnTo>
                  <a:pt x="3" y="30"/>
                </a:lnTo>
                <a:lnTo>
                  <a:pt x="5" y="27"/>
                </a:lnTo>
                <a:lnTo>
                  <a:pt x="7" y="27"/>
                </a:lnTo>
                <a:lnTo>
                  <a:pt x="10" y="30"/>
                </a:lnTo>
                <a:lnTo>
                  <a:pt x="15" y="35"/>
                </a:lnTo>
                <a:lnTo>
                  <a:pt x="20" y="37"/>
                </a:lnTo>
                <a:lnTo>
                  <a:pt x="20" y="40"/>
                </a:lnTo>
                <a:lnTo>
                  <a:pt x="25" y="42"/>
                </a:lnTo>
                <a:lnTo>
                  <a:pt x="25" y="45"/>
                </a:lnTo>
                <a:lnTo>
                  <a:pt x="20" y="47"/>
                </a:lnTo>
                <a:lnTo>
                  <a:pt x="20" y="50"/>
                </a:lnTo>
                <a:lnTo>
                  <a:pt x="17" y="52"/>
                </a:lnTo>
                <a:lnTo>
                  <a:pt x="17" y="57"/>
                </a:lnTo>
                <a:lnTo>
                  <a:pt x="20" y="62"/>
                </a:lnTo>
                <a:lnTo>
                  <a:pt x="22" y="72"/>
                </a:lnTo>
                <a:lnTo>
                  <a:pt x="22" y="77"/>
                </a:lnTo>
                <a:lnTo>
                  <a:pt x="30" y="82"/>
                </a:lnTo>
                <a:lnTo>
                  <a:pt x="35" y="82"/>
                </a:lnTo>
                <a:lnTo>
                  <a:pt x="39" y="84"/>
                </a:lnTo>
                <a:lnTo>
                  <a:pt x="42" y="89"/>
                </a:lnTo>
                <a:lnTo>
                  <a:pt x="47" y="89"/>
                </a:lnTo>
                <a:lnTo>
                  <a:pt x="49" y="89"/>
                </a:lnTo>
                <a:lnTo>
                  <a:pt x="54" y="89"/>
                </a:lnTo>
                <a:lnTo>
                  <a:pt x="54" y="94"/>
                </a:lnTo>
                <a:lnTo>
                  <a:pt x="54" y="9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4" name="Freeform 43"/>
          <p:cNvSpPr>
            <a:spLocks/>
          </p:cNvSpPr>
          <p:nvPr/>
        </p:nvSpPr>
        <p:spPr bwMode="auto">
          <a:xfrm>
            <a:off x="6226782" y="3454022"/>
            <a:ext cx="337608" cy="264199"/>
          </a:xfrm>
          <a:custGeom>
            <a:avLst/>
            <a:gdLst/>
            <a:ahLst/>
            <a:cxnLst>
              <a:cxn ang="0">
                <a:pos x="189" y="17"/>
              </a:cxn>
              <a:cxn ang="0">
                <a:pos x="199" y="17"/>
              </a:cxn>
              <a:cxn ang="0">
                <a:pos x="202" y="25"/>
              </a:cxn>
              <a:cxn ang="0">
                <a:pos x="194" y="32"/>
              </a:cxn>
              <a:cxn ang="0">
                <a:pos x="170" y="37"/>
              </a:cxn>
              <a:cxn ang="0">
                <a:pos x="160" y="45"/>
              </a:cxn>
              <a:cxn ang="0">
                <a:pos x="162" y="62"/>
              </a:cxn>
              <a:cxn ang="0">
                <a:pos x="160" y="81"/>
              </a:cxn>
              <a:cxn ang="0">
                <a:pos x="145" y="84"/>
              </a:cxn>
              <a:cxn ang="0">
                <a:pos x="145" y="91"/>
              </a:cxn>
              <a:cxn ang="0">
                <a:pos x="143" y="101"/>
              </a:cxn>
              <a:cxn ang="0">
                <a:pos x="138" y="108"/>
              </a:cxn>
              <a:cxn ang="0">
                <a:pos x="135" y="116"/>
              </a:cxn>
              <a:cxn ang="0">
                <a:pos x="130" y="123"/>
              </a:cxn>
              <a:cxn ang="0">
                <a:pos x="125" y="126"/>
              </a:cxn>
              <a:cxn ang="0">
                <a:pos x="118" y="128"/>
              </a:cxn>
              <a:cxn ang="0">
                <a:pos x="113" y="136"/>
              </a:cxn>
              <a:cxn ang="0">
                <a:pos x="103" y="138"/>
              </a:cxn>
              <a:cxn ang="0">
                <a:pos x="98" y="143"/>
              </a:cxn>
              <a:cxn ang="0">
                <a:pos x="96" y="155"/>
              </a:cxn>
              <a:cxn ang="0">
                <a:pos x="96" y="163"/>
              </a:cxn>
              <a:cxn ang="0">
                <a:pos x="81" y="168"/>
              </a:cxn>
              <a:cxn ang="0">
                <a:pos x="66" y="170"/>
              </a:cxn>
              <a:cxn ang="0">
                <a:pos x="37" y="172"/>
              </a:cxn>
              <a:cxn ang="0">
                <a:pos x="30" y="148"/>
              </a:cxn>
              <a:cxn ang="0">
                <a:pos x="25" y="133"/>
              </a:cxn>
              <a:cxn ang="0">
                <a:pos x="10" y="123"/>
              </a:cxn>
              <a:cxn ang="0">
                <a:pos x="5" y="106"/>
              </a:cxn>
              <a:cxn ang="0">
                <a:pos x="10" y="96"/>
              </a:cxn>
              <a:cxn ang="0">
                <a:pos x="2" y="86"/>
              </a:cxn>
              <a:cxn ang="0">
                <a:pos x="2" y="79"/>
              </a:cxn>
              <a:cxn ang="0">
                <a:pos x="7" y="74"/>
              </a:cxn>
              <a:cxn ang="0">
                <a:pos x="7" y="69"/>
              </a:cxn>
              <a:cxn ang="0">
                <a:pos x="7" y="59"/>
              </a:cxn>
              <a:cxn ang="0">
                <a:pos x="12" y="59"/>
              </a:cxn>
              <a:cxn ang="0">
                <a:pos x="20" y="59"/>
              </a:cxn>
              <a:cxn ang="0">
                <a:pos x="27" y="64"/>
              </a:cxn>
              <a:cxn ang="0">
                <a:pos x="34" y="64"/>
              </a:cxn>
              <a:cxn ang="0">
                <a:pos x="39" y="57"/>
              </a:cxn>
              <a:cxn ang="0">
                <a:pos x="49" y="52"/>
              </a:cxn>
              <a:cxn ang="0">
                <a:pos x="54" y="47"/>
              </a:cxn>
              <a:cxn ang="0">
                <a:pos x="59" y="35"/>
              </a:cxn>
              <a:cxn ang="0">
                <a:pos x="57" y="30"/>
              </a:cxn>
              <a:cxn ang="0">
                <a:pos x="64" y="27"/>
              </a:cxn>
              <a:cxn ang="0">
                <a:pos x="74" y="22"/>
              </a:cxn>
              <a:cxn ang="0">
                <a:pos x="81" y="25"/>
              </a:cxn>
              <a:cxn ang="0">
                <a:pos x="91" y="27"/>
              </a:cxn>
              <a:cxn ang="0">
                <a:pos x="98" y="25"/>
              </a:cxn>
              <a:cxn ang="0">
                <a:pos x="111" y="30"/>
              </a:cxn>
              <a:cxn ang="0">
                <a:pos x="118" y="25"/>
              </a:cxn>
              <a:cxn ang="0">
                <a:pos x="123" y="27"/>
              </a:cxn>
              <a:cxn ang="0">
                <a:pos x="125" y="22"/>
              </a:cxn>
              <a:cxn ang="0">
                <a:pos x="130" y="17"/>
              </a:cxn>
              <a:cxn ang="0">
                <a:pos x="135" y="20"/>
              </a:cxn>
              <a:cxn ang="0">
                <a:pos x="138" y="10"/>
              </a:cxn>
              <a:cxn ang="0">
                <a:pos x="143" y="0"/>
              </a:cxn>
              <a:cxn ang="0">
                <a:pos x="153" y="5"/>
              </a:cxn>
              <a:cxn ang="0">
                <a:pos x="153" y="13"/>
              </a:cxn>
              <a:cxn ang="0">
                <a:pos x="155" y="20"/>
              </a:cxn>
              <a:cxn ang="0">
                <a:pos x="157" y="32"/>
              </a:cxn>
              <a:cxn ang="0">
                <a:pos x="165" y="35"/>
              </a:cxn>
              <a:cxn ang="0">
                <a:pos x="175" y="30"/>
              </a:cxn>
              <a:cxn ang="0">
                <a:pos x="180" y="22"/>
              </a:cxn>
            </a:cxnLst>
            <a:rect l="0" t="0" r="r" b="b"/>
            <a:pathLst>
              <a:path w="207" h="172">
                <a:moveTo>
                  <a:pt x="180" y="22"/>
                </a:moveTo>
                <a:lnTo>
                  <a:pt x="187" y="17"/>
                </a:lnTo>
                <a:lnTo>
                  <a:pt x="189" y="17"/>
                </a:lnTo>
                <a:lnTo>
                  <a:pt x="192" y="20"/>
                </a:lnTo>
                <a:lnTo>
                  <a:pt x="197" y="20"/>
                </a:lnTo>
                <a:lnTo>
                  <a:pt x="199" y="17"/>
                </a:lnTo>
                <a:lnTo>
                  <a:pt x="204" y="17"/>
                </a:lnTo>
                <a:lnTo>
                  <a:pt x="207" y="20"/>
                </a:lnTo>
                <a:lnTo>
                  <a:pt x="202" y="25"/>
                </a:lnTo>
                <a:lnTo>
                  <a:pt x="204" y="25"/>
                </a:lnTo>
                <a:lnTo>
                  <a:pt x="202" y="30"/>
                </a:lnTo>
                <a:lnTo>
                  <a:pt x="194" y="32"/>
                </a:lnTo>
                <a:lnTo>
                  <a:pt x="180" y="35"/>
                </a:lnTo>
                <a:lnTo>
                  <a:pt x="175" y="35"/>
                </a:lnTo>
                <a:lnTo>
                  <a:pt x="170" y="37"/>
                </a:lnTo>
                <a:lnTo>
                  <a:pt x="165" y="40"/>
                </a:lnTo>
                <a:lnTo>
                  <a:pt x="162" y="40"/>
                </a:lnTo>
                <a:lnTo>
                  <a:pt x="160" y="45"/>
                </a:lnTo>
                <a:lnTo>
                  <a:pt x="157" y="47"/>
                </a:lnTo>
                <a:lnTo>
                  <a:pt x="162" y="57"/>
                </a:lnTo>
                <a:lnTo>
                  <a:pt x="162" y="62"/>
                </a:lnTo>
                <a:lnTo>
                  <a:pt x="155" y="72"/>
                </a:lnTo>
                <a:lnTo>
                  <a:pt x="160" y="77"/>
                </a:lnTo>
                <a:lnTo>
                  <a:pt x="160" y="81"/>
                </a:lnTo>
                <a:lnTo>
                  <a:pt x="155" y="86"/>
                </a:lnTo>
                <a:lnTo>
                  <a:pt x="150" y="86"/>
                </a:lnTo>
                <a:lnTo>
                  <a:pt x="145" y="84"/>
                </a:lnTo>
                <a:lnTo>
                  <a:pt x="140" y="86"/>
                </a:lnTo>
                <a:lnTo>
                  <a:pt x="143" y="91"/>
                </a:lnTo>
                <a:lnTo>
                  <a:pt x="145" y="91"/>
                </a:lnTo>
                <a:lnTo>
                  <a:pt x="148" y="96"/>
                </a:lnTo>
                <a:lnTo>
                  <a:pt x="148" y="99"/>
                </a:lnTo>
                <a:lnTo>
                  <a:pt x="143" y="101"/>
                </a:lnTo>
                <a:lnTo>
                  <a:pt x="140" y="101"/>
                </a:lnTo>
                <a:lnTo>
                  <a:pt x="138" y="104"/>
                </a:lnTo>
                <a:lnTo>
                  <a:pt x="138" y="108"/>
                </a:lnTo>
                <a:lnTo>
                  <a:pt x="138" y="113"/>
                </a:lnTo>
                <a:lnTo>
                  <a:pt x="138" y="116"/>
                </a:lnTo>
                <a:lnTo>
                  <a:pt x="135" y="116"/>
                </a:lnTo>
                <a:lnTo>
                  <a:pt x="138" y="123"/>
                </a:lnTo>
                <a:lnTo>
                  <a:pt x="133" y="128"/>
                </a:lnTo>
                <a:lnTo>
                  <a:pt x="130" y="123"/>
                </a:lnTo>
                <a:lnTo>
                  <a:pt x="128" y="123"/>
                </a:lnTo>
                <a:lnTo>
                  <a:pt x="128" y="126"/>
                </a:lnTo>
                <a:lnTo>
                  <a:pt x="125" y="126"/>
                </a:lnTo>
                <a:lnTo>
                  <a:pt x="123" y="126"/>
                </a:lnTo>
                <a:lnTo>
                  <a:pt x="121" y="126"/>
                </a:lnTo>
                <a:lnTo>
                  <a:pt x="118" y="128"/>
                </a:lnTo>
                <a:lnTo>
                  <a:pt x="113" y="131"/>
                </a:lnTo>
                <a:lnTo>
                  <a:pt x="116" y="133"/>
                </a:lnTo>
                <a:lnTo>
                  <a:pt x="113" y="136"/>
                </a:lnTo>
                <a:lnTo>
                  <a:pt x="108" y="138"/>
                </a:lnTo>
                <a:lnTo>
                  <a:pt x="106" y="136"/>
                </a:lnTo>
                <a:lnTo>
                  <a:pt x="103" y="138"/>
                </a:lnTo>
                <a:lnTo>
                  <a:pt x="101" y="138"/>
                </a:lnTo>
                <a:lnTo>
                  <a:pt x="101" y="140"/>
                </a:lnTo>
                <a:lnTo>
                  <a:pt x="98" y="143"/>
                </a:lnTo>
                <a:lnTo>
                  <a:pt x="96" y="145"/>
                </a:lnTo>
                <a:lnTo>
                  <a:pt x="96" y="150"/>
                </a:lnTo>
                <a:lnTo>
                  <a:pt x="96" y="155"/>
                </a:lnTo>
                <a:lnTo>
                  <a:pt x="96" y="158"/>
                </a:lnTo>
                <a:lnTo>
                  <a:pt x="98" y="160"/>
                </a:lnTo>
                <a:lnTo>
                  <a:pt x="96" y="163"/>
                </a:lnTo>
                <a:lnTo>
                  <a:pt x="91" y="165"/>
                </a:lnTo>
                <a:lnTo>
                  <a:pt x="86" y="165"/>
                </a:lnTo>
                <a:lnTo>
                  <a:pt x="81" y="168"/>
                </a:lnTo>
                <a:lnTo>
                  <a:pt x="71" y="168"/>
                </a:lnTo>
                <a:lnTo>
                  <a:pt x="66" y="168"/>
                </a:lnTo>
                <a:lnTo>
                  <a:pt x="66" y="170"/>
                </a:lnTo>
                <a:lnTo>
                  <a:pt x="61" y="170"/>
                </a:lnTo>
                <a:lnTo>
                  <a:pt x="54" y="172"/>
                </a:lnTo>
                <a:lnTo>
                  <a:pt x="37" y="172"/>
                </a:lnTo>
                <a:lnTo>
                  <a:pt x="17" y="165"/>
                </a:lnTo>
                <a:lnTo>
                  <a:pt x="27" y="150"/>
                </a:lnTo>
                <a:lnTo>
                  <a:pt x="30" y="148"/>
                </a:lnTo>
                <a:lnTo>
                  <a:pt x="27" y="143"/>
                </a:lnTo>
                <a:lnTo>
                  <a:pt x="27" y="138"/>
                </a:lnTo>
                <a:lnTo>
                  <a:pt x="25" y="133"/>
                </a:lnTo>
                <a:lnTo>
                  <a:pt x="12" y="133"/>
                </a:lnTo>
                <a:lnTo>
                  <a:pt x="12" y="126"/>
                </a:lnTo>
                <a:lnTo>
                  <a:pt x="10" y="123"/>
                </a:lnTo>
                <a:lnTo>
                  <a:pt x="10" y="121"/>
                </a:lnTo>
                <a:lnTo>
                  <a:pt x="10" y="113"/>
                </a:lnTo>
                <a:lnTo>
                  <a:pt x="5" y="106"/>
                </a:lnTo>
                <a:lnTo>
                  <a:pt x="5" y="104"/>
                </a:lnTo>
                <a:lnTo>
                  <a:pt x="10" y="96"/>
                </a:lnTo>
                <a:lnTo>
                  <a:pt x="10" y="96"/>
                </a:lnTo>
                <a:lnTo>
                  <a:pt x="2" y="96"/>
                </a:lnTo>
                <a:lnTo>
                  <a:pt x="2" y="91"/>
                </a:lnTo>
                <a:lnTo>
                  <a:pt x="2" y="86"/>
                </a:lnTo>
                <a:lnTo>
                  <a:pt x="2" y="86"/>
                </a:lnTo>
                <a:lnTo>
                  <a:pt x="5" y="81"/>
                </a:lnTo>
                <a:lnTo>
                  <a:pt x="2" y="79"/>
                </a:lnTo>
                <a:lnTo>
                  <a:pt x="0" y="79"/>
                </a:lnTo>
                <a:lnTo>
                  <a:pt x="5" y="77"/>
                </a:lnTo>
                <a:lnTo>
                  <a:pt x="7" y="74"/>
                </a:lnTo>
                <a:lnTo>
                  <a:pt x="7" y="72"/>
                </a:lnTo>
                <a:lnTo>
                  <a:pt x="10" y="72"/>
                </a:lnTo>
                <a:lnTo>
                  <a:pt x="7" y="69"/>
                </a:lnTo>
                <a:lnTo>
                  <a:pt x="7" y="67"/>
                </a:lnTo>
                <a:lnTo>
                  <a:pt x="7" y="64"/>
                </a:lnTo>
                <a:lnTo>
                  <a:pt x="7" y="59"/>
                </a:lnTo>
                <a:lnTo>
                  <a:pt x="7" y="59"/>
                </a:lnTo>
                <a:lnTo>
                  <a:pt x="10" y="59"/>
                </a:lnTo>
                <a:lnTo>
                  <a:pt x="12" y="59"/>
                </a:lnTo>
                <a:lnTo>
                  <a:pt x="15" y="62"/>
                </a:lnTo>
                <a:lnTo>
                  <a:pt x="17" y="62"/>
                </a:lnTo>
                <a:lnTo>
                  <a:pt x="20" y="59"/>
                </a:lnTo>
                <a:lnTo>
                  <a:pt x="22" y="59"/>
                </a:lnTo>
                <a:lnTo>
                  <a:pt x="25" y="62"/>
                </a:lnTo>
                <a:lnTo>
                  <a:pt x="27" y="64"/>
                </a:lnTo>
                <a:lnTo>
                  <a:pt x="27" y="67"/>
                </a:lnTo>
                <a:lnTo>
                  <a:pt x="30" y="64"/>
                </a:lnTo>
                <a:lnTo>
                  <a:pt x="34" y="64"/>
                </a:lnTo>
                <a:lnTo>
                  <a:pt x="37" y="62"/>
                </a:lnTo>
                <a:lnTo>
                  <a:pt x="37" y="59"/>
                </a:lnTo>
                <a:lnTo>
                  <a:pt x="39" y="57"/>
                </a:lnTo>
                <a:lnTo>
                  <a:pt x="37" y="54"/>
                </a:lnTo>
                <a:lnTo>
                  <a:pt x="42" y="52"/>
                </a:lnTo>
                <a:lnTo>
                  <a:pt x="49" y="52"/>
                </a:lnTo>
                <a:lnTo>
                  <a:pt x="49" y="49"/>
                </a:lnTo>
                <a:lnTo>
                  <a:pt x="52" y="47"/>
                </a:lnTo>
                <a:lnTo>
                  <a:pt x="54" y="47"/>
                </a:lnTo>
                <a:lnTo>
                  <a:pt x="54" y="42"/>
                </a:lnTo>
                <a:lnTo>
                  <a:pt x="54" y="40"/>
                </a:lnTo>
                <a:lnTo>
                  <a:pt x="59" y="35"/>
                </a:lnTo>
                <a:lnTo>
                  <a:pt x="59" y="32"/>
                </a:lnTo>
                <a:lnTo>
                  <a:pt x="57" y="32"/>
                </a:lnTo>
                <a:lnTo>
                  <a:pt x="57" y="30"/>
                </a:lnTo>
                <a:lnTo>
                  <a:pt x="59" y="30"/>
                </a:lnTo>
                <a:lnTo>
                  <a:pt x="61" y="27"/>
                </a:lnTo>
                <a:lnTo>
                  <a:pt x="64" y="27"/>
                </a:lnTo>
                <a:lnTo>
                  <a:pt x="66" y="27"/>
                </a:lnTo>
                <a:lnTo>
                  <a:pt x="71" y="22"/>
                </a:lnTo>
                <a:lnTo>
                  <a:pt x="74" y="22"/>
                </a:lnTo>
                <a:lnTo>
                  <a:pt x="76" y="25"/>
                </a:lnTo>
                <a:lnTo>
                  <a:pt x="81" y="22"/>
                </a:lnTo>
                <a:lnTo>
                  <a:pt x="81" y="25"/>
                </a:lnTo>
                <a:lnTo>
                  <a:pt x="86" y="22"/>
                </a:lnTo>
                <a:lnTo>
                  <a:pt x="91" y="25"/>
                </a:lnTo>
                <a:lnTo>
                  <a:pt x="91" y="27"/>
                </a:lnTo>
                <a:lnTo>
                  <a:pt x="93" y="27"/>
                </a:lnTo>
                <a:lnTo>
                  <a:pt x="96" y="25"/>
                </a:lnTo>
                <a:lnTo>
                  <a:pt x="98" y="25"/>
                </a:lnTo>
                <a:lnTo>
                  <a:pt x="103" y="30"/>
                </a:lnTo>
                <a:lnTo>
                  <a:pt x="106" y="30"/>
                </a:lnTo>
                <a:lnTo>
                  <a:pt x="111" y="30"/>
                </a:lnTo>
                <a:lnTo>
                  <a:pt x="113" y="27"/>
                </a:lnTo>
                <a:lnTo>
                  <a:pt x="116" y="25"/>
                </a:lnTo>
                <a:lnTo>
                  <a:pt x="118" y="25"/>
                </a:lnTo>
                <a:lnTo>
                  <a:pt x="118" y="22"/>
                </a:lnTo>
                <a:lnTo>
                  <a:pt x="121" y="25"/>
                </a:lnTo>
                <a:lnTo>
                  <a:pt x="123" y="27"/>
                </a:lnTo>
                <a:lnTo>
                  <a:pt x="128" y="27"/>
                </a:lnTo>
                <a:lnTo>
                  <a:pt x="128" y="25"/>
                </a:lnTo>
                <a:lnTo>
                  <a:pt x="125" y="22"/>
                </a:lnTo>
                <a:lnTo>
                  <a:pt x="125" y="20"/>
                </a:lnTo>
                <a:lnTo>
                  <a:pt x="130" y="20"/>
                </a:lnTo>
                <a:lnTo>
                  <a:pt x="130" y="17"/>
                </a:lnTo>
                <a:lnTo>
                  <a:pt x="133" y="17"/>
                </a:lnTo>
                <a:lnTo>
                  <a:pt x="133" y="20"/>
                </a:lnTo>
                <a:lnTo>
                  <a:pt x="135" y="20"/>
                </a:lnTo>
                <a:lnTo>
                  <a:pt x="138" y="17"/>
                </a:lnTo>
                <a:lnTo>
                  <a:pt x="138" y="13"/>
                </a:lnTo>
                <a:lnTo>
                  <a:pt x="138" y="10"/>
                </a:lnTo>
                <a:lnTo>
                  <a:pt x="140" y="8"/>
                </a:lnTo>
                <a:lnTo>
                  <a:pt x="140" y="3"/>
                </a:lnTo>
                <a:lnTo>
                  <a:pt x="143" y="0"/>
                </a:lnTo>
                <a:lnTo>
                  <a:pt x="145" y="0"/>
                </a:lnTo>
                <a:lnTo>
                  <a:pt x="148" y="3"/>
                </a:lnTo>
                <a:lnTo>
                  <a:pt x="153" y="5"/>
                </a:lnTo>
                <a:lnTo>
                  <a:pt x="153" y="8"/>
                </a:lnTo>
                <a:lnTo>
                  <a:pt x="150" y="10"/>
                </a:lnTo>
                <a:lnTo>
                  <a:pt x="153" y="13"/>
                </a:lnTo>
                <a:lnTo>
                  <a:pt x="155" y="13"/>
                </a:lnTo>
                <a:lnTo>
                  <a:pt x="155" y="15"/>
                </a:lnTo>
                <a:lnTo>
                  <a:pt x="155" y="20"/>
                </a:lnTo>
                <a:lnTo>
                  <a:pt x="155" y="22"/>
                </a:lnTo>
                <a:lnTo>
                  <a:pt x="155" y="30"/>
                </a:lnTo>
                <a:lnTo>
                  <a:pt x="157" y="32"/>
                </a:lnTo>
                <a:lnTo>
                  <a:pt x="157" y="35"/>
                </a:lnTo>
                <a:lnTo>
                  <a:pt x="160" y="35"/>
                </a:lnTo>
                <a:lnTo>
                  <a:pt x="165" y="35"/>
                </a:lnTo>
                <a:lnTo>
                  <a:pt x="167" y="32"/>
                </a:lnTo>
                <a:lnTo>
                  <a:pt x="167" y="32"/>
                </a:lnTo>
                <a:lnTo>
                  <a:pt x="175" y="30"/>
                </a:lnTo>
                <a:lnTo>
                  <a:pt x="177" y="27"/>
                </a:lnTo>
                <a:lnTo>
                  <a:pt x="177" y="25"/>
                </a:lnTo>
                <a:lnTo>
                  <a:pt x="180" y="22"/>
                </a:lnTo>
                <a:lnTo>
                  <a:pt x="180" y="2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5" name="Freeform 44"/>
          <p:cNvSpPr>
            <a:spLocks noEditPoints="1"/>
          </p:cNvSpPr>
          <p:nvPr/>
        </p:nvSpPr>
        <p:spPr bwMode="auto">
          <a:xfrm>
            <a:off x="4922015" y="2891832"/>
            <a:ext cx="156572" cy="116739"/>
          </a:xfrm>
          <a:custGeom>
            <a:avLst/>
            <a:gdLst/>
            <a:ahLst/>
            <a:cxnLst>
              <a:cxn ang="0">
                <a:pos x="74" y="74"/>
              </a:cxn>
              <a:cxn ang="0">
                <a:pos x="74" y="69"/>
              </a:cxn>
              <a:cxn ang="0">
                <a:pos x="69" y="71"/>
              </a:cxn>
              <a:cxn ang="0">
                <a:pos x="91" y="54"/>
              </a:cxn>
              <a:cxn ang="0">
                <a:pos x="96" y="59"/>
              </a:cxn>
              <a:cxn ang="0">
                <a:pos x="60" y="49"/>
              </a:cxn>
              <a:cxn ang="0">
                <a:pos x="52" y="61"/>
              </a:cxn>
              <a:cxn ang="0">
                <a:pos x="47" y="56"/>
              </a:cxn>
              <a:cxn ang="0">
                <a:pos x="42" y="49"/>
              </a:cxn>
              <a:cxn ang="0">
                <a:pos x="47" y="42"/>
              </a:cxn>
              <a:cxn ang="0">
                <a:pos x="52" y="47"/>
              </a:cxn>
              <a:cxn ang="0">
                <a:pos x="52" y="39"/>
              </a:cxn>
              <a:cxn ang="0">
                <a:pos x="60" y="44"/>
              </a:cxn>
              <a:cxn ang="0">
                <a:pos x="60" y="54"/>
              </a:cxn>
              <a:cxn ang="0">
                <a:pos x="55" y="59"/>
              </a:cxn>
              <a:cxn ang="0">
                <a:pos x="57" y="61"/>
              </a:cxn>
              <a:cxn ang="0">
                <a:pos x="55" y="61"/>
              </a:cxn>
              <a:cxn ang="0">
                <a:pos x="52" y="64"/>
              </a:cxn>
              <a:cxn ang="0">
                <a:pos x="55" y="66"/>
              </a:cxn>
              <a:cxn ang="0">
                <a:pos x="50" y="69"/>
              </a:cxn>
              <a:cxn ang="0">
                <a:pos x="42" y="66"/>
              </a:cxn>
              <a:cxn ang="0">
                <a:pos x="32" y="47"/>
              </a:cxn>
              <a:cxn ang="0">
                <a:pos x="35" y="47"/>
              </a:cxn>
              <a:cxn ang="0">
                <a:pos x="35" y="64"/>
              </a:cxn>
              <a:cxn ang="0">
                <a:pos x="37" y="64"/>
              </a:cxn>
              <a:cxn ang="0">
                <a:pos x="37" y="59"/>
              </a:cxn>
              <a:cxn ang="0">
                <a:pos x="35" y="51"/>
              </a:cxn>
              <a:cxn ang="0">
                <a:pos x="32" y="61"/>
              </a:cxn>
              <a:cxn ang="0">
                <a:pos x="23" y="54"/>
              </a:cxn>
              <a:cxn ang="0">
                <a:pos x="42" y="10"/>
              </a:cxn>
              <a:cxn ang="0">
                <a:pos x="8" y="22"/>
              </a:cxn>
              <a:cxn ang="0">
                <a:pos x="10" y="24"/>
              </a:cxn>
              <a:cxn ang="0">
                <a:pos x="8" y="22"/>
              </a:cxn>
              <a:cxn ang="0">
                <a:pos x="20" y="19"/>
              </a:cxn>
              <a:cxn ang="0">
                <a:pos x="30" y="19"/>
              </a:cxn>
              <a:cxn ang="0">
                <a:pos x="35" y="2"/>
              </a:cxn>
              <a:cxn ang="0">
                <a:pos x="23" y="7"/>
              </a:cxn>
              <a:cxn ang="0">
                <a:pos x="13" y="15"/>
              </a:cxn>
              <a:cxn ang="0">
                <a:pos x="5" y="22"/>
              </a:cxn>
              <a:cxn ang="0">
                <a:pos x="23" y="64"/>
              </a:cxn>
              <a:cxn ang="0">
                <a:pos x="18" y="59"/>
              </a:cxn>
              <a:cxn ang="0">
                <a:pos x="20" y="54"/>
              </a:cxn>
              <a:cxn ang="0">
                <a:pos x="28" y="44"/>
              </a:cxn>
              <a:cxn ang="0">
                <a:pos x="32" y="34"/>
              </a:cxn>
              <a:cxn ang="0">
                <a:pos x="37" y="37"/>
              </a:cxn>
              <a:cxn ang="0">
                <a:pos x="35" y="32"/>
              </a:cxn>
              <a:cxn ang="0">
                <a:pos x="28" y="27"/>
              </a:cxn>
              <a:cxn ang="0">
                <a:pos x="20" y="19"/>
              </a:cxn>
              <a:cxn ang="0">
                <a:pos x="18" y="24"/>
              </a:cxn>
              <a:cxn ang="0">
                <a:pos x="15" y="29"/>
              </a:cxn>
              <a:cxn ang="0">
                <a:pos x="13" y="24"/>
              </a:cxn>
              <a:cxn ang="0">
                <a:pos x="8" y="29"/>
              </a:cxn>
              <a:cxn ang="0">
                <a:pos x="5" y="32"/>
              </a:cxn>
              <a:cxn ang="0">
                <a:pos x="0" y="39"/>
              </a:cxn>
              <a:cxn ang="0">
                <a:pos x="0" y="47"/>
              </a:cxn>
              <a:cxn ang="0">
                <a:pos x="8" y="59"/>
              </a:cxn>
              <a:cxn ang="0">
                <a:pos x="18" y="64"/>
              </a:cxn>
            </a:cxnLst>
            <a:rect l="0" t="0" r="r" b="b"/>
            <a:pathLst>
              <a:path w="96" h="76">
                <a:moveTo>
                  <a:pt x="69" y="74"/>
                </a:moveTo>
                <a:lnTo>
                  <a:pt x="69" y="74"/>
                </a:lnTo>
                <a:lnTo>
                  <a:pt x="69" y="76"/>
                </a:lnTo>
                <a:lnTo>
                  <a:pt x="69" y="76"/>
                </a:lnTo>
                <a:lnTo>
                  <a:pt x="74" y="76"/>
                </a:lnTo>
                <a:lnTo>
                  <a:pt x="74" y="76"/>
                </a:lnTo>
                <a:lnTo>
                  <a:pt x="74" y="74"/>
                </a:lnTo>
                <a:lnTo>
                  <a:pt x="74" y="74"/>
                </a:lnTo>
                <a:lnTo>
                  <a:pt x="77" y="74"/>
                </a:lnTo>
                <a:lnTo>
                  <a:pt x="77" y="74"/>
                </a:lnTo>
                <a:lnTo>
                  <a:pt x="77" y="74"/>
                </a:lnTo>
                <a:lnTo>
                  <a:pt x="77" y="71"/>
                </a:lnTo>
                <a:lnTo>
                  <a:pt x="77" y="71"/>
                </a:lnTo>
                <a:lnTo>
                  <a:pt x="77" y="69"/>
                </a:lnTo>
                <a:lnTo>
                  <a:pt x="77" y="69"/>
                </a:lnTo>
                <a:lnTo>
                  <a:pt x="74" y="69"/>
                </a:lnTo>
                <a:lnTo>
                  <a:pt x="74" y="69"/>
                </a:lnTo>
                <a:lnTo>
                  <a:pt x="74" y="69"/>
                </a:lnTo>
                <a:lnTo>
                  <a:pt x="72" y="69"/>
                </a:lnTo>
                <a:lnTo>
                  <a:pt x="72" y="69"/>
                </a:lnTo>
                <a:lnTo>
                  <a:pt x="69" y="69"/>
                </a:lnTo>
                <a:lnTo>
                  <a:pt x="69" y="69"/>
                </a:lnTo>
                <a:lnTo>
                  <a:pt x="69" y="71"/>
                </a:lnTo>
                <a:lnTo>
                  <a:pt x="69" y="71"/>
                </a:lnTo>
                <a:lnTo>
                  <a:pt x="72" y="71"/>
                </a:lnTo>
                <a:lnTo>
                  <a:pt x="72" y="71"/>
                </a:lnTo>
                <a:lnTo>
                  <a:pt x="72" y="71"/>
                </a:lnTo>
                <a:lnTo>
                  <a:pt x="69" y="71"/>
                </a:lnTo>
                <a:lnTo>
                  <a:pt x="69" y="71"/>
                </a:lnTo>
                <a:lnTo>
                  <a:pt x="69" y="74"/>
                </a:lnTo>
                <a:lnTo>
                  <a:pt x="69" y="74"/>
                </a:lnTo>
                <a:close/>
                <a:moveTo>
                  <a:pt x="91" y="54"/>
                </a:moveTo>
                <a:lnTo>
                  <a:pt x="91" y="54"/>
                </a:lnTo>
                <a:lnTo>
                  <a:pt x="91" y="56"/>
                </a:lnTo>
                <a:lnTo>
                  <a:pt x="91" y="56"/>
                </a:lnTo>
                <a:lnTo>
                  <a:pt x="91" y="59"/>
                </a:lnTo>
                <a:lnTo>
                  <a:pt x="91" y="59"/>
                </a:lnTo>
                <a:lnTo>
                  <a:pt x="96" y="61"/>
                </a:lnTo>
                <a:lnTo>
                  <a:pt x="96" y="61"/>
                </a:lnTo>
                <a:lnTo>
                  <a:pt x="96" y="59"/>
                </a:lnTo>
                <a:lnTo>
                  <a:pt x="96" y="59"/>
                </a:lnTo>
                <a:lnTo>
                  <a:pt x="94" y="54"/>
                </a:lnTo>
                <a:lnTo>
                  <a:pt x="94" y="54"/>
                </a:lnTo>
                <a:lnTo>
                  <a:pt x="91" y="54"/>
                </a:lnTo>
                <a:lnTo>
                  <a:pt x="91" y="54"/>
                </a:lnTo>
                <a:close/>
                <a:moveTo>
                  <a:pt x="62" y="47"/>
                </a:moveTo>
                <a:lnTo>
                  <a:pt x="62" y="47"/>
                </a:lnTo>
                <a:lnTo>
                  <a:pt x="60" y="49"/>
                </a:lnTo>
                <a:lnTo>
                  <a:pt x="60" y="49"/>
                </a:lnTo>
                <a:lnTo>
                  <a:pt x="62" y="49"/>
                </a:lnTo>
                <a:lnTo>
                  <a:pt x="62" y="49"/>
                </a:lnTo>
                <a:lnTo>
                  <a:pt x="62" y="47"/>
                </a:lnTo>
                <a:lnTo>
                  <a:pt x="62" y="47"/>
                </a:lnTo>
                <a:close/>
                <a:moveTo>
                  <a:pt x="55" y="61"/>
                </a:moveTo>
                <a:lnTo>
                  <a:pt x="55" y="61"/>
                </a:lnTo>
                <a:lnTo>
                  <a:pt x="52" y="61"/>
                </a:lnTo>
                <a:lnTo>
                  <a:pt x="52" y="61"/>
                </a:lnTo>
                <a:lnTo>
                  <a:pt x="50" y="59"/>
                </a:lnTo>
                <a:lnTo>
                  <a:pt x="50" y="59"/>
                </a:lnTo>
                <a:lnTo>
                  <a:pt x="52" y="59"/>
                </a:lnTo>
                <a:lnTo>
                  <a:pt x="52" y="59"/>
                </a:lnTo>
                <a:lnTo>
                  <a:pt x="52" y="56"/>
                </a:lnTo>
                <a:lnTo>
                  <a:pt x="52" y="56"/>
                </a:lnTo>
                <a:lnTo>
                  <a:pt x="47" y="56"/>
                </a:lnTo>
                <a:lnTo>
                  <a:pt x="47" y="56"/>
                </a:lnTo>
                <a:lnTo>
                  <a:pt x="45" y="56"/>
                </a:lnTo>
                <a:lnTo>
                  <a:pt x="45" y="56"/>
                </a:lnTo>
                <a:lnTo>
                  <a:pt x="45" y="54"/>
                </a:lnTo>
                <a:lnTo>
                  <a:pt x="45" y="54"/>
                </a:lnTo>
                <a:lnTo>
                  <a:pt x="45" y="51"/>
                </a:lnTo>
                <a:lnTo>
                  <a:pt x="45" y="51"/>
                </a:lnTo>
                <a:lnTo>
                  <a:pt x="42" y="49"/>
                </a:lnTo>
                <a:lnTo>
                  <a:pt x="42" y="49"/>
                </a:lnTo>
                <a:lnTo>
                  <a:pt x="42" y="47"/>
                </a:lnTo>
                <a:lnTo>
                  <a:pt x="42" y="47"/>
                </a:lnTo>
                <a:lnTo>
                  <a:pt x="45" y="47"/>
                </a:lnTo>
                <a:lnTo>
                  <a:pt x="45" y="47"/>
                </a:lnTo>
                <a:lnTo>
                  <a:pt x="45" y="44"/>
                </a:lnTo>
                <a:lnTo>
                  <a:pt x="45" y="44"/>
                </a:lnTo>
                <a:lnTo>
                  <a:pt x="47" y="42"/>
                </a:lnTo>
                <a:lnTo>
                  <a:pt x="47" y="42"/>
                </a:lnTo>
                <a:lnTo>
                  <a:pt x="47" y="44"/>
                </a:lnTo>
                <a:lnTo>
                  <a:pt x="47" y="44"/>
                </a:lnTo>
                <a:lnTo>
                  <a:pt x="47" y="47"/>
                </a:lnTo>
                <a:lnTo>
                  <a:pt x="47" y="47"/>
                </a:lnTo>
                <a:lnTo>
                  <a:pt x="52" y="47"/>
                </a:lnTo>
                <a:lnTo>
                  <a:pt x="52" y="47"/>
                </a:lnTo>
                <a:lnTo>
                  <a:pt x="52" y="47"/>
                </a:lnTo>
                <a:lnTo>
                  <a:pt x="55" y="47"/>
                </a:lnTo>
                <a:lnTo>
                  <a:pt x="55" y="47"/>
                </a:lnTo>
                <a:lnTo>
                  <a:pt x="55" y="47"/>
                </a:lnTo>
                <a:lnTo>
                  <a:pt x="52" y="44"/>
                </a:lnTo>
                <a:lnTo>
                  <a:pt x="52" y="44"/>
                </a:lnTo>
                <a:lnTo>
                  <a:pt x="50" y="42"/>
                </a:lnTo>
                <a:lnTo>
                  <a:pt x="50" y="42"/>
                </a:lnTo>
                <a:lnTo>
                  <a:pt x="52" y="39"/>
                </a:lnTo>
                <a:lnTo>
                  <a:pt x="52" y="39"/>
                </a:lnTo>
                <a:lnTo>
                  <a:pt x="55" y="39"/>
                </a:lnTo>
                <a:lnTo>
                  <a:pt x="55" y="39"/>
                </a:lnTo>
                <a:lnTo>
                  <a:pt x="60" y="39"/>
                </a:lnTo>
                <a:lnTo>
                  <a:pt x="60" y="39"/>
                </a:lnTo>
                <a:lnTo>
                  <a:pt x="60" y="42"/>
                </a:lnTo>
                <a:lnTo>
                  <a:pt x="60" y="42"/>
                </a:lnTo>
                <a:lnTo>
                  <a:pt x="60" y="44"/>
                </a:lnTo>
                <a:lnTo>
                  <a:pt x="60" y="44"/>
                </a:lnTo>
                <a:lnTo>
                  <a:pt x="60" y="49"/>
                </a:lnTo>
                <a:lnTo>
                  <a:pt x="60" y="49"/>
                </a:lnTo>
                <a:lnTo>
                  <a:pt x="57" y="49"/>
                </a:lnTo>
                <a:lnTo>
                  <a:pt x="57" y="49"/>
                </a:lnTo>
                <a:lnTo>
                  <a:pt x="57" y="51"/>
                </a:lnTo>
                <a:lnTo>
                  <a:pt x="57" y="51"/>
                </a:lnTo>
                <a:lnTo>
                  <a:pt x="60" y="54"/>
                </a:lnTo>
                <a:lnTo>
                  <a:pt x="60" y="54"/>
                </a:lnTo>
                <a:lnTo>
                  <a:pt x="60" y="54"/>
                </a:lnTo>
                <a:lnTo>
                  <a:pt x="57" y="56"/>
                </a:lnTo>
                <a:lnTo>
                  <a:pt x="57" y="56"/>
                </a:lnTo>
                <a:lnTo>
                  <a:pt x="55" y="56"/>
                </a:lnTo>
                <a:lnTo>
                  <a:pt x="55" y="56"/>
                </a:lnTo>
                <a:lnTo>
                  <a:pt x="55" y="59"/>
                </a:lnTo>
                <a:lnTo>
                  <a:pt x="55" y="59"/>
                </a:lnTo>
                <a:lnTo>
                  <a:pt x="55" y="61"/>
                </a:lnTo>
                <a:lnTo>
                  <a:pt x="55" y="61"/>
                </a:lnTo>
                <a:close/>
                <a:moveTo>
                  <a:pt x="55" y="61"/>
                </a:moveTo>
                <a:lnTo>
                  <a:pt x="55" y="61"/>
                </a:lnTo>
                <a:lnTo>
                  <a:pt x="57" y="64"/>
                </a:lnTo>
                <a:lnTo>
                  <a:pt x="57" y="64"/>
                </a:lnTo>
                <a:lnTo>
                  <a:pt x="57" y="61"/>
                </a:lnTo>
                <a:lnTo>
                  <a:pt x="57" y="61"/>
                </a:lnTo>
                <a:lnTo>
                  <a:pt x="60" y="61"/>
                </a:lnTo>
                <a:lnTo>
                  <a:pt x="60" y="61"/>
                </a:lnTo>
                <a:lnTo>
                  <a:pt x="60" y="59"/>
                </a:lnTo>
                <a:lnTo>
                  <a:pt x="60" y="59"/>
                </a:lnTo>
                <a:lnTo>
                  <a:pt x="57" y="61"/>
                </a:lnTo>
                <a:lnTo>
                  <a:pt x="57" y="61"/>
                </a:lnTo>
                <a:lnTo>
                  <a:pt x="55" y="61"/>
                </a:lnTo>
                <a:lnTo>
                  <a:pt x="55" y="61"/>
                </a:lnTo>
                <a:close/>
                <a:moveTo>
                  <a:pt x="45" y="61"/>
                </a:moveTo>
                <a:lnTo>
                  <a:pt x="45" y="61"/>
                </a:lnTo>
                <a:lnTo>
                  <a:pt x="47" y="66"/>
                </a:lnTo>
                <a:lnTo>
                  <a:pt x="47" y="66"/>
                </a:lnTo>
                <a:lnTo>
                  <a:pt x="50" y="66"/>
                </a:lnTo>
                <a:lnTo>
                  <a:pt x="50" y="66"/>
                </a:lnTo>
                <a:lnTo>
                  <a:pt x="50" y="66"/>
                </a:lnTo>
                <a:lnTo>
                  <a:pt x="52" y="64"/>
                </a:lnTo>
                <a:lnTo>
                  <a:pt x="52" y="64"/>
                </a:lnTo>
                <a:lnTo>
                  <a:pt x="55" y="64"/>
                </a:lnTo>
                <a:lnTo>
                  <a:pt x="55" y="64"/>
                </a:lnTo>
                <a:lnTo>
                  <a:pt x="55" y="61"/>
                </a:lnTo>
                <a:lnTo>
                  <a:pt x="55" y="61"/>
                </a:lnTo>
                <a:lnTo>
                  <a:pt x="55" y="64"/>
                </a:lnTo>
                <a:lnTo>
                  <a:pt x="55" y="64"/>
                </a:lnTo>
                <a:lnTo>
                  <a:pt x="55" y="66"/>
                </a:lnTo>
                <a:lnTo>
                  <a:pt x="55" y="66"/>
                </a:lnTo>
                <a:lnTo>
                  <a:pt x="55" y="69"/>
                </a:lnTo>
                <a:lnTo>
                  <a:pt x="55" y="69"/>
                </a:lnTo>
                <a:lnTo>
                  <a:pt x="52" y="69"/>
                </a:lnTo>
                <a:lnTo>
                  <a:pt x="52" y="69"/>
                </a:lnTo>
                <a:lnTo>
                  <a:pt x="52" y="66"/>
                </a:lnTo>
                <a:lnTo>
                  <a:pt x="52" y="66"/>
                </a:lnTo>
                <a:lnTo>
                  <a:pt x="50" y="69"/>
                </a:lnTo>
                <a:lnTo>
                  <a:pt x="50" y="69"/>
                </a:lnTo>
                <a:lnTo>
                  <a:pt x="47" y="69"/>
                </a:lnTo>
                <a:lnTo>
                  <a:pt x="47" y="69"/>
                </a:lnTo>
                <a:lnTo>
                  <a:pt x="42" y="69"/>
                </a:lnTo>
                <a:lnTo>
                  <a:pt x="42" y="69"/>
                </a:lnTo>
                <a:lnTo>
                  <a:pt x="40" y="66"/>
                </a:lnTo>
                <a:lnTo>
                  <a:pt x="40" y="66"/>
                </a:lnTo>
                <a:lnTo>
                  <a:pt x="42" y="66"/>
                </a:lnTo>
                <a:lnTo>
                  <a:pt x="42" y="66"/>
                </a:lnTo>
                <a:lnTo>
                  <a:pt x="42" y="64"/>
                </a:lnTo>
                <a:lnTo>
                  <a:pt x="42" y="64"/>
                </a:lnTo>
                <a:lnTo>
                  <a:pt x="42" y="61"/>
                </a:lnTo>
                <a:lnTo>
                  <a:pt x="42" y="61"/>
                </a:lnTo>
                <a:lnTo>
                  <a:pt x="45" y="61"/>
                </a:lnTo>
                <a:lnTo>
                  <a:pt x="45" y="61"/>
                </a:lnTo>
                <a:close/>
                <a:moveTo>
                  <a:pt x="32" y="47"/>
                </a:moveTo>
                <a:lnTo>
                  <a:pt x="32" y="47"/>
                </a:lnTo>
                <a:lnTo>
                  <a:pt x="35" y="44"/>
                </a:lnTo>
                <a:lnTo>
                  <a:pt x="35" y="44"/>
                </a:lnTo>
                <a:lnTo>
                  <a:pt x="35" y="39"/>
                </a:lnTo>
                <a:lnTo>
                  <a:pt x="35" y="39"/>
                </a:lnTo>
                <a:lnTo>
                  <a:pt x="35" y="44"/>
                </a:lnTo>
                <a:lnTo>
                  <a:pt x="35" y="44"/>
                </a:lnTo>
                <a:lnTo>
                  <a:pt x="35" y="47"/>
                </a:lnTo>
                <a:lnTo>
                  <a:pt x="35" y="47"/>
                </a:lnTo>
                <a:lnTo>
                  <a:pt x="32" y="47"/>
                </a:lnTo>
                <a:lnTo>
                  <a:pt x="32" y="47"/>
                </a:lnTo>
                <a:close/>
                <a:moveTo>
                  <a:pt x="32" y="64"/>
                </a:moveTo>
                <a:lnTo>
                  <a:pt x="32" y="64"/>
                </a:lnTo>
                <a:lnTo>
                  <a:pt x="35" y="66"/>
                </a:lnTo>
                <a:lnTo>
                  <a:pt x="35" y="66"/>
                </a:lnTo>
                <a:lnTo>
                  <a:pt x="35" y="64"/>
                </a:lnTo>
                <a:lnTo>
                  <a:pt x="35" y="64"/>
                </a:lnTo>
                <a:lnTo>
                  <a:pt x="32" y="64"/>
                </a:lnTo>
                <a:lnTo>
                  <a:pt x="32" y="64"/>
                </a:lnTo>
                <a:close/>
                <a:moveTo>
                  <a:pt x="37" y="59"/>
                </a:moveTo>
                <a:lnTo>
                  <a:pt x="37" y="59"/>
                </a:lnTo>
                <a:lnTo>
                  <a:pt x="37" y="61"/>
                </a:lnTo>
                <a:lnTo>
                  <a:pt x="37" y="61"/>
                </a:lnTo>
                <a:lnTo>
                  <a:pt x="37" y="64"/>
                </a:lnTo>
                <a:lnTo>
                  <a:pt x="37" y="64"/>
                </a:lnTo>
                <a:lnTo>
                  <a:pt x="37" y="66"/>
                </a:lnTo>
                <a:lnTo>
                  <a:pt x="37" y="66"/>
                </a:lnTo>
                <a:lnTo>
                  <a:pt x="40" y="64"/>
                </a:lnTo>
                <a:lnTo>
                  <a:pt x="40" y="64"/>
                </a:lnTo>
                <a:lnTo>
                  <a:pt x="40" y="61"/>
                </a:lnTo>
                <a:lnTo>
                  <a:pt x="37" y="59"/>
                </a:lnTo>
                <a:lnTo>
                  <a:pt x="37" y="59"/>
                </a:lnTo>
                <a:close/>
                <a:moveTo>
                  <a:pt x="25" y="49"/>
                </a:moveTo>
                <a:lnTo>
                  <a:pt x="25" y="49"/>
                </a:lnTo>
                <a:lnTo>
                  <a:pt x="30" y="49"/>
                </a:lnTo>
                <a:lnTo>
                  <a:pt x="30" y="49"/>
                </a:lnTo>
                <a:lnTo>
                  <a:pt x="32" y="51"/>
                </a:lnTo>
                <a:lnTo>
                  <a:pt x="32" y="51"/>
                </a:lnTo>
                <a:lnTo>
                  <a:pt x="35" y="51"/>
                </a:lnTo>
                <a:lnTo>
                  <a:pt x="35" y="51"/>
                </a:lnTo>
                <a:lnTo>
                  <a:pt x="37" y="54"/>
                </a:lnTo>
                <a:lnTo>
                  <a:pt x="37" y="54"/>
                </a:lnTo>
                <a:lnTo>
                  <a:pt x="37" y="56"/>
                </a:lnTo>
                <a:lnTo>
                  <a:pt x="37" y="56"/>
                </a:lnTo>
                <a:lnTo>
                  <a:pt x="35" y="61"/>
                </a:lnTo>
                <a:lnTo>
                  <a:pt x="35" y="61"/>
                </a:lnTo>
                <a:lnTo>
                  <a:pt x="32" y="61"/>
                </a:lnTo>
                <a:lnTo>
                  <a:pt x="32" y="61"/>
                </a:lnTo>
                <a:lnTo>
                  <a:pt x="30" y="61"/>
                </a:lnTo>
                <a:lnTo>
                  <a:pt x="30" y="61"/>
                </a:lnTo>
                <a:lnTo>
                  <a:pt x="28" y="61"/>
                </a:lnTo>
                <a:lnTo>
                  <a:pt x="28" y="61"/>
                </a:lnTo>
                <a:lnTo>
                  <a:pt x="25" y="56"/>
                </a:lnTo>
                <a:lnTo>
                  <a:pt x="25" y="56"/>
                </a:lnTo>
                <a:lnTo>
                  <a:pt x="23" y="54"/>
                </a:lnTo>
                <a:lnTo>
                  <a:pt x="23" y="54"/>
                </a:lnTo>
                <a:lnTo>
                  <a:pt x="25" y="49"/>
                </a:lnTo>
                <a:lnTo>
                  <a:pt x="25" y="49"/>
                </a:lnTo>
                <a:close/>
                <a:moveTo>
                  <a:pt x="37" y="12"/>
                </a:moveTo>
                <a:lnTo>
                  <a:pt x="37" y="12"/>
                </a:lnTo>
                <a:lnTo>
                  <a:pt x="37" y="10"/>
                </a:lnTo>
                <a:lnTo>
                  <a:pt x="37" y="10"/>
                </a:lnTo>
                <a:lnTo>
                  <a:pt x="42" y="10"/>
                </a:lnTo>
                <a:lnTo>
                  <a:pt x="42" y="10"/>
                </a:lnTo>
                <a:lnTo>
                  <a:pt x="40" y="12"/>
                </a:lnTo>
                <a:lnTo>
                  <a:pt x="40" y="12"/>
                </a:lnTo>
                <a:lnTo>
                  <a:pt x="37" y="12"/>
                </a:lnTo>
                <a:lnTo>
                  <a:pt x="37" y="12"/>
                </a:lnTo>
                <a:close/>
                <a:moveTo>
                  <a:pt x="10" y="27"/>
                </a:moveTo>
                <a:lnTo>
                  <a:pt x="10" y="27"/>
                </a:lnTo>
                <a:lnTo>
                  <a:pt x="8" y="22"/>
                </a:lnTo>
                <a:lnTo>
                  <a:pt x="8" y="22"/>
                </a:lnTo>
                <a:lnTo>
                  <a:pt x="10" y="19"/>
                </a:lnTo>
                <a:lnTo>
                  <a:pt x="10" y="19"/>
                </a:lnTo>
                <a:lnTo>
                  <a:pt x="13" y="19"/>
                </a:lnTo>
                <a:lnTo>
                  <a:pt x="13" y="19"/>
                </a:lnTo>
                <a:lnTo>
                  <a:pt x="13" y="22"/>
                </a:lnTo>
                <a:lnTo>
                  <a:pt x="13" y="22"/>
                </a:lnTo>
                <a:lnTo>
                  <a:pt x="10" y="24"/>
                </a:lnTo>
                <a:lnTo>
                  <a:pt x="10" y="24"/>
                </a:lnTo>
                <a:lnTo>
                  <a:pt x="10" y="27"/>
                </a:lnTo>
                <a:lnTo>
                  <a:pt x="10" y="27"/>
                </a:lnTo>
                <a:close/>
                <a:moveTo>
                  <a:pt x="8" y="27"/>
                </a:moveTo>
                <a:lnTo>
                  <a:pt x="8" y="27"/>
                </a:lnTo>
                <a:lnTo>
                  <a:pt x="8" y="24"/>
                </a:lnTo>
                <a:lnTo>
                  <a:pt x="8" y="24"/>
                </a:lnTo>
                <a:lnTo>
                  <a:pt x="8" y="22"/>
                </a:lnTo>
                <a:lnTo>
                  <a:pt x="8" y="22"/>
                </a:lnTo>
                <a:lnTo>
                  <a:pt x="13" y="17"/>
                </a:lnTo>
                <a:lnTo>
                  <a:pt x="13" y="17"/>
                </a:lnTo>
                <a:lnTo>
                  <a:pt x="13" y="19"/>
                </a:lnTo>
                <a:lnTo>
                  <a:pt x="13" y="19"/>
                </a:lnTo>
                <a:lnTo>
                  <a:pt x="18" y="17"/>
                </a:lnTo>
                <a:lnTo>
                  <a:pt x="18" y="17"/>
                </a:lnTo>
                <a:lnTo>
                  <a:pt x="20" y="19"/>
                </a:lnTo>
                <a:lnTo>
                  <a:pt x="20" y="19"/>
                </a:lnTo>
                <a:lnTo>
                  <a:pt x="23" y="17"/>
                </a:lnTo>
                <a:lnTo>
                  <a:pt x="23" y="17"/>
                </a:lnTo>
                <a:lnTo>
                  <a:pt x="25" y="17"/>
                </a:lnTo>
                <a:lnTo>
                  <a:pt x="25" y="17"/>
                </a:lnTo>
                <a:lnTo>
                  <a:pt x="28" y="19"/>
                </a:lnTo>
                <a:lnTo>
                  <a:pt x="28" y="19"/>
                </a:lnTo>
                <a:lnTo>
                  <a:pt x="30" y="19"/>
                </a:lnTo>
                <a:lnTo>
                  <a:pt x="30" y="19"/>
                </a:lnTo>
                <a:lnTo>
                  <a:pt x="32" y="12"/>
                </a:lnTo>
                <a:lnTo>
                  <a:pt x="32" y="12"/>
                </a:lnTo>
                <a:lnTo>
                  <a:pt x="32" y="10"/>
                </a:lnTo>
                <a:lnTo>
                  <a:pt x="32" y="10"/>
                </a:lnTo>
                <a:lnTo>
                  <a:pt x="32" y="10"/>
                </a:lnTo>
                <a:lnTo>
                  <a:pt x="32" y="5"/>
                </a:lnTo>
                <a:lnTo>
                  <a:pt x="32" y="5"/>
                </a:lnTo>
                <a:lnTo>
                  <a:pt x="35" y="2"/>
                </a:lnTo>
                <a:lnTo>
                  <a:pt x="35" y="2"/>
                </a:lnTo>
                <a:lnTo>
                  <a:pt x="32" y="0"/>
                </a:lnTo>
                <a:lnTo>
                  <a:pt x="32" y="0"/>
                </a:lnTo>
                <a:lnTo>
                  <a:pt x="30" y="5"/>
                </a:lnTo>
                <a:lnTo>
                  <a:pt x="30" y="5"/>
                </a:lnTo>
                <a:lnTo>
                  <a:pt x="25" y="7"/>
                </a:lnTo>
                <a:lnTo>
                  <a:pt x="25" y="7"/>
                </a:lnTo>
                <a:lnTo>
                  <a:pt x="23" y="7"/>
                </a:lnTo>
                <a:lnTo>
                  <a:pt x="23" y="7"/>
                </a:lnTo>
                <a:lnTo>
                  <a:pt x="20" y="10"/>
                </a:lnTo>
                <a:lnTo>
                  <a:pt x="20" y="10"/>
                </a:lnTo>
                <a:lnTo>
                  <a:pt x="20" y="12"/>
                </a:lnTo>
                <a:lnTo>
                  <a:pt x="20" y="12"/>
                </a:lnTo>
                <a:lnTo>
                  <a:pt x="15" y="15"/>
                </a:lnTo>
                <a:lnTo>
                  <a:pt x="15" y="15"/>
                </a:lnTo>
                <a:lnTo>
                  <a:pt x="13" y="15"/>
                </a:lnTo>
                <a:lnTo>
                  <a:pt x="13" y="15"/>
                </a:lnTo>
                <a:lnTo>
                  <a:pt x="8" y="17"/>
                </a:lnTo>
                <a:lnTo>
                  <a:pt x="8" y="17"/>
                </a:lnTo>
                <a:lnTo>
                  <a:pt x="8" y="17"/>
                </a:lnTo>
                <a:lnTo>
                  <a:pt x="5" y="17"/>
                </a:lnTo>
                <a:lnTo>
                  <a:pt x="5" y="17"/>
                </a:lnTo>
                <a:lnTo>
                  <a:pt x="5" y="22"/>
                </a:lnTo>
                <a:lnTo>
                  <a:pt x="5" y="22"/>
                </a:lnTo>
                <a:lnTo>
                  <a:pt x="3" y="24"/>
                </a:lnTo>
                <a:lnTo>
                  <a:pt x="3" y="24"/>
                </a:lnTo>
                <a:lnTo>
                  <a:pt x="3" y="24"/>
                </a:lnTo>
                <a:lnTo>
                  <a:pt x="5" y="24"/>
                </a:lnTo>
                <a:lnTo>
                  <a:pt x="5" y="24"/>
                </a:lnTo>
                <a:lnTo>
                  <a:pt x="8" y="27"/>
                </a:lnTo>
                <a:lnTo>
                  <a:pt x="8" y="27"/>
                </a:lnTo>
                <a:close/>
                <a:moveTo>
                  <a:pt x="23" y="64"/>
                </a:moveTo>
                <a:lnTo>
                  <a:pt x="23" y="64"/>
                </a:lnTo>
                <a:lnTo>
                  <a:pt x="20" y="64"/>
                </a:lnTo>
                <a:lnTo>
                  <a:pt x="20" y="64"/>
                </a:lnTo>
                <a:lnTo>
                  <a:pt x="23" y="61"/>
                </a:lnTo>
                <a:lnTo>
                  <a:pt x="23" y="61"/>
                </a:lnTo>
                <a:lnTo>
                  <a:pt x="20" y="59"/>
                </a:lnTo>
                <a:lnTo>
                  <a:pt x="20" y="59"/>
                </a:lnTo>
                <a:lnTo>
                  <a:pt x="18" y="59"/>
                </a:lnTo>
                <a:lnTo>
                  <a:pt x="18" y="59"/>
                </a:lnTo>
                <a:lnTo>
                  <a:pt x="20" y="59"/>
                </a:lnTo>
                <a:lnTo>
                  <a:pt x="20" y="59"/>
                </a:lnTo>
                <a:lnTo>
                  <a:pt x="20" y="56"/>
                </a:lnTo>
                <a:lnTo>
                  <a:pt x="20" y="56"/>
                </a:lnTo>
                <a:lnTo>
                  <a:pt x="20" y="54"/>
                </a:lnTo>
                <a:lnTo>
                  <a:pt x="20" y="54"/>
                </a:lnTo>
                <a:lnTo>
                  <a:pt x="20" y="54"/>
                </a:lnTo>
                <a:lnTo>
                  <a:pt x="20" y="51"/>
                </a:lnTo>
                <a:lnTo>
                  <a:pt x="20" y="51"/>
                </a:lnTo>
                <a:lnTo>
                  <a:pt x="25" y="49"/>
                </a:lnTo>
                <a:lnTo>
                  <a:pt x="25" y="49"/>
                </a:lnTo>
                <a:lnTo>
                  <a:pt x="25" y="47"/>
                </a:lnTo>
                <a:lnTo>
                  <a:pt x="25" y="47"/>
                </a:lnTo>
                <a:lnTo>
                  <a:pt x="28" y="44"/>
                </a:lnTo>
                <a:lnTo>
                  <a:pt x="28" y="44"/>
                </a:lnTo>
                <a:lnTo>
                  <a:pt x="28" y="44"/>
                </a:lnTo>
                <a:lnTo>
                  <a:pt x="30" y="44"/>
                </a:lnTo>
                <a:lnTo>
                  <a:pt x="30" y="44"/>
                </a:lnTo>
                <a:lnTo>
                  <a:pt x="30" y="39"/>
                </a:lnTo>
                <a:lnTo>
                  <a:pt x="30" y="39"/>
                </a:lnTo>
                <a:lnTo>
                  <a:pt x="30" y="37"/>
                </a:lnTo>
                <a:lnTo>
                  <a:pt x="30" y="37"/>
                </a:lnTo>
                <a:lnTo>
                  <a:pt x="32" y="34"/>
                </a:lnTo>
                <a:lnTo>
                  <a:pt x="32" y="34"/>
                </a:lnTo>
                <a:lnTo>
                  <a:pt x="35" y="34"/>
                </a:lnTo>
                <a:lnTo>
                  <a:pt x="35" y="34"/>
                </a:lnTo>
                <a:lnTo>
                  <a:pt x="35" y="37"/>
                </a:lnTo>
                <a:lnTo>
                  <a:pt x="35" y="37"/>
                </a:lnTo>
                <a:lnTo>
                  <a:pt x="37" y="37"/>
                </a:lnTo>
                <a:lnTo>
                  <a:pt x="37" y="37"/>
                </a:lnTo>
                <a:lnTo>
                  <a:pt x="37" y="37"/>
                </a:lnTo>
                <a:lnTo>
                  <a:pt x="40" y="34"/>
                </a:lnTo>
                <a:lnTo>
                  <a:pt x="40" y="34"/>
                </a:lnTo>
                <a:lnTo>
                  <a:pt x="40" y="32"/>
                </a:lnTo>
                <a:lnTo>
                  <a:pt x="40" y="32"/>
                </a:lnTo>
                <a:lnTo>
                  <a:pt x="37" y="29"/>
                </a:lnTo>
                <a:lnTo>
                  <a:pt x="37" y="29"/>
                </a:lnTo>
                <a:lnTo>
                  <a:pt x="35" y="32"/>
                </a:lnTo>
                <a:lnTo>
                  <a:pt x="35" y="32"/>
                </a:lnTo>
                <a:lnTo>
                  <a:pt x="32" y="32"/>
                </a:lnTo>
                <a:lnTo>
                  <a:pt x="32" y="32"/>
                </a:lnTo>
                <a:lnTo>
                  <a:pt x="30" y="29"/>
                </a:lnTo>
                <a:lnTo>
                  <a:pt x="30" y="29"/>
                </a:lnTo>
                <a:lnTo>
                  <a:pt x="30" y="27"/>
                </a:lnTo>
                <a:lnTo>
                  <a:pt x="30" y="27"/>
                </a:lnTo>
                <a:lnTo>
                  <a:pt x="28" y="27"/>
                </a:lnTo>
                <a:lnTo>
                  <a:pt x="28" y="27"/>
                </a:lnTo>
                <a:lnTo>
                  <a:pt x="28" y="24"/>
                </a:lnTo>
                <a:lnTo>
                  <a:pt x="28" y="24"/>
                </a:lnTo>
                <a:lnTo>
                  <a:pt x="28" y="22"/>
                </a:lnTo>
                <a:lnTo>
                  <a:pt x="28" y="22"/>
                </a:lnTo>
                <a:lnTo>
                  <a:pt x="25" y="19"/>
                </a:lnTo>
                <a:lnTo>
                  <a:pt x="25" y="19"/>
                </a:lnTo>
                <a:lnTo>
                  <a:pt x="20" y="19"/>
                </a:lnTo>
                <a:lnTo>
                  <a:pt x="20" y="19"/>
                </a:lnTo>
                <a:lnTo>
                  <a:pt x="18" y="19"/>
                </a:lnTo>
                <a:lnTo>
                  <a:pt x="18" y="19"/>
                </a:lnTo>
                <a:lnTo>
                  <a:pt x="15" y="19"/>
                </a:lnTo>
                <a:lnTo>
                  <a:pt x="15" y="19"/>
                </a:lnTo>
                <a:lnTo>
                  <a:pt x="15" y="22"/>
                </a:lnTo>
                <a:lnTo>
                  <a:pt x="15" y="22"/>
                </a:lnTo>
                <a:lnTo>
                  <a:pt x="18" y="24"/>
                </a:lnTo>
                <a:lnTo>
                  <a:pt x="18" y="24"/>
                </a:lnTo>
                <a:lnTo>
                  <a:pt x="18" y="27"/>
                </a:lnTo>
                <a:lnTo>
                  <a:pt x="18" y="27"/>
                </a:lnTo>
                <a:lnTo>
                  <a:pt x="20" y="29"/>
                </a:lnTo>
                <a:lnTo>
                  <a:pt x="20" y="29"/>
                </a:lnTo>
                <a:lnTo>
                  <a:pt x="20" y="29"/>
                </a:lnTo>
                <a:lnTo>
                  <a:pt x="18" y="29"/>
                </a:lnTo>
                <a:lnTo>
                  <a:pt x="18" y="29"/>
                </a:lnTo>
                <a:lnTo>
                  <a:pt x="15" y="29"/>
                </a:lnTo>
                <a:lnTo>
                  <a:pt x="15" y="29"/>
                </a:lnTo>
                <a:lnTo>
                  <a:pt x="13" y="29"/>
                </a:lnTo>
                <a:lnTo>
                  <a:pt x="13" y="29"/>
                </a:lnTo>
                <a:lnTo>
                  <a:pt x="15" y="27"/>
                </a:lnTo>
                <a:lnTo>
                  <a:pt x="15" y="27"/>
                </a:lnTo>
                <a:lnTo>
                  <a:pt x="13" y="24"/>
                </a:lnTo>
                <a:lnTo>
                  <a:pt x="13" y="24"/>
                </a:lnTo>
                <a:lnTo>
                  <a:pt x="13" y="24"/>
                </a:lnTo>
                <a:lnTo>
                  <a:pt x="10" y="27"/>
                </a:lnTo>
                <a:lnTo>
                  <a:pt x="10" y="27"/>
                </a:lnTo>
                <a:lnTo>
                  <a:pt x="13" y="29"/>
                </a:lnTo>
                <a:lnTo>
                  <a:pt x="13" y="29"/>
                </a:lnTo>
                <a:lnTo>
                  <a:pt x="10" y="32"/>
                </a:lnTo>
                <a:lnTo>
                  <a:pt x="10" y="32"/>
                </a:lnTo>
                <a:lnTo>
                  <a:pt x="8" y="29"/>
                </a:lnTo>
                <a:lnTo>
                  <a:pt x="8" y="29"/>
                </a:lnTo>
                <a:lnTo>
                  <a:pt x="5" y="29"/>
                </a:lnTo>
                <a:lnTo>
                  <a:pt x="5" y="29"/>
                </a:lnTo>
                <a:lnTo>
                  <a:pt x="3" y="27"/>
                </a:lnTo>
                <a:lnTo>
                  <a:pt x="3" y="27"/>
                </a:lnTo>
                <a:lnTo>
                  <a:pt x="0" y="29"/>
                </a:lnTo>
                <a:lnTo>
                  <a:pt x="0" y="29"/>
                </a:lnTo>
                <a:lnTo>
                  <a:pt x="5" y="32"/>
                </a:lnTo>
                <a:lnTo>
                  <a:pt x="5" y="32"/>
                </a:lnTo>
                <a:lnTo>
                  <a:pt x="5" y="37"/>
                </a:lnTo>
                <a:lnTo>
                  <a:pt x="5" y="37"/>
                </a:lnTo>
                <a:lnTo>
                  <a:pt x="3" y="34"/>
                </a:lnTo>
                <a:lnTo>
                  <a:pt x="3" y="34"/>
                </a:lnTo>
                <a:lnTo>
                  <a:pt x="0" y="34"/>
                </a:lnTo>
                <a:lnTo>
                  <a:pt x="0" y="34"/>
                </a:lnTo>
                <a:lnTo>
                  <a:pt x="0" y="39"/>
                </a:lnTo>
                <a:lnTo>
                  <a:pt x="0" y="39"/>
                </a:lnTo>
                <a:lnTo>
                  <a:pt x="3" y="39"/>
                </a:lnTo>
                <a:lnTo>
                  <a:pt x="3" y="39"/>
                </a:lnTo>
                <a:lnTo>
                  <a:pt x="3" y="44"/>
                </a:lnTo>
                <a:lnTo>
                  <a:pt x="3" y="44"/>
                </a:lnTo>
                <a:lnTo>
                  <a:pt x="5" y="44"/>
                </a:lnTo>
                <a:lnTo>
                  <a:pt x="5" y="44"/>
                </a:lnTo>
                <a:lnTo>
                  <a:pt x="0" y="47"/>
                </a:lnTo>
                <a:lnTo>
                  <a:pt x="0" y="47"/>
                </a:lnTo>
                <a:lnTo>
                  <a:pt x="0" y="51"/>
                </a:lnTo>
                <a:lnTo>
                  <a:pt x="0" y="51"/>
                </a:lnTo>
                <a:lnTo>
                  <a:pt x="0" y="51"/>
                </a:lnTo>
                <a:lnTo>
                  <a:pt x="3" y="51"/>
                </a:lnTo>
                <a:lnTo>
                  <a:pt x="3" y="51"/>
                </a:lnTo>
                <a:lnTo>
                  <a:pt x="8" y="54"/>
                </a:lnTo>
                <a:lnTo>
                  <a:pt x="8" y="54"/>
                </a:lnTo>
                <a:lnTo>
                  <a:pt x="8" y="59"/>
                </a:lnTo>
                <a:lnTo>
                  <a:pt x="8" y="59"/>
                </a:lnTo>
                <a:lnTo>
                  <a:pt x="8" y="59"/>
                </a:lnTo>
                <a:lnTo>
                  <a:pt x="8" y="61"/>
                </a:lnTo>
                <a:lnTo>
                  <a:pt x="8" y="61"/>
                </a:lnTo>
                <a:lnTo>
                  <a:pt x="10" y="61"/>
                </a:lnTo>
                <a:lnTo>
                  <a:pt x="10" y="61"/>
                </a:lnTo>
                <a:lnTo>
                  <a:pt x="18" y="64"/>
                </a:lnTo>
                <a:lnTo>
                  <a:pt x="18" y="64"/>
                </a:lnTo>
                <a:lnTo>
                  <a:pt x="23" y="6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6" name="Freeform 45"/>
          <p:cNvSpPr>
            <a:spLocks noEditPoints="1"/>
          </p:cNvSpPr>
          <p:nvPr/>
        </p:nvSpPr>
        <p:spPr bwMode="auto">
          <a:xfrm>
            <a:off x="4842098" y="2332714"/>
            <a:ext cx="510490" cy="554510"/>
          </a:xfrm>
          <a:custGeom>
            <a:avLst/>
            <a:gdLst/>
            <a:ahLst/>
            <a:cxnLst>
              <a:cxn ang="0">
                <a:pos x="300" y="44"/>
              </a:cxn>
              <a:cxn ang="0">
                <a:pos x="310" y="24"/>
              </a:cxn>
              <a:cxn ang="0">
                <a:pos x="286" y="15"/>
              </a:cxn>
              <a:cxn ang="0">
                <a:pos x="273" y="15"/>
              </a:cxn>
              <a:cxn ang="0">
                <a:pos x="263" y="2"/>
              </a:cxn>
              <a:cxn ang="0">
                <a:pos x="251" y="27"/>
              </a:cxn>
              <a:cxn ang="0">
                <a:pos x="236" y="24"/>
              </a:cxn>
              <a:cxn ang="0">
                <a:pos x="224" y="12"/>
              </a:cxn>
              <a:cxn ang="0">
                <a:pos x="219" y="39"/>
              </a:cxn>
              <a:cxn ang="0">
                <a:pos x="200" y="42"/>
              </a:cxn>
              <a:cxn ang="0">
                <a:pos x="182" y="59"/>
              </a:cxn>
              <a:cxn ang="0">
                <a:pos x="172" y="64"/>
              </a:cxn>
              <a:cxn ang="0">
                <a:pos x="155" y="69"/>
              </a:cxn>
              <a:cxn ang="0">
                <a:pos x="136" y="88"/>
              </a:cxn>
              <a:cxn ang="0">
                <a:pos x="136" y="98"/>
              </a:cxn>
              <a:cxn ang="0">
                <a:pos x="123" y="108"/>
              </a:cxn>
              <a:cxn ang="0">
                <a:pos x="118" y="123"/>
              </a:cxn>
              <a:cxn ang="0">
                <a:pos x="106" y="138"/>
              </a:cxn>
              <a:cxn ang="0">
                <a:pos x="109" y="155"/>
              </a:cxn>
              <a:cxn ang="0">
                <a:pos x="99" y="172"/>
              </a:cxn>
              <a:cxn ang="0">
                <a:pos x="89" y="192"/>
              </a:cxn>
              <a:cxn ang="0">
                <a:pos x="67" y="214"/>
              </a:cxn>
              <a:cxn ang="0">
                <a:pos x="81" y="214"/>
              </a:cxn>
              <a:cxn ang="0">
                <a:pos x="64" y="226"/>
              </a:cxn>
              <a:cxn ang="0">
                <a:pos x="52" y="241"/>
              </a:cxn>
              <a:cxn ang="0">
                <a:pos x="30" y="241"/>
              </a:cxn>
              <a:cxn ang="0">
                <a:pos x="25" y="251"/>
              </a:cxn>
              <a:cxn ang="0">
                <a:pos x="8" y="261"/>
              </a:cxn>
              <a:cxn ang="0">
                <a:pos x="3" y="268"/>
              </a:cxn>
              <a:cxn ang="0">
                <a:pos x="17" y="283"/>
              </a:cxn>
              <a:cxn ang="0">
                <a:pos x="30" y="290"/>
              </a:cxn>
              <a:cxn ang="0">
                <a:pos x="10" y="290"/>
              </a:cxn>
              <a:cxn ang="0">
                <a:pos x="25" y="300"/>
              </a:cxn>
              <a:cxn ang="0">
                <a:pos x="17" y="320"/>
              </a:cxn>
              <a:cxn ang="0">
                <a:pos x="22" y="337"/>
              </a:cxn>
              <a:cxn ang="0">
                <a:pos x="30" y="354"/>
              </a:cxn>
              <a:cxn ang="0">
                <a:pos x="62" y="344"/>
              </a:cxn>
              <a:cxn ang="0">
                <a:pos x="74" y="334"/>
              </a:cxn>
              <a:cxn ang="0">
                <a:pos x="91" y="332"/>
              </a:cxn>
              <a:cxn ang="0">
                <a:pos x="106" y="283"/>
              </a:cxn>
              <a:cxn ang="0">
                <a:pos x="113" y="197"/>
              </a:cxn>
              <a:cxn ang="0">
                <a:pos x="143" y="108"/>
              </a:cxn>
              <a:cxn ang="0">
                <a:pos x="180" y="86"/>
              </a:cxn>
              <a:cxn ang="0">
                <a:pos x="197" y="61"/>
              </a:cxn>
              <a:cxn ang="0">
                <a:pos x="249" y="59"/>
              </a:cxn>
              <a:cxn ang="0">
                <a:pos x="293" y="54"/>
              </a:cxn>
              <a:cxn ang="0">
                <a:pos x="3" y="295"/>
              </a:cxn>
              <a:cxn ang="0">
                <a:pos x="0" y="265"/>
              </a:cxn>
              <a:cxn ang="0">
                <a:pos x="42" y="233"/>
              </a:cxn>
              <a:cxn ang="0">
                <a:pos x="47" y="226"/>
              </a:cxn>
              <a:cxn ang="0">
                <a:pos x="89" y="165"/>
              </a:cxn>
              <a:cxn ang="0">
                <a:pos x="99" y="103"/>
              </a:cxn>
              <a:cxn ang="0">
                <a:pos x="118" y="93"/>
              </a:cxn>
              <a:cxn ang="0">
                <a:pos x="126" y="74"/>
              </a:cxn>
              <a:cxn ang="0">
                <a:pos x="123" y="86"/>
              </a:cxn>
              <a:cxn ang="0">
                <a:pos x="145" y="76"/>
              </a:cxn>
              <a:cxn ang="0">
                <a:pos x="150" y="54"/>
              </a:cxn>
              <a:cxn ang="0">
                <a:pos x="160" y="37"/>
              </a:cxn>
              <a:cxn ang="0">
                <a:pos x="172" y="37"/>
              </a:cxn>
              <a:cxn ang="0">
                <a:pos x="209" y="27"/>
              </a:cxn>
              <a:cxn ang="0">
                <a:pos x="207" y="22"/>
              </a:cxn>
              <a:cxn ang="0">
                <a:pos x="236" y="2"/>
              </a:cxn>
            </a:cxnLst>
            <a:rect l="0" t="0" r="r" b="b"/>
            <a:pathLst>
              <a:path w="313" h="361">
                <a:moveTo>
                  <a:pt x="291" y="64"/>
                </a:moveTo>
                <a:lnTo>
                  <a:pt x="291" y="64"/>
                </a:lnTo>
                <a:lnTo>
                  <a:pt x="293" y="64"/>
                </a:lnTo>
                <a:lnTo>
                  <a:pt x="293" y="64"/>
                </a:lnTo>
                <a:lnTo>
                  <a:pt x="293" y="59"/>
                </a:lnTo>
                <a:lnTo>
                  <a:pt x="293" y="59"/>
                </a:lnTo>
                <a:lnTo>
                  <a:pt x="298" y="54"/>
                </a:lnTo>
                <a:lnTo>
                  <a:pt x="298" y="54"/>
                </a:lnTo>
                <a:lnTo>
                  <a:pt x="300" y="54"/>
                </a:lnTo>
                <a:lnTo>
                  <a:pt x="300" y="54"/>
                </a:lnTo>
                <a:lnTo>
                  <a:pt x="303" y="51"/>
                </a:lnTo>
                <a:lnTo>
                  <a:pt x="303" y="51"/>
                </a:lnTo>
                <a:lnTo>
                  <a:pt x="303" y="47"/>
                </a:lnTo>
                <a:lnTo>
                  <a:pt x="303" y="47"/>
                </a:lnTo>
                <a:lnTo>
                  <a:pt x="305" y="47"/>
                </a:lnTo>
                <a:lnTo>
                  <a:pt x="305" y="47"/>
                </a:lnTo>
                <a:lnTo>
                  <a:pt x="308" y="47"/>
                </a:lnTo>
                <a:lnTo>
                  <a:pt x="308" y="47"/>
                </a:lnTo>
                <a:lnTo>
                  <a:pt x="310" y="44"/>
                </a:lnTo>
                <a:lnTo>
                  <a:pt x="310" y="44"/>
                </a:lnTo>
                <a:lnTo>
                  <a:pt x="310" y="42"/>
                </a:lnTo>
                <a:lnTo>
                  <a:pt x="310" y="42"/>
                </a:lnTo>
                <a:lnTo>
                  <a:pt x="310" y="42"/>
                </a:lnTo>
                <a:lnTo>
                  <a:pt x="308" y="39"/>
                </a:lnTo>
                <a:lnTo>
                  <a:pt x="308" y="39"/>
                </a:lnTo>
                <a:lnTo>
                  <a:pt x="305" y="39"/>
                </a:lnTo>
                <a:lnTo>
                  <a:pt x="305" y="39"/>
                </a:lnTo>
                <a:lnTo>
                  <a:pt x="305" y="42"/>
                </a:lnTo>
                <a:lnTo>
                  <a:pt x="305" y="42"/>
                </a:lnTo>
                <a:lnTo>
                  <a:pt x="305" y="42"/>
                </a:lnTo>
                <a:lnTo>
                  <a:pt x="303" y="42"/>
                </a:lnTo>
                <a:lnTo>
                  <a:pt x="303" y="42"/>
                </a:lnTo>
                <a:lnTo>
                  <a:pt x="303" y="39"/>
                </a:lnTo>
                <a:lnTo>
                  <a:pt x="303" y="39"/>
                </a:lnTo>
                <a:lnTo>
                  <a:pt x="300" y="39"/>
                </a:lnTo>
                <a:lnTo>
                  <a:pt x="300" y="39"/>
                </a:lnTo>
                <a:lnTo>
                  <a:pt x="303" y="42"/>
                </a:lnTo>
                <a:lnTo>
                  <a:pt x="303" y="42"/>
                </a:lnTo>
                <a:lnTo>
                  <a:pt x="300" y="44"/>
                </a:lnTo>
                <a:lnTo>
                  <a:pt x="300" y="44"/>
                </a:lnTo>
                <a:lnTo>
                  <a:pt x="300" y="44"/>
                </a:lnTo>
                <a:lnTo>
                  <a:pt x="298" y="42"/>
                </a:lnTo>
                <a:lnTo>
                  <a:pt x="298" y="42"/>
                </a:lnTo>
                <a:lnTo>
                  <a:pt x="295" y="44"/>
                </a:lnTo>
                <a:lnTo>
                  <a:pt x="295" y="44"/>
                </a:lnTo>
                <a:lnTo>
                  <a:pt x="295" y="44"/>
                </a:lnTo>
                <a:lnTo>
                  <a:pt x="295" y="42"/>
                </a:lnTo>
                <a:lnTo>
                  <a:pt x="295" y="42"/>
                </a:lnTo>
                <a:lnTo>
                  <a:pt x="295" y="39"/>
                </a:lnTo>
                <a:lnTo>
                  <a:pt x="295" y="39"/>
                </a:lnTo>
                <a:lnTo>
                  <a:pt x="293" y="39"/>
                </a:lnTo>
                <a:lnTo>
                  <a:pt x="293" y="39"/>
                </a:lnTo>
                <a:lnTo>
                  <a:pt x="293" y="37"/>
                </a:lnTo>
                <a:lnTo>
                  <a:pt x="293" y="37"/>
                </a:lnTo>
                <a:lnTo>
                  <a:pt x="291" y="34"/>
                </a:lnTo>
                <a:lnTo>
                  <a:pt x="291" y="34"/>
                </a:lnTo>
                <a:lnTo>
                  <a:pt x="288" y="34"/>
                </a:lnTo>
                <a:lnTo>
                  <a:pt x="288" y="34"/>
                </a:lnTo>
                <a:lnTo>
                  <a:pt x="286" y="34"/>
                </a:lnTo>
                <a:lnTo>
                  <a:pt x="286" y="34"/>
                </a:lnTo>
                <a:lnTo>
                  <a:pt x="283" y="34"/>
                </a:lnTo>
                <a:lnTo>
                  <a:pt x="283" y="34"/>
                </a:lnTo>
                <a:lnTo>
                  <a:pt x="281" y="32"/>
                </a:lnTo>
                <a:lnTo>
                  <a:pt x="281" y="32"/>
                </a:lnTo>
                <a:lnTo>
                  <a:pt x="281" y="32"/>
                </a:lnTo>
                <a:lnTo>
                  <a:pt x="286" y="32"/>
                </a:lnTo>
                <a:lnTo>
                  <a:pt x="286" y="32"/>
                </a:lnTo>
                <a:lnTo>
                  <a:pt x="291" y="32"/>
                </a:lnTo>
                <a:lnTo>
                  <a:pt x="291" y="32"/>
                </a:lnTo>
                <a:lnTo>
                  <a:pt x="293" y="32"/>
                </a:lnTo>
                <a:lnTo>
                  <a:pt x="293" y="32"/>
                </a:lnTo>
                <a:lnTo>
                  <a:pt x="298" y="34"/>
                </a:lnTo>
                <a:lnTo>
                  <a:pt x="298" y="34"/>
                </a:lnTo>
                <a:lnTo>
                  <a:pt x="303" y="32"/>
                </a:lnTo>
                <a:lnTo>
                  <a:pt x="303" y="32"/>
                </a:lnTo>
                <a:lnTo>
                  <a:pt x="305" y="27"/>
                </a:lnTo>
                <a:lnTo>
                  <a:pt x="305" y="27"/>
                </a:lnTo>
                <a:lnTo>
                  <a:pt x="310" y="24"/>
                </a:lnTo>
                <a:lnTo>
                  <a:pt x="310" y="24"/>
                </a:lnTo>
                <a:lnTo>
                  <a:pt x="313" y="22"/>
                </a:lnTo>
                <a:lnTo>
                  <a:pt x="313" y="22"/>
                </a:lnTo>
                <a:lnTo>
                  <a:pt x="313" y="22"/>
                </a:lnTo>
                <a:lnTo>
                  <a:pt x="313" y="22"/>
                </a:lnTo>
                <a:lnTo>
                  <a:pt x="310" y="19"/>
                </a:lnTo>
                <a:lnTo>
                  <a:pt x="310" y="19"/>
                </a:lnTo>
                <a:lnTo>
                  <a:pt x="310" y="19"/>
                </a:lnTo>
                <a:lnTo>
                  <a:pt x="308" y="19"/>
                </a:lnTo>
                <a:lnTo>
                  <a:pt x="308" y="19"/>
                </a:lnTo>
                <a:lnTo>
                  <a:pt x="303" y="17"/>
                </a:lnTo>
                <a:lnTo>
                  <a:pt x="303" y="17"/>
                </a:lnTo>
                <a:lnTo>
                  <a:pt x="300" y="17"/>
                </a:lnTo>
                <a:lnTo>
                  <a:pt x="300" y="17"/>
                </a:lnTo>
                <a:lnTo>
                  <a:pt x="298" y="19"/>
                </a:lnTo>
                <a:lnTo>
                  <a:pt x="298" y="19"/>
                </a:lnTo>
                <a:lnTo>
                  <a:pt x="298" y="19"/>
                </a:lnTo>
                <a:lnTo>
                  <a:pt x="295" y="17"/>
                </a:lnTo>
                <a:lnTo>
                  <a:pt x="295" y="17"/>
                </a:lnTo>
                <a:lnTo>
                  <a:pt x="298" y="17"/>
                </a:lnTo>
                <a:lnTo>
                  <a:pt x="298" y="17"/>
                </a:lnTo>
                <a:lnTo>
                  <a:pt x="298" y="15"/>
                </a:lnTo>
                <a:lnTo>
                  <a:pt x="298" y="15"/>
                </a:lnTo>
                <a:lnTo>
                  <a:pt x="295" y="12"/>
                </a:lnTo>
                <a:lnTo>
                  <a:pt x="295" y="12"/>
                </a:lnTo>
                <a:lnTo>
                  <a:pt x="295" y="12"/>
                </a:lnTo>
                <a:lnTo>
                  <a:pt x="293" y="12"/>
                </a:lnTo>
                <a:lnTo>
                  <a:pt x="293" y="12"/>
                </a:lnTo>
                <a:lnTo>
                  <a:pt x="291" y="17"/>
                </a:lnTo>
                <a:lnTo>
                  <a:pt x="291" y="17"/>
                </a:lnTo>
                <a:lnTo>
                  <a:pt x="291" y="17"/>
                </a:lnTo>
                <a:lnTo>
                  <a:pt x="291" y="15"/>
                </a:lnTo>
                <a:lnTo>
                  <a:pt x="291" y="15"/>
                </a:lnTo>
                <a:lnTo>
                  <a:pt x="288" y="15"/>
                </a:lnTo>
                <a:lnTo>
                  <a:pt x="288" y="15"/>
                </a:lnTo>
                <a:lnTo>
                  <a:pt x="288" y="15"/>
                </a:lnTo>
                <a:lnTo>
                  <a:pt x="286" y="15"/>
                </a:lnTo>
                <a:lnTo>
                  <a:pt x="286" y="15"/>
                </a:lnTo>
                <a:lnTo>
                  <a:pt x="286" y="15"/>
                </a:lnTo>
                <a:lnTo>
                  <a:pt x="288" y="12"/>
                </a:lnTo>
                <a:lnTo>
                  <a:pt x="288" y="12"/>
                </a:lnTo>
                <a:lnTo>
                  <a:pt x="288" y="10"/>
                </a:lnTo>
                <a:lnTo>
                  <a:pt x="288" y="10"/>
                </a:lnTo>
                <a:lnTo>
                  <a:pt x="286" y="10"/>
                </a:lnTo>
                <a:lnTo>
                  <a:pt x="286" y="10"/>
                </a:lnTo>
                <a:lnTo>
                  <a:pt x="283" y="10"/>
                </a:lnTo>
                <a:lnTo>
                  <a:pt x="283" y="10"/>
                </a:lnTo>
                <a:lnTo>
                  <a:pt x="281" y="10"/>
                </a:lnTo>
                <a:lnTo>
                  <a:pt x="281" y="10"/>
                </a:lnTo>
                <a:lnTo>
                  <a:pt x="281" y="15"/>
                </a:lnTo>
                <a:lnTo>
                  <a:pt x="281" y="15"/>
                </a:lnTo>
                <a:lnTo>
                  <a:pt x="278" y="15"/>
                </a:lnTo>
                <a:lnTo>
                  <a:pt x="278" y="15"/>
                </a:lnTo>
                <a:lnTo>
                  <a:pt x="278" y="17"/>
                </a:lnTo>
                <a:lnTo>
                  <a:pt x="278" y="17"/>
                </a:lnTo>
                <a:lnTo>
                  <a:pt x="281" y="22"/>
                </a:lnTo>
                <a:lnTo>
                  <a:pt x="281" y="22"/>
                </a:lnTo>
                <a:lnTo>
                  <a:pt x="278" y="22"/>
                </a:lnTo>
                <a:lnTo>
                  <a:pt x="278" y="22"/>
                </a:lnTo>
                <a:lnTo>
                  <a:pt x="278" y="24"/>
                </a:lnTo>
                <a:lnTo>
                  <a:pt x="278" y="24"/>
                </a:lnTo>
                <a:lnTo>
                  <a:pt x="276" y="22"/>
                </a:lnTo>
                <a:lnTo>
                  <a:pt x="276" y="22"/>
                </a:lnTo>
                <a:lnTo>
                  <a:pt x="276" y="22"/>
                </a:lnTo>
                <a:lnTo>
                  <a:pt x="273" y="22"/>
                </a:lnTo>
                <a:lnTo>
                  <a:pt x="273" y="22"/>
                </a:lnTo>
                <a:lnTo>
                  <a:pt x="271" y="22"/>
                </a:lnTo>
                <a:lnTo>
                  <a:pt x="271" y="22"/>
                </a:lnTo>
                <a:lnTo>
                  <a:pt x="268" y="24"/>
                </a:lnTo>
                <a:lnTo>
                  <a:pt x="268" y="24"/>
                </a:lnTo>
                <a:lnTo>
                  <a:pt x="271" y="19"/>
                </a:lnTo>
                <a:lnTo>
                  <a:pt x="271" y="19"/>
                </a:lnTo>
                <a:lnTo>
                  <a:pt x="273" y="19"/>
                </a:lnTo>
                <a:lnTo>
                  <a:pt x="273" y="19"/>
                </a:lnTo>
                <a:lnTo>
                  <a:pt x="273" y="17"/>
                </a:lnTo>
                <a:lnTo>
                  <a:pt x="273" y="17"/>
                </a:lnTo>
                <a:lnTo>
                  <a:pt x="273" y="15"/>
                </a:lnTo>
                <a:lnTo>
                  <a:pt x="273" y="15"/>
                </a:lnTo>
                <a:lnTo>
                  <a:pt x="273" y="15"/>
                </a:lnTo>
                <a:lnTo>
                  <a:pt x="271" y="17"/>
                </a:lnTo>
                <a:lnTo>
                  <a:pt x="271" y="17"/>
                </a:lnTo>
                <a:lnTo>
                  <a:pt x="268" y="17"/>
                </a:lnTo>
                <a:lnTo>
                  <a:pt x="268" y="17"/>
                </a:lnTo>
                <a:lnTo>
                  <a:pt x="268" y="15"/>
                </a:lnTo>
                <a:lnTo>
                  <a:pt x="268" y="15"/>
                </a:lnTo>
                <a:lnTo>
                  <a:pt x="271" y="15"/>
                </a:lnTo>
                <a:lnTo>
                  <a:pt x="271" y="15"/>
                </a:lnTo>
                <a:lnTo>
                  <a:pt x="271" y="12"/>
                </a:lnTo>
                <a:lnTo>
                  <a:pt x="271" y="12"/>
                </a:lnTo>
                <a:lnTo>
                  <a:pt x="268" y="12"/>
                </a:lnTo>
                <a:lnTo>
                  <a:pt x="268" y="12"/>
                </a:lnTo>
                <a:lnTo>
                  <a:pt x="268" y="10"/>
                </a:lnTo>
                <a:lnTo>
                  <a:pt x="268" y="10"/>
                </a:lnTo>
                <a:lnTo>
                  <a:pt x="271" y="10"/>
                </a:lnTo>
                <a:lnTo>
                  <a:pt x="271" y="10"/>
                </a:lnTo>
                <a:lnTo>
                  <a:pt x="271" y="10"/>
                </a:lnTo>
                <a:lnTo>
                  <a:pt x="273" y="10"/>
                </a:lnTo>
                <a:lnTo>
                  <a:pt x="273" y="10"/>
                </a:lnTo>
                <a:lnTo>
                  <a:pt x="276" y="5"/>
                </a:lnTo>
                <a:lnTo>
                  <a:pt x="276" y="5"/>
                </a:lnTo>
                <a:lnTo>
                  <a:pt x="276" y="5"/>
                </a:lnTo>
                <a:lnTo>
                  <a:pt x="273" y="5"/>
                </a:lnTo>
                <a:lnTo>
                  <a:pt x="273" y="5"/>
                </a:lnTo>
                <a:lnTo>
                  <a:pt x="271" y="5"/>
                </a:lnTo>
                <a:lnTo>
                  <a:pt x="271" y="5"/>
                </a:lnTo>
                <a:lnTo>
                  <a:pt x="271" y="2"/>
                </a:lnTo>
                <a:lnTo>
                  <a:pt x="271" y="2"/>
                </a:lnTo>
                <a:lnTo>
                  <a:pt x="271" y="0"/>
                </a:lnTo>
                <a:lnTo>
                  <a:pt x="271" y="0"/>
                </a:lnTo>
                <a:lnTo>
                  <a:pt x="268" y="2"/>
                </a:lnTo>
                <a:lnTo>
                  <a:pt x="268" y="2"/>
                </a:lnTo>
                <a:lnTo>
                  <a:pt x="266" y="0"/>
                </a:lnTo>
                <a:lnTo>
                  <a:pt x="266" y="0"/>
                </a:lnTo>
                <a:lnTo>
                  <a:pt x="266" y="0"/>
                </a:lnTo>
                <a:lnTo>
                  <a:pt x="263" y="2"/>
                </a:lnTo>
                <a:lnTo>
                  <a:pt x="263" y="2"/>
                </a:lnTo>
                <a:lnTo>
                  <a:pt x="263" y="2"/>
                </a:lnTo>
                <a:lnTo>
                  <a:pt x="266" y="5"/>
                </a:lnTo>
                <a:lnTo>
                  <a:pt x="266" y="5"/>
                </a:lnTo>
                <a:lnTo>
                  <a:pt x="263" y="7"/>
                </a:lnTo>
                <a:lnTo>
                  <a:pt x="263" y="7"/>
                </a:lnTo>
                <a:lnTo>
                  <a:pt x="263" y="7"/>
                </a:lnTo>
                <a:lnTo>
                  <a:pt x="261" y="5"/>
                </a:lnTo>
                <a:lnTo>
                  <a:pt x="261" y="5"/>
                </a:lnTo>
                <a:lnTo>
                  <a:pt x="259" y="5"/>
                </a:lnTo>
                <a:lnTo>
                  <a:pt x="259" y="5"/>
                </a:lnTo>
                <a:lnTo>
                  <a:pt x="259" y="7"/>
                </a:lnTo>
                <a:lnTo>
                  <a:pt x="259" y="7"/>
                </a:lnTo>
                <a:lnTo>
                  <a:pt x="259" y="10"/>
                </a:lnTo>
                <a:lnTo>
                  <a:pt x="259" y="10"/>
                </a:lnTo>
                <a:lnTo>
                  <a:pt x="261" y="10"/>
                </a:lnTo>
                <a:lnTo>
                  <a:pt x="261" y="10"/>
                </a:lnTo>
                <a:lnTo>
                  <a:pt x="261" y="10"/>
                </a:lnTo>
                <a:lnTo>
                  <a:pt x="261" y="12"/>
                </a:lnTo>
                <a:lnTo>
                  <a:pt x="261" y="12"/>
                </a:lnTo>
                <a:lnTo>
                  <a:pt x="261" y="12"/>
                </a:lnTo>
                <a:lnTo>
                  <a:pt x="261" y="15"/>
                </a:lnTo>
                <a:lnTo>
                  <a:pt x="261" y="15"/>
                </a:lnTo>
                <a:lnTo>
                  <a:pt x="259" y="15"/>
                </a:lnTo>
                <a:lnTo>
                  <a:pt x="259" y="15"/>
                </a:lnTo>
                <a:lnTo>
                  <a:pt x="259" y="17"/>
                </a:lnTo>
                <a:lnTo>
                  <a:pt x="259" y="17"/>
                </a:lnTo>
                <a:lnTo>
                  <a:pt x="259" y="19"/>
                </a:lnTo>
                <a:lnTo>
                  <a:pt x="259" y="19"/>
                </a:lnTo>
                <a:lnTo>
                  <a:pt x="256" y="19"/>
                </a:lnTo>
                <a:lnTo>
                  <a:pt x="256" y="19"/>
                </a:lnTo>
                <a:lnTo>
                  <a:pt x="259" y="22"/>
                </a:lnTo>
                <a:lnTo>
                  <a:pt x="259" y="22"/>
                </a:lnTo>
                <a:lnTo>
                  <a:pt x="256" y="24"/>
                </a:lnTo>
                <a:lnTo>
                  <a:pt x="256" y="24"/>
                </a:lnTo>
                <a:lnTo>
                  <a:pt x="256" y="22"/>
                </a:lnTo>
                <a:lnTo>
                  <a:pt x="256" y="22"/>
                </a:lnTo>
                <a:lnTo>
                  <a:pt x="254" y="24"/>
                </a:lnTo>
                <a:lnTo>
                  <a:pt x="254" y="24"/>
                </a:lnTo>
                <a:lnTo>
                  <a:pt x="254" y="24"/>
                </a:lnTo>
                <a:lnTo>
                  <a:pt x="251" y="27"/>
                </a:lnTo>
                <a:lnTo>
                  <a:pt x="251" y="27"/>
                </a:lnTo>
                <a:lnTo>
                  <a:pt x="251" y="22"/>
                </a:lnTo>
                <a:lnTo>
                  <a:pt x="251" y="22"/>
                </a:lnTo>
                <a:lnTo>
                  <a:pt x="254" y="17"/>
                </a:lnTo>
                <a:lnTo>
                  <a:pt x="254" y="17"/>
                </a:lnTo>
                <a:lnTo>
                  <a:pt x="251" y="17"/>
                </a:lnTo>
                <a:lnTo>
                  <a:pt x="251" y="17"/>
                </a:lnTo>
                <a:lnTo>
                  <a:pt x="251" y="15"/>
                </a:lnTo>
                <a:lnTo>
                  <a:pt x="251" y="15"/>
                </a:lnTo>
                <a:lnTo>
                  <a:pt x="254" y="15"/>
                </a:lnTo>
                <a:lnTo>
                  <a:pt x="254" y="15"/>
                </a:lnTo>
                <a:lnTo>
                  <a:pt x="254" y="10"/>
                </a:lnTo>
                <a:lnTo>
                  <a:pt x="254" y="10"/>
                </a:lnTo>
                <a:lnTo>
                  <a:pt x="251" y="7"/>
                </a:lnTo>
                <a:lnTo>
                  <a:pt x="251" y="7"/>
                </a:lnTo>
                <a:lnTo>
                  <a:pt x="251" y="7"/>
                </a:lnTo>
                <a:lnTo>
                  <a:pt x="246" y="15"/>
                </a:lnTo>
                <a:lnTo>
                  <a:pt x="246" y="15"/>
                </a:lnTo>
                <a:lnTo>
                  <a:pt x="246" y="17"/>
                </a:lnTo>
                <a:lnTo>
                  <a:pt x="246" y="17"/>
                </a:lnTo>
                <a:lnTo>
                  <a:pt x="244" y="22"/>
                </a:lnTo>
                <a:lnTo>
                  <a:pt x="244" y="22"/>
                </a:lnTo>
                <a:lnTo>
                  <a:pt x="241" y="27"/>
                </a:lnTo>
                <a:lnTo>
                  <a:pt x="241" y="27"/>
                </a:lnTo>
                <a:lnTo>
                  <a:pt x="241" y="29"/>
                </a:lnTo>
                <a:lnTo>
                  <a:pt x="241" y="29"/>
                </a:lnTo>
                <a:lnTo>
                  <a:pt x="241" y="32"/>
                </a:lnTo>
                <a:lnTo>
                  <a:pt x="241" y="32"/>
                </a:lnTo>
                <a:lnTo>
                  <a:pt x="239" y="37"/>
                </a:lnTo>
                <a:lnTo>
                  <a:pt x="239" y="37"/>
                </a:lnTo>
                <a:lnTo>
                  <a:pt x="236" y="37"/>
                </a:lnTo>
                <a:lnTo>
                  <a:pt x="236" y="37"/>
                </a:lnTo>
                <a:lnTo>
                  <a:pt x="236" y="34"/>
                </a:lnTo>
                <a:lnTo>
                  <a:pt x="236" y="34"/>
                </a:lnTo>
                <a:lnTo>
                  <a:pt x="234" y="32"/>
                </a:lnTo>
                <a:lnTo>
                  <a:pt x="234" y="32"/>
                </a:lnTo>
                <a:lnTo>
                  <a:pt x="239" y="27"/>
                </a:lnTo>
                <a:lnTo>
                  <a:pt x="239" y="27"/>
                </a:lnTo>
                <a:lnTo>
                  <a:pt x="236" y="24"/>
                </a:lnTo>
                <a:lnTo>
                  <a:pt x="236" y="24"/>
                </a:lnTo>
                <a:lnTo>
                  <a:pt x="239" y="24"/>
                </a:lnTo>
                <a:lnTo>
                  <a:pt x="239" y="24"/>
                </a:lnTo>
                <a:lnTo>
                  <a:pt x="236" y="19"/>
                </a:lnTo>
                <a:lnTo>
                  <a:pt x="236" y="19"/>
                </a:lnTo>
                <a:lnTo>
                  <a:pt x="241" y="15"/>
                </a:lnTo>
                <a:lnTo>
                  <a:pt x="241" y="15"/>
                </a:lnTo>
                <a:lnTo>
                  <a:pt x="241" y="12"/>
                </a:lnTo>
                <a:lnTo>
                  <a:pt x="241" y="12"/>
                </a:lnTo>
                <a:lnTo>
                  <a:pt x="244" y="12"/>
                </a:lnTo>
                <a:lnTo>
                  <a:pt x="244" y="12"/>
                </a:lnTo>
                <a:lnTo>
                  <a:pt x="244" y="10"/>
                </a:lnTo>
                <a:lnTo>
                  <a:pt x="244" y="10"/>
                </a:lnTo>
                <a:lnTo>
                  <a:pt x="241" y="10"/>
                </a:lnTo>
                <a:lnTo>
                  <a:pt x="241" y="10"/>
                </a:lnTo>
                <a:lnTo>
                  <a:pt x="239" y="7"/>
                </a:lnTo>
                <a:lnTo>
                  <a:pt x="239" y="7"/>
                </a:lnTo>
                <a:lnTo>
                  <a:pt x="236" y="7"/>
                </a:lnTo>
                <a:lnTo>
                  <a:pt x="236" y="7"/>
                </a:lnTo>
                <a:lnTo>
                  <a:pt x="236" y="10"/>
                </a:lnTo>
                <a:lnTo>
                  <a:pt x="236" y="10"/>
                </a:lnTo>
                <a:lnTo>
                  <a:pt x="236" y="12"/>
                </a:lnTo>
                <a:lnTo>
                  <a:pt x="236" y="12"/>
                </a:lnTo>
                <a:lnTo>
                  <a:pt x="234" y="10"/>
                </a:lnTo>
                <a:lnTo>
                  <a:pt x="234" y="10"/>
                </a:lnTo>
                <a:lnTo>
                  <a:pt x="234" y="7"/>
                </a:lnTo>
                <a:lnTo>
                  <a:pt x="234" y="7"/>
                </a:lnTo>
                <a:lnTo>
                  <a:pt x="232" y="7"/>
                </a:lnTo>
                <a:lnTo>
                  <a:pt x="232" y="7"/>
                </a:lnTo>
                <a:lnTo>
                  <a:pt x="229" y="10"/>
                </a:lnTo>
                <a:lnTo>
                  <a:pt x="229" y="10"/>
                </a:lnTo>
                <a:lnTo>
                  <a:pt x="229" y="12"/>
                </a:lnTo>
                <a:lnTo>
                  <a:pt x="229" y="12"/>
                </a:lnTo>
                <a:lnTo>
                  <a:pt x="229" y="15"/>
                </a:lnTo>
                <a:lnTo>
                  <a:pt x="229" y="15"/>
                </a:lnTo>
                <a:lnTo>
                  <a:pt x="227" y="12"/>
                </a:lnTo>
                <a:lnTo>
                  <a:pt x="227" y="12"/>
                </a:lnTo>
                <a:lnTo>
                  <a:pt x="224" y="12"/>
                </a:lnTo>
                <a:lnTo>
                  <a:pt x="224" y="12"/>
                </a:lnTo>
                <a:lnTo>
                  <a:pt x="224" y="12"/>
                </a:lnTo>
                <a:lnTo>
                  <a:pt x="224" y="15"/>
                </a:lnTo>
                <a:lnTo>
                  <a:pt x="224" y="15"/>
                </a:lnTo>
                <a:lnTo>
                  <a:pt x="229" y="17"/>
                </a:lnTo>
                <a:lnTo>
                  <a:pt x="229" y="17"/>
                </a:lnTo>
                <a:lnTo>
                  <a:pt x="229" y="19"/>
                </a:lnTo>
                <a:lnTo>
                  <a:pt x="229" y="19"/>
                </a:lnTo>
                <a:lnTo>
                  <a:pt x="229" y="19"/>
                </a:lnTo>
                <a:lnTo>
                  <a:pt x="227" y="19"/>
                </a:lnTo>
                <a:lnTo>
                  <a:pt x="227" y="19"/>
                </a:lnTo>
                <a:lnTo>
                  <a:pt x="224" y="19"/>
                </a:lnTo>
                <a:lnTo>
                  <a:pt x="224" y="19"/>
                </a:lnTo>
                <a:lnTo>
                  <a:pt x="224" y="22"/>
                </a:lnTo>
                <a:lnTo>
                  <a:pt x="224" y="22"/>
                </a:lnTo>
                <a:lnTo>
                  <a:pt x="224" y="22"/>
                </a:lnTo>
                <a:lnTo>
                  <a:pt x="224" y="24"/>
                </a:lnTo>
                <a:lnTo>
                  <a:pt x="224" y="24"/>
                </a:lnTo>
                <a:lnTo>
                  <a:pt x="222" y="22"/>
                </a:lnTo>
                <a:lnTo>
                  <a:pt x="222" y="22"/>
                </a:lnTo>
                <a:lnTo>
                  <a:pt x="219" y="22"/>
                </a:lnTo>
                <a:lnTo>
                  <a:pt x="219" y="22"/>
                </a:lnTo>
                <a:lnTo>
                  <a:pt x="219" y="24"/>
                </a:lnTo>
                <a:lnTo>
                  <a:pt x="219" y="24"/>
                </a:lnTo>
                <a:lnTo>
                  <a:pt x="217" y="27"/>
                </a:lnTo>
                <a:lnTo>
                  <a:pt x="217" y="27"/>
                </a:lnTo>
                <a:lnTo>
                  <a:pt x="217" y="27"/>
                </a:lnTo>
                <a:lnTo>
                  <a:pt x="217" y="29"/>
                </a:lnTo>
                <a:lnTo>
                  <a:pt x="217" y="29"/>
                </a:lnTo>
                <a:lnTo>
                  <a:pt x="214" y="29"/>
                </a:lnTo>
                <a:lnTo>
                  <a:pt x="214" y="29"/>
                </a:lnTo>
                <a:lnTo>
                  <a:pt x="214" y="32"/>
                </a:lnTo>
                <a:lnTo>
                  <a:pt x="214" y="32"/>
                </a:lnTo>
                <a:lnTo>
                  <a:pt x="217" y="34"/>
                </a:lnTo>
                <a:lnTo>
                  <a:pt x="217" y="34"/>
                </a:lnTo>
                <a:lnTo>
                  <a:pt x="214" y="37"/>
                </a:lnTo>
                <a:lnTo>
                  <a:pt x="214" y="37"/>
                </a:lnTo>
                <a:lnTo>
                  <a:pt x="217" y="37"/>
                </a:lnTo>
                <a:lnTo>
                  <a:pt x="217" y="37"/>
                </a:lnTo>
                <a:lnTo>
                  <a:pt x="219" y="39"/>
                </a:lnTo>
                <a:lnTo>
                  <a:pt x="219" y="39"/>
                </a:lnTo>
                <a:lnTo>
                  <a:pt x="217" y="39"/>
                </a:lnTo>
                <a:lnTo>
                  <a:pt x="217" y="39"/>
                </a:lnTo>
                <a:lnTo>
                  <a:pt x="212" y="39"/>
                </a:lnTo>
                <a:lnTo>
                  <a:pt x="212" y="39"/>
                </a:lnTo>
                <a:lnTo>
                  <a:pt x="212" y="37"/>
                </a:lnTo>
                <a:lnTo>
                  <a:pt x="212" y="37"/>
                </a:lnTo>
                <a:lnTo>
                  <a:pt x="209" y="34"/>
                </a:lnTo>
                <a:lnTo>
                  <a:pt x="209" y="34"/>
                </a:lnTo>
                <a:lnTo>
                  <a:pt x="212" y="34"/>
                </a:lnTo>
                <a:lnTo>
                  <a:pt x="212" y="34"/>
                </a:lnTo>
                <a:lnTo>
                  <a:pt x="209" y="32"/>
                </a:lnTo>
                <a:lnTo>
                  <a:pt x="209" y="32"/>
                </a:lnTo>
                <a:lnTo>
                  <a:pt x="207" y="32"/>
                </a:lnTo>
                <a:lnTo>
                  <a:pt x="207" y="32"/>
                </a:lnTo>
                <a:lnTo>
                  <a:pt x="204" y="32"/>
                </a:lnTo>
                <a:lnTo>
                  <a:pt x="204" y="32"/>
                </a:lnTo>
                <a:lnTo>
                  <a:pt x="200" y="29"/>
                </a:lnTo>
                <a:lnTo>
                  <a:pt x="200" y="29"/>
                </a:lnTo>
                <a:lnTo>
                  <a:pt x="197" y="29"/>
                </a:lnTo>
                <a:lnTo>
                  <a:pt x="197" y="29"/>
                </a:lnTo>
                <a:lnTo>
                  <a:pt x="197" y="29"/>
                </a:lnTo>
                <a:lnTo>
                  <a:pt x="195" y="29"/>
                </a:lnTo>
                <a:lnTo>
                  <a:pt x="195" y="29"/>
                </a:lnTo>
                <a:lnTo>
                  <a:pt x="192" y="29"/>
                </a:lnTo>
                <a:lnTo>
                  <a:pt x="192" y="29"/>
                </a:lnTo>
                <a:lnTo>
                  <a:pt x="190" y="32"/>
                </a:lnTo>
                <a:lnTo>
                  <a:pt x="190" y="32"/>
                </a:lnTo>
                <a:lnTo>
                  <a:pt x="190" y="32"/>
                </a:lnTo>
                <a:lnTo>
                  <a:pt x="192" y="37"/>
                </a:lnTo>
                <a:lnTo>
                  <a:pt x="192" y="37"/>
                </a:lnTo>
                <a:lnTo>
                  <a:pt x="195" y="37"/>
                </a:lnTo>
                <a:lnTo>
                  <a:pt x="195" y="37"/>
                </a:lnTo>
                <a:lnTo>
                  <a:pt x="197" y="37"/>
                </a:lnTo>
                <a:lnTo>
                  <a:pt x="197" y="37"/>
                </a:lnTo>
                <a:lnTo>
                  <a:pt x="200" y="39"/>
                </a:lnTo>
                <a:lnTo>
                  <a:pt x="200" y="39"/>
                </a:lnTo>
                <a:lnTo>
                  <a:pt x="200" y="42"/>
                </a:lnTo>
                <a:lnTo>
                  <a:pt x="200" y="42"/>
                </a:lnTo>
                <a:lnTo>
                  <a:pt x="200" y="44"/>
                </a:lnTo>
                <a:lnTo>
                  <a:pt x="200" y="44"/>
                </a:lnTo>
                <a:lnTo>
                  <a:pt x="202" y="47"/>
                </a:lnTo>
                <a:lnTo>
                  <a:pt x="202" y="47"/>
                </a:lnTo>
                <a:lnTo>
                  <a:pt x="200" y="49"/>
                </a:lnTo>
                <a:lnTo>
                  <a:pt x="200" y="49"/>
                </a:lnTo>
                <a:lnTo>
                  <a:pt x="200" y="47"/>
                </a:lnTo>
                <a:lnTo>
                  <a:pt x="200" y="47"/>
                </a:lnTo>
                <a:lnTo>
                  <a:pt x="197" y="44"/>
                </a:lnTo>
                <a:lnTo>
                  <a:pt x="197" y="44"/>
                </a:lnTo>
                <a:lnTo>
                  <a:pt x="195" y="42"/>
                </a:lnTo>
                <a:lnTo>
                  <a:pt x="195" y="42"/>
                </a:lnTo>
                <a:lnTo>
                  <a:pt x="192" y="42"/>
                </a:lnTo>
                <a:lnTo>
                  <a:pt x="192" y="42"/>
                </a:lnTo>
                <a:lnTo>
                  <a:pt x="192" y="44"/>
                </a:lnTo>
                <a:lnTo>
                  <a:pt x="192" y="44"/>
                </a:lnTo>
                <a:lnTo>
                  <a:pt x="190" y="47"/>
                </a:lnTo>
                <a:lnTo>
                  <a:pt x="190" y="47"/>
                </a:lnTo>
                <a:lnTo>
                  <a:pt x="190" y="42"/>
                </a:lnTo>
                <a:lnTo>
                  <a:pt x="190" y="42"/>
                </a:lnTo>
                <a:lnTo>
                  <a:pt x="187" y="44"/>
                </a:lnTo>
                <a:lnTo>
                  <a:pt x="187" y="44"/>
                </a:lnTo>
                <a:lnTo>
                  <a:pt x="187" y="44"/>
                </a:lnTo>
                <a:lnTo>
                  <a:pt x="185" y="47"/>
                </a:lnTo>
                <a:lnTo>
                  <a:pt x="185" y="47"/>
                </a:lnTo>
                <a:lnTo>
                  <a:pt x="185" y="49"/>
                </a:lnTo>
                <a:lnTo>
                  <a:pt x="185" y="49"/>
                </a:lnTo>
                <a:lnTo>
                  <a:pt x="187" y="51"/>
                </a:lnTo>
                <a:lnTo>
                  <a:pt x="187" y="51"/>
                </a:lnTo>
                <a:lnTo>
                  <a:pt x="190" y="54"/>
                </a:lnTo>
                <a:lnTo>
                  <a:pt x="190" y="54"/>
                </a:lnTo>
                <a:lnTo>
                  <a:pt x="187" y="54"/>
                </a:lnTo>
                <a:lnTo>
                  <a:pt x="187" y="54"/>
                </a:lnTo>
                <a:lnTo>
                  <a:pt x="185" y="51"/>
                </a:lnTo>
                <a:lnTo>
                  <a:pt x="185" y="51"/>
                </a:lnTo>
                <a:lnTo>
                  <a:pt x="182" y="56"/>
                </a:lnTo>
                <a:lnTo>
                  <a:pt x="182" y="56"/>
                </a:lnTo>
                <a:lnTo>
                  <a:pt x="182" y="59"/>
                </a:lnTo>
                <a:lnTo>
                  <a:pt x="182" y="59"/>
                </a:lnTo>
                <a:lnTo>
                  <a:pt x="177" y="61"/>
                </a:lnTo>
                <a:lnTo>
                  <a:pt x="177" y="61"/>
                </a:lnTo>
                <a:lnTo>
                  <a:pt x="177" y="59"/>
                </a:lnTo>
                <a:lnTo>
                  <a:pt x="177" y="59"/>
                </a:lnTo>
                <a:lnTo>
                  <a:pt x="180" y="56"/>
                </a:lnTo>
                <a:lnTo>
                  <a:pt x="180" y="56"/>
                </a:lnTo>
                <a:lnTo>
                  <a:pt x="180" y="56"/>
                </a:lnTo>
                <a:lnTo>
                  <a:pt x="182" y="51"/>
                </a:lnTo>
                <a:lnTo>
                  <a:pt x="182" y="51"/>
                </a:lnTo>
                <a:lnTo>
                  <a:pt x="180" y="42"/>
                </a:lnTo>
                <a:lnTo>
                  <a:pt x="180" y="42"/>
                </a:lnTo>
                <a:lnTo>
                  <a:pt x="177" y="44"/>
                </a:lnTo>
                <a:lnTo>
                  <a:pt x="177" y="44"/>
                </a:lnTo>
                <a:lnTo>
                  <a:pt x="175" y="49"/>
                </a:lnTo>
                <a:lnTo>
                  <a:pt x="175" y="49"/>
                </a:lnTo>
                <a:lnTo>
                  <a:pt x="175" y="54"/>
                </a:lnTo>
                <a:lnTo>
                  <a:pt x="175" y="54"/>
                </a:lnTo>
                <a:lnTo>
                  <a:pt x="175" y="54"/>
                </a:lnTo>
                <a:lnTo>
                  <a:pt x="172" y="59"/>
                </a:lnTo>
                <a:lnTo>
                  <a:pt x="172" y="59"/>
                </a:lnTo>
                <a:lnTo>
                  <a:pt x="172" y="54"/>
                </a:lnTo>
                <a:lnTo>
                  <a:pt x="172" y="54"/>
                </a:lnTo>
                <a:lnTo>
                  <a:pt x="175" y="51"/>
                </a:lnTo>
                <a:lnTo>
                  <a:pt x="175" y="51"/>
                </a:lnTo>
                <a:lnTo>
                  <a:pt x="172" y="47"/>
                </a:lnTo>
                <a:lnTo>
                  <a:pt x="172" y="47"/>
                </a:lnTo>
                <a:lnTo>
                  <a:pt x="172" y="47"/>
                </a:lnTo>
                <a:lnTo>
                  <a:pt x="168" y="49"/>
                </a:lnTo>
                <a:lnTo>
                  <a:pt x="168" y="49"/>
                </a:lnTo>
                <a:lnTo>
                  <a:pt x="165" y="54"/>
                </a:lnTo>
                <a:lnTo>
                  <a:pt x="165" y="54"/>
                </a:lnTo>
                <a:lnTo>
                  <a:pt x="168" y="56"/>
                </a:lnTo>
                <a:lnTo>
                  <a:pt x="168" y="56"/>
                </a:lnTo>
                <a:lnTo>
                  <a:pt x="168" y="59"/>
                </a:lnTo>
                <a:lnTo>
                  <a:pt x="168" y="59"/>
                </a:lnTo>
                <a:lnTo>
                  <a:pt x="172" y="61"/>
                </a:lnTo>
                <a:lnTo>
                  <a:pt x="172" y="61"/>
                </a:lnTo>
                <a:lnTo>
                  <a:pt x="172" y="64"/>
                </a:lnTo>
                <a:lnTo>
                  <a:pt x="172" y="64"/>
                </a:lnTo>
                <a:lnTo>
                  <a:pt x="170" y="66"/>
                </a:lnTo>
                <a:lnTo>
                  <a:pt x="170" y="66"/>
                </a:lnTo>
                <a:lnTo>
                  <a:pt x="170" y="64"/>
                </a:lnTo>
                <a:lnTo>
                  <a:pt x="170" y="64"/>
                </a:lnTo>
                <a:lnTo>
                  <a:pt x="168" y="61"/>
                </a:lnTo>
                <a:lnTo>
                  <a:pt x="168" y="61"/>
                </a:lnTo>
                <a:lnTo>
                  <a:pt x="165" y="56"/>
                </a:lnTo>
                <a:lnTo>
                  <a:pt x="165" y="56"/>
                </a:lnTo>
                <a:lnTo>
                  <a:pt x="163" y="56"/>
                </a:lnTo>
                <a:lnTo>
                  <a:pt x="163" y="56"/>
                </a:lnTo>
                <a:lnTo>
                  <a:pt x="160" y="56"/>
                </a:lnTo>
                <a:lnTo>
                  <a:pt x="160" y="56"/>
                </a:lnTo>
                <a:lnTo>
                  <a:pt x="160" y="59"/>
                </a:lnTo>
                <a:lnTo>
                  <a:pt x="160" y="59"/>
                </a:lnTo>
                <a:lnTo>
                  <a:pt x="163" y="61"/>
                </a:lnTo>
                <a:lnTo>
                  <a:pt x="163" y="61"/>
                </a:lnTo>
                <a:lnTo>
                  <a:pt x="165" y="61"/>
                </a:lnTo>
                <a:lnTo>
                  <a:pt x="165" y="61"/>
                </a:lnTo>
                <a:lnTo>
                  <a:pt x="165" y="64"/>
                </a:lnTo>
                <a:lnTo>
                  <a:pt x="165" y="64"/>
                </a:lnTo>
                <a:lnTo>
                  <a:pt x="163" y="64"/>
                </a:lnTo>
                <a:lnTo>
                  <a:pt x="163" y="64"/>
                </a:lnTo>
                <a:lnTo>
                  <a:pt x="160" y="64"/>
                </a:lnTo>
                <a:lnTo>
                  <a:pt x="160" y="64"/>
                </a:lnTo>
                <a:lnTo>
                  <a:pt x="163" y="66"/>
                </a:lnTo>
                <a:lnTo>
                  <a:pt x="163" y="66"/>
                </a:lnTo>
                <a:lnTo>
                  <a:pt x="160" y="64"/>
                </a:lnTo>
                <a:lnTo>
                  <a:pt x="160" y="64"/>
                </a:lnTo>
                <a:lnTo>
                  <a:pt x="160" y="61"/>
                </a:lnTo>
                <a:lnTo>
                  <a:pt x="160" y="61"/>
                </a:lnTo>
                <a:lnTo>
                  <a:pt x="158" y="59"/>
                </a:lnTo>
                <a:lnTo>
                  <a:pt x="158" y="59"/>
                </a:lnTo>
                <a:lnTo>
                  <a:pt x="158" y="59"/>
                </a:lnTo>
                <a:lnTo>
                  <a:pt x="155" y="59"/>
                </a:lnTo>
                <a:lnTo>
                  <a:pt x="155" y="59"/>
                </a:lnTo>
                <a:lnTo>
                  <a:pt x="155" y="64"/>
                </a:lnTo>
                <a:lnTo>
                  <a:pt x="155" y="64"/>
                </a:lnTo>
                <a:lnTo>
                  <a:pt x="155" y="64"/>
                </a:lnTo>
                <a:lnTo>
                  <a:pt x="155" y="69"/>
                </a:lnTo>
                <a:lnTo>
                  <a:pt x="155" y="69"/>
                </a:lnTo>
                <a:lnTo>
                  <a:pt x="153" y="66"/>
                </a:lnTo>
                <a:lnTo>
                  <a:pt x="153" y="66"/>
                </a:lnTo>
                <a:lnTo>
                  <a:pt x="150" y="66"/>
                </a:lnTo>
                <a:lnTo>
                  <a:pt x="150" y="66"/>
                </a:lnTo>
                <a:lnTo>
                  <a:pt x="148" y="71"/>
                </a:lnTo>
                <a:lnTo>
                  <a:pt x="148" y="71"/>
                </a:lnTo>
                <a:lnTo>
                  <a:pt x="148" y="71"/>
                </a:lnTo>
                <a:lnTo>
                  <a:pt x="150" y="71"/>
                </a:lnTo>
                <a:lnTo>
                  <a:pt x="150" y="71"/>
                </a:lnTo>
                <a:lnTo>
                  <a:pt x="153" y="74"/>
                </a:lnTo>
                <a:lnTo>
                  <a:pt x="153" y="74"/>
                </a:lnTo>
                <a:lnTo>
                  <a:pt x="150" y="74"/>
                </a:lnTo>
                <a:lnTo>
                  <a:pt x="150" y="74"/>
                </a:lnTo>
                <a:lnTo>
                  <a:pt x="148" y="74"/>
                </a:lnTo>
                <a:lnTo>
                  <a:pt x="148" y="74"/>
                </a:lnTo>
                <a:lnTo>
                  <a:pt x="150" y="76"/>
                </a:lnTo>
                <a:lnTo>
                  <a:pt x="150" y="76"/>
                </a:lnTo>
                <a:lnTo>
                  <a:pt x="150" y="79"/>
                </a:lnTo>
                <a:lnTo>
                  <a:pt x="150" y="79"/>
                </a:lnTo>
                <a:lnTo>
                  <a:pt x="148" y="79"/>
                </a:lnTo>
                <a:lnTo>
                  <a:pt x="148" y="79"/>
                </a:lnTo>
                <a:lnTo>
                  <a:pt x="148" y="79"/>
                </a:lnTo>
                <a:lnTo>
                  <a:pt x="148" y="79"/>
                </a:lnTo>
                <a:lnTo>
                  <a:pt x="145" y="81"/>
                </a:lnTo>
                <a:lnTo>
                  <a:pt x="145" y="81"/>
                </a:lnTo>
                <a:lnTo>
                  <a:pt x="145" y="79"/>
                </a:lnTo>
                <a:lnTo>
                  <a:pt x="145" y="79"/>
                </a:lnTo>
                <a:lnTo>
                  <a:pt x="143" y="79"/>
                </a:lnTo>
                <a:lnTo>
                  <a:pt x="143" y="79"/>
                </a:lnTo>
                <a:lnTo>
                  <a:pt x="140" y="81"/>
                </a:lnTo>
                <a:lnTo>
                  <a:pt x="140" y="81"/>
                </a:lnTo>
                <a:lnTo>
                  <a:pt x="140" y="83"/>
                </a:lnTo>
                <a:lnTo>
                  <a:pt x="140" y="83"/>
                </a:lnTo>
                <a:lnTo>
                  <a:pt x="140" y="83"/>
                </a:lnTo>
                <a:lnTo>
                  <a:pt x="138" y="83"/>
                </a:lnTo>
                <a:lnTo>
                  <a:pt x="138" y="83"/>
                </a:lnTo>
                <a:lnTo>
                  <a:pt x="136" y="88"/>
                </a:lnTo>
                <a:lnTo>
                  <a:pt x="136" y="88"/>
                </a:lnTo>
                <a:lnTo>
                  <a:pt x="138" y="88"/>
                </a:lnTo>
                <a:lnTo>
                  <a:pt x="138" y="88"/>
                </a:lnTo>
                <a:lnTo>
                  <a:pt x="145" y="86"/>
                </a:lnTo>
                <a:lnTo>
                  <a:pt x="145" y="86"/>
                </a:lnTo>
                <a:lnTo>
                  <a:pt x="145" y="86"/>
                </a:lnTo>
                <a:lnTo>
                  <a:pt x="150" y="86"/>
                </a:lnTo>
                <a:lnTo>
                  <a:pt x="150" y="86"/>
                </a:lnTo>
                <a:lnTo>
                  <a:pt x="150" y="86"/>
                </a:lnTo>
                <a:lnTo>
                  <a:pt x="150" y="88"/>
                </a:lnTo>
                <a:lnTo>
                  <a:pt x="150" y="88"/>
                </a:lnTo>
                <a:lnTo>
                  <a:pt x="150" y="91"/>
                </a:lnTo>
                <a:lnTo>
                  <a:pt x="150" y="91"/>
                </a:lnTo>
                <a:lnTo>
                  <a:pt x="148" y="93"/>
                </a:lnTo>
                <a:lnTo>
                  <a:pt x="148" y="93"/>
                </a:lnTo>
                <a:lnTo>
                  <a:pt x="148" y="96"/>
                </a:lnTo>
                <a:lnTo>
                  <a:pt x="148" y="96"/>
                </a:lnTo>
                <a:lnTo>
                  <a:pt x="148" y="93"/>
                </a:lnTo>
                <a:lnTo>
                  <a:pt x="148" y="93"/>
                </a:lnTo>
                <a:lnTo>
                  <a:pt x="145" y="91"/>
                </a:lnTo>
                <a:lnTo>
                  <a:pt x="145" y="91"/>
                </a:lnTo>
                <a:lnTo>
                  <a:pt x="143" y="91"/>
                </a:lnTo>
                <a:lnTo>
                  <a:pt x="143" y="91"/>
                </a:lnTo>
                <a:lnTo>
                  <a:pt x="143" y="91"/>
                </a:lnTo>
                <a:lnTo>
                  <a:pt x="140" y="91"/>
                </a:lnTo>
                <a:lnTo>
                  <a:pt x="140" y="91"/>
                </a:lnTo>
                <a:lnTo>
                  <a:pt x="140" y="91"/>
                </a:lnTo>
                <a:lnTo>
                  <a:pt x="140" y="93"/>
                </a:lnTo>
                <a:lnTo>
                  <a:pt x="140" y="93"/>
                </a:lnTo>
                <a:lnTo>
                  <a:pt x="138" y="91"/>
                </a:lnTo>
                <a:lnTo>
                  <a:pt x="138" y="91"/>
                </a:lnTo>
                <a:lnTo>
                  <a:pt x="136" y="93"/>
                </a:lnTo>
                <a:lnTo>
                  <a:pt x="136" y="93"/>
                </a:lnTo>
                <a:lnTo>
                  <a:pt x="138" y="93"/>
                </a:lnTo>
                <a:lnTo>
                  <a:pt x="138" y="93"/>
                </a:lnTo>
                <a:lnTo>
                  <a:pt x="138" y="96"/>
                </a:lnTo>
                <a:lnTo>
                  <a:pt x="138" y="96"/>
                </a:lnTo>
                <a:lnTo>
                  <a:pt x="138" y="96"/>
                </a:lnTo>
                <a:lnTo>
                  <a:pt x="136" y="98"/>
                </a:lnTo>
                <a:lnTo>
                  <a:pt x="136" y="98"/>
                </a:lnTo>
                <a:lnTo>
                  <a:pt x="138" y="101"/>
                </a:lnTo>
                <a:lnTo>
                  <a:pt x="138" y="101"/>
                </a:lnTo>
                <a:lnTo>
                  <a:pt x="136" y="101"/>
                </a:lnTo>
                <a:lnTo>
                  <a:pt x="136" y="101"/>
                </a:lnTo>
                <a:lnTo>
                  <a:pt x="136" y="101"/>
                </a:lnTo>
                <a:lnTo>
                  <a:pt x="136" y="98"/>
                </a:lnTo>
                <a:lnTo>
                  <a:pt x="136" y="98"/>
                </a:lnTo>
                <a:lnTo>
                  <a:pt x="133" y="93"/>
                </a:lnTo>
                <a:lnTo>
                  <a:pt x="133" y="93"/>
                </a:lnTo>
                <a:lnTo>
                  <a:pt x="131" y="96"/>
                </a:lnTo>
                <a:lnTo>
                  <a:pt x="131" y="96"/>
                </a:lnTo>
                <a:lnTo>
                  <a:pt x="128" y="98"/>
                </a:lnTo>
                <a:lnTo>
                  <a:pt x="128" y="98"/>
                </a:lnTo>
                <a:lnTo>
                  <a:pt x="128" y="96"/>
                </a:lnTo>
                <a:lnTo>
                  <a:pt x="128" y="96"/>
                </a:lnTo>
                <a:lnTo>
                  <a:pt x="128" y="93"/>
                </a:lnTo>
                <a:lnTo>
                  <a:pt x="128" y="93"/>
                </a:lnTo>
                <a:lnTo>
                  <a:pt x="126" y="93"/>
                </a:lnTo>
                <a:lnTo>
                  <a:pt x="126" y="93"/>
                </a:lnTo>
                <a:lnTo>
                  <a:pt x="123" y="96"/>
                </a:lnTo>
                <a:lnTo>
                  <a:pt x="123" y="96"/>
                </a:lnTo>
                <a:lnTo>
                  <a:pt x="126" y="98"/>
                </a:lnTo>
                <a:lnTo>
                  <a:pt x="126" y="98"/>
                </a:lnTo>
                <a:lnTo>
                  <a:pt x="131" y="98"/>
                </a:lnTo>
                <a:lnTo>
                  <a:pt x="131" y="98"/>
                </a:lnTo>
                <a:lnTo>
                  <a:pt x="133" y="101"/>
                </a:lnTo>
                <a:lnTo>
                  <a:pt x="133" y="101"/>
                </a:lnTo>
                <a:lnTo>
                  <a:pt x="131" y="103"/>
                </a:lnTo>
                <a:lnTo>
                  <a:pt x="131" y="103"/>
                </a:lnTo>
                <a:lnTo>
                  <a:pt x="126" y="103"/>
                </a:lnTo>
                <a:lnTo>
                  <a:pt x="126" y="103"/>
                </a:lnTo>
                <a:lnTo>
                  <a:pt x="123" y="103"/>
                </a:lnTo>
                <a:lnTo>
                  <a:pt x="123" y="103"/>
                </a:lnTo>
                <a:lnTo>
                  <a:pt x="121" y="103"/>
                </a:lnTo>
                <a:lnTo>
                  <a:pt x="121" y="103"/>
                </a:lnTo>
                <a:lnTo>
                  <a:pt x="121" y="106"/>
                </a:lnTo>
                <a:lnTo>
                  <a:pt x="121" y="106"/>
                </a:lnTo>
                <a:lnTo>
                  <a:pt x="123" y="108"/>
                </a:lnTo>
                <a:lnTo>
                  <a:pt x="123" y="108"/>
                </a:lnTo>
                <a:lnTo>
                  <a:pt x="121" y="110"/>
                </a:lnTo>
                <a:lnTo>
                  <a:pt x="121" y="110"/>
                </a:lnTo>
                <a:lnTo>
                  <a:pt x="123" y="108"/>
                </a:lnTo>
                <a:lnTo>
                  <a:pt x="123" y="108"/>
                </a:lnTo>
                <a:lnTo>
                  <a:pt x="126" y="106"/>
                </a:lnTo>
                <a:lnTo>
                  <a:pt x="126" y="106"/>
                </a:lnTo>
                <a:lnTo>
                  <a:pt x="128" y="106"/>
                </a:lnTo>
                <a:lnTo>
                  <a:pt x="128" y="106"/>
                </a:lnTo>
                <a:lnTo>
                  <a:pt x="131" y="108"/>
                </a:lnTo>
                <a:lnTo>
                  <a:pt x="131" y="108"/>
                </a:lnTo>
                <a:lnTo>
                  <a:pt x="126" y="108"/>
                </a:lnTo>
                <a:lnTo>
                  <a:pt x="126" y="108"/>
                </a:lnTo>
                <a:lnTo>
                  <a:pt x="126" y="110"/>
                </a:lnTo>
                <a:lnTo>
                  <a:pt x="126" y="110"/>
                </a:lnTo>
                <a:lnTo>
                  <a:pt x="126" y="113"/>
                </a:lnTo>
                <a:lnTo>
                  <a:pt x="126" y="113"/>
                </a:lnTo>
                <a:lnTo>
                  <a:pt x="131" y="115"/>
                </a:lnTo>
                <a:lnTo>
                  <a:pt x="131" y="115"/>
                </a:lnTo>
                <a:lnTo>
                  <a:pt x="131" y="118"/>
                </a:lnTo>
                <a:lnTo>
                  <a:pt x="131" y="118"/>
                </a:lnTo>
                <a:lnTo>
                  <a:pt x="128" y="115"/>
                </a:lnTo>
                <a:lnTo>
                  <a:pt x="128" y="115"/>
                </a:lnTo>
                <a:lnTo>
                  <a:pt x="126" y="115"/>
                </a:lnTo>
                <a:lnTo>
                  <a:pt x="126" y="115"/>
                </a:lnTo>
                <a:lnTo>
                  <a:pt x="123" y="113"/>
                </a:lnTo>
                <a:lnTo>
                  <a:pt x="123" y="113"/>
                </a:lnTo>
                <a:lnTo>
                  <a:pt x="121" y="113"/>
                </a:lnTo>
                <a:lnTo>
                  <a:pt x="121" y="113"/>
                </a:lnTo>
                <a:lnTo>
                  <a:pt x="121" y="115"/>
                </a:lnTo>
                <a:lnTo>
                  <a:pt x="121" y="115"/>
                </a:lnTo>
                <a:lnTo>
                  <a:pt x="123" y="118"/>
                </a:lnTo>
                <a:lnTo>
                  <a:pt x="123" y="118"/>
                </a:lnTo>
                <a:lnTo>
                  <a:pt x="118" y="118"/>
                </a:lnTo>
                <a:lnTo>
                  <a:pt x="118" y="118"/>
                </a:lnTo>
                <a:lnTo>
                  <a:pt x="116" y="120"/>
                </a:lnTo>
                <a:lnTo>
                  <a:pt x="116" y="120"/>
                </a:lnTo>
                <a:lnTo>
                  <a:pt x="116" y="120"/>
                </a:lnTo>
                <a:lnTo>
                  <a:pt x="118" y="123"/>
                </a:lnTo>
                <a:lnTo>
                  <a:pt x="118" y="123"/>
                </a:lnTo>
                <a:lnTo>
                  <a:pt x="121" y="120"/>
                </a:lnTo>
                <a:lnTo>
                  <a:pt x="121" y="120"/>
                </a:lnTo>
                <a:lnTo>
                  <a:pt x="123" y="123"/>
                </a:lnTo>
                <a:lnTo>
                  <a:pt x="123" y="123"/>
                </a:lnTo>
                <a:lnTo>
                  <a:pt x="126" y="123"/>
                </a:lnTo>
                <a:lnTo>
                  <a:pt x="126" y="123"/>
                </a:lnTo>
                <a:lnTo>
                  <a:pt x="128" y="125"/>
                </a:lnTo>
                <a:lnTo>
                  <a:pt x="128" y="125"/>
                </a:lnTo>
                <a:lnTo>
                  <a:pt x="128" y="125"/>
                </a:lnTo>
                <a:lnTo>
                  <a:pt x="128" y="128"/>
                </a:lnTo>
                <a:lnTo>
                  <a:pt x="128" y="128"/>
                </a:lnTo>
                <a:lnTo>
                  <a:pt x="126" y="125"/>
                </a:lnTo>
                <a:lnTo>
                  <a:pt x="126" y="125"/>
                </a:lnTo>
                <a:lnTo>
                  <a:pt x="121" y="125"/>
                </a:lnTo>
                <a:lnTo>
                  <a:pt x="121" y="125"/>
                </a:lnTo>
                <a:lnTo>
                  <a:pt x="121" y="125"/>
                </a:lnTo>
                <a:lnTo>
                  <a:pt x="116" y="125"/>
                </a:lnTo>
                <a:lnTo>
                  <a:pt x="116" y="125"/>
                </a:lnTo>
                <a:lnTo>
                  <a:pt x="116" y="128"/>
                </a:lnTo>
                <a:lnTo>
                  <a:pt x="116" y="128"/>
                </a:lnTo>
                <a:lnTo>
                  <a:pt x="113" y="130"/>
                </a:lnTo>
                <a:lnTo>
                  <a:pt x="113" y="130"/>
                </a:lnTo>
                <a:lnTo>
                  <a:pt x="113" y="128"/>
                </a:lnTo>
                <a:lnTo>
                  <a:pt x="113" y="128"/>
                </a:lnTo>
                <a:lnTo>
                  <a:pt x="109" y="130"/>
                </a:lnTo>
                <a:lnTo>
                  <a:pt x="109" y="130"/>
                </a:lnTo>
                <a:lnTo>
                  <a:pt x="106" y="130"/>
                </a:lnTo>
                <a:lnTo>
                  <a:pt x="106" y="130"/>
                </a:lnTo>
                <a:lnTo>
                  <a:pt x="106" y="133"/>
                </a:lnTo>
                <a:lnTo>
                  <a:pt x="106" y="133"/>
                </a:lnTo>
                <a:lnTo>
                  <a:pt x="109" y="133"/>
                </a:lnTo>
                <a:lnTo>
                  <a:pt x="109" y="133"/>
                </a:lnTo>
                <a:lnTo>
                  <a:pt x="111" y="135"/>
                </a:lnTo>
                <a:lnTo>
                  <a:pt x="111" y="135"/>
                </a:lnTo>
                <a:lnTo>
                  <a:pt x="109" y="135"/>
                </a:lnTo>
                <a:lnTo>
                  <a:pt x="109" y="135"/>
                </a:lnTo>
                <a:lnTo>
                  <a:pt x="106" y="135"/>
                </a:lnTo>
                <a:lnTo>
                  <a:pt x="106" y="135"/>
                </a:lnTo>
                <a:lnTo>
                  <a:pt x="106" y="138"/>
                </a:lnTo>
                <a:lnTo>
                  <a:pt x="106" y="138"/>
                </a:lnTo>
                <a:lnTo>
                  <a:pt x="109" y="138"/>
                </a:lnTo>
                <a:lnTo>
                  <a:pt x="109" y="138"/>
                </a:lnTo>
                <a:lnTo>
                  <a:pt x="109" y="140"/>
                </a:lnTo>
                <a:lnTo>
                  <a:pt x="109" y="140"/>
                </a:lnTo>
                <a:lnTo>
                  <a:pt x="104" y="140"/>
                </a:lnTo>
                <a:lnTo>
                  <a:pt x="104" y="140"/>
                </a:lnTo>
                <a:lnTo>
                  <a:pt x="104" y="138"/>
                </a:lnTo>
                <a:lnTo>
                  <a:pt x="104" y="138"/>
                </a:lnTo>
                <a:lnTo>
                  <a:pt x="104" y="140"/>
                </a:lnTo>
                <a:lnTo>
                  <a:pt x="104" y="140"/>
                </a:lnTo>
                <a:lnTo>
                  <a:pt x="106" y="140"/>
                </a:lnTo>
                <a:lnTo>
                  <a:pt x="106" y="140"/>
                </a:lnTo>
                <a:lnTo>
                  <a:pt x="104" y="142"/>
                </a:lnTo>
                <a:lnTo>
                  <a:pt x="104" y="142"/>
                </a:lnTo>
                <a:lnTo>
                  <a:pt x="104" y="142"/>
                </a:lnTo>
                <a:lnTo>
                  <a:pt x="106" y="142"/>
                </a:lnTo>
                <a:lnTo>
                  <a:pt x="106" y="142"/>
                </a:lnTo>
                <a:lnTo>
                  <a:pt x="104" y="145"/>
                </a:lnTo>
                <a:lnTo>
                  <a:pt x="104" y="145"/>
                </a:lnTo>
                <a:lnTo>
                  <a:pt x="104" y="145"/>
                </a:lnTo>
                <a:lnTo>
                  <a:pt x="101" y="145"/>
                </a:lnTo>
                <a:lnTo>
                  <a:pt x="101" y="145"/>
                </a:lnTo>
                <a:lnTo>
                  <a:pt x="101" y="145"/>
                </a:lnTo>
                <a:lnTo>
                  <a:pt x="101" y="147"/>
                </a:lnTo>
                <a:lnTo>
                  <a:pt x="101" y="147"/>
                </a:lnTo>
                <a:lnTo>
                  <a:pt x="101" y="147"/>
                </a:lnTo>
                <a:lnTo>
                  <a:pt x="106" y="150"/>
                </a:lnTo>
                <a:lnTo>
                  <a:pt x="106" y="150"/>
                </a:lnTo>
                <a:lnTo>
                  <a:pt x="106" y="152"/>
                </a:lnTo>
                <a:lnTo>
                  <a:pt x="106" y="152"/>
                </a:lnTo>
                <a:lnTo>
                  <a:pt x="109" y="152"/>
                </a:lnTo>
                <a:lnTo>
                  <a:pt x="109" y="152"/>
                </a:lnTo>
                <a:lnTo>
                  <a:pt x="111" y="150"/>
                </a:lnTo>
                <a:lnTo>
                  <a:pt x="111" y="150"/>
                </a:lnTo>
                <a:lnTo>
                  <a:pt x="109" y="152"/>
                </a:lnTo>
                <a:lnTo>
                  <a:pt x="109" y="152"/>
                </a:lnTo>
                <a:lnTo>
                  <a:pt x="109" y="155"/>
                </a:lnTo>
                <a:lnTo>
                  <a:pt x="109" y="155"/>
                </a:lnTo>
                <a:lnTo>
                  <a:pt x="106" y="155"/>
                </a:lnTo>
                <a:lnTo>
                  <a:pt x="106" y="155"/>
                </a:lnTo>
                <a:lnTo>
                  <a:pt x="106" y="152"/>
                </a:lnTo>
                <a:lnTo>
                  <a:pt x="106" y="152"/>
                </a:lnTo>
                <a:lnTo>
                  <a:pt x="101" y="152"/>
                </a:lnTo>
                <a:lnTo>
                  <a:pt x="101" y="152"/>
                </a:lnTo>
                <a:lnTo>
                  <a:pt x="99" y="155"/>
                </a:lnTo>
                <a:lnTo>
                  <a:pt x="99" y="155"/>
                </a:lnTo>
                <a:lnTo>
                  <a:pt x="99" y="157"/>
                </a:lnTo>
                <a:lnTo>
                  <a:pt x="99" y="157"/>
                </a:lnTo>
                <a:lnTo>
                  <a:pt x="101" y="157"/>
                </a:lnTo>
                <a:lnTo>
                  <a:pt x="101" y="157"/>
                </a:lnTo>
                <a:lnTo>
                  <a:pt x="101" y="157"/>
                </a:lnTo>
                <a:lnTo>
                  <a:pt x="104" y="160"/>
                </a:lnTo>
                <a:lnTo>
                  <a:pt x="104" y="160"/>
                </a:lnTo>
                <a:lnTo>
                  <a:pt x="104" y="162"/>
                </a:lnTo>
                <a:lnTo>
                  <a:pt x="104" y="162"/>
                </a:lnTo>
                <a:lnTo>
                  <a:pt x="101" y="160"/>
                </a:lnTo>
                <a:lnTo>
                  <a:pt x="101" y="160"/>
                </a:lnTo>
                <a:lnTo>
                  <a:pt x="101" y="160"/>
                </a:lnTo>
                <a:lnTo>
                  <a:pt x="99" y="162"/>
                </a:lnTo>
                <a:lnTo>
                  <a:pt x="99" y="162"/>
                </a:lnTo>
                <a:lnTo>
                  <a:pt x="99" y="165"/>
                </a:lnTo>
                <a:lnTo>
                  <a:pt x="99" y="165"/>
                </a:lnTo>
                <a:lnTo>
                  <a:pt x="99" y="165"/>
                </a:lnTo>
                <a:lnTo>
                  <a:pt x="99" y="167"/>
                </a:lnTo>
                <a:lnTo>
                  <a:pt x="99" y="167"/>
                </a:lnTo>
                <a:lnTo>
                  <a:pt x="101" y="167"/>
                </a:lnTo>
                <a:lnTo>
                  <a:pt x="101" y="167"/>
                </a:lnTo>
                <a:lnTo>
                  <a:pt x="99" y="167"/>
                </a:lnTo>
                <a:lnTo>
                  <a:pt x="99" y="167"/>
                </a:lnTo>
                <a:lnTo>
                  <a:pt x="96" y="167"/>
                </a:lnTo>
                <a:lnTo>
                  <a:pt x="96" y="167"/>
                </a:lnTo>
                <a:lnTo>
                  <a:pt x="96" y="167"/>
                </a:lnTo>
                <a:lnTo>
                  <a:pt x="96" y="170"/>
                </a:lnTo>
                <a:lnTo>
                  <a:pt x="96" y="170"/>
                </a:lnTo>
                <a:lnTo>
                  <a:pt x="99" y="170"/>
                </a:lnTo>
                <a:lnTo>
                  <a:pt x="99" y="170"/>
                </a:lnTo>
                <a:lnTo>
                  <a:pt x="99" y="172"/>
                </a:lnTo>
                <a:lnTo>
                  <a:pt x="99" y="172"/>
                </a:lnTo>
                <a:lnTo>
                  <a:pt x="99" y="174"/>
                </a:lnTo>
                <a:lnTo>
                  <a:pt x="99" y="174"/>
                </a:lnTo>
                <a:lnTo>
                  <a:pt x="96" y="172"/>
                </a:lnTo>
                <a:lnTo>
                  <a:pt x="96" y="172"/>
                </a:lnTo>
                <a:lnTo>
                  <a:pt x="94" y="172"/>
                </a:lnTo>
                <a:lnTo>
                  <a:pt x="94" y="172"/>
                </a:lnTo>
                <a:lnTo>
                  <a:pt x="94" y="174"/>
                </a:lnTo>
                <a:lnTo>
                  <a:pt x="94" y="174"/>
                </a:lnTo>
                <a:lnTo>
                  <a:pt x="96" y="174"/>
                </a:lnTo>
                <a:lnTo>
                  <a:pt x="96" y="174"/>
                </a:lnTo>
                <a:lnTo>
                  <a:pt x="96" y="177"/>
                </a:lnTo>
                <a:lnTo>
                  <a:pt x="96" y="177"/>
                </a:lnTo>
                <a:lnTo>
                  <a:pt x="96" y="179"/>
                </a:lnTo>
                <a:lnTo>
                  <a:pt x="96" y="179"/>
                </a:lnTo>
                <a:lnTo>
                  <a:pt x="99" y="179"/>
                </a:lnTo>
                <a:lnTo>
                  <a:pt x="99" y="179"/>
                </a:lnTo>
                <a:lnTo>
                  <a:pt x="99" y="177"/>
                </a:lnTo>
                <a:lnTo>
                  <a:pt x="99" y="177"/>
                </a:lnTo>
                <a:lnTo>
                  <a:pt x="101" y="177"/>
                </a:lnTo>
                <a:lnTo>
                  <a:pt x="101" y="177"/>
                </a:lnTo>
                <a:lnTo>
                  <a:pt x="99" y="182"/>
                </a:lnTo>
                <a:lnTo>
                  <a:pt x="99" y="182"/>
                </a:lnTo>
                <a:lnTo>
                  <a:pt x="96" y="182"/>
                </a:lnTo>
                <a:lnTo>
                  <a:pt x="96" y="182"/>
                </a:lnTo>
                <a:lnTo>
                  <a:pt x="94" y="184"/>
                </a:lnTo>
                <a:lnTo>
                  <a:pt x="94" y="184"/>
                </a:lnTo>
                <a:lnTo>
                  <a:pt x="94" y="184"/>
                </a:lnTo>
                <a:lnTo>
                  <a:pt x="91" y="184"/>
                </a:lnTo>
                <a:lnTo>
                  <a:pt x="91" y="184"/>
                </a:lnTo>
                <a:lnTo>
                  <a:pt x="91" y="187"/>
                </a:lnTo>
                <a:lnTo>
                  <a:pt x="91" y="187"/>
                </a:lnTo>
                <a:lnTo>
                  <a:pt x="89" y="187"/>
                </a:lnTo>
                <a:lnTo>
                  <a:pt x="89" y="187"/>
                </a:lnTo>
                <a:lnTo>
                  <a:pt x="86" y="189"/>
                </a:lnTo>
                <a:lnTo>
                  <a:pt x="86" y="189"/>
                </a:lnTo>
                <a:lnTo>
                  <a:pt x="89" y="189"/>
                </a:lnTo>
                <a:lnTo>
                  <a:pt x="89" y="189"/>
                </a:lnTo>
                <a:lnTo>
                  <a:pt x="89" y="192"/>
                </a:lnTo>
                <a:lnTo>
                  <a:pt x="89" y="192"/>
                </a:lnTo>
                <a:lnTo>
                  <a:pt x="84" y="192"/>
                </a:lnTo>
                <a:lnTo>
                  <a:pt x="84" y="192"/>
                </a:lnTo>
                <a:lnTo>
                  <a:pt x="81" y="194"/>
                </a:lnTo>
                <a:lnTo>
                  <a:pt x="81" y="194"/>
                </a:lnTo>
                <a:lnTo>
                  <a:pt x="81" y="197"/>
                </a:lnTo>
                <a:lnTo>
                  <a:pt x="81" y="197"/>
                </a:lnTo>
                <a:lnTo>
                  <a:pt x="86" y="197"/>
                </a:lnTo>
                <a:lnTo>
                  <a:pt x="86" y="197"/>
                </a:lnTo>
                <a:lnTo>
                  <a:pt x="84" y="197"/>
                </a:lnTo>
                <a:lnTo>
                  <a:pt x="84" y="197"/>
                </a:lnTo>
                <a:lnTo>
                  <a:pt x="81" y="199"/>
                </a:lnTo>
                <a:lnTo>
                  <a:pt x="81" y="199"/>
                </a:lnTo>
                <a:lnTo>
                  <a:pt x="79" y="201"/>
                </a:lnTo>
                <a:lnTo>
                  <a:pt x="79" y="201"/>
                </a:lnTo>
                <a:lnTo>
                  <a:pt x="79" y="199"/>
                </a:lnTo>
                <a:lnTo>
                  <a:pt x="79" y="199"/>
                </a:lnTo>
                <a:lnTo>
                  <a:pt x="77" y="197"/>
                </a:lnTo>
                <a:lnTo>
                  <a:pt x="77" y="197"/>
                </a:lnTo>
                <a:lnTo>
                  <a:pt x="77" y="199"/>
                </a:lnTo>
                <a:lnTo>
                  <a:pt x="77" y="199"/>
                </a:lnTo>
                <a:lnTo>
                  <a:pt x="74" y="199"/>
                </a:lnTo>
                <a:lnTo>
                  <a:pt x="74" y="199"/>
                </a:lnTo>
                <a:lnTo>
                  <a:pt x="74" y="199"/>
                </a:lnTo>
                <a:lnTo>
                  <a:pt x="74" y="201"/>
                </a:lnTo>
                <a:lnTo>
                  <a:pt x="74" y="201"/>
                </a:lnTo>
                <a:lnTo>
                  <a:pt x="74" y="204"/>
                </a:lnTo>
                <a:lnTo>
                  <a:pt x="74" y="204"/>
                </a:lnTo>
                <a:lnTo>
                  <a:pt x="74" y="204"/>
                </a:lnTo>
                <a:lnTo>
                  <a:pt x="72" y="204"/>
                </a:lnTo>
                <a:lnTo>
                  <a:pt x="72" y="204"/>
                </a:lnTo>
                <a:lnTo>
                  <a:pt x="69" y="206"/>
                </a:lnTo>
                <a:lnTo>
                  <a:pt x="69" y="206"/>
                </a:lnTo>
                <a:lnTo>
                  <a:pt x="69" y="209"/>
                </a:lnTo>
                <a:lnTo>
                  <a:pt x="69" y="209"/>
                </a:lnTo>
                <a:lnTo>
                  <a:pt x="67" y="211"/>
                </a:lnTo>
                <a:lnTo>
                  <a:pt x="67" y="211"/>
                </a:lnTo>
                <a:lnTo>
                  <a:pt x="67" y="211"/>
                </a:lnTo>
                <a:lnTo>
                  <a:pt x="67" y="214"/>
                </a:lnTo>
                <a:lnTo>
                  <a:pt x="67" y="214"/>
                </a:lnTo>
                <a:lnTo>
                  <a:pt x="64" y="216"/>
                </a:lnTo>
                <a:lnTo>
                  <a:pt x="64" y="216"/>
                </a:lnTo>
                <a:lnTo>
                  <a:pt x="62" y="219"/>
                </a:lnTo>
                <a:lnTo>
                  <a:pt x="62" y="219"/>
                </a:lnTo>
                <a:lnTo>
                  <a:pt x="62" y="221"/>
                </a:lnTo>
                <a:lnTo>
                  <a:pt x="62" y="221"/>
                </a:lnTo>
                <a:lnTo>
                  <a:pt x="67" y="219"/>
                </a:lnTo>
                <a:lnTo>
                  <a:pt x="67" y="219"/>
                </a:lnTo>
                <a:lnTo>
                  <a:pt x="67" y="219"/>
                </a:lnTo>
                <a:lnTo>
                  <a:pt x="67" y="219"/>
                </a:lnTo>
                <a:lnTo>
                  <a:pt x="64" y="221"/>
                </a:lnTo>
                <a:lnTo>
                  <a:pt x="64" y="221"/>
                </a:lnTo>
                <a:lnTo>
                  <a:pt x="64" y="224"/>
                </a:lnTo>
                <a:lnTo>
                  <a:pt x="64" y="224"/>
                </a:lnTo>
                <a:lnTo>
                  <a:pt x="67" y="226"/>
                </a:lnTo>
                <a:lnTo>
                  <a:pt x="67" y="226"/>
                </a:lnTo>
                <a:lnTo>
                  <a:pt x="69" y="224"/>
                </a:lnTo>
                <a:lnTo>
                  <a:pt x="69" y="224"/>
                </a:lnTo>
                <a:lnTo>
                  <a:pt x="74" y="224"/>
                </a:lnTo>
                <a:lnTo>
                  <a:pt x="74" y="224"/>
                </a:lnTo>
                <a:lnTo>
                  <a:pt x="79" y="219"/>
                </a:lnTo>
                <a:lnTo>
                  <a:pt x="79" y="219"/>
                </a:lnTo>
                <a:lnTo>
                  <a:pt x="79" y="216"/>
                </a:lnTo>
                <a:lnTo>
                  <a:pt x="79" y="216"/>
                </a:lnTo>
                <a:lnTo>
                  <a:pt x="77" y="219"/>
                </a:lnTo>
                <a:lnTo>
                  <a:pt x="77" y="219"/>
                </a:lnTo>
                <a:lnTo>
                  <a:pt x="79" y="216"/>
                </a:lnTo>
                <a:lnTo>
                  <a:pt x="79" y="216"/>
                </a:lnTo>
                <a:lnTo>
                  <a:pt x="79" y="211"/>
                </a:lnTo>
                <a:lnTo>
                  <a:pt x="79" y="211"/>
                </a:lnTo>
                <a:lnTo>
                  <a:pt x="79" y="211"/>
                </a:lnTo>
                <a:lnTo>
                  <a:pt x="81" y="211"/>
                </a:lnTo>
                <a:lnTo>
                  <a:pt x="81" y="211"/>
                </a:lnTo>
                <a:lnTo>
                  <a:pt x="84" y="211"/>
                </a:lnTo>
                <a:lnTo>
                  <a:pt x="84" y="211"/>
                </a:lnTo>
                <a:lnTo>
                  <a:pt x="86" y="211"/>
                </a:lnTo>
                <a:lnTo>
                  <a:pt x="86" y="211"/>
                </a:lnTo>
                <a:lnTo>
                  <a:pt x="81" y="214"/>
                </a:lnTo>
                <a:lnTo>
                  <a:pt x="81" y="214"/>
                </a:lnTo>
                <a:lnTo>
                  <a:pt x="81" y="216"/>
                </a:lnTo>
                <a:lnTo>
                  <a:pt x="81" y="216"/>
                </a:lnTo>
                <a:lnTo>
                  <a:pt x="84" y="216"/>
                </a:lnTo>
                <a:lnTo>
                  <a:pt x="84" y="216"/>
                </a:lnTo>
                <a:lnTo>
                  <a:pt x="84" y="219"/>
                </a:lnTo>
                <a:lnTo>
                  <a:pt x="84" y="219"/>
                </a:lnTo>
                <a:lnTo>
                  <a:pt x="81" y="219"/>
                </a:lnTo>
                <a:lnTo>
                  <a:pt x="81" y="219"/>
                </a:lnTo>
                <a:lnTo>
                  <a:pt x="77" y="224"/>
                </a:lnTo>
                <a:lnTo>
                  <a:pt x="77" y="224"/>
                </a:lnTo>
                <a:lnTo>
                  <a:pt x="79" y="224"/>
                </a:lnTo>
                <a:lnTo>
                  <a:pt x="79" y="224"/>
                </a:lnTo>
                <a:lnTo>
                  <a:pt x="79" y="226"/>
                </a:lnTo>
                <a:lnTo>
                  <a:pt x="79" y="226"/>
                </a:lnTo>
                <a:lnTo>
                  <a:pt x="79" y="229"/>
                </a:lnTo>
                <a:lnTo>
                  <a:pt x="79" y="229"/>
                </a:lnTo>
                <a:lnTo>
                  <a:pt x="77" y="229"/>
                </a:lnTo>
                <a:lnTo>
                  <a:pt x="77" y="229"/>
                </a:lnTo>
                <a:lnTo>
                  <a:pt x="74" y="226"/>
                </a:lnTo>
                <a:lnTo>
                  <a:pt x="74" y="226"/>
                </a:lnTo>
                <a:lnTo>
                  <a:pt x="69" y="226"/>
                </a:lnTo>
                <a:lnTo>
                  <a:pt x="69" y="226"/>
                </a:lnTo>
                <a:lnTo>
                  <a:pt x="69" y="229"/>
                </a:lnTo>
                <a:lnTo>
                  <a:pt x="69" y="229"/>
                </a:lnTo>
                <a:lnTo>
                  <a:pt x="69" y="231"/>
                </a:lnTo>
                <a:lnTo>
                  <a:pt x="69" y="231"/>
                </a:lnTo>
                <a:lnTo>
                  <a:pt x="67" y="233"/>
                </a:lnTo>
                <a:lnTo>
                  <a:pt x="67" y="233"/>
                </a:lnTo>
                <a:lnTo>
                  <a:pt x="64" y="233"/>
                </a:lnTo>
                <a:lnTo>
                  <a:pt x="64" y="233"/>
                </a:lnTo>
                <a:lnTo>
                  <a:pt x="64" y="231"/>
                </a:lnTo>
                <a:lnTo>
                  <a:pt x="64" y="231"/>
                </a:lnTo>
                <a:lnTo>
                  <a:pt x="67" y="231"/>
                </a:lnTo>
                <a:lnTo>
                  <a:pt x="67" y="231"/>
                </a:lnTo>
                <a:lnTo>
                  <a:pt x="64" y="229"/>
                </a:lnTo>
                <a:lnTo>
                  <a:pt x="64" y="229"/>
                </a:lnTo>
                <a:lnTo>
                  <a:pt x="64" y="226"/>
                </a:lnTo>
                <a:lnTo>
                  <a:pt x="64" y="226"/>
                </a:lnTo>
                <a:lnTo>
                  <a:pt x="62" y="224"/>
                </a:lnTo>
                <a:lnTo>
                  <a:pt x="62" y="224"/>
                </a:lnTo>
                <a:lnTo>
                  <a:pt x="59" y="224"/>
                </a:lnTo>
                <a:lnTo>
                  <a:pt x="59" y="224"/>
                </a:lnTo>
                <a:lnTo>
                  <a:pt x="59" y="224"/>
                </a:lnTo>
                <a:lnTo>
                  <a:pt x="57" y="226"/>
                </a:lnTo>
                <a:lnTo>
                  <a:pt x="57" y="226"/>
                </a:lnTo>
                <a:lnTo>
                  <a:pt x="57" y="226"/>
                </a:lnTo>
                <a:lnTo>
                  <a:pt x="59" y="226"/>
                </a:lnTo>
                <a:lnTo>
                  <a:pt x="59" y="226"/>
                </a:lnTo>
                <a:lnTo>
                  <a:pt x="57" y="231"/>
                </a:lnTo>
                <a:lnTo>
                  <a:pt x="57" y="231"/>
                </a:lnTo>
                <a:lnTo>
                  <a:pt x="54" y="229"/>
                </a:lnTo>
                <a:lnTo>
                  <a:pt x="54" y="229"/>
                </a:lnTo>
                <a:lnTo>
                  <a:pt x="52" y="229"/>
                </a:lnTo>
                <a:lnTo>
                  <a:pt x="52" y="229"/>
                </a:lnTo>
                <a:lnTo>
                  <a:pt x="49" y="231"/>
                </a:lnTo>
                <a:lnTo>
                  <a:pt x="49" y="231"/>
                </a:lnTo>
                <a:lnTo>
                  <a:pt x="49" y="233"/>
                </a:lnTo>
                <a:lnTo>
                  <a:pt x="49" y="233"/>
                </a:lnTo>
                <a:lnTo>
                  <a:pt x="52" y="231"/>
                </a:lnTo>
                <a:lnTo>
                  <a:pt x="52" y="231"/>
                </a:lnTo>
                <a:lnTo>
                  <a:pt x="52" y="233"/>
                </a:lnTo>
                <a:lnTo>
                  <a:pt x="52" y="233"/>
                </a:lnTo>
                <a:lnTo>
                  <a:pt x="49" y="233"/>
                </a:lnTo>
                <a:lnTo>
                  <a:pt x="49" y="233"/>
                </a:lnTo>
                <a:lnTo>
                  <a:pt x="47" y="236"/>
                </a:lnTo>
                <a:lnTo>
                  <a:pt x="47" y="236"/>
                </a:lnTo>
                <a:lnTo>
                  <a:pt x="47" y="236"/>
                </a:lnTo>
                <a:lnTo>
                  <a:pt x="45" y="236"/>
                </a:lnTo>
                <a:lnTo>
                  <a:pt x="45" y="236"/>
                </a:lnTo>
                <a:lnTo>
                  <a:pt x="45" y="236"/>
                </a:lnTo>
                <a:lnTo>
                  <a:pt x="47" y="238"/>
                </a:lnTo>
                <a:lnTo>
                  <a:pt x="47" y="238"/>
                </a:lnTo>
                <a:lnTo>
                  <a:pt x="52" y="238"/>
                </a:lnTo>
                <a:lnTo>
                  <a:pt x="52" y="238"/>
                </a:lnTo>
                <a:lnTo>
                  <a:pt x="52" y="241"/>
                </a:lnTo>
                <a:lnTo>
                  <a:pt x="52" y="241"/>
                </a:lnTo>
                <a:lnTo>
                  <a:pt x="52" y="241"/>
                </a:lnTo>
                <a:lnTo>
                  <a:pt x="52" y="243"/>
                </a:lnTo>
                <a:lnTo>
                  <a:pt x="52" y="243"/>
                </a:lnTo>
                <a:lnTo>
                  <a:pt x="49" y="241"/>
                </a:lnTo>
                <a:lnTo>
                  <a:pt x="49" y="241"/>
                </a:lnTo>
                <a:lnTo>
                  <a:pt x="49" y="241"/>
                </a:lnTo>
                <a:lnTo>
                  <a:pt x="45" y="241"/>
                </a:lnTo>
                <a:lnTo>
                  <a:pt x="45" y="241"/>
                </a:lnTo>
                <a:lnTo>
                  <a:pt x="42" y="238"/>
                </a:lnTo>
                <a:lnTo>
                  <a:pt x="42" y="238"/>
                </a:lnTo>
                <a:lnTo>
                  <a:pt x="42" y="236"/>
                </a:lnTo>
                <a:lnTo>
                  <a:pt x="42" y="236"/>
                </a:lnTo>
                <a:lnTo>
                  <a:pt x="42" y="236"/>
                </a:lnTo>
                <a:lnTo>
                  <a:pt x="40" y="238"/>
                </a:lnTo>
                <a:lnTo>
                  <a:pt x="40" y="238"/>
                </a:lnTo>
                <a:lnTo>
                  <a:pt x="45" y="241"/>
                </a:lnTo>
                <a:lnTo>
                  <a:pt x="45" y="241"/>
                </a:lnTo>
                <a:lnTo>
                  <a:pt x="47" y="243"/>
                </a:lnTo>
                <a:lnTo>
                  <a:pt x="47" y="243"/>
                </a:lnTo>
                <a:lnTo>
                  <a:pt x="49" y="243"/>
                </a:lnTo>
                <a:lnTo>
                  <a:pt x="49" y="243"/>
                </a:lnTo>
                <a:lnTo>
                  <a:pt x="49" y="246"/>
                </a:lnTo>
                <a:lnTo>
                  <a:pt x="49" y="246"/>
                </a:lnTo>
                <a:lnTo>
                  <a:pt x="47" y="246"/>
                </a:lnTo>
                <a:lnTo>
                  <a:pt x="47" y="246"/>
                </a:lnTo>
                <a:lnTo>
                  <a:pt x="42" y="243"/>
                </a:lnTo>
                <a:lnTo>
                  <a:pt x="42" y="243"/>
                </a:lnTo>
                <a:lnTo>
                  <a:pt x="40" y="238"/>
                </a:lnTo>
                <a:lnTo>
                  <a:pt x="40" y="238"/>
                </a:lnTo>
                <a:lnTo>
                  <a:pt x="37" y="241"/>
                </a:lnTo>
                <a:lnTo>
                  <a:pt x="37" y="241"/>
                </a:lnTo>
                <a:lnTo>
                  <a:pt x="35" y="238"/>
                </a:lnTo>
                <a:lnTo>
                  <a:pt x="35" y="238"/>
                </a:lnTo>
                <a:lnTo>
                  <a:pt x="32" y="238"/>
                </a:lnTo>
                <a:lnTo>
                  <a:pt x="32" y="238"/>
                </a:lnTo>
                <a:lnTo>
                  <a:pt x="30" y="238"/>
                </a:lnTo>
                <a:lnTo>
                  <a:pt x="30" y="238"/>
                </a:lnTo>
                <a:lnTo>
                  <a:pt x="30" y="238"/>
                </a:lnTo>
                <a:lnTo>
                  <a:pt x="30" y="241"/>
                </a:lnTo>
                <a:lnTo>
                  <a:pt x="30" y="241"/>
                </a:lnTo>
                <a:lnTo>
                  <a:pt x="27" y="243"/>
                </a:lnTo>
                <a:lnTo>
                  <a:pt x="27" y="243"/>
                </a:lnTo>
                <a:lnTo>
                  <a:pt x="30" y="246"/>
                </a:lnTo>
                <a:lnTo>
                  <a:pt x="30" y="246"/>
                </a:lnTo>
                <a:lnTo>
                  <a:pt x="35" y="243"/>
                </a:lnTo>
                <a:lnTo>
                  <a:pt x="35" y="243"/>
                </a:lnTo>
                <a:lnTo>
                  <a:pt x="37" y="246"/>
                </a:lnTo>
                <a:lnTo>
                  <a:pt x="37" y="246"/>
                </a:lnTo>
                <a:lnTo>
                  <a:pt x="35" y="246"/>
                </a:lnTo>
                <a:lnTo>
                  <a:pt x="35" y="246"/>
                </a:lnTo>
                <a:lnTo>
                  <a:pt x="35" y="246"/>
                </a:lnTo>
                <a:lnTo>
                  <a:pt x="40" y="246"/>
                </a:lnTo>
                <a:lnTo>
                  <a:pt x="40" y="246"/>
                </a:lnTo>
                <a:lnTo>
                  <a:pt x="40" y="246"/>
                </a:lnTo>
                <a:lnTo>
                  <a:pt x="40" y="246"/>
                </a:lnTo>
                <a:lnTo>
                  <a:pt x="35" y="248"/>
                </a:lnTo>
                <a:lnTo>
                  <a:pt x="35" y="248"/>
                </a:lnTo>
                <a:lnTo>
                  <a:pt x="35" y="251"/>
                </a:lnTo>
                <a:lnTo>
                  <a:pt x="35" y="251"/>
                </a:lnTo>
                <a:lnTo>
                  <a:pt x="30" y="251"/>
                </a:lnTo>
                <a:lnTo>
                  <a:pt x="30" y="251"/>
                </a:lnTo>
                <a:lnTo>
                  <a:pt x="27" y="246"/>
                </a:lnTo>
                <a:lnTo>
                  <a:pt x="27" y="246"/>
                </a:lnTo>
                <a:lnTo>
                  <a:pt x="27" y="246"/>
                </a:lnTo>
                <a:lnTo>
                  <a:pt x="25" y="248"/>
                </a:lnTo>
                <a:lnTo>
                  <a:pt x="25" y="248"/>
                </a:lnTo>
                <a:lnTo>
                  <a:pt x="22" y="246"/>
                </a:lnTo>
                <a:lnTo>
                  <a:pt x="22" y="246"/>
                </a:lnTo>
                <a:lnTo>
                  <a:pt x="20" y="248"/>
                </a:lnTo>
                <a:lnTo>
                  <a:pt x="20" y="248"/>
                </a:lnTo>
                <a:lnTo>
                  <a:pt x="20" y="246"/>
                </a:lnTo>
                <a:lnTo>
                  <a:pt x="20" y="246"/>
                </a:lnTo>
                <a:lnTo>
                  <a:pt x="17" y="248"/>
                </a:lnTo>
                <a:lnTo>
                  <a:pt x="17" y="248"/>
                </a:lnTo>
                <a:lnTo>
                  <a:pt x="17" y="248"/>
                </a:lnTo>
                <a:lnTo>
                  <a:pt x="22" y="251"/>
                </a:lnTo>
                <a:lnTo>
                  <a:pt x="22" y="251"/>
                </a:lnTo>
                <a:lnTo>
                  <a:pt x="25" y="251"/>
                </a:lnTo>
                <a:lnTo>
                  <a:pt x="25" y="251"/>
                </a:lnTo>
                <a:lnTo>
                  <a:pt x="30" y="253"/>
                </a:lnTo>
                <a:lnTo>
                  <a:pt x="30" y="253"/>
                </a:lnTo>
                <a:lnTo>
                  <a:pt x="30" y="256"/>
                </a:lnTo>
                <a:lnTo>
                  <a:pt x="30" y="256"/>
                </a:lnTo>
                <a:lnTo>
                  <a:pt x="30" y="258"/>
                </a:lnTo>
                <a:lnTo>
                  <a:pt x="30" y="258"/>
                </a:lnTo>
                <a:lnTo>
                  <a:pt x="27" y="261"/>
                </a:lnTo>
                <a:lnTo>
                  <a:pt x="27" y="261"/>
                </a:lnTo>
                <a:lnTo>
                  <a:pt x="27" y="258"/>
                </a:lnTo>
                <a:lnTo>
                  <a:pt x="27" y="258"/>
                </a:lnTo>
                <a:lnTo>
                  <a:pt x="27" y="253"/>
                </a:lnTo>
                <a:lnTo>
                  <a:pt x="27" y="253"/>
                </a:lnTo>
                <a:lnTo>
                  <a:pt x="25" y="253"/>
                </a:lnTo>
                <a:lnTo>
                  <a:pt x="25" y="253"/>
                </a:lnTo>
                <a:lnTo>
                  <a:pt x="22" y="253"/>
                </a:lnTo>
                <a:lnTo>
                  <a:pt x="22" y="253"/>
                </a:lnTo>
                <a:lnTo>
                  <a:pt x="22" y="256"/>
                </a:lnTo>
                <a:lnTo>
                  <a:pt x="22" y="256"/>
                </a:lnTo>
                <a:lnTo>
                  <a:pt x="22" y="258"/>
                </a:lnTo>
                <a:lnTo>
                  <a:pt x="22" y="258"/>
                </a:lnTo>
                <a:lnTo>
                  <a:pt x="17" y="256"/>
                </a:lnTo>
                <a:lnTo>
                  <a:pt x="17" y="256"/>
                </a:lnTo>
                <a:lnTo>
                  <a:pt x="15" y="258"/>
                </a:lnTo>
                <a:lnTo>
                  <a:pt x="15" y="258"/>
                </a:lnTo>
                <a:lnTo>
                  <a:pt x="17" y="261"/>
                </a:lnTo>
                <a:lnTo>
                  <a:pt x="17" y="261"/>
                </a:lnTo>
                <a:lnTo>
                  <a:pt x="15" y="261"/>
                </a:lnTo>
                <a:lnTo>
                  <a:pt x="15" y="261"/>
                </a:lnTo>
                <a:lnTo>
                  <a:pt x="15" y="261"/>
                </a:lnTo>
                <a:lnTo>
                  <a:pt x="13" y="258"/>
                </a:lnTo>
                <a:lnTo>
                  <a:pt x="13" y="258"/>
                </a:lnTo>
                <a:lnTo>
                  <a:pt x="10" y="258"/>
                </a:lnTo>
                <a:lnTo>
                  <a:pt x="10" y="258"/>
                </a:lnTo>
                <a:lnTo>
                  <a:pt x="10" y="261"/>
                </a:lnTo>
                <a:lnTo>
                  <a:pt x="10" y="261"/>
                </a:lnTo>
                <a:lnTo>
                  <a:pt x="10" y="263"/>
                </a:lnTo>
                <a:lnTo>
                  <a:pt x="10" y="263"/>
                </a:lnTo>
                <a:lnTo>
                  <a:pt x="8" y="261"/>
                </a:lnTo>
                <a:lnTo>
                  <a:pt x="8" y="261"/>
                </a:lnTo>
                <a:lnTo>
                  <a:pt x="5" y="258"/>
                </a:lnTo>
                <a:lnTo>
                  <a:pt x="5" y="258"/>
                </a:lnTo>
                <a:lnTo>
                  <a:pt x="5" y="258"/>
                </a:lnTo>
                <a:lnTo>
                  <a:pt x="5" y="261"/>
                </a:lnTo>
                <a:lnTo>
                  <a:pt x="5" y="261"/>
                </a:lnTo>
                <a:lnTo>
                  <a:pt x="8" y="263"/>
                </a:lnTo>
                <a:lnTo>
                  <a:pt x="8" y="263"/>
                </a:lnTo>
                <a:lnTo>
                  <a:pt x="5" y="263"/>
                </a:lnTo>
                <a:lnTo>
                  <a:pt x="5" y="263"/>
                </a:lnTo>
                <a:lnTo>
                  <a:pt x="8" y="265"/>
                </a:lnTo>
                <a:lnTo>
                  <a:pt x="8" y="265"/>
                </a:lnTo>
                <a:lnTo>
                  <a:pt x="10" y="263"/>
                </a:lnTo>
                <a:lnTo>
                  <a:pt x="10" y="263"/>
                </a:lnTo>
                <a:lnTo>
                  <a:pt x="15" y="265"/>
                </a:lnTo>
                <a:lnTo>
                  <a:pt x="15" y="265"/>
                </a:lnTo>
                <a:lnTo>
                  <a:pt x="17" y="268"/>
                </a:lnTo>
                <a:lnTo>
                  <a:pt x="17" y="268"/>
                </a:lnTo>
                <a:lnTo>
                  <a:pt x="22" y="268"/>
                </a:lnTo>
                <a:lnTo>
                  <a:pt x="22" y="268"/>
                </a:lnTo>
                <a:lnTo>
                  <a:pt x="25" y="265"/>
                </a:lnTo>
                <a:lnTo>
                  <a:pt x="25" y="265"/>
                </a:lnTo>
                <a:lnTo>
                  <a:pt x="27" y="265"/>
                </a:lnTo>
                <a:lnTo>
                  <a:pt x="27" y="265"/>
                </a:lnTo>
                <a:lnTo>
                  <a:pt x="22" y="268"/>
                </a:lnTo>
                <a:lnTo>
                  <a:pt x="22" y="268"/>
                </a:lnTo>
                <a:lnTo>
                  <a:pt x="20" y="268"/>
                </a:lnTo>
                <a:lnTo>
                  <a:pt x="20" y="268"/>
                </a:lnTo>
                <a:lnTo>
                  <a:pt x="17" y="268"/>
                </a:lnTo>
                <a:lnTo>
                  <a:pt x="17" y="268"/>
                </a:lnTo>
                <a:lnTo>
                  <a:pt x="13" y="265"/>
                </a:lnTo>
                <a:lnTo>
                  <a:pt x="13" y="265"/>
                </a:lnTo>
                <a:lnTo>
                  <a:pt x="10" y="268"/>
                </a:lnTo>
                <a:lnTo>
                  <a:pt x="10" y="268"/>
                </a:lnTo>
                <a:lnTo>
                  <a:pt x="8" y="265"/>
                </a:lnTo>
                <a:lnTo>
                  <a:pt x="8" y="265"/>
                </a:lnTo>
                <a:lnTo>
                  <a:pt x="5" y="268"/>
                </a:lnTo>
                <a:lnTo>
                  <a:pt x="5" y="268"/>
                </a:lnTo>
                <a:lnTo>
                  <a:pt x="3" y="268"/>
                </a:lnTo>
                <a:lnTo>
                  <a:pt x="3" y="268"/>
                </a:lnTo>
                <a:lnTo>
                  <a:pt x="3" y="270"/>
                </a:lnTo>
                <a:lnTo>
                  <a:pt x="3" y="270"/>
                </a:lnTo>
                <a:lnTo>
                  <a:pt x="8" y="273"/>
                </a:lnTo>
                <a:lnTo>
                  <a:pt x="8" y="273"/>
                </a:lnTo>
                <a:lnTo>
                  <a:pt x="5" y="275"/>
                </a:lnTo>
                <a:lnTo>
                  <a:pt x="5" y="275"/>
                </a:lnTo>
                <a:lnTo>
                  <a:pt x="8" y="275"/>
                </a:lnTo>
                <a:lnTo>
                  <a:pt x="8" y="275"/>
                </a:lnTo>
                <a:lnTo>
                  <a:pt x="10" y="275"/>
                </a:lnTo>
                <a:lnTo>
                  <a:pt x="10" y="275"/>
                </a:lnTo>
                <a:lnTo>
                  <a:pt x="15" y="275"/>
                </a:lnTo>
                <a:lnTo>
                  <a:pt x="15" y="275"/>
                </a:lnTo>
                <a:lnTo>
                  <a:pt x="10" y="275"/>
                </a:lnTo>
                <a:lnTo>
                  <a:pt x="10" y="275"/>
                </a:lnTo>
                <a:lnTo>
                  <a:pt x="8" y="275"/>
                </a:lnTo>
                <a:lnTo>
                  <a:pt x="8" y="275"/>
                </a:lnTo>
                <a:lnTo>
                  <a:pt x="5" y="278"/>
                </a:lnTo>
                <a:lnTo>
                  <a:pt x="5" y="278"/>
                </a:lnTo>
                <a:lnTo>
                  <a:pt x="5" y="275"/>
                </a:lnTo>
                <a:lnTo>
                  <a:pt x="5" y="275"/>
                </a:lnTo>
                <a:lnTo>
                  <a:pt x="5" y="278"/>
                </a:lnTo>
                <a:lnTo>
                  <a:pt x="5" y="278"/>
                </a:lnTo>
                <a:lnTo>
                  <a:pt x="8" y="278"/>
                </a:lnTo>
                <a:lnTo>
                  <a:pt x="8" y="278"/>
                </a:lnTo>
                <a:lnTo>
                  <a:pt x="8" y="278"/>
                </a:lnTo>
                <a:lnTo>
                  <a:pt x="5" y="280"/>
                </a:lnTo>
                <a:lnTo>
                  <a:pt x="5" y="280"/>
                </a:lnTo>
                <a:lnTo>
                  <a:pt x="5" y="280"/>
                </a:lnTo>
                <a:lnTo>
                  <a:pt x="5" y="283"/>
                </a:lnTo>
                <a:lnTo>
                  <a:pt x="5" y="283"/>
                </a:lnTo>
                <a:lnTo>
                  <a:pt x="5" y="283"/>
                </a:lnTo>
                <a:lnTo>
                  <a:pt x="8" y="285"/>
                </a:lnTo>
                <a:lnTo>
                  <a:pt x="8" y="285"/>
                </a:lnTo>
                <a:lnTo>
                  <a:pt x="10" y="285"/>
                </a:lnTo>
                <a:lnTo>
                  <a:pt x="10" y="285"/>
                </a:lnTo>
                <a:lnTo>
                  <a:pt x="13" y="283"/>
                </a:lnTo>
                <a:lnTo>
                  <a:pt x="13" y="283"/>
                </a:lnTo>
                <a:lnTo>
                  <a:pt x="17" y="283"/>
                </a:lnTo>
                <a:lnTo>
                  <a:pt x="17" y="283"/>
                </a:lnTo>
                <a:lnTo>
                  <a:pt x="20" y="283"/>
                </a:lnTo>
                <a:lnTo>
                  <a:pt x="20" y="283"/>
                </a:lnTo>
                <a:lnTo>
                  <a:pt x="22" y="283"/>
                </a:lnTo>
                <a:lnTo>
                  <a:pt x="22" y="283"/>
                </a:lnTo>
                <a:lnTo>
                  <a:pt x="22" y="283"/>
                </a:lnTo>
                <a:lnTo>
                  <a:pt x="22" y="280"/>
                </a:lnTo>
                <a:lnTo>
                  <a:pt x="22" y="280"/>
                </a:lnTo>
                <a:lnTo>
                  <a:pt x="25" y="280"/>
                </a:lnTo>
                <a:lnTo>
                  <a:pt x="25" y="280"/>
                </a:lnTo>
                <a:lnTo>
                  <a:pt x="27" y="283"/>
                </a:lnTo>
                <a:lnTo>
                  <a:pt x="27" y="283"/>
                </a:lnTo>
                <a:lnTo>
                  <a:pt x="30" y="283"/>
                </a:lnTo>
                <a:lnTo>
                  <a:pt x="30" y="283"/>
                </a:lnTo>
                <a:lnTo>
                  <a:pt x="32" y="280"/>
                </a:lnTo>
                <a:lnTo>
                  <a:pt x="32" y="280"/>
                </a:lnTo>
                <a:lnTo>
                  <a:pt x="32" y="280"/>
                </a:lnTo>
                <a:lnTo>
                  <a:pt x="32" y="280"/>
                </a:lnTo>
                <a:lnTo>
                  <a:pt x="32" y="283"/>
                </a:lnTo>
                <a:lnTo>
                  <a:pt x="32" y="283"/>
                </a:lnTo>
                <a:lnTo>
                  <a:pt x="35" y="283"/>
                </a:lnTo>
                <a:lnTo>
                  <a:pt x="35" y="283"/>
                </a:lnTo>
                <a:lnTo>
                  <a:pt x="35" y="280"/>
                </a:lnTo>
                <a:lnTo>
                  <a:pt x="35" y="280"/>
                </a:lnTo>
                <a:lnTo>
                  <a:pt x="35" y="280"/>
                </a:lnTo>
                <a:lnTo>
                  <a:pt x="37" y="275"/>
                </a:lnTo>
                <a:lnTo>
                  <a:pt x="37" y="275"/>
                </a:lnTo>
                <a:lnTo>
                  <a:pt x="37" y="278"/>
                </a:lnTo>
                <a:lnTo>
                  <a:pt x="37" y="278"/>
                </a:lnTo>
                <a:lnTo>
                  <a:pt x="40" y="283"/>
                </a:lnTo>
                <a:lnTo>
                  <a:pt x="40" y="283"/>
                </a:lnTo>
                <a:lnTo>
                  <a:pt x="37" y="285"/>
                </a:lnTo>
                <a:lnTo>
                  <a:pt x="37" y="285"/>
                </a:lnTo>
                <a:lnTo>
                  <a:pt x="32" y="285"/>
                </a:lnTo>
                <a:lnTo>
                  <a:pt x="32" y="285"/>
                </a:lnTo>
                <a:lnTo>
                  <a:pt x="32" y="288"/>
                </a:lnTo>
                <a:lnTo>
                  <a:pt x="32" y="288"/>
                </a:lnTo>
                <a:lnTo>
                  <a:pt x="32" y="288"/>
                </a:lnTo>
                <a:lnTo>
                  <a:pt x="30" y="290"/>
                </a:lnTo>
                <a:lnTo>
                  <a:pt x="30" y="290"/>
                </a:lnTo>
                <a:lnTo>
                  <a:pt x="27" y="290"/>
                </a:lnTo>
                <a:lnTo>
                  <a:pt x="27" y="290"/>
                </a:lnTo>
                <a:lnTo>
                  <a:pt x="27" y="288"/>
                </a:lnTo>
                <a:lnTo>
                  <a:pt x="27" y="288"/>
                </a:lnTo>
                <a:lnTo>
                  <a:pt x="30" y="288"/>
                </a:lnTo>
                <a:lnTo>
                  <a:pt x="30" y="288"/>
                </a:lnTo>
                <a:lnTo>
                  <a:pt x="30" y="285"/>
                </a:lnTo>
                <a:lnTo>
                  <a:pt x="30" y="285"/>
                </a:lnTo>
                <a:lnTo>
                  <a:pt x="25" y="285"/>
                </a:lnTo>
                <a:lnTo>
                  <a:pt x="25" y="285"/>
                </a:lnTo>
                <a:lnTo>
                  <a:pt x="22" y="288"/>
                </a:lnTo>
                <a:lnTo>
                  <a:pt x="22" y="288"/>
                </a:lnTo>
                <a:lnTo>
                  <a:pt x="22" y="288"/>
                </a:lnTo>
                <a:lnTo>
                  <a:pt x="20" y="285"/>
                </a:lnTo>
                <a:lnTo>
                  <a:pt x="20" y="285"/>
                </a:lnTo>
                <a:lnTo>
                  <a:pt x="17" y="285"/>
                </a:lnTo>
                <a:lnTo>
                  <a:pt x="17" y="285"/>
                </a:lnTo>
                <a:lnTo>
                  <a:pt x="15" y="285"/>
                </a:lnTo>
                <a:lnTo>
                  <a:pt x="15" y="285"/>
                </a:lnTo>
                <a:lnTo>
                  <a:pt x="13" y="285"/>
                </a:lnTo>
                <a:lnTo>
                  <a:pt x="13" y="285"/>
                </a:lnTo>
                <a:lnTo>
                  <a:pt x="8" y="288"/>
                </a:lnTo>
                <a:lnTo>
                  <a:pt x="8" y="288"/>
                </a:lnTo>
                <a:lnTo>
                  <a:pt x="8" y="288"/>
                </a:lnTo>
                <a:lnTo>
                  <a:pt x="5" y="285"/>
                </a:lnTo>
                <a:lnTo>
                  <a:pt x="5" y="285"/>
                </a:lnTo>
                <a:lnTo>
                  <a:pt x="3" y="285"/>
                </a:lnTo>
                <a:lnTo>
                  <a:pt x="3" y="285"/>
                </a:lnTo>
                <a:lnTo>
                  <a:pt x="5" y="290"/>
                </a:lnTo>
                <a:lnTo>
                  <a:pt x="5" y="290"/>
                </a:lnTo>
                <a:lnTo>
                  <a:pt x="3" y="290"/>
                </a:lnTo>
                <a:lnTo>
                  <a:pt x="3" y="290"/>
                </a:lnTo>
                <a:lnTo>
                  <a:pt x="5" y="292"/>
                </a:lnTo>
                <a:lnTo>
                  <a:pt x="5" y="292"/>
                </a:lnTo>
                <a:lnTo>
                  <a:pt x="8" y="290"/>
                </a:lnTo>
                <a:lnTo>
                  <a:pt x="8" y="290"/>
                </a:lnTo>
                <a:lnTo>
                  <a:pt x="8" y="290"/>
                </a:lnTo>
                <a:lnTo>
                  <a:pt x="10" y="290"/>
                </a:lnTo>
                <a:lnTo>
                  <a:pt x="10" y="290"/>
                </a:lnTo>
                <a:lnTo>
                  <a:pt x="8" y="292"/>
                </a:lnTo>
                <a:lnTo>
                  <a:pt x="8" y="292"/>
                </a:lnTo>
                <a:lnTo>
                  <a:pt x="8" y="295"/>
                </a:lnTo>
                <a:lnTo>
                  <a:pt x="8" y="295"/>
                </a:lnTo>
                <a:lnTo>
                  <a:pt x="8" y="295"/>
                </a:lnTo>
                <a:lnTo>
                  <a:pt x="5" y="295"/>
                </a:lnTo>
                <a:lnTo>
                  <a:pt x="5" y="295"/>
                </a:lnTo>
                <a:lnTo>
                  <a:pt x="5" y="297"/>
                </a:lnTo>
                <a:lnTo>
                  <a:pt x="5" y="297"/>
                </a:lnTo>
                <a:lnTo>
                  <a:pt x="8" y="300"/>
                </a:lnTo>
                <a:lnTo>
                  <a:pt x="8" y="300"/>
                </a:lnTo>
                <a:lnTo>
                  <a:pt x="13" y="295"/>
                </a:lnTo>
                <a:lnTo>
                  <a:pt x="13" y="295"/>
                </a:lnTo>
                <a:lnTo>
                  <a:pt x="15" y="295"/>
                </a:lnTo>
                <a:lnTo>
                  <a:pt x="15" y="295"/>
                </a:lnTo>
                <a:lnTo>
                  <a:pt x="15" y="297"/>
                </a:lnTo>
                <a:lnTo>
                  <a:pt x="15" y="297"/>
                </a:lnTo>
                <a:lnTo>
                  <a:pt x="15" y="300"/>
                </a:lnTo>
                <a:lnTo>
                  <a:pt x="15" y="300"/>
                </a:lnTo>
                <a:lnTo>
                  <a:pt x="10" y="302"/>
                </a:lnTo>
                <a:lnTo>
                  <a:pt x="10" y="302"/>
                </a:lnTo>
                <a:lnTo>
                  <a:pt x="13" y="302"/>
                </a:lnTo>
                <a:lnTo>
                  <a:pt x="13" y="302"/>
                </a:lnTo>
                <a:lnTo>
                  <a:pt x="13" y="302"/>
                </a:lnTo>
                <a:lnTo>
                  <a:pt x="13" y="305"/>
                </a:lnTo>
                <a:lnTo>
                  <a:pt x="13" y="305"/>
                </a:lnTo>
                <a:lnTo>
                  <a:pt x="15" y="307"/>
                </a:lnTo>
                <a:lnTo>
                  <a:pt x="15" y="307"/>
                </a:lnTo>
                <a:lnTo>
                  <a:pt x="13" y="310"/>
                </a:lnTo>
                <a:lnTo>
                  <a:pt x="13" y="310"/>
                </a:lnTo>
                <a:lnTo>
                  <a:pt x="15" y="310"/>
                </a:lnTo>
                <a:lnTo>
                  <a:pt x="15" y="310"/>
                </a:lnTo>
                <a:lnTo>
                  <a:pt x="17" y="307"/>
                </a:lnTo>
                <a:lnTo>
                  <a:pt x="17" y="307"/>
                </a:lnTo>
                <a:lnTo>
                  <a:pt x="17" y="305"/>
                </a:lnTo>
                <a:lnTo>
                  <a:pt x="17" y="305"/>
                </a:lnTo>
                <a:lnTo>
                  <a:pt x="20" y="302"/>
                </a:lnTo>
                <a:lnTo>
                  <a:pt x="20" y="302"/>
                </a:lnTo>
                <a:lnTo>
                  <a:pt x="25" y="300"/>
                </a:lnTo>
                <a:lnTo>
                  <a:pt x="25" y="300"/>
                </a:lnTo>
                <a:lnTo>
                  <a:pt x="27" y="300"/>
                </a:lnTo>
                <a:lnTo>
                  <a:pt x="27" y="300"/>
                </a:lnTo>
                <a:lnTo>
                  <a:pt x="30" y="300"/>
                </a:lnTo>
                <a:lnTo>
                  <a:pt x="30" y="300"/>
                </a:lnTo>
                <a:lnTo>
                  <a:pt x="27" y="300"/>
                </a:lnTo>
                <a:lnTo>
                  <a:pt x="27" y="300"/>
                </a:lnTo>
                <a:lnTo>
                  <a:pt x="25" y="302"/>
                </a:lnTo>
                <a:lnTo>
                  <a:pt x="25" y="302"/>
                </a:lnTo>
                <a:lnTo>
                  <a:pt x="25" y="307"/>
                </a:lnTo>
                <a:lnTo>
                  <a:pt x="25" y="307"/>
                </a:lnTo>
                <a:lnTo>
                  <a:pt x="25" y="307"/>
                </a:lnTo>
                <a:lnTo>
                  <a:pt x="25" y="307"/>
                </a:lnTo>
                <a:lnTo>
                  <a:pt x="22" y="302"/>
                </a:lnTo>
                <a:lnTo>
                  <a:pt x="22" y="302"/>
                </a:lnTo>
                <a:lnTo>
                  <a:pt x="22" y="302"/>
                </a:lnTo>
                <a:lnTo>
                  <a:pt x="20" y="307"/>
                </a:lnTo>
                <a:lnTo>
                  <a:pt x="20" y="307"/>
                </a:lnTo>
                <a:lnTo>
                  <a:pt x="17" y="307"/>
                </a:lnTo>
                <a:lnTo>
                  <a:pt x="17" y="307"/>
                </a:lnTo>
                <a:lnTo>
                  <a:pt x="20" y="307"/>
                </a:lnTo>
                <a:lnTo>
                  <a:pt x="20" y="307"/>
                </a:lnTo>
                <a:lnTo>
                  <a:pt x="17" y="312"/>
                </a:lnTo>
                <a:lnTo>
                  <a:pt x="17" y="312"/>
                </a:lnTo>
                <a:lnTo>
                  <a:pt x="17" y="312"/>
                </a:lnTo>
                <a:lnTo>
                  <a:pt x="15" y="315"/>
                </a:lnTo>
                <a:lnTo>
                  <a:pt x="15" y="315"/>
                </a:lnTo>
                <a:lnTo>
                  <a:pt x="17" y="315"/>
                </a:lnTo>
                <a:lnTo>
                  <a:pt x="17" y="315"/>
                </a:lnTo>
                <a:lnTo>
                  <a:pt x="22" y="315"/>
                </a:lnTo>
                <a:lnTo>
                  <a:pt x="22" y="315"/>
                </a:lnTo>
                <a:lnTo>
                  <a:pt x="22" y="317"/>
                </a:lnTo>
                <a:lnTo>
                  <a:pt x="22" y="317"/>
                </a:lnTo>
                <a:lnTo>
                  <a:pt x="20" y="317"/>
                </a:lnTo>
                <a:lnTo>
                  <a:pt x="20" y="317"/>
                </a:lnTo>
                <a:lnTo>
                  <a:pt x="17" y="317"/>
                </a:lnTo>
                <a:lnTo>
                  <a:pt x="17" y="317"/>
                </a:lnTo>
                <a:lnTo>
                  <a:pt x="17" y="320"/>
                </a:lnTo>
                <a:lnTo>
                  <a:pt x="17" y="320"/>
                </a:lnTo>
                <a:lnTo>
                  <a:pt x="15" y="317"/>
                </a:lnTo>
                <a:lnTo>
                  <a:pt x="15" y="317"/>
                </a:lnTo>
                <a:lnTo>
                  <a:pt x="13" y="320"/>
                </a:lnTo>
                <a:lnTo>
                  <a:pt x="13" y="320"/>
                </a:lnTo>
                <a:lnTo>
                  <a:pt x="13" y="322"/>
                </a:lnTo>
                <a:lnTo>
                  <a:pt x="13" y="322"/>
                </a:lnTo>
                <a:lnTo>
                  <a:pt x="13" y="320"/>
                </a:lnTo>
                <a:lnTo>
                  <a:pt x="13" y="320"/>
                </a:lnTo>
                <a:lnTo>
                  <a:pt x="10" y="320"/>
                </a:lnTo>
                <a:lnTo>
                  <a:pt x="10" y="320"/>
                </a:lnTo>
                <a:lnTo>
                  <a:pt x="8" y="324"/>
                </a:lnTo>
                <a:lnTo>
                  <a:pt x="8" y="324"/>
                </a:lnTo>
                <a:lnTo>
                  <a:pt x="8" y="327"/>
                </a:lnTo>
                <a:lnTo>
                  <a:pt x="8" y="327"/>
                </a:lnTo>
                <a:lnTo>
                  <a:pt x="13" y="329"/>
                </a:lnTo>
                <a:lnTo>
                  <a:pt x="13" y="329"/>
                </a:lnTo>
                <a:lnTo>
                  <a:pt x="13" y="327"/>
                </a:lnTo>
                <a:lnTo>
                  <a:pt x="13" y="327"/>
                </a:lnTo>
                <a:lnTo>
                  <a:pt x="15" y="329"/>
                </a:lnTo>
                <a:lnTo>
                  <a:pt x="15" y="329"/>
                </a:lnTo>
                <a:lnTo>
                  <a:pt x="17" y="327"/>
                </a:lnTo>
                <a:lnTo>
                  <a:pt x="17" y="327"/>
                </a:lnTo>
                <a:lnTo>
                  <a:pt x="15" y="327"/>
                </a:lnTo>
                <a:lnTo>
                  <a:pt x="15" y="327"/>
                </a:lnTo>
                <a:lnTo>
                  <a:pt x="17" y="324"/>
                </a:lnTo>
                <a:lnTo>
                  <a:pt x="17" y="324"/>
                </a:lnTo>
                <a:lnTo>
                  <a:pt x="20" y="327"/>
                </a:lnTo>
                <a:lnTo>
                  <a:pt x="20" y="327"/>
                </a:lnTo>
                <a:lnTo>
                  <a:pt x="20" y="327"/>
                </a:lnTo>
                <a:lnTo>
                  <a:pt x="20" y="329"/>
                </a:lnTo>
                <a:lnTo>
                  <a:pt x="20" y="329"/>
                </a:lnTo>
                <a:lnTo>
                  <a:pt x="20" y="332"/>
                </a:lnTo>
                <a:lnTo>
                  <a:pt x="20" y="332"/>
                </a:lnTo>
                <a:lnTo>
                  <a:pt x="17" y="332"/>
                </a:lnTo>
                <a:lnTo>
                  <a:pt x="17" y="332"/>
                </a:lnTo>
                <a:lnTo>
                  <a:pt x="20" y="337"/>
                </a:lnTo>
                <a:lnTo>
                  <a:pt x="20" y="337"/>
                </a:lnTo>
                <a:lnTo>
                  <a:pt x="22" y="337"/>
                </a:lnTo>
                <a:lnTo>
                  <a:pt x="22" y="337"/>
                </a:lnTo>
                <a:lnTo>
                  <a:pt x="25" y="334"/>
                </a:lnTo>
                <a:lnTo>
                  <a:pt x="25" y="334"/>
                </a:lnTo>
                <a:lnTo>
                  <a:pt x="27" y="337"/>
                </a:lnTo>
                <a:lnTo>
                  <a:pt x="27" y="337"/>
                </a:lnTo>
                <a:lnTo>
                  <a:pt x="22" y="337"/>
                </a:lnTo>
                <a:lnTo>
                  <a:pt x="22" y="337"/>
                </a:lnTo>
                <a:lnTo>
                  <a:pt x="22" y="339"/>
                </a:lnTo>
                <a:lnTo>
                  <a:pt x="22" y="339"/>
                </a:lnTo>
                <a:lnTo>
                  <a:pt x="22" y="342"/>
                </a:lnTo>
                <a:lnTo>
                  <a:pt x="22" y="342"/>
                </a:lnTo>
                <a:lnTo>
                  <a:pt x="22" y="342"/>
                </a:lnTo>
                <a:lnTo>
                  <a:pt x="17" y="337"/>
                </a:lnTo>
                <a:lnTo>
                  <a:pt x="17" y="337"/>
                </a:lnTo>
                <a:lnTo>
                  <a:pt x="15" y="339"/>
                </a:lnTo>
                <a:lnTo>
                  <a:pt x="15" y="339"/>
                </a:lnTo>
                <a:lnTo>
                  <a:pt x="15" y="337"/>
                </a:lnTo>
                <a:lnTo>
                  <a:pt x="15" y="337"/>
                </a:lnTo>
                <a:lnTo>
                  <a:pt x="13" y="337"/>
                </a:lnTo>
                <a:lnTo>
                  <a:pt x="13" y="337"/>
                </a:lnTo>
                <a:lnTo>
                  <a:pt x="13" y="339"/>
                </a:lnTo>
                <a:lnTo>
                  <a:pt x="13" y="339"/>
                </a:lnTo>
                <a:lnTo>
                  <a:pt x="10" y="342"/>
                </a:lnTo>
                <a:lnTo>
                  <a:pt x="10" y="342"/>
                </a:lnTo>
                <a:lnTo>
                  <a:pt x="15" y="347"/>
                </a:lnTo>
                <a:lnTo>
                  <a:pt x="15" y="347"/>
                </a:lnTo>
                <a:lnTo>
                  <a:pt x="17" y="349"/>
                </a:lnTo>
                <a:lnTo>
                  <a:pt x="17" y="349"/>
                </a:lnTo>
                <a:lnTo>
                  <a:pt x="22" y="352"/>
                </a:lnTo>
                <a:lnTo>
                  <a:pt x="22" y="352"/>
                </a:lnTo>
                <a:lnTo>
                  <a:pt x="27" y="354"/>
                </a:lnTo>
                <a:lnTo>
                  <a:pt x="27" y="354"/>
                </a:lnTo>
                <a:lnTo>
                  <a:pt x="27" y="356"/>
                </a:lnTo>
                <a:lnTo>
                  <a:pt x="27" y="356"/>
                </a:lnTo>
                <a:lnTo>
                  <a:pt x="27" y="356"/>
                </a:lnTo>
                <a:lnTo>
                  <a:pt x="30" y="359"/>
                </a:lnTo>
                <a:lnTo>
                  <a:pt x="30" y="359"/>
                </a:lnTo>
                <a:lnTo>
                  <a:pt x="30" y="359"/>
                </a:lnTo>
                <a:lnTo>
                  <a:pt x="30" y="354"/>
                </a:lnTo>
                <a:lnTo>
                  <a:pt x="30" y="354"/>
                </a:lnTo>
                <a:lnTo>
                  <a:pt x="32" y="354"/>
                </a:lnTo>
                <a:lnTo>
                  <a:pt x="32" y="354"/>
                </a:lnTo>
                <a:lnTo>
                  <a:pt x="35" y="356"/>
                </a:lnTo>
                <a:lnTo>
                  <a:pt x="35" y="356"/>
                </a:lnTo>
                <a:lnTo>
                  <a:pt x="32" y="356"/>
                </a:lnTo>
                <a:lnTo>
                  <a:pt x="32" y="356"/>
                </a:lnTo>
                <a:lnTo>
                  <a:pt x="37" y="361"/>
                </a:lnTo>
                <a:lnTo>
                  <a:pt x="37" y="361"/>
                </a:lnTo>
                <a:lnTo>
                  <a:pt x="37" y="359"/>
                </a:lnTo>
                <a:lnTo>
                  <a:pt x="37" y="359"/>
                </a:lnTo>
                <a:lnTo>
                  <a:pt x="40" y="359"/>
                </a:lnTo>
                <a:lnTo>
                  <a:pt x="40" y="359"/>
                </a:lnTo>
                <a:lnTo>
                  <a:pt x="42" y="359"/>
                </a:lnTo>
                <a:lnTo>
                  <a:pt x="42" y="359"/>
                </a:lnTo>
                <a:lnTo>
                  <a:pt x="45" y="356"/>
                </a:lnTo>
                <a:lnTo>
                  <a:pt x="45" y="356"/>
                </a:lnTo>
                <a:lnTo>
                  <a:pt x="47" y="356"/>
                </a:lnTo>
                <a:lnTo>
                  <a:pt x="47" y="356"/>
                </a:lnTo>
                <a:lnTo>
                  <a:pt x="47" y="354"/>
                </a:lnTo>
                <a:lnTo>
                  <a:pt x="47" y="354"/>
                </a:lnTo>
                <a:lnTo>
                  <a:pt x="47" y="354"/>
                </a:lnTo>
                <a:lnTo>
                  <a:pt x="49" y="356"/>
                </a:lnTo>
                <a:lnTo>
                  <a:pt x="49" y="356"/>
                </a:lnTo>
                <a:lnTo>
                  <a:pt x="52" y="356"/>
                </a:lnTo>
                <a:lnTo>
                  <a:pt x="52" y="356"/>
                </a:lnTo>
                <a:lnTo>
                  <a:pt x="57" y="352"/>
                </a:lnTo>
                <a:lnTo>
                  <a:pt x="57" y="352"/>
                </a:lnTo>
                <a:lnTo>
                  <a:pt x="57" y="349"/>
                </a:lnTo>
                <a:lnTo>
                  <a:pt x="57" y="349"/>
                </a:lnTo>
                <a:lnTo>
                  <a:pt x="54" y="347"/>
                </a:lnTo>
                <a:lnTo>
                  <a:pt x="54" y="347"/>
                </a:lnTo>
                <a:lnTo>
                  <a:pt x="57" y="349"/>
                </a:lnTo>
                <a:lnTo>
                  <a:pt x="57" y="349"/>
                </a:lnTo>
                <a:lnTo>
                  <a:pt x="62" y="347"/>
                </a:lnTo>
                <a:lnTo>
                  <a:pt x="62" y="347"/>
                </a:lnTo>
                <a:lnTo>
                  <a:pt x="59" y="344"/>
                </a:lnTo>
                <a:lnTo>
                  <a:pt x="59" y="344"/>
                </a:lnTo>
                <a:lnTo>
                  <a:pt x="62" y="344"/>
                </a:lnTo>
                <a:lnTo>
                  <a:pt x="62" y="344"/>
                </a:lnTo>
                <a:lnTo>
                  <a:pt x="62" y="342"/>
                </a:lnTo>
                <a:lnTo>
                  <a:pt x="62" y="342"/>
                </a:lnTo>
                <a:lnTo>
                  <a:pt x="64" y="339"/>
                </a:lnTo>
                <a:lnTo>
                  <a:pt x="64" y="339"/>
                </a:lnTo>
                <a:lnTo>
                  <a:pt x="67" y="339"/>
                </a:lnTo>
                <a:lnTo>
                  <a:pt x="67" y="339"/>
                </a:lnTo>
                <a:lnTo>
                  <a:pt x="67" y="337"/>
                </a:lnTo>
                <a:lnTo>
                  <a:pt x="67" y="337"/>
                </a:lnTo>
                <a:lnTo>
                  <a:pt x="64" y="334"/>
                </a:lnTo>
                <a:lnTo>
                  <a:pt x="64" y="334"/>
                </a:lnTo>
                <a:lnTo>
                  <a:pt x="67" y="332"/>
                </a:lnTo>
                <a:lnTo>
                  <a:pt x="67" y="332"/>
                </a:lnTo>
                <a:lnTo>
                  <a:pt x="64" y="329"/>
                </a:lnTo>
                <a:lnTo>
                  <a:pt x="64" y="329"/>
                </a:lnTo>
                <a:lnTo>
                  <a:pt x="62" y="327"/>
                </a:lnTo>
                <a:lnTo>
                  <a:pt x="62" y="327"/>
                </a:lnTo>
                <a:lnTo>
                  <a:pt x="62" y="324"/>
                </a:lnTo>
                <a:lnTo>
                  <a:pt x="62" y="324"/>
                </a:lnTo>
                <a:lnTo>
                  <a:pt x="62" y="327"/>
                </a:lnTo>
                <a:lnTo>
                  <a:pt x="62" y="327"/>
                </a:lnTo>
                <a:lnTo>
                  <a:pt x="64" y="329"/>
                </a:lnTo>
                <a:lnTo>
                  <a:pt x="64" y="329"/>
                </a:lnTo>
                <a:lnTo>
                  <a:pt x="67" y="334"/>
                </a:lnTo>
                <a:lnTo>
                  <a:pt x="67" y="334"/>
                </a:lnTo>
                <a:lnTo>
                  <a:pt x="67" y="334"/>
                </a:lnTo>
                <a:lnTo>
                  <a:pt x="69" y="334"/>
                </a:lnTo>
                <a:lnTo>
                  <a:pt x="69" y="334"/>
                </a:lnTo>
                <a:lnTo>
                  <a:pt x="69" y="337"/>
                </a:lnTo>
                <a:lnTo>
                  <a:pt x="69" y="337"/>
                </a:lnTo>
                <a:lnTo>
                  <a:pt x="69" y="339"/>
                </a:lnTo>
                <a:lnTo>
                  <a:pt x="69" y="339"/>
                </a:lnTo>
                <a:lnTo>
                  <a:pt x="74" y="337"/>
                </a:lnTo>
                <a:lnTo>
                  <a:pt x="74" y="337"/>
                </a:lnTo>
                <a:lnTo>
                  <a:pt x="72" y="334"/>
                </a:lnTo>
                <a:lnTo>
                  <a:pt x="72" y="334"/>
                </a:lnTo>
                <a:lnTo>
                  <a:pt x="72" y="334"/>
                </a:lnTo>
                <a:lnTo>
                  <a:pt x="72" y="332"/>
                </a:lnTo>
                <a:lnTo>
                  <a:pt x="72" y="332"/>
                </a:lnTo>
                <a:lnTo>
                  <a:pt x="74" y="334"/>
                </a:lnTo>
                <a:lnTo>
                  <a:pt x="74" y="334"/>
                </a:lnTo>
                <a:lnTo>
                  <a:pt x="74" y="337"/>
                </a:lnTo>
                <a:lnTo>
                  <a:pt x="74" y="337"/>
                </a:lnTo>
                <a:lnTo>
                  <a:pt x="79" y="332"/>
                </a:lnTo>
                <a:lnTo>
                  <a:pt x="79" y="332"/>
                </a:lnTo>
                <a:lnTo>
                  <a:pt x="79" y="329"/>
                </a:lnTo>
                <a:lnTo>
                  <a:pt x="79" y="329"/>
                </a:lnTo>
                <a:lnTo>
                  <a:pt x="79" y="324"/>
                </a:lnTo>
                <a:lnTo>
                  <a:pt x="79" y="324"/>
                </a:lnTo>
                <a:lnTo>
                  <a:pt x="77" y="324"/>
                </a:lnTo>
                <a:lnTo>
                  <a:pt x="77" y="324"/>
                </a:lnTo>
                <a:lnTo>
                  <a:pt x="77" y="322"/>
                </a:lnTo>
                <a:lnTo>
                  <a:pt x="77" y="322"/>
                </a:lnTo>
                <a:lnTo>
                  <a:pt x="77" y="322"/>
                </a:lnTo>
                <a:lnTo>
                  <a:pt x="77" y="322"/>
                </a:lnTo>
                <a:lnTo>
                  <a:pt x="79" y="320"/>
                </a:lnTo>
                <a:lnTo>
                  <a:pt x="79" y="320"/>
                </a:lnTo>
                <a:lnTo>
                  <a:pt x="79" y="320"/>
                </a:lnTo>
                <a:lnTo>
                  <a:pt x="79" y="317"/>
                </a:lnTo>
                <a:lnTo>
                  <a:pt x="79" y="317"/>
                </a:lnTo>
                <a:lnTo>
                  <a:pt x="79" y="315"/>
                </a:lnTo>
                <a:lnTo>
                  <a:pt x="79" y="315"/>
                </a:lnTo>
                <a:lnTo>
                  <a:pt x="81" y="312"/>
                </a:lnTo>
                <a:lnTo>
                  <a:pt x="81" y="312"/>
                </a:lnTo>
                <a:lnTo>
                  <a:pt x="84" y="315"/>
                </a:lnTo>
                <a:lnTo>
                  <a:pt x="84" y="315"/>
                </a:lnTo>
                <a:lnTo>
                  <a:pt x="81" y="317"/>
                </a:lnTo>
                <a:lnTo>
                  <a:pt x="81" y="317"/>
                </a:lnTo>
                <a:lnTo>
                  <a:pt x="81" y="322"/>
                </a:lnTo>
                <a:lnTo>
                  <a:pt x="81" y="322"/>
                </a:lnTo>
                <a:lnTo>
                  <a:pt x="81" y="324"/>
                </a:lnTo>
                <a:lnTo>
                  <a:pt x="81" y="324"/>
                </a:lnTo>
                <a:lnTo>
                  <a:pt x="84" y="327"/>
                </a:lnTo>
                <a:lnTo>
                  <a:pt x="84" y="327"/>
                </a:lnTo>
                <a:lnTo>
                  <a:pt x="84" y="329"/>
                </a:lnTo>
                <a:lnTo>
                  <a:pt x="84" y="329"/>
                </a:lnTo>
                <a:lnTo>
                  <a:pt x="86" y="332"/>
                </a:lnTo>
                <a:lnTo>
                  <a:pt x="86" y="332"/>
                </a:lnTo>
                <a:lnTo>
                  <a:pt x="91" y="332"/>
                </a:lnTo>
                <a:lnTo>
                  <a:pt x="91" y="332"/>
                </a:lnTo>
                <a:lnTo>
                  <a:pt x="91" y="332"/>
                </a:lnTo>
                <a:lnTo>
                  <a:pt x="91" y="334"/>
                </a:lnTo>
                <a:lnTo>
                  <a:pt x="91" y="334"/>
                </a:lnTo>
                <a:lnTo>
                  <a:pt x="94" y="337"/>
                </a:lnTo>
                <a:lnTo>
                  <a:pt x="94" y="337"/>
                </a:lnTo>
                <a:lnTo>
                  <a:pt x="94" y="339"/>
                </a:lnTo>
                <a:lnTo>
                  <a:pt x="94" y="339"/>
                </a:lnTo>
                <a:lnTo>
                  <a:pt x="96" y="337"/>
                </a:lnTo>
                <a:lnTo>
                  <a:pt x="96" y="337"/>
                </a:lnTo>
                <a:lnTo>
                  <a:pt x="96" y="327"/>
                </a:lnTo>
                <a:lnTo>
                  <a:pt x="96" y="327"/>
                </a:lnTo>
                <a:lnTo>
                  <a:pt x="94" y="322"/>
                </a:lnTo>
                <a:lnTo>
                  <a:pt x="94" y="322"/>
                </a:lnTo>
                <a:lnTo>
                  <a:pt x="94" y="320"/>
                </a:lnTo>
                <a:lnTo>
                  <a:pt x="94" y="320"/>
                </a:lnTo>
                <a:lnTo>
                  <a:pt x="96" y="317"/>
                </a:lnTo>
                <a:lnTo>
                  <a:pt x="96" y="317"/>
                </a:lnTo>
                <a:lnTo>
                  <a:pt x="96" y="315"/>
                </a:lnTo>
                <a:lnTo>
                  <a:pt x="96" y="315"/>
                </a:lnTo>
                <a:lnTo>
                  <a:pt x="96" y="312"/>
                </a:lnTo>
                <a:lnTo>
                  <a:pt x="96" y="312"/>
                </a:lnTo>
                <a:lnTo>
                  <a:pt x="101" y="312"/>
                </a:lnTo>
                <a:lnTo>
                  <a:pt x="101" y="312"/>
                </a:lnTo>
                <a:lnTo>
                  <a:pt x="101" y="310"/>
                </a:lnTo>
                <a:lnTo>
                  <a:pt x="101" y="310"/>
                </a:lnTo>
                <a:lnTo>
                  <a:pt x="101" y="307"/>
                </a:lnTo>
                <a:lnTo>
                  <a:pt x="101" y="307"/>
                </a:lnTo>
                <a:lnTo>
                  <a:pt x="104" y="302"/>
                </a:lnTo>
                <a:lnTo>
                  <a:pt x="104" y="302"/>
                </a:lnTo>
                <a:lnTo>
                  <a:pt x="101" y="300"/>
                </a:lnTo>
                <a:lnTo>
                  <a:pt x="101" y="300"/>
                </a:lnTo>
                <a:lnTo>
                  <a:pt x="101" y="292"/>
                </a:lnTo>
                <a:lnTo>
                  <a:pt x="101" y="292"/>
                </a:lnTo>
                <a:lnTo>
                  <a:pt x="99" y="288"/>
                </a:lnTo>
                <a:lnTo>
                  <a:pt x="99" y="288"/>
                </a:lnTo>
                <a:lnTo>
                  <a:pt x="99" y="285"/>
                </a:lnTo>
                <a:lnTo>
                  <a:pt x="99" y="285"/>
                </a:lnTo>
                <a:lnTo>
                  <a:pt x="106" y="283"/>
                </a:lnTo>
                <a:lnTo>
                  <a:pt x="106" y="283"/>
                </a:lnTo>
                <a:lnTo>
                  <a:pt x="106" y="278"/>
                </a:lnTo>
                <a:lnTo>
                  <a:pt x="106" y="278"/>
                </a:lnTo>
                <a:lnTo>
                  <a:pt x="106" y="273"/>
                </a:lnTo>
                <a:lnTo>
                  <a:pt x="106" y="273"/>
                </a:lnTo>
                <a:lnTo>
                  <a:pt x="101" y="268"/>
                </a:lnTo>
                <a:lnTo>
                  <a:pt x="101" y="268"/>
                </a:lnTo>
                <a:lnTo>
                  <a:pt x="96" y="265"/>
                </a:lnTo>
                <a:lnTo>
                  <a:pt x="96" y="265"/>
                </a:lnTo>
                <a:lnTo>
                  <a:pt x="96" y="261"/>
                </a:lnTo>
                <a:lnTo>
                  <a:pt x="96" y="261"/>
                </a:lnTo>
                <a:lnTo>
                  <a:pt x="99" y="253"/>
                </a:lnTo>
                <a:lnTo>
                  <a:pt x="99" y="253"/>
                </a:lnTo>
                <a:lnTo>
                  <a:pt x="96" y="248"/>
                </a:lnTo>
                <a:lnTo>
                  <a:pt x="96" y="248"/>
                </a:lnTo>
                <a:lnTo>
                  <a:pt x="96" y="243"/>
                </a:lnTo>
                <a:lnTo>
                  <a:pt x="96" y="243"/>
                </a:lnTo>
                <a:lnTo>
                  <a:pt x="96" y="238"/>
                </a:lnTo>
                <a:lnTo>
                  <a:pt x="96" y="238"/>
                </a:lnTo>
                <a:lnTo>
                  <a:pt x="96" y="231"/>
                </a:lnTo>
                <a:lnTo>
                  <a:pt x="96" y="231"/>
                </a:lnTo>
                <a:lnTo>
                  <a:pt x="94" y="224"/>
                </a:lnTo>
                <a:lnTo>
                  <a:pt x="94" y="224"/>
                </a:lnTo>
                <a:lnTo>
                  <a:pt x="96" y="216"/>
                </a:lnTo>
                <a:lnTo>
                  <a:pt x="96" y="216"/>
                </a:lnTo>
                <a:lnTo>
                  <a:pt x="99" y="209"/>
                </a:lnTo>
                <a:lnTo>
                  <a:pt x="99" y="209"/>
                </a:lnTo>
                <a:lnTo>
                  <a:pt x="101" y="206"/>
                </a:lnTo>
                <a:lnTo>
                  <a:pt x="101" y="206"/>
                </a:lnTo>
                <a:lnTo>
                  <a:pt x="106" y="209"/>
                </a:lnTo>
                <a:lnTo>
                  <a:pt x="106" y="209"/>
                </a:lnTo>
                <a:lnTo>
                  <a:pt x="111" y="209"/>
                </a:lnTo>
                <a:lnTo>
                  <a:pt x="111" y="209"/>
                </a:lnTo>
                <a:lnTo>
                  <a:pt x="113" y="204"/>
                </a:lnTo>
                <a:lnTo>
                  <a:pt x="113" y="204"/>
                </a:lnTo>
                <a:lnTo>
                  <a:pt x="113" y="199"/>
                </a:lnTo>
                <a:lnTo>
                  <a:pt x="113" y="199"/>
                </a:lnTo>
                <a:lnTo>
                  <a:pt x="113" y="197"/>
                </a:lnTo>
                <a:lnTo>
                  <a:pt x="113" y="197"/>
                </a:lnTo>
                <a:lnTo>
                  <a:pt x="113" y="194"/>
                </a:lnTo>
                <a:lnTo>
                  <a:pt x="113" y="194"/>
                </a:lnTo>
                <a:lnTo>
                  <a:pt x="118" y="179"/>
                </a:lnTo>
                <a:lnTo>
                  <a:pt x="118" y="179"/>
                </a:lnTo>
                <a:lnTo>
                  <a:pt x="118" y="172"/>
                </a:lnTo>
                <a:lnTo>
                  <a:pt x="118" y="172"/>
                </a:lnTo>
                <a:lnTo>
                  <a:pt x="118" y="167"/>
                </a:lnTo>
                <a:lnTo>
                  <a:pt x="118" y="167"/>
                </a:lnTo>
                <a:lnTo>
                  <a:pt x="121" y="162"/>
                </a:lnTo>
                <a:lnTo>
                  <a:pt x="121" y="162"/>
                </a:lnTo>
                <a:lnTo>
                  <a:pt x="121" y="157"/>
                </a:lnTo>
                <a:lnTo>
                  <a:pt x="121" y="157"/>
                </a:lnTo>
                <a:lnTo>
                  <a:pt x="118" y="155"/>
                </a:lnTo>
                <a:lnTo>
                  <a:pt x="118" y="155"/>
                </a:lnTo>
                <a:lnTo>
                  <a:pt x="118" y="152"/>
                </a:lnTo>
                <a:lnTo>
                  <a:pt x="118" y="152"/>
                </a:lnTo>
                <a:lnTo>
                  <a:pt x="123" y="150"/>
                </a:lnTo>
                <a:lnTo>
                  <a:pt x="123" y="150"/>
                </a:lnTo>
                <a:lnTo>
                  <a:pt x="128" y="147"/>
                </a:lnTo>
                <a:lnTo>
                  <a:pt x="128" y="147"/>
                </a:lnTo>
                <a:lnTo>
                  <a:pt x="131" y="145"/>
                </a:lnTo>
                <a:lnTo>
                  <a:pt x="131" y="145"/>
                </a:lnTo>
                <a:lnTo>
                  <a:pt x="131" y="142"/>
                </a:lnTo>
                <a:lnTo>
                  <a:pt x="131" y="142"/>
                </a:lnTo>
                <a:lnTo>
                  <a:pt x="136" y="135"/>
                </a:lnTo>
                <a:lnTo>
                  <a:pt x="136" y="135"/>
                </a:lnTo>
                <a:lnTo>
                  <a:pt x="140" y="130"/>
                </a:lnTo>
                <a:lnTo>
                  <a:pt x="140" y="130"/>
                </a:lnTo>
                <a:lnTo>
                  <a:pt x="140" y="125"/>
                </a:lnTo>
                <a:lnTo>
                  <a:pt x="140" y="125"/>
                </a:lnTo>
                <a:lnTo>
                  <a:pt x="140" y="120"/>
                </a:lnTo>
                <a:lnTo>
                  <a:pt x="140" y="120"/>
                </a:lnTo>
                <a:lnTo>
                  <a:pt x="138" y="120"/>
                </a:lnTo>
                <a:lnTo>
                  <a:pt x="138" y="120"/>
                </a:lnTo>
                <a:lnTo>
                  <a:pt x="138" y="113"/>
                </a:lnTo>
                <a:lnTo>
                  <a:pt x="138" y="113"/>
                </a:lnTo>
                <a:lnTo>
                  <a:pt x="140" y="110"/>
                </a:lnTo>
                <a:lnTo>
                  <a:pt x="140" y="110"/>
                </a:lnTo>
                <a:lnTo>
                  <a:pt x="143" y="108"/>
                </a:lnTo>
                <a:lnTo>
                  <a:pt x="143" y="108"/>
                </a:lnTo>
                <a:lnTo>
                  <a:pt x="143" y="106"/>
                </a:lnTo>
                <a:lnTo>
                  <a:pt x="143" y="106"/>
                </a:lnTo>
                <a:lnTo>
                  <a:pt x="145" y="103"/>
                </a:lnTo>
                <a:lnTo>
                  <a:pt x="145" y="103"/>
                </a:lnTo>
                <a:lnTo>
                  <a:pt x="148" y="98"/>
                </a:lnTo>
                <a:lnTo>
                  <a:pt x="148" y="98"/>
                </a:lnTo>
                <a:lnTo>
                  <a:pt x="150" y="96"/>
                </a:lnTo>
                <a:lnTo>
                  <a:pt x="150" y="96"/>
                </a:lnTo>
                <a:lnTo>
                  <a:pt x="155" y="98"/>
                </a:lnTo>
                <a:lnTo>
                  <a:pt x="155" y="98"/>
                </a:lnTo>
                <a:lnTo>
                  <a:pt x="155" y="101"/>
                </a:lnTo>
                <a:lnTo>
                  <a:pt x="155" y="101"/>
                </a:lnTo>
                <a:lnTo>
                  <a:pt x="158" y="98"/>
                </a:lnTo>
                <a:lnTo>
                  <a:pt x="158" y="98"/>
                </a:lnTo>
                <a:lnTo>
                  <a:pt x="160" y="98"/>
                </a:lnTo>
                <a:lnTo>
                  <a:pt x="160" y="98"/>
                </a:lnTo>
                <a:lnTo>
                  <a:pt x="158" y="93"/>
                </a:lnTo>
                <a:lnTo>
                  <a:pt x="158" y="93"/>
                </a:lnTo>
                <a:lnTo>
                  <a:pt x="160" y="93"/>
                </a:lnTo>
                <a:lnTo>
                  <a:pt x="160" y="93"/>
                </a:lnTo>
                <a:lnTo>
                  <a:pt x="160" y="91"/>
                </a:lnTo>
                <a:lnTo>
                  <a:pt x="160" y="91"/>
                </a:lnTo>
                <a:lnTo>
                  <a:pt x="160" y="88"/>
                </a:lnTo>
                <a:lnTo>
                  <a:pt x="160" y="88"/>
                </a:lnTo>
                <a:lnTo>
                  <a:pt x="158" y="86"/>
                </a:lnTo>
                <a:lnTo>
                  <a:pt x="158" y="86"/>
                </a:lnTo>
                <a:lnTo>
                  <a:pt x="160" y="83"/>
                </a:lnTo>
                <a:lnTo>
                  <a:pt x="160" y="83"/>
                </a:lnTo>
                <a:lnTo>
                  <a:pt x="165" y="83"/>
                </a:lnTo>
                <a:lnTo>
                  <a:pt x="165" y="83"/>
                </a:lnTo>
                <a:lnTo>
                  <a:pt x="168" y="81"/>
                </a:lnTo>
                <a:lnTo>
                  <a:pt x="168" y="81"/>
                </a:lnTo>
                <a:lnTo>
                  <a:pt x="172" y="83"/>
                </a:lnTo>
                <a:lnTo>
                  <a:pt x="172" y="83"/>
                </a:lnTo>
                <a:lnTo>
                  <a:pt x="175" y="86"/>
                </a:lnTo>
                <a:lnTo>
                  <a:pt x="175" y="86"/>
                </a:lnTo>
                <a:lnTo>
                  <a:pt x="180" y="86"/>
                </a:lnTo>
                <a:lnTo>
                  <a:pt x="180" y="86"/>
                </a:lnTo>
                <a:lnTo>
                  <a:pt x="182" y="88"/>
                </a:lnTo>
                <a:lnTo>
                  <a:pt x="182" y="88"/>
                </a:lnTo>
                <a:lnTo>
                  <a:pt x="182" y="86"/>
                </a:lnTo>
                <a:lnTo>
                  <a:pt x="182" y="86"/>
                </a:lnTo>
                <a:lnTo>
                  <a:pt x="185" y="88"/>
                </a:lnTo>
                <a:lnTo>
                  <a:pt x="185" y="88"/>
                </a:lnTo>
                <a:lnTo>
                  <a:pt x="185" y="83"/>
                </a:lnTo>
                <a:lnTo>
                  <a:pt x="185" y="83"/>
                </a:lnTo>
                <a:lnTo>
                  <a:pt x="182" y="81"/>
                </a:lnTo>
                <a:lnTo>
                  <a:pt x="182" y="81"/>
                </a:lnTo>
                <a:lnTo>
                  <a:pt x="182" y="76"/>
                </a:lnTo>
                <a:lnTo>
                  <a:pt x="182" y="76"/>
                </a:lnTo>
                <a:lnTo>
                  <a:pt x="185" y="76"/>
                </a:lnTo>
                <a:lnTo>
                  <a:pt x="185" y="76"/>
                </a:lnTo>
                <a:lnTo>
                  <a:pt x="185" y="74"/>
                </a:lnTo>
                <a:lnTo>
                  <a:pt x="185" y="74"/>
                </a:lnTo>
                <a:lnTo>
                  <a:pt x="182" y="71"/>
                </a:lnTo>
                <a:lnTo>
                  <a:pt x="182" y="71"/>
                </a:lnTo>
                <a:lnTo>
                  <a:pt x="182" y="69"/>
                </a:lnTo>
                <a:lnTo>
                  <a:pt x="182" y="69"/>
                </a:lnTo>
                <a:lnTo>
                  <a:pt x="185" y="69"/>
                </a:lnTo>
                <a:lnTo>
                  <a:pt x="185" y="69"/>
                </a:lnTo>
                <a:lnTo>
                  <a:pt x="190" y="69"/>
                </a:lnTo>
                <a:lnTo>
                  <a:pt x="190" y="69"/>
                </a:lnTo>
                <a:lnTo>
                  <a:pt x="190" y="69"/>
                </a:lnTo>
                <a:lnTo>
                  <a:pt x="190" y="69"/>
                </a:lnTo>
                <a:lnTo>
                  <a:pt x="190" y="66"/>
                </a:lnTo>
                <a:lnTo>
                  <a:pt x="190" y="66"/>
                </a:lnTo>
                <a:lnTo>
                  <a:pt x="192" y="69"/>
                </a:lnTo>
                <a:lnTo>
                  <a:pt x="192" y="69"/>
                </a:lnTo>
                <a:lnTo>
                  <a:pt x="192" y="66"/>
                </a:lnTo>
                <a:lnTo>
                  <a:pt x="192" y="66"/>
                </a:lnTo>
                <a:lnTo>
                  <a:pt x="192" y="64"/>
                </a:lnTo>
                <a:lnTo>
                  <a:pt x="192" y="64"/>
                </a:lnTo>
                <a:lnTo>
                  <a:pt x="192" y="61"/>
                </a:lnTo>
                <a:lnTo>
                  <a:pt x="192" y="61"/>
                </a:lnTo>
                <a:lnTo>
                  <a:pt x="195" y="59"/>
                </a:lnTo>
                <a:lnTo>
                  <a:pt x="195" y="59"/>
                </a:lnTo>
                <a:lnTo>
                  <a:pt x="197" y="61"/>
                </a:lnTo>
                <a:lnTo>
                  <a:pt x="197" y="61"/>
                </a:lnTo>
                <a:lnTo>
                  <a:pt x="200" y="64"/>
                </a:lnTo>
                <a:lnTo>
                  <a:pt x="200" y="64"/>
                </a:lnTo>
                <a:lnTo>
                  <a:pt x="207" y="69"/>
                </a:lnTo>
                <a:lnTo>
                  <a:pt x="207" y="69"/>
                </a:lnTo>
                <a:lnTo>
                  <a:pt x="207" y="74"/>
                </a:lnTo>
                <a:lnTo>
                  <a:pt x="207" y="74"/>
                </a:lnTo>
                <a:lnTo>
                  <a:pt x="209" y="76"/>
                </a:lnTo>
                <a:lnTo>
                  <a:pt x="209" y="76"/>
                </a:lnTo>
                <a:lnTo>
                  <a:pt x="214" y="79"/>
                </a:lnTo>
                <a:lnTo>
                  <a:pt x="214" y="79"/>
                </a:lnTo>
                <a:lnTo>
                  <a:pt x="222" y="79"/>
                </a:lnTo>
                <a:lnTo>
                  <a:pt x="222" y="79"/>
                </a:lnTo>
                <a:lnTo>
                  <a:pt x="227" y="74"/>
                </a:lnTo>
                <a:lnTo>
                  <a:pt x="227" y="74"/>
                </a:lnTo>
                <a:lnTo>
                  <a:pt x="229" y="71"/>
                </a:lnTo>
                <a:lnTo>
                  <a:pt x="229" y="71"/>
                </a:lnTo>
                <a:lnTo>
                  <a:pt x="232" y="71"/>
                </a:lnTo>
                <a:lnTo>
                  <a:pt x="232" y="71"/>
                </a:lnTo>
                <a:lnTo>
                  <a:pt x="236" y="76"/>
                </a:lnTo>
                <a:lnTo>
                  <a:pt x="236" y="76"/>
                </a:lnTo>
                <a:lnTo>
                  <a:pt x="239" y="76"/>
                </a:lnTo>
                <a:lnTo>
                  <a:pt x="239" y="76"/>
                </a:lnTo>
                <a:lnTo>
                  <a:pt x="241" y="74"/>
                </a:lnTo>
                <a:lnTo>
                  <a:pt x="241" y="74"/>
                </a:lnTo>
                <a:lnTo>
                  <a:pt x="244" y="71"/>
                </a:lnTo>
                <a:lnTo>
                  <a:pt x="244" y="71"/>
                </a:lnTo>
                <a:lnTo>
                  <a:pt x="246" y="69"/>
                </a:lnTo>
                <a:lnTo>
                  <a:pt x="246" y="69"/>
                </a:lnTo>
                <a:lnTo>
                  <a:pt x="249" y="69"/>
                </a:lnTo>
                <a:lnTo>
                  <a:pt x="249" y="69"/>
                </a:lnTo>
                <a:lnTo>
                  <a:pt x="251" y="69"/>
                </a:lnTo>
                <a:lnTo>
                  <a:pt x="251" y="69"/>
                </a:lnTo>
                <a:lnTo>
                  <a:pt x="251" y="66"/>
                </a:lnTo>
                <a:lnTo>
                  <a:pt x="251" y="66"/>
                </a:lnTo>
                <a:lnTo>
                  <a:pt x="251" y="64"/>
                </a:lnTo>
                <a:lnTo>
                  <a:pt x="251" y="64"/>
                </a:lnTo>
                <a:lnTo>
                  <a:pt x="249" y="59"/>
                </a:lnTo>
                <a:lnTo>
                  <a:pt x="249" y="59"/>
                </a:lnTo>
                <a:lnTo>
                  <a:pt x="251" y="51"/>
                </a:lnTo>
                <a:lnTo>
                  <a:pt x="251" y="51"/>
                </a:lnTo>
                <a:lnTo>
                  <a:pt x="251" y="49"/>
                </a:lnTo>
                <a:lnTo>
                  <a:pt x="251" y="49"/>
                </a:lnTo>
                <a:lnTo>
                  <a:pt x="251" y="47"/>
                </a:lnTo>
                <a:lnTo>
                  <a:pt x="251" y="47"/>
                </a:lnTo>
                <a:lnTo>
                  <a:pt x="251" y="44"/>
                </a:lnTo>
                <a:lnTo>
                  <a:pt x="251" y="44"/>
                </a:lnTo>
                <a:lnTo>
                  <a:pt x="254" y="42"/>
                </a:lnTo>
                <a:lnTo>
                  <a:pt x="254" y="42"/>
                </a:lnTo>
                <a:lnTo>
                  <a:pt x="254" y="39"/>
                </a:lnTo>
                <a:lnTo>
                  <a:pt x="254" y="39"/>
                </a:lnTo>
                <a:lnTo>
                  <a:pt x="256" y="39"/>
                </a:lnTo>
                <a:lnTo>
                  <a:pt x="256" y="39"/>
                </a:lnTo>
                <a:lnTo>
                  <a:pt x="261" y="39"/>
                </a:lnTo>
                <a:lnTo>
                  <a:pt x="261" y="39"/>
                </a:lnTo>
                <a:lnTo>
                  <a:pt x="263" y="39"/>
                </a:lnTo>
                <a:lnTo>
                  <a:pt x="263" y="39"/>
                </a:lnTo>
                <a:lnTo>
                  <a:pt x="263" y="37"/>
                </a:lnTo>
                <a:lnTo>
                  <a:pt x="263" y="37"/>
                </a:lnTo>
                <a:lnTo>
                  <a:pt x="266" y="34"/>
                </a:lnTo>
                <a:lnTo>
                  <a:pt x="266" y="34"/>
                </a:lnTo>
                <a:lnTo>
                  <a:pt x="273" y="34"/>
                </a:lnTo>
                <a:lnTo>
                  <a:pt x="273" y="34"/>
                </a:lnTo>
                <a:lnTo>
                  <a:pt x="276" y="37"/>
                </a:lnTo>
                <a:lnTo>
                  <a:pt x="276" y="37"/>
                </a:lnTo>
                <a:lnTo>
                  <a:pt x="278" y="42"/>
                </a:lnTo>
                <a:lnTo>
                  <a:pt x="278" y="42"/>
                </a:lnTo>
                <a:lnTo>
                  <a:pt x="281" y="44"/>
                </a:lnTo>
                <a:lnTo>
                  <a:pt x="281" y="44"/>
                </a:lnTo>
                <a:lnTo>
                  <a:pt x="286" y="44"/>
                </a:lnTo>
                <a:lnTo>
                  <a:pt x="286" y="44"/>
                </a:lnTo>
                <a:lnTo>
                  <a:pt x="291" y="44"/>
                </a:lnTo>
                <a:lnTo>
                  <a:pt x="291" y="44"/>
                </a:lnTo>
                <a:lnTo>
                  <a:pt x="291" y="47"/>
                </a:lnTo>
                <a:lnTo>
                  <a:pt x="291" y="47"/>
                </a:lnTo>
                <a:lnTo>
                  <a:pt x="293" y="51"/>
                </a:lnTo>
                <a:lnTo>
                  <a:pt x="293" y="51"/>
                </a:lnTo>
                <a:lnTo>
                  <a:pt x="293" y="54"/>
                </a:lnTo>
                <a:lnTo>
                  <a:pt x="293" y="54"/>
                </a:lnTo>
                <a:lnTo>
                  <a:pt x="291" y="59"/>
                </a:lnTo>
                <a:lnTo>
                  <a:pt x="291" y="59"/>
                </a:lnTo>
                <a:lnTo>
                  <a:pt x="291" y="64"/>
                </a:lnTo>
                <a:lnTo>
                  <a:pt x="291" y="64"/>
                </a:lnTo>
                <a:close/>
                <a:moveTo>
                  <a:pt x="13" y="332"/>
                </a:moveTo>
                <a:lnTo>
                  <a:pt x="13" y="332"/>
                </a:lnTo>
                <a:lnTo>
                  <a:pt x="15" y="334"/>
                </a:lnTo>
                <a:lnTo>
                  <a:pt x="15" y="334"/>
                </a:lnTo>
                <a:lnTo>
                  <a:pt x="13" y="334"/>
                </a:lnTo>
                <a:lnTo>
                  <a:pt x="13" y="334"/>
                </a:lnTo>
                <a:lnTo>
                  <a:pt x="13" y="332"/>
                </a:lnTo>
                <a:lnTo>
                  <a:pt x="13" y="332"/>
                </a:lnTo>
                <a:close/>
                <a:moveTo>
                  <a:pt x="5" y="315"/>
                </a:moveTo>
                <a:lnTo>
                  <a:pt x="8" y="315"/>
                </a:lnTo>
                <a:lnTo>
                  <a:pt x="8" y="315"/>
                </a:lnTo>
                <a:lnTo>
                  <a:pt x="10" y="317"/>
                </a:lnTo>
                <a:lnTo>
                  <a:pt x="10" y="317"/>
                </a:lnTo>
                <a:lnTo>
                  <a:pt x="8" y="320"/>
                </a:lnTo>
                <a:lnTo>
                  <a:pt x="8" y="320"/>
                </a:lnTo>
                <a:lnTo>
                  <a:pt x="5" y="315"/>
                </a:lnTo>
                <a:lnTo>
                  <a:pt x="5" y="315"/>
                </a:lnTo>
                <a:close/>
                <a:moveTo>
                  <a:pt x="13" y="310"/>
                </a:moveTo>
                <a:lnTo>
                  <a:pt x="13" y="310"/>
                </a:lnTo>
                <a:lnTo>
                  <a:pt x="13" y="312"/>
                </a:lnTo>
                <a:lnTo>
                  <a:pt x="13" y="312"/>
                </a:lnTo>
                <a:lnTo>
                  <a:pt x="10" y="312"/>
                </a:lnTo>
                <a:lnTo>
                  <a:pt x="10" y="312"/>
                </a:lnTo>
                <a:lnTo>
                  <a:pt x="13" y="310"/>
                </a:lnTo>
                <a:lnTo>
                  <a:pt x="13" y="310"/>
                </a:lnTo>
                <a:close/>
                <a:moveTo>
                  <a:pt x="10" y="307"/>
                </a:moveTo>
                <a:lnTo>
                  <a:pt x="10" y="307"/>
                </a:lnTo>
                <a:lnTo>
                  <a:pt x="8" y="310"/>
                </a:lnTo>
                <a:lnTo>
                  <a:pt x="8" y="310"/>
                </a:lnTo>
                <a:lnTo>
                  <a:pt x="5" y="310"/>
                </a:lnTo>
                <a:lnTo>
                  <a:pt x="5" y="310"/>
                </a:lnTo>
                <a:lnTo>
                  <a:pt x="10" y="307"/>
                </a:lnTo>
                <a:lnTo>
                  <a:pt x="10" y="307"/>
                </a:lnTo>
                <a:close/>
                <a:moveTo>
                  <a:pt x="3" y="295"/>
                </a:moveTo>
                <a:lnTo>
                  <a:pt x="3" y="295"/>
                </a:lnTo>
                <a:lnTo>
                  <a:pt x="0" y="295"/>
                </a:lnTo>
                <a:lnTo>
                  <a:pt x="0" y="295"/>
                </a:lnTo>
                <a:lnTo>
                  <a:pt x="3" y="292"/>
                </a:lnTo>
                <a:lnTo>
                  <a:pt x="3" y="295"/>
                </a:lnTo>
                <a:lnTo>
                  <a:pt x="3" y="295"/>
                </a:lnTo>
                <a:close/>
                <a:moveTo>
                  <a:pt x="3" y="297"/>
                </a:moveTo>
                <a:lnTo>
                  <a:pt x="3" y="297"/>
                </a:lnTo>
                <a:lnTo>
                  <a:pt x="5" y="297"/>
                </a:lnTo>
                <a:lnTo>
                  <a:pt x="5" y="297"/>
                </a:lnTo>
                <a:lnTo>
                  <a:pt x="3" y="300"/>
                </a:lnTo>
                <a:lnTo>
                  <a:pt x="3" y="300"/>
                </a:lnTo>
                <a:lnTo>
                  <a:pt x="3" y="297"/>
                </a:lnTo>
                <a:lnTo>
                  <a:pt x="3" y="297"/>
                </a:lnTo>
                <a:close/>
                <a:moveTo>
                  <a:pt x="8" y="302"/>
                </a:moveTo>
                <a:lnTo>
                  <a:pt x="10" y="305"/>
                </a:lnTo>
                <a:lnTo>
                  <a:pt x="10" y="305"/>
                </a:lnTo>
                <a:lnTo>
                  <a:pt x="10" y="307"/>
                </a:lnTo>
                <a:lnTo>
                  <a:pt x="10" y="307"/>
                </a:lnTo>
                <a:lnTo>
                  <a:pt x="8" y="302"/>
                </a:lnTo>
                <a:lnTo>
                  <a:pt x="8" y="302"/>
                </a:lnTo>
                <a:close/>
                <a:moveTo>
                  <a:pt x="5" y="305"/>
                </a:moveTo>
                <a:lnTo>
                  <a:pt x="5" y="305"/>
                </a:lnTo>
                <a:lnTo>
                  <a:pt x="3" y="302"/>
                </a:lnTo>
                <a:lnTo>
                  <a:pt x="3" y="302"/>
                </a:lnTo>
                <a:lnTo>
                  <a:pt x="5" y="302"/>
                </a:lnTo>
                <a:lnTo>
                  <a:pt x="5" y="302"/>
                </a:lnTo>
                <a:lnTo>
                  <a:pt x="5" y="305"/>
                </a:lnTo>
                <a:lnTo>
                  <a:pt x="5" y="305"/>
                </a:lnTo>
                <a:close/>
                <a:moveTo>
                  <a:pt x="3" y="288"/>
                </a:moveTo>
                <a:lnTo>
                  <a:pt x="3" y="288"/>
                </a:lnTo>
                <a:lnTo>
                  <a:pt x="0" y="290"/>
                </a:lnTo>
                <a:lnTo>
                  <a:pt x="0" y="290"/>
                </a:lnTo>
                <a:lnTo>
                  <a:pt x="0" y="290"/>
                </a:lnTo>
                <a:lnTo>
                  <a:pt x="3" y="288"/>
                </a:lnTo>
                <a:lnTo>
                  <a:pt x="3" y="288"/>
                </a:lnTo>
                <a:lnTo>
                  <a:pt x="3" y="288"/>
                </a:lnTo>
                <a:close/>
                <a:moveTo>
                  <a:pt x="0" y="265"/>
                </a:moveTo>
                <a:lnTo>
                  <a:pt x="0" y="265"/>
                </a:lnTo>
                <a:lnTo>
                  <a:pt x="5" y="268"/>
                </a:lnTo>
                <a:lnTo>
                  <a:pt x="5" y="268"/>
                </a:lnTo>
                <a:lnTo>
                  <a:pt x="3" y="268"/>
                </a:lnTo>
                <a:lnTo>
                  <a:pt x="3" y="268"/>
                </a:lnTo>
                <a:lnTo>
                  <a:pt x="0" y="265"/>
                </a:lnTo>
                <a:lnTo>
                  <a:pt x="0" y="265"/>
                </a:lnTo>
                <a:close/>
                <a:moveTo>
                  <a:pt x="3" y="261"/>
                </a:moveTo>
                <a:lnTo>
                  <a:pt x="3" y="261"/>
                </a:lnTo>
                <a:lnTo>
                  <a:pt x="5" y="263"/>
                </a:lnTo>
                <a:lnTo>
                  <a:pt x="5" y="263"/>
                </a:lnTo>
                <a:lnTo>
                  <a:pt x="3" y="263"/>
                </a:lnTo>
                <a:lnTo>
                  <a:pt x="3" y="263"/>
                </a:lnTo>
                <a:lnTo>
                  <a:pt x="3" y="261"/>
                </a:lnTo>
                <a:lnTo>
                  <a:pt x="3" y="261"/>
                </a:lnTo>
                <a:close/>
                <a:moveTo>
                  <a:pt x="10" y="253"/>
                </a:moveTo>
                <a:lnTo>
                  <a:pt x="10" y="253"/>
                </a:lnTo>
                <a:lnTo>
                  <a:pt x="13" y="256"/>
                </a:lnTo>
                <a:lnTo>
                  <a:pt x="13" y="256"/>
                </a:lnTo>
                <a:lnTo>
                  <a:pt x="8" y="256"/>
                </a:lnTo>
                <a:lnTo>
                  <a:pt x="8" y="256"/>
                </a:lnTo>
                <a:lnTo>
                  <a:pt x="10" y="253"/>
                </a:lnTo>
                <a:lnTo>
                  <a:pt x="10" y="253"/>
                </a:lnTo>
                <a:close/>
                <a:moveTo>
                  <a:pt x="13" y="253"/>
                </a:moveTo>
                <a:lnTo>
                  <a:pt x="13" y="253"/>
                </a:lnTo>
                <a:lnTo>
                  <a:pt x="15" y="253"/>
                </a:lnTo>
                <a:lnTo>
                  <a:pt x="15" y="253"/>
                </a:lnTo>
                <a:lnTo>
                  <a:pt x="17" y="256"/>
                </a:lnTo>
                <a:lnTo>
                  <a:pt x="17" y="256"/>
                </a:lnTo>
                <a:lnTo>
                  <a:pt x="13" y="256"/>
                </a:lnTo>
                <a:lnTo>
                  <a:pt x="13" y="256"/>
                </a:lnTo>
                <a:lnTo>
                  <a:pt x="13" y="253"/>
                </a:lnTo>
                <a:lnTo>
                  <a:pt x="13" y="253"/>
                </a:lnTo>
                <a:close/>
                <a:moveTo>
                  <a:pt x="40" y="233"/>
                </a:moveTo>
                <a:lnTo>
                  <a:pt x="45" y="231"/>
                </a:lnTo>
                <a:lnTo>
                  <a:pt x="45" y="231"/>
                </a:lnTo>
                <a:lnTo>
                  <a:pt x="45" y="233"/>
                </a:lnTo>
                <a:lnTo>
                  <a:pt x="45" y="233"/>
                </a:lnTo>
                <a:lnTo>
                  <a:pt x="42" y="233"/>
                </a:lnTo>
                <a:lnTo>
                  <a:pt x="42" y="233"/>
                </a:lnTo>
                <a:lnTo>
                  <a:pt x="40" y="233"/>
                </a:lnTo>
                <a:lnTo>
                  <a:pt x="40" y="233"/>
                </a:lnTo>
                <a:close/>
                <a:moveTo>
                  <a:pt x="42" y="229"/>
                </a:moveTo>
                <a:lnTo>
                  <a:pt x="40" y="229"/>
                </a:lnTo>
                <a:lnTo>
                  <a:pt x="40" y="229"/>
                </a:lnTo>
                <a:lnTo>
                  <a:pt x="37" y="226"/>
                </a:lnTo>
                <a:lnTo>
                  <a:pt x="37" y="226"/>
                </a:lnTo>
                <a:lnTo>
                  <a:pt x="40" y="226"/>
                </a:lnTo>
                <a:lnTo>
                  <a:pt x="40" y="226"/>
                </a:lnTo>
                <a:lnTo>
                  <a:pt x="42" y="229"/>
                </a:lnTo>
                <a:lnTo>
                  <a:pt x="42" y="229"/>
                </a:lnTo>
                <a:close/>
                <a:moveTo>
                  <a:pt x="45" y="221"/>
                </a:moveTo>
                <a:lnTo>
                  <a:pt x="45" y="221"/>
                </a:lnTo>
                <a:lnTo>
                  <a:pt x="49" y="216"/>
                </a:lnTo>
                <a:lnTo>
                  <a:pt x="49" y="216"/>
                </a:lnTo>
                <a:lnTo>
                  <a:pt x="52" y="219"/>
                </a:lnTo>
                <a:lnTo>
                  <a:pt x="52" y="219"/>
                </a:lnTo>
                <a:lnTo>
                  <a:pt x="49" y="221"/>
                </a:lnTo>
                <a:lnTo>
                  <a:pt x="49" y="221"/>
                </a:lnTo>
                <a:lnTo>
                  <a:pt x="45" y="221"/>
                </a:lnTo>
                <a:lnTo>
                  <a:pt x="45" y="221"/>
                </a:lnTo>
                <a:close/>
                <a:moveTo>
                  <a:pt x="45" y="226"/>
                </a:moveTo>
                <a:lnTo>
                  <a:pt x="45" y="226"/>
                </a:lnTo>
                <a:lnTo>
                  <a:pt x="47" y="224"/>
                </a:lnTo>
                <a:lnTo>
                  <a:pt x="47" y="224"/>
                </a:lnTo>
                <a:lnTo>
                  <a:pt x="49" y="224"/>
                </a:lnTo>
                <a:lnTo>
                  <a:pt x="49" y="224"/>
                </a:lnTo>
                <a:lnTo>
                  <a:pt x="52" y="221"/>
                </a:lnTo>
                <a:lnTo>
                  <a:pt x="52" y="221"/>
                </a:lnTo>
                <a:lnTo>
                  <a:pt x="54" y="221"/>
                </a:lnTo>
                <a:lnTo>
                  <a:pt x="54" y="221"/>
                </a:lnTo>
                <a:lnTo>
                  <a:pt x="54" y="224"/>
                </a:lnTo>
                <a:lnTo>
                  <a:pt x="54" y="224"/>
                </a:lnTo>
                <a:lnTo>
                  <a:pt x="52" y="226"/>
                </a:lnTo>
                <a:lnTo>
                  <a:pt x="52" y="226"/>
                </a:lnTo>
                <a:lnTo>
                  <a:pt x="49" y="226"/>
                </a:lnTo>
                <a:lnTo>
                  <a:pt x="49" y="226"/>
                </a:lnTo>
                <a:lnTo>
                  <a:pt x="47" y="226"/>
                </a:lnTo>
                <a:lnTo>
                  <a:pt x="47" y="226"/>
                </a:lnTo>
                <a:lnTo>
                  <a:pt x="45" y="226"/>
                </a:lnTo>
                <a:lnTo>
                  <a:pt x="45" y="226"/>
                </a:lnTo>
                <a:close/>
                <a:moveTo>
                  <a:pt x="86" y="184"/>
                </a:moveTo>
                <a:lnTo>
                  <a:pt x="86" y="184"/>
                </a:lnTo>
                <a:lnTo>
                  <a:pt x="86" y="182"/>
                </a:lnTo>
                <a:lnTo>
                  <a:pt x="86" y="182"/>
                </a:lnTo>
                <a:lnTo>
                  <a:pt x="91" y="179"/>
                </a:lnTo>
                <a:lnTo>
                  <a:pt x="91" y="179"/>
                </a:lnTo>
                <a:lnTo>
                  <a:pt x="86" y="184"/>
                </a:lnTo>
                <a:lnTo>
                  <a:pt x="86" y="184"/>
                </a:lnTo>
                <a:lnTo>
                  <a:pt x="86" y="184"/>
                </a:lnTo>
                <a:close/>
                <a:moveTo>
                  <a:pt x="81" y="192"/>
                </a:moveTo>
                <a:lnTo>
                  <a:pt x="81" y="192"/>
                </a:lnTo>
                <a:lnTo>
                  <a:pt x="81" y="189"/>
                </a:lnTo>
                <a:lnTo>
                  <a:pt x="81" y="189"/>
                </a:lnTo>
                <a:lnTo>
                  <a:pt x="79" y="189"/>
                </a:lnTo>
                <a:lnTo>
                  <a:pt x="79" y="189"/>
                </a:lnTo>
                <a:lnTo>
                  <a:pt x="81" y="187"/>
                </a:lnTo>
                <a:lnTo>
                  <a:pt x="81" y="187"/>
                </a:lnTo>
                <a:lnTo>
                  <a:pt x="84" y="187"/>
                </a:lnTo>
                <a:lnTo>
                  <a:pt x="84" y="187"/>
                </a:lnTo>
                <a:lnTo>
                  <a:pt x="86" y="184"/>
                </a:lnTo>
                <a:lnTo>
                  <a:pt x="86" y="184"/>
                </a:lnTo>
                <a:lnTo>
                  <a:pt x="84" y="189"/>
                </a:lnTo>
                <a:lnTo>
                  <a:pt x="84" y="189"/>
                </a:lnTo>
                <a:lnTo>
                  <a:pt x="81" y="192"/>
                </a:lnTo>
                <a:lnTo>
                  <a:pt x="81" y="192"/>
                </a:lnTo>
                <a:close/>
                <a:moveTo>
                  <a:pt x="89" y="165"/>
                </a:moveTo>
                <a:lnTo>
                  <a:pt x="89" y="165"/>
                </a:lnTo>
                <a:lnTo>
                  <a:pt x="91" y="165"/>
                </a:lnTo>
                <a:lnTo>
                  <a:pt x="91" y="165"/>
                </a:lnTo>
                <a:lnTo>
                  <a:pt x="91" y="167"/>
                </a:lnTo>
                <a:lnTo>
                  <a:pt x="91" y="167"/>
                </a:lnTo>
                <a:lnTo>
                  <a:pt x="89" y="170"/>
                </a:lnTo>
                <a:lnTo>
                  <a:pt x="89" y="170"/>
                </a:lnTo>
                <a:lnTo>
                  <a:pt x="89" y="167"/>
                </a:lnTo>
                <a:lnTo>
                  <a:pt x="89" y="167"/>
                </a:lnTo>
                <a:lnTo>
                  <a:pt x="89" y="165"/>
                </a:lnTo>
                <a:lnTo>
                  <a:pt x="89" y="165"/>
                </a:lnTo>
                <a:close/>
                <a:moveTo>
                  <a:pt x="96" y="160"/>
                </a:moveTo>
                <a:lnTo>
                  <a:pt x="96" y="160"/>
                </a:lnTo>
                <a:lnTo>
                  <a:pt x="96" y="157"/>
                </a:lnTo>
                <a:lnTo>
                  <a:pt x="96" y="157"/>
                </a:lnTo>
                <a:lnTo>
                  <a:pt x="99" y="157"/>
                </a:lnTo>
                <a:lnTo>
                  <a:pt x="99" y="157"/>
                </a:lnTo>
                <a:lnTo>
                  <a:pt x="96" y="160"/>
                </a:lnTo>
                <a:lnTo>
                  <a:pt x="96" y="160"/>
                </a:lnTo>
                <a:lnTo>
                  <a:pt x="96" y="160"/>
                </a:lnTo>
                <a:close/>
                <a:moveTo>
                  <a:pt x="94" y="152"/>
                </a:moveTo>
                <a:lnTo>
                  <a:pt x="94" y="152"/>
                </a:lnTo>
                <a:lnTo>
                  <a:pt x="96" y="150"/>
                </a:lnTo>
                <a:lnTo>
                  <a:pt x="96" y="150"/>
                </a:lnTo>
                <a:lnTo>
                  <a:pt x="96" y="152"/>
                </a:lnTo>
                <a:lnTo>
                  <a:pt x="96" y="152"/>
                </a:lnTo>
                <a:lnTo>
                  <a:pt x="94" y="157"/>
                </a:lnTo>
                <a:lnTo>
                  <a:pt x="94" y="157"/>
                </a:lnTo>
                <a:lnTo>
                  <a:pt x="94" y="152"/>
                </a:lnTo>
                <a:lnTo>
                  <a:pt x="94" y="152"/>
                </a:lnTo>
                <a:close/>
                <a:moveTo>
                  <a:pt x="113" y="125"/>
                </a:moveTo>
                <a:lnTo>
                  <a:pt x="113" y="125"/>
                </a:lnTo>
                <a:lnTo>
                  <a:pt x="113" y="125"/>
                </a:lnTo>
                <a:lnTo>
                  <a:pt x="116" y="125"/>
                </a:lnTo>
                <a:lnTo>
                  <a:pt x="116" y="125"/>
                </a:lnTo>
                <a:lnTo>
                  <a:pt x="113" y="128"/>
                </a:lnTo>
                <a:lnTo>
                  <a:pt x="113" y="128"/>
                </a:lnTo>
                <a:lnTo>
                  <a:pt x="113" y="125"/>
                </a:lnTo>
                <a:lnTo>
                  <a:pt x="113" y="125"/>
                </a:lnTo>
                <a:close/>
                <a:moveTo>
                  <a:pt x="94" y="110"/>
                </a:moveTo>
                <a:lnTo>
                  <a:pt x="94" y="110"/>
                </a:lnTo>
                <a:lnTo>
                  <a:pt x="96" y="110"/>
                </a:lnTo>
                <a:lnTo>
                  <a:pt x="96" y="110"/>
                </a:lnTo>
                <a:lnTo>
                  <a:pt x="94" y="113"/>
                </a:lnTo>
                <a:lnTo>
                  <a:pt x="94" y="113"/>
                </a:lnTo>
                <a:lnTo>
                  <a:pt x="94" y="113"/>
                </a:lnTo>
                <a:lnTo>
                  <a:pt x="94" y="110"/>
                </a:lnTo>
                <a:lnTo>
                  <a:pt x="94" y="110"/>
                </a:lnTo>
                <a:close/>
                <a:moveTo>
                  <a:pt x="99" y="103"/>
                </a:moveTo>
                <a:lnTo>
                  <a:pt x="99" y="103"/>
                </a:lnTo>
                <a:lnTo>
                  <a:pt x="96" y="106"/>
                </a:lnTo>
                <a:lnTo>
                  <a:pt x="96" y="106"/>
                </a:lnTo>
                <a:lnTo>
                  <a:pt x="96" y="103"/>
                </a:lnTo>
                <a:lnTo>
                  <a:pt x="96" y="103"/>
                </a:lnTo>
                <a:lnTo>
                  <a:pt x="99" y="98"/>
                </a:lnTo>
                <a:lnTo>
                  <a:pt x="99" y="98"/>
                </a:lnTo>
                <a:lnTo>
                  <a:pt x="99" y="103"/>
                </a:lnTo>
                <a:lnTo>
                  <a:pt x="99" y="103"/>
                </a:lnTo>
                <a:close/>
                <a:moveTo>
                  <a:pt x="101" y="101"/>
                </a:moveTo>
                <a:lnTo>
                  <a:pt x="101" y="101"/>
                </a:lnTo>
                <a:lnTo>
                  <a:pt x="101" y="98"/>
                </a:lnTo>
                <a:lnTo>
                  <a:pt x="101" y="98"/>
                </a:lnTo>
                <a:lnTo>
                  <a:pt x="101" y="96"/>
                </a:lnTo>
                <a:lnTo>
                  <a:pt x="101" y="96"/>
                </a:lnTo>
                <a:lnTo>
                  <a:pt x="104" y="98"/>
                </a:lnTo>
                <a:lnTo>
                  <a:pt x="104" y="98"/>
                </a:lnTo>
                <a:lnTo>
                  <a:pt x="101" y="101"/>
                </a:lnTo>
                <a:lnTo>
                  <a:pt x="101" y="101"/>
                </a:lnTo>
                <a:close/>
                <a:moveTo>
                  <a:pt x="111" y="93"/>
                </a:moveTo>
                <a:lnTo>
                  <a:pt x="111" y="93"/>
                </a:lnTo>
                <a:lnTo>
                  <a:pt x="111" y="96"/>
                </a:lnTo>
                <a:lnTo>
                  <a:pt x="111" y="96"/>
                </a:lnTo>
                <a:lnTo>
                  <a:pt x="104" y="101"/>
                </a:lnTo>
                <a:lnTo>
                  <a:pt x="104" y="101"/>
                </a:lnTo>
                <a:lnTo>
                  <a:pt x="106" y="93"/>
                </a:lnTo>
                <a:lnTo>
                  <a:pt x="106" y="93"/>
                </a:lnTo>
                <a:lnTo>
                  <a:pt x="111" y="93"/>
                </a:lnTo>
                <a:lnTo>
                  <a:pt x="111" y="93"/>
                </a:lnTo>
                <a:close/>
                <a:moveTo>
                  <a:pt x="116" y="86"/>
                </a:moveTo>
                <a:lnTo>
                  <a:pt x="116" y="86"/>
                </a:lnTo>
                <a:lnTo>
                  <a:pt x="118" y="83"/>
                </a:lnTo>
                <a:lnTo>
                  <a:pt x="118" y="83"/>
                </a:lnTo>
                <a:lnTo>
                  <a:pt x="121" y="86"/>
                </a:lnTo>
                <a:lnTo>
                  <a:pt x="121" y="86"/>
                </a:lnTo>
                <a:lnTo>
                  <a:pt x="116" y="86"/>
                </a:lnTo>
                <a:lnTo>
                  <a:pt x="116" y="86"/>
                </a:lnTo>
                <a:close/>
                <a:moveTo>
                  <a:pt x="118" y="88"/>
                </a:moveTo>
                <a:lnTo>
                  <a:pt x="118" y="88"/>
                </a:lnTo>
                <a:lnTo>
                  <a:pt x="118" y="93"/>
                </a:lnTo>
                <a:lnTo>
                  <a:pt x="118" y="93"/>
                </a:lnTo>
                <a:lnTo>
                  <a:pt x="116" y="91"/>
                </a:lnTo>
                <a:lnTo>
                  <a:pt x="116" y="91"/>
                </a:lnTo>
                <a:lnTo>
                  <a:pt x="111" y="93"/>
                </a:lnTo>
                <a:lnTo>
                  <a:pt x="111" y="93"/>
                </a:lnTo>
                <a:lnTo>
                  <a:pt x="113" y="91"/>
                </a:lnTo>
                <a:lnTo>
                  <a:pt x="113" y="91"/>
                </a:lnTo>
                <a:lnTo>
                  <a:pt x="118" y="88"/>
                </a:lnTo>
                <a:lnTo>
                  <a:pt x="118" y="88"/>
                </a:lnTo>
                <a:close/>
                <a:moveTo>
                  <a:pt x="121" y="71"/>
                </a:moveTo>
                <a:lnTo>
                  <a:pt x="121" y="71"/>
                </a:lnTo>
                <a:lnTo>
                  <a:pt x="123" y="76"/>
                </a:lnTo>
                <a:lnTo>
                  <a:pt x="123" y="76"/>
                </a:lnTo>
                <a:lnTo>
                  <a:pt x="123" y="81"/>
                </a:lnTo>
                <a:lnTo>
                  <a:pt x="123" y="81"/>
                </a:lnTo>
                <a:lnTo>
                  <a:pt x="118" y="83"/>
                </a:lnTo>
                <a:lnTo>
                  <a:pt x="118" y="83"/>
                </a:lnTo>
                <a:lnTo>
                  <a:pt x="116" y="81"/>
                </a:lnTo>
                <a:lnTo>
                  <a:pt x="116" y="81"/>
                </a:lnTo>
                <a:lnTo>
                  <a:pt x="121" y="79"/>
                </a:lnTo>
                <a:lnTo>
                  <a:pt x="121" y="79"/>
                </a:lnTo>
                <a:lnTo>
                  <a:pt x="118" y="79"/>
                </a:lnTo>
                <a:lnTo>
                  <a:pt x="118" y="79"/>
                </a:lnTo>
                <a:lnTo>
                  <a:pt x="113" y="81"/>
                </a:lnTo>
                <a:lnTo>
                  <a:pt x="113" y="81"/>
                </a:lnTo>
                <a:lnTo>
                  <a:pt x="113" y="79"/>
                </a:lnTo>
                <a:lnTo>
                  <a:pt x="113" y="79"/>
                </a:lnTo>
                <a:lnTo>
                  <a:pt x="113" y="76"/>
                </a:lnTo>
                <a:lnTo>
                  <a:pt x="113" y="76"/>
                </a:lnTo>
                <a:lnTo>
                  <a:pt x="118" y="76"/>
                </a:lnTo>
                <a:lnTo>
                  <a:pt x="118" y="76"/>
                </a:lnTo>
                <a:lnTo>
                  <a:pt x="121" y="74"/>
                </a:lnTo>
                <a:lnTo>
                  <a:pt x="121" y="74"/>
                </a:lnTo>
                <a:lnTo>
                  <a:pt x="118" y="74"/>
                </a:lnTo>
                <a:lnTo>
                  <a:pt x="118" y="74"/>
                </a:lnTo>
                <a:lnTo>
                  <a:pt x="121" y="71"/>
                </a:lnTo>
                <a:lnTo>
                  <a:pt x="121" y="71"/>
                </a:lnTo>
                <a:close/>
                <a:moveTo>
                  <a:pt x="126" y="74"/>
                </a:moveTo>
                <a:lnTo>
                  <a:pt x="126" y="74"/>
                </a:lnTo>
                <a:lnTo>
                  <a:pt x="123" y="74"/>
                </a:lnTo>
                <a:lnTo>
                  <a:pt x="123" y="74"/>
                </a:lnTo>
                <a:lnTo>
                  <a:pt x="123" y="69"/>
                </a:lnTo>
                <a:lnTo>
                  <a:pt x="123" y="69"/>
                </a:lnTo>
                <a:lnTo>
                  <a:pt x="128" y="66"/>
                </a:lnTo>
                <a:lnTo>
                  <a:pt x="128" y="66"/>
                </a:lnTo>
                <a:lnTo>
                  <a:pt x="128" y="61"/>
                </a:lnTo>
                <a:lnTo>
                  <a:pt x="128" y="61"/>
                </a:lnTo>
                <a:lnTo>
                  <a:pt x="131" y="61"/>
                </a:lnTo>
                <a:lnTo>
                  <a:pt x="131" y="61"/>
                </a:lnTo>
                <a:lnTo>
                  <a:pt x="133" y="64"/>
                </a:lnTo>
                <a:lnTo>
                  <a:pt x="133" y="64"/>
                </a:lnTo>
                <a:lnTo>
                  <a:pt x="128" y="66"/>
                </a:lnTo>
                <a:lnTo>
                  <a:pt x="128" y="66"/>
                </a:lnTo>
                <a:lnTo>
                  <a:pt x="128" y="69"/>
                </a:lnTo>
                <a:lnTo>
                  <a:pt x="128" y="69"/>
                </a:lnTo>
                <a:lnTo>
                  <a:pt x="126" y="74"/>
                </a:lnTo>
                <a:lnTo>
                  <a:pt x="126" y="74"/>
                </a:lnTo>
                <a:close/>
                <a:moveTo>
                  <a:pt x="136" y="76"/>
                </a:moveTo>
                <a:lnTo>
                  <a:pt x="136" y="76"/>
                </a:lnTo>
                <a:lnTo>
                  <a:pt x="138" y="79"/>
                </a:lnTo>
                <a:lnTo>
                  <a:pt x="138" y="79"/>
                </a:lnTo>
                <a:lnTo>
                  <a:pt x="133" y="86"/>
                </a:lnTo>
                <a:lnTo>
                  <a:pt x="133" y="86"/>
                </a:lnTo>
                <a:lnTo>
                  <a:pt x="131" y="88"/>
                </a:lnTo>
                <a:lnTo>
                  <a:pt x="131" y="88"/>
                </a:lnTo>
                <a:lnTo>
                  <a:pt x="128" y="91"/>
                </a:lnTo>
                <a:lnTo>
                  <a:pt x="128" y="91"/>
                </a:lnTo>
                <a:lnTo>
                  <a:pt x="126" y="88"/>
                </a:lnTo>
                <a:lnTo>
                  <a:pt x="126" y="88"/>
                </a:lnTo>
                <a:lnTo>
                  <a:pt x="126" y="86"/>
                </a:lnTo>
                <a:lnTo>
                  <a:pt x="126" y="86"/>
                </a:lnTo>
                <a:lnTo>
                  <a:pt x="123" y="91"/>
                </a:lnTo>
                <a:lnTo>
                  <a:pt x="123" y="91"/>
                </a:lnTo>
                <a:lnTo>
                  <a:pt x="121" y="91"/>
                </a:lnTo>
                <a:lnTo>
                  <a:pt x="121" y="91"/>
                </a:lnTo>
                <a:lnTo>
                  <a:pt x="123" y="86"/>
                </a:lnTo>
                <a:lnTo>
                  <a:pt x="123" y="86"/>
                </a:lnTo>
                <a:lnTo>
                  <a:pt x="123" y="86"/>
                </a:lnTo>
                <a:lnTo>
                  <a:pt x="123" y="83"/>
                </a:lnTo>
                <a:lnTo>
                  <a:pt x="123" y="83"/>
                </a:lnTo>
                <a:lnTo>
                  <a:pt x="126" y="81"/>
                </a:lnTo>
                <a:lnTo>
                  <a:pt x="126" y="81"/>
                </a:lnTo>
                <a:lnTo>
                  <a:pt x="126" y="79"/>
                </a:lnTo>
                <a:lnTo>
                  <a:pt x="126" y="79"/>
                </a:lnTo>
                <a:lnTo>
                  <a:pt x="128" y="71"/>
                </a:lnTo>
                <a:lnTo>
                  <a:pt x="128" y="71"/>
                </a:lnTo>
                <a:lnTo>
                  <a:pt x="128" y="81"/>
                </a:lnTo>
                <a:lnTo>
                  <a:pt x="128" y="81"/>
                </a:lnTo>
                <a:lnTo>
                  <a:pt x="128" y="83"/>
                </a:lnTo>
                <a:lnTo>
                  <a:pt x="128" y="83"/>
                </a:lnTo>
                <a:lnTo>
                  <a:pt x="131" y="79"/>
                </a:lnTo>
                <a:lnTo>
                  <a:pt x="131" y="79"/>
                </a:lnTo>
                <a:lnTo>
                  <a:pt x="136" y="79"/>
                </a:lnTo>
                <a:lnTo>
                  <a:pt x="136" y="79"/>
                </a:lnTo>
                <a:lnTo>
                  <a:pt x="133" y="76"/>
                </a:lnTo>
                <a:lnTo>
                  <a:pt x="133" y="76"/>
                </a:lnTo>
                <a:lnTo>
                  <a:pt x="133" y="74"/>
                </a:lnTo>
                <a:lnTo>
                  <a:pt x="133" y="74"/>
                </a:lnTo>
                <a:lnTo>
                  <a:pt x="136" y="76"/>
                </a:lnTo>
                <a:lnTo>
                  <a:pt x="136" y="76"/>
                </a:lnTo>
                <a:close/>
                <a:moveTo>
                  <a:pt x="136" y="71"/>
                </a:moveTo>
                <a:lnTo>
                  <a:pt x="136" y="71"/>
                </a:lnTo>
                <a:lnTo>
                  <a:pt x="133" y="71"/>
                </a:lnTo>
                <a:lnTo>
                  <a:pt x="133" y="71"/>
                </a:lnTo>
                <a:lnTo>
                  <a:pt x="136" y="71"/>
                </a:lnTo>
                <a:lnTo>
                  <a:pt x="136" y="71"/>
                </a:lnTo>
                <a:lnTo>
                  <a:pt x="138" y="71"/>
                </a:lnTo>
                <a:lnTo>
                  <a:pt x="138" y="71"/>
                </a:lnTo>
                <a:lnTo>
                  <a:pt x="138" y="74"/>
                </a:lnTo>
                <a:lnTo>
                  <a:pt x="138" y="74"/>
                </a:lnTo>
                <a:lnTo>
                  <a:pt x="136" y="71"/>
                </a:lnTo>
                <a:lnTo>
                  <a:pt x="136" y="71"/>
                </a:lnTo>
                <a:close/>
                <a:moveTo>
                  <a:pt x="143" y="76"/>
                </a:moveTo>
                <a:lnTo>
                  <a:pt x="143" y="76"/>
                </a:lnTo>
                <a:lnTo>
                  <a:pt x="143" y="74"/>
                </a:lnTo>
                <a:lnTo>
                  <a:pt x="143" y="74"/>
                </a:lnTo>
                <a:lnTo>
                  <a:pt x="145" y="76"/>
                </a:lnTo>
                <a:lnTo>
                  <a:pt x="145" y="76"/>
                </a:lnTo>
                <a:lnTo>
                  <a:pt x="143" y="76"/>
                </a:lnTo>
                <a:lnTo>
                  <a:pt x="143" y="76"/>
                </a:lnTo>
                <a:close/>
                <a:moveTo>
                  <a:pt x="153" y="61"/>
                </a:moveTo>
                <a:lnTo>
                  <a:pt x="153" y="61"/>
                </a:lnTo>
                <a:lnTo>
                  <a:pt x="153" y="61"/>
                </a:lnTo>
                <a:lnTo>
                  <a:pt x="153" y="64"/>
                </a:lnTo>
                <a:lnTo>
                  <a:pt x="153" y="64"/>
                </a:lnTo>
                <a:lnTo>
                  <a:pt x="150" y="66"/>
                </a:lnTo>
                <a:lnTo>
                  <a:pt x="150" y="66"/>
                </a:lnTo>
                <a:lnTo>
                  <a:pt x="150" y="66"/>
                </a:lnTo>
                <a:lnTo>
                  <a:pt x="145" y="66"/>
                </a:lnTo>
                <a:lnTo>
                  <a:pt x="145" y="66"/>
                </a:lnTo>
                <a:lnTo>
                  <a:pt x="145" y="71"/>
                </a:lnTo>
                <a:lnTo>
                  <a:pt x="145" y="71"/>
                </a:lnTo>
                <a:lnTo>
                  <a:pt x="143" y="71"/>
                </a:lnTo>
                <a:lnTo>
                  <a:pt x="143" y="71"/>
                </a:lnTo>
                <a:lnTo>
                  <a:pt x="143" y="69"/>
                </a:lnTo>
                <a:lnTo>
                  <a:pt x="143" y="69"/>
                </a:lnTo>
                <a:lnTo>
                  <a:pt x="140" y="66"/>
                </a:lnTo>
                <a:lnTo>
                  <a:pt x="140" y="66"/>
                </a:lnTo>
                <a:lnTo>
                  <a:pt x="143" y="64"/>
                </a:lnTo>
                <a:lnTo>
                  <a:pt x="143" y="64"/>
                </a:lnTo>
                <a:lnTo>
                  <a:pt x="140" y="64"/>
                </a:lnTo>
                <a:lnTo>
                  <a:pt x="140" y="64"/>
                </a:lnTo>
                <a:lnTo>
                  <a:pt x="140" y="61"/>
                </a:lnTo>
                <a:lnTo>
                  <a:pt x="140" y="61"/>
                </a:lnTo>
                <a:lnTo>
                  <a:pt x="145" y="59"/>
                </a:lnTo>
                <a:lnTo>
                  <a:pt x="145" y="59"/>
                </a:lnTo>
                <a:lnTo>
                  <a:pt x="143" y="59"/>
                </a:lnTo>
                <a:lnTo>
                  <a:pt x="143" y="59"/>
                </a:lnTo>
                <a:lnTo>
                  <a:pt x="143" y="54"/>
                </a:lnTo>
                <a:lnTo>
                  <a:pt x="143" y="54"/>
                </a:lnTo>
                <a:lnTo>
                  <a:pt x="145" y="56"/>
                </a:lnTo>
                <a:lnTo>
                  <a:pt x="145" y="56"/>
                </a:lnTo>
                <a:lnTo>
                  <a:pt x="145" y="54"/>
                </a:lnTo>
                <a:lnTo>
                  <a:pt x="145" y="54"/>
                </a:lnTo>
                <a:lnTo>
                  <a:pt x="150" y="54"/>
                </a:lnTo>
                <a:lnTo>
                  <a:pt x="150" y="54"/>
                </a:lnTo>
                <a:lnTo>
                  <a:pt x="150" y="56"/>
                </a:lnTo>
                <a:lnTo>
                  <a:pt x="150" y="56"/>
                </a:lnTo>
                <a:lnTo>
                  <a:pt x="153" y="56"/>
                </a:lnTo>
                <a:lnTo>
                  <a:pt x="153" y="56"/>
                </a:lnTo>
                <a:lnTo>
                  <a:pt x="153" y="61"/>
                </a:lnTo>
                <a:lnTo>
                  <a:pt x="153" y="61"/>
                </a:lnTo>
                <a:close/>
                <a:moveTo>
                  <a:pt x="153" y="51"/>
                </a:moveTo>
                <a:lnTo>
                  <a:pt x="153" y="51"/>
                </a:lnTo>
                <a:lnTo>
                  <a:pt x="158" y="51"/>
                </a:lnTo>
                <a:lnTo>
                  <a:pt x="158" y="51"/>
                </a:lnTo>
                <a:lnTo>
                  <a:pt x="158" y="49"/>
                </a:lnTo>
                <a:lnTo>
                  <a:pt x="158" y="49"/>
                </a:lnTo>
                <a:lnTo>
                  <a:pt x="163" y="49"/>
                </a:lnTo>
                <a:lnTo>
                  <a:pt x="163" y="49"/>
                </a:lnTo>
                <a:lnTo>
                  <a:pt x="163" y="47"/>
                </a:lnTo>
                <a:lnTo>
                  <a:pt x="163" y="47"/>
                </a:lnTo>
                <a:lnTo>
                  <a:pt x="165" y="49"/>
                </a:lnTo>
                <a:lnTo>
                  <a:pt x="165" y="49"/>
                </a:lnTo>
                <a:lnTo>
                  <a:pt x="163" y="51"/>
                </a:lnTo>
                <a:lnTo>
                  <a:pt x="163" y="51"/>
                </a:lnTo>
                <a:lnTo>
                  <a:pt x="163" y="54"/>
                </a:lnTo>
                <a:lnTo>
                  <a:pt x="163" y="54"/>
                </a:lnTo>
                <a:lnTo>
                  <a:pt x="160" y="54"/>
                </a:lnTo>
                <a:lnTo>
                  <a:pt x="160" y="54"/>
                </a:lnTo>
                <a:lnTo>
                  <a:pt x="158" y="56"/>
                </a:lnTo>
                <a:lnTo>
                  <a:pt x="158" y="56"/>
                </a:lnTo>
                <a:lnTo>
                  <a:pt x="153" y="51"/>
                </a:lnTo>
                <a:lnTo>
                  <a:pt x="153" y="51"/>
                </a:lnTo>
                <a:close/>
                <a:moveTo>
                  <a:pt x="165" y="34"/>
                </a:moveTo>
                <a:lnTo>
                  <a:pt x="165" y="34"/>
                </a:lnTo>
                <a:lnTo>
                  <a:pt x="165" y="32"/>
                </a:lnTo>
                <a:lnTo>
                  <a:pt x="165" y="32"/>
                </a:lnTo>
                <a:lnTo>
                  <a:pt x="168" y="32"/>
                </a:lnTo>
                <a:lnTo>
                  <a:pt x="168" y="32"/>
                </a:lnTo>
                <a:lnTo>
                  <a:pt x="165" y="34"/>
                </a:lnTo>
                <a:lnTo>
                  <a:pt x="165" y="34"/>
                </a:lnTo>
                <a:close/>
                <a:moveTo>
                  <a:pt x="160" y="39"/>
                </a:moveTo>
                <a:lnTo>
                  <a:pt x="160" y="39"/>
                </a:lnTo>
                <a:lnTo>
                  <a:pt x="160" y="37"/>
                </a:lnTo>
                <a:lnTo>
                  <a:pt x="160" y="37"/>
                </a:lnTo>
                <a:lnTo>
                  <a:pt x="165" y="34"/>
                </a:lnTo>
                <a:lnTo>
                  <a:pt x="165" y="34"/>
                </a:lnTo>
                <a:lnTo>
                  <a:pt x="165" y="37"/>
                </a:lnTo>
                <a:lnTo>
                  <a:pt x="160" y="39"/>
                </a:lnTo>
                <a:lnTo>
                  <a:pt x="160" y="39"/>
                </a:lnTo>
                <a:close/>
                <a:moveTo>
                  <a:pt x="170" y="47"/>
                </a:moveTo>
                <a:lnTo>
                  <a:pt x="170" y="47"/>
                </a:lnTo>
                <a:lnTo>
                  <a:pt x="172" y="42"/>
                </a:lnTo>
                <a:lnTo>
                  <a:pt x="172" y="42"/>
                </a:lnTo>
                <a:lnTo>
                  <a:pt x="172" y="44"/>
                </a:lnTo>
                <a:lnTo>
                  <a:pt x="172" y="44"/>
                </a:lnTo>
                <a:lnTo>
                  <a:pt x="170" y="47"/>
                </a:lnTo>
                <a:lnTo>
                  <a:pt x="170" y="47"/>
                </a:lnTo>
                <a:close/>
                <a:moveTo>
                  <a:pt x="170" y="44"/>
                </a:moveTo>
                <a:lnTo>
                  <a:pt x="170" y="44"/>
                </a:lnTo>
                <a:lnTo>
                  <a:pt x="168" y="47"/>
                </a:lnTo>
                <a:lnTo>
                  <a:pt x="168" y="47"/>
                </a:lnTo>
                <a:lnTo>
                  <a:pt x="165" y="47"/>
                </a:lnTo>
                <a:lnTo>
                  <a:pt x="165" y="47"/>
                </a:lnTo>
                <a:lnTo>
                  <a:pt x="163" y="42"/>
                </a:lnTo>
                <a:lnTo>
                  <a:pt x="163" y="42"/>
                </a:lnTo>
                <a:lnTo>
                  <a:pt x="168" y="39"/>
                </a:lnTo>
                <a:lnTo>
                  <a:pt x="168" y="39"/>
                </a:lnTo>
                <a:lnTo>
                  <a:pt x="168" y="39"/>
                </a:lnTo>
                <a:lnTo>
                  <a:pt x="170" y="39"/>
                </a:lnTo>
                <a:lnTo>
                  <a:pt x="170" y="39"/>
                </a:lnTo>
                <a:lnTo>
                  <a:pt x="172" y="39"/>
                </a:lnTo>
                <a:lnTo>
                  <a:pt x="172" y="39"/>
                </a:lnTo>
                <a:lnTo>
                  <a:pt x="170" y="42"/>
                </a:lnTo>
                <a:lnTo>
                  <a:pt x="170" y="42"/>
                </a:lnTo>
                <a:lnTo>
                  <a:pt x="170" y="44"/>
                </a:lnTo>
                <a:lnTo>
                  <a:pt x="170" y="44"/>
                </a:lnTo>
                <a:close/>
                <a:moveTo>
                  <a:pt x="177" y="37"/>
                </a:moveTo>
                <a:lnTo>
                  <a:pt x="177" y="37"/>
                </a:lnTo>
                <a:lnTo>
                  <a:pt x="175" y="39"/>
                </a:lnTo>
                <a:lnTo>
                  <a:pt x="175" y="39"/>
                </a:lnTo>
                <a:lnTo>
                  <a:pt x="172" y="37"/>
                </a:lnTo>
                <a:lnTo>
                  <a:pt x="172" y="37"/>
                </a:lnTo>
                <a:lnTo>
                  <a:pt x="172" y="34"/>
                </a:lnTo>
                <a:lnTo>
                  <a:pt x="172" y="34"/>
                </a:lnTo>
                <a:lnTo>
                  <a:pt x="170" y="29"/>
                </a:lnTo>
                <a:lnTo>
                  <a:pt x="170" y="29"/>
                </a:lnTo>
                <a:lnTo>
                  <a:pt x="172" y="29"/>
                </a:lnTo>
                <a:lnTo>
                  <a:pt x="172" y="29"/>
                </a:lnTo>
                <a:lnTo>
                  <a:pt x="172" y="34"/>
                </a:lnTo>
                <a:lnTo>
                  <a:pt x="172" y="34"/>
                </a:lnTo>
                <a:lnTo>
                  <a:pt x="177" y="37"/>
                </a:lnTo>
                <a:lnTo>
                  <a:pt x="177" y="37"/>
                </a:lnTo>
                <a:lnTo>
                  <a:pt x="177" y="37"/>
                </a:lnTo>
                <a:close/>
                <a:moveTo>
                  <a:pt x="185" y="42"/>
                </a:moveTo>
                <a:lnTo>
                  <a:pt x="185" y="42"/>
                </a:lnTo>
                <a:lnTo>
                  <a:pt x="185" y="39"/>
                </a:lnTo>
                <a:lnTo>
                  <a:pt x="185" y="39"/>
                </a:lnTo>
                <a:lnTo>
                  <a:pt x="182" y="39"/>
                </a:lnTo>
                <a:lnTo>
                  <a:pt x="182" y="39"/>
                </a:lnTo>
                <a:lnTo>
                  <a:pt x="182" y="34"/>
                </a:lnTo>
                <a:lnTo>
                  <a:pt x="182" y="34"/>
                </a:lnTo>
                <a:lnTo>
                  <a:pt x="182" y="32"/>
                </a:lnTo>
                <a:lnTo>
                  <a:pt x="182" y="32"/>
                </a:lnTo>
                <a:lnTo>
                  <a:pt x="187" y="34"/>
                </a:lnTo>
                <a:lnTo>
                  <a:pt x="187" y="34"/>
                </a:lnTo>
                <a:lnTo>
                  <a:pt x="185" y="37"/>
                </a:lnTo>
                <a:lnTo>
                  <a:pt x="185" y="37"/>
                </a:lnTo>
                <a:lnTo>
                  <a:pt x="187" y="39"/>
                </a:lnTo>
                <a:lnTo>
                  <a:pt x="187" y="39"/>
                </a:lnTo>
                <a:lnTo>
                  <a:pt x="185" y="42"/>
                </a:lnTo>
                <a:lnTo>
                  <a:pt x="185" y="42"/>
                </a:lnTo>
                <a:close/>
                <a:moveTo>
                  <a:pt x="209" y="29"/>
                </a:moveTo>
                <a:lnTo>
                  <a:pt x="209" y="29"/>
                </a:lnTo>
                <a:lnTo>
                  <a:pt x="207" y="29"/>
                </a:lnTo>
                <a:lnTo>
                  <a:pt x="207" y="29"/>
                </a:lnTo>
                <a:lnTo>
                  <a:pt x="202" y="27"/>
                </a:lnTo>
                <a:lnTo>
                  <a:pt x="202" y="27"/>
                </a:lnTo>
                <a:lnTo>
                  <a:pt x="204" y="27"/>
                </a:lnTo>
                <a:lnTo>
                  <a:pt x="204" y="27"/>
                </a:lnTo>
                <a:lnTo>
                  <a:pt x="209" y="27"/>
                </a:lnTo>
                <a:lnTo>
                  <a:pt x="209" y="27"/>
                </a:lnTo>
                <a:lnTo>
                  <a:pt x="209" y="27"/>
                </a:lnTo>
                <a:lnTo>
                  <a:pt x="209" y="29"/>
                </a:lnTo>
                <a:lnTo>
                  <a:pt x="209" y="29"/>
                </a:lnTo>
                <a:close/>
                <a:moveTo>
                  <a:pt x="212" y="27"/>
                </a:moveTo>
                <a:lnTo>
                  <a:pt x="212" y="27"/>
                </a:lnTo>
                <a:lnTo>
                  <a:pt x="209" y="24"/>
                </a:lnTo>
                <a:lnTo>
                  <a:pt x="209" y="24"/>
                </a:lnTo>
                <a:lnTo>
                  <a:pt x="214" y="19"/>
                </a:lnTo>
                <a:lnTo>
                  <a:pt x="214" y="19"/>
                </a:lnTo>
                <a:lnTo>
                  <a:pt x="217" y="22"/>
                </a:lnTo>
                <a:lnTo>
                  <a:pt x="217" y="22"/>
                </a:lnTo>
                <a:lnTo>
                  <a:pt x="214" y="24"/>
                </a:lnTo>
                <a:lnTo>
                  <a:pt x="214" y="24"/>
                </a:lnTo>
                <a:lnTo>
                  <a:pt x="212" y="27"/>
                </a:lnTo>
                <a:lnTo>
                  <a:pt x="212" y="27"/>
                </a:lnTo>
                <a:close/>
                <a:moveTo>
                  <a:pt x="207" y="22"/>
                </a:moveTo>
                <a:lnTo>
                  <a:pt x="207" y="22"/>
                </a:lnTo>
                <a:lnTo>
                  <a:pt x="204" y="22"/>
                </a:lnTo>
                <a:lnTo>
                  <a:pt x="204" y="22"/>
                </a:lnTo>
                <a:lnTo>
                  <a:pt x="200" y="22"/>
                </a:lnTo>
                <a:lnTo>
                  <a:pt x="200" y="22"/>
                </a:lnTo>
                <a:lnTo>
                  <a:pt x="197" y="17"/>
                </a:lnTo>
                <a:lnTo>
                  <a:pt x="197" y="17"/>
                </a:lnTo>
                <a:lnTo>
                  <a:pt x="202" y="19"/>
                </a:lnTo>
                <a:lnTo>
                  <a:pt x="202" y="19"/>
                </a:lnTo>
                <a:lnTo>
                  <a:pt x="204" y="17"/>
                </a:lnTo>
                <a:lnTo>
                  <a:pt x="204" y="17"/>
                </a:lnTo>
                <a:lnTo>
                  <a:pt x="204" y="19"/>
                </a:lnTo>
                <a:lnTo>
                  <a:pt x="204" y="19"/>
                </a:lnTo>
                <a:lnTo>
                  <a:pt x="207" y="15"/>
                </a:lnTo>
                <a:lnTo>
                  <a:pt x="207" y="15"/>
                </a:lnTo>
                <a:lnTo>
                  <a:pt x="209" y="17"/>
                </a:lnTo>
                <a:lnTo>
                  <a:pt x="209" y="17"/>
                </a:lnTo>
                <a:lnTo>
                  <a:pt x="214" y="12"/>
                </a:lnTo>
                <a:lnTo>
                  <a:pt x="214" y="12"/>
                </a:lnTo>
                <a:lnTo>
                  <a:pt x="214" y="15"/>
                </a:lnTo>
                <a:lnTo>
                  <a:pt x="214" y="15"/>
                </a:lnTo>
                <a:lnTo>
                  <a:pt x="207" y="22"/>
                </a:lnTo>
                <a:lnTo>
                  <a:pt x="207" y="22"/>
                </a:lnTo>
                <a:close/>
                <a:moveTo>
                  <a:pt x="217" y="15"/>
                </a:moveTo>
                <a:lnTo>
                  <a:pt x="219" y="15"/>
                </a:lnTo>
                <a:lnTo>
                  <a:pt x="219" y="15"/>
                </a:lnTo>
                <a:lnTo>
                  <a:pt x="224" y="17"/>
                </a:lnTo>
                <a:lnTo>
                  <a:pt x="224" y="17"/>
                </a:lnTo>
                <a:lnTo>
                  <a:pt x="222" y="19"/>
                </a:lnTo>
                <a:lnTo>
                  <a:pt x="222" y="19"/>
                </a:lnTo>
                <a:lnTo>
                  <a:pt x="219" y="22"/>
                </a:lnTo>
                <a:lnTo>
                  <a:pt x="219" y="22"/>
                </a:lnTo>
                <a:lnTo>
                  <a:pt x="219" y="17"/>
                </a:lnTo>
                <a:lnTo>
                  <a:pt x="219" y="17"/>
                </a:lnTo>
                <a:lnTo>
                  <a:pt x="217" y="15"/>
                </a:lnTo>
                <a:lnTo>
                  <a:pt x="217" y="15"/>
                </a:lnTo>
                <a:close/>
                <a:moveTo>
                  <a:pt x="224" y="7"/>
                </a:moveTo>
                <a:lnTo>
                  <a:pt x="224" y="7"/>
                </a:lnTo>
                <a:lnTo>
                  <a:pt x="224" y="10"/>
                </a:lnTo>
                <a:lnTo>
                  <a:pt x="224" y="10"/>
                </a:lnTo>
                <a:lnTo>
                  <a:pt x="222" y="10"/>
                </a:lnTo>
                <a:lnTo>
                  <a:pt x="222" y="10"/>
                </a:lnTo>
                <a:lnTo>
                  <a:pt x="219" y="7"/>
                </a:lnTo>
                <a:lnTo>
                  <a:pt x="219" y="7"/>
                </a:lnTo>
                <a:lnTo>
                  <a:pt x="222" y="7"/>
                </a:lnTo>
                <a:lnTo>
                  <a:pt x="222" y="7"/>
                </a:lnTo>
                <a:lnTo>
                  <a:pt x="224" y="7"/>
                </a:lnTo>
                <a:lnTo>
                  <a:pt x="224" y="7"/>
                </a:lnTo>
                <a:close/>
                <a:moveTo>
                  <a:pt x="232" y="5"/>
                </a:moveTo>
                <a:lnTo>
                  <a:pt x="232" y="5"/>
                </a:lnTo>
                <a:lnTo>
                  <a:pt x="229" y="2"/>
                </a:lnTo>
                <a:lnTo>
                  <a:pt x="229" y="2"/>
                </a:lnTo>
                <a:lnTo>
                  <a:pt x="229" y="2"/>
                </a:lnTo>
                <a:lnTo>
                  <a:pt x="232" y="2"/>
                </a:lnTo>
                <a:lnTo>
                  <a:pt x="232" y="2"/>
                </a:lnTo>
                <a:lnTo>
                  <a:pt x="232" y="5"/>
                </a:lnTo>
                <a:lnTo>
                  <a:pt x="232" y="5"/>
                </a:lnTo>
                <a:close/>
                <a:moveTo>
                  <a:pt x="236" y="5"/>
                </a:moveTo>
                <a:lnTo>
                  <a:pt x="236" y="5"/>
                </a:lnTo>
                <a:lnTo>
                  <a:pt x="236" y="5"/>
                </a:lnTo>
                <a:lnTo>
                  <a:pt x="236" y="2"/>
                </a:lnTo>
                <a:lnTo>
                  <a:pt x="236" y="2"/>
                </a:lnTo>
                <a:lnTo>
                  <a:pt x="239" y="2"/>
                </a:lnTo>
                <a:lnTo>
                  <a:pt x="239" y="2"/>
                </a:lnTo>
                <a:lnTo>
                  <a:pt x="239" y="2"/>
                </a:lnTo>
                <a:lnTo>
                  <a:pt x="241" y="0"/>
                </a:lnTo>
                <a:lnTo>
                  <a:pt x="241" y="0"/>
                </a:lnTo>
                <a:lnTo>
                  <a:pt x="241" y="0"/>
                </a:lnTo>
                <a:lnTo>
                  <a:pt x="244" y="2"/>
                </a:lnTo>
                <a:lnTo>
                  <a:pt x="244" y="2"/>
                </a:lnTo>
                <a:lnTo>
                  <a:pt x="244" y="5"/>
                </a:lnTo>
                <a:lnTo>
                  <a:pt x="244" y="5"/>
                </a:lnTo>
                <a:lnTo>
                  <a:pt x="246" y="5"/>
                </a:lnTo>
                <a:lnTo>
                  <a:pt x="246" y="5"/>
                </a:lnTo>
                <a:lnTo>
                  <a:pt x="244" y="7"/>
                </a:lnTo>
                <a:lnTo>
                  <a:pt x="244" y="7"/>
                </a:lnTo>
                <a:lnTo>
                  <a:pt x="241" y="7"/>
                </a:lnTo>
                <a:lnTo>
                  <a:pt x="241" y="7"/>
                </a:lnTo>
                <a:lnTo>
                  <a:pt x="239" y="5"/>
                </a:lnTo>
                <a:lnTo>
                  <a:pt x="236"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Freeform 46"/>
          <p:cNvSpPr>
            <a:spLocks noEditPoints="1"/>
          </p:cNvSpPr>
          <p:nvPr/>
        </p:nvSpPr>
        <p:spPr bwMode="auto">
          <a:xfrm>
            <a:off x="4987254" y="2438702"/>
            <a:ext cx="247906" cy="531469"/>
          </a:xfrm>
          <a:custGeom>
            <a:avLst/>
            <a:gdLst/>
            <a:ahLst/>
            <a:cxnLst>
              <a:cxn ang="0">
                <a:pos x="5" y="251"/>
              </a:cxn>
              <a:cxn ang="0">
                <a:pos x="15" y="233"/>
              </a:cxn>
              <a:cxn ang="0">
                <a:pos x="17" y="204"/>
              </a:cxn>
              <a:cxn ang="0">
                <a:pos x="7" y="169"/>
              </a:cxn>
              <a:cxn ang="0">
                <a:pos x="22" y="140"/>
              </a:cxn>
              <a:cxn ang="0">
                <a:pos x="29" y="98"/>
              </a:cxn>
              <a:cxn ang="0">
                <a:pos x="42" y="76"/>
              </a:cxn>
              <a:cxn ang="0">
                <a:pos x="49" y="44"/>
              </a:cxn>
              <a:cxn ang="0">
                <a:pos x="66" y="29"/>
              </a:cxn>
              <a:cxn ang="0">
                <a:pos x="71" y="19"/>
              </a:cxn>
              <a:cxn ang="0">
                <a:pos x="91" y="17"/>
              </a:cxn>
              <a:cxn ang="0">
                <a:pos x="96" y="7"/>
              </a:cxn>
              <a:cxn ang="0">
                <a:pos x="103" y="2"/>
              </a:cxn>
              <a:cxn ang="0">
                <a:pos x="130" y="19"/>
              </a:cxn>
              <a:cxn ang="0">
                <a:pos x="140" y="32"/>
              </a:cxn>
              <a:cxn ang="0">
                <a:pos x="143" y="51"/>
              </a:cxn>
              <a:cxn ang="0">
                <a:pos x="147" y="78"/>
              </a:cxn>
              <a:cxn ang="0">
                <a:pos x="147" y="91"/>
              </a:cxn>
              <a:cxn ang="0">
                <a:pos x="133" y="91"/>
              </a:cxn>
              <a:cxn ang="0">
                <a:pos x="123" y="93"/>
              </a:cxn>
              <a:cxn ang="0">
                <a:pos x="123" y="105"/>
              </a:cxn>
              <a:cxn ang="0">
                <a:pos x="123" y="108"/>
              </a:cxn>
              <a:cxn ang="0">
                <a:pos x="123" y="123"/>
              </a:cxn>
              <a:cxn ang="0">
                <a:pos x="118" y="137"/>
              </a:cxn>
              <a:cxn ang="0">
                <a:pos x="106" y="152"/>
              </a:cxn>
              <a:cxn ang="0">
                <a:pos x="96" y="162"/>
              </a:cxn>
              <a:cxn ang="0">
                <a:pos x="86" y="164"/>
              </a:cxn>
              <a:cxn ang="0">
                <a:pos x="79" y="179"/>
              </a:cxn>
              <a:cxn ang="0">
                <a:pos x="76" y="196"/>
              </a:cxn>
              <a:cxn ang="0">
                <a:pos x="76" y="209"/>
              </a:cxn>
              <a:cxn ang="0">
                <a:pos x="79" y="223"/>
              </a:cxn>
              <a:cxn ang="0">
                <a:pos x="93" y="233"/>
              </a:cxn>
              <a:cxn ang="0">
                <a:pos x="93" y="255"/>
              </a:cxn>
              <a:cxn ang="0">
                <a:pos x="79" y="251"/>
              </a:cxn>
              <a:cxn ang="0">
                <a:pos x="66" y="253"/>
              </a:cxn>
              <a:cxn ang="0">
                <a:pos x="76" y="255"/>
              </a:cxn>
              <a:cxn ang="0">
                <a:pos x="93" y="260"/>
              </a:cxn>
              <a:cxn ang="0">
                <a:pos x="86" y="263"/>
              </a:cxn>
              <a:cxn ang="0">
                <a:pos x="76" y="273"/>
              </a:cxn>
              <a:cxn ang="0">
                <a:pos x="71" y="280"/>
              </a:cxn>
              <a:cxn ang="0">
                <a:pos x="74" y="292"/>
              </a:cxn>
              <a:cxn ang="0">
                <a:pos x="74" y="312"/>
              </a:cxn>
              <a:cxn ang="0">
                <a:pos x="61" y="329"/>
              </a:cxn>
              <a:cxn ang="0">
                <a:pos x="44" y="342"/>
              </a:cxn>
              <a:cxn ang="0">
                <a:pos x="27" y="344"/>
              </a:cxn>
              <a:cxn ang="0">
                <a:pos x="27" y="324"/>
              </a:cxn>
              <a:cxn ang="0">
                <a:pos x="12" y="305"/>
              </a:cxn>
              <a:cxn ang="0">
                <a:pos x="7" y="290"/>
              </a:cxn>
              <a:cxn ang="0">
                <a:pos x="5" y="283"/>
              </a:cxn>
              <a:cxn ang="0">
                <a:pos x="0" y="273"/>
              </a:cxn>
              <a:cxn ang="0">
                <a:pos x="96" y="260"/>
              </a:cxn>
              <a:cxn ang="0">
                <a:pos x="93" y="255"/>
              </a:cxn>
              <a:cxn ang="0">
                <a:pos x="5" y="287"/>
              </a:cxn>
              <a:cxn ang="0">
                <a:pos x="106" y="278"/>
              </a:cxn>
              <a:cxn ang="0">
                <a:pos x="108" y="290"/>
              </a:cxn>
              <a:cxn ang="0">
                <a:pos x="101" y="312"/>
              </a:cxn>
              <a:cxn ang="0">
                <a:pos x="106" y="297"/>
              </a:cxn>
              <a:cxn ang="0">
                <a:pos x="96" y="300"/>
              </a:cxn>
              <a:cxn ang="0">
                <a:pos x="96" y="314"/>
              </a:cxn>
              <a:cxn ang="0">
                <a:pos x="76" y="332"/>
              </a:cxn>
              <a:cxn ang="0">
                <a:pos x="76" y="310"/>
              </a:cxn>
            </a:cxnLst>
            <a:rect l="0" t="0" r="r" b="b"/>
            <a:pathLst>
              <a:path w="152" h="346">
                <a:moveTo>
                  <a:pt x="2" y="265"/>
                </a:moveTo>
                <a:lnTo>
                  <a:pt x="5" y="268"/>
                </a:lnTo>
                <a:lnTo>
                  <a:pt x="5" y="270"/>
                </a:lnTo>
                <a:lnTo>
                  <a:pt x="7" y="268"/>
                </a:lnTo>
                <a:lnTo>
                  <a:pt x="7" y="258"/>
                </a:lnTo>
                <a:lnTo>
                  <a:pt x="5" y="253"/>
                </a:lnTo>
                <a:lnTo>
                  <a:pt x="5" y="251"/>
                </a:lnTo>
                <a:lnTo>
                  <a:pt x="7" y="248"/>
                </a:lnTo>
                <a:lnTo>
                  <a:pt x="7" y="246"/>
                </a:lnTo>
                <a:lnTo>
                  <a:pt x="7" y="243"/>
                </a:lnTo>
                <a:lnTo>
                  <a:pt x="12" y="243"/>
                </a:lnTo>
                <a:lnTo>
                  <a:pt x="12" y="241"/>
                </a:lnTo>
                <a:lnTo>
                  <a:pt x="12" y="238"/>
                </a:lnTo>
                <a:lnTo>
                  <a:pt x="15" y="233"/>
                </a:lnTo>
                <a:lnTo>
                  <a:pt x="12" y="231"/>
                </a:lnTo>
                <a:lnTo>
                  <a:pt x="12" y="223"/>
                </a:lnTo>
                <a:lnTo>
                  <a:pt x="10" y="219"/>
                </a:lnTo>
                <a:lnTo>
                  <a:pt x="10" y="216"/>
                </a:lnTo>
                <a:lnTo>
                  <a:pt x="17" y="214"/>
                </a:lnTo>
                <a:lnTo>
                  <a:pt x="17" y="209"/>
                </a:lnTo>
                <a:lnTo>
                  <a:pt x="17" y="204"/>
                </a:lnTo>
                <a:lnTo>
                  <a:pt x="12" y="199"/>
                </a:lnTo>
                <a:lnTo>
                  <a:pt x="7" y="196"/>
                </a:lnTo>
                <a:lnTo>
                  <a:pt x="7" y="192"/>
                </a:lnTo>
                <a:lnTo>
                  <a:pt x="10" y="184"/>
                </a:lnTo>
                <a:lnTo>
                  <a:pt x="7" y="179"/>
                </a:lnTo>
                <a:lnTo>
                  <a:pt x="7" y="174"/>
                </a:lnTo>
                <a:lnTo>
                  <a:pt x="7" y="169"/>
                </a:lnTo>
                <a:lnTo>
                  <a:pt x="7" y="162"/>
                </a:lnTo>
                <a:lnTo>
                  <a:pt x="5" y="155"/>
                </a:lnTo>
                <a:lnTo>
                  <a:pt x="7" y="147"/>
                </a:lnTo>
                <a:lnTo>
                  <a:pt x="10" y="140"/>
                </a:lnTo>
                <a:lnTo>
                  <a:pt x="12" y="137"/>
                </a:lnTo>
                <a:lnTo>
                  <a:pt x="17" y="140"/>
                </a:lnTo>
                <a:lnTo>
                  <a:pt x="22" y="140"/>
                </a:lnTo>
                <a:lnTo>
                  <a:pt x="24" y="135"/>
                </a:lnTo>
                <a:lnTo>
                  <a:pt x="24" y="130"/>
                </a:lnTo>
                <a:lnTo>
                  <a:pt x="24" y="128"/>
                </a:lnTo>
                <a:lnTo>
                  <a:pt x="24" y="125"/>
                </a:lnTo>
                <a:lnTo>
                  <a:pt x="29" y="110"/>
                </a:lnTo>
                <a:lnTo>
                  <a:pt x="29" y="103"/>
                </a:lnTo>
                <a:lnTo>
                  <a:pt x="29" y="98"/>
                </a:lnTo>
                <a:lnTo>
                  <a:pt x="32" y="93"/>
                </a:lnTo>
                <a:lnTo>
                  <a:pt x="32" y="88"/>
                </a:lnTo>
                <a:lnTo>
                  <a:pt x="29" y="86"/>
                </a:lnTo>
                <a:lnTo>
                  <a:pt x="29" y="83"/>
                </a:lnTo>
                <a:lnTo>
                  <a:pt x="34" y="81"/>
                </a:lnTo>
                <a:lnTo>
                  <a:pt x="39" y="78"/>
                </a:lnTo>
                <a:lnTo>
                  <a:pt x="42" y="76"/>
                </a:lnTo>
                <a:lnTo>
                  <a:pt x="42" y="73"/>
                </a:lnTo>
                <a:lnTo>
                  <a:pt x="47" y="66"/>
                </a:lnTo>
                <a:lnTo>
                  <a:pt x="51" y="61"/>
                </a:lnTo>
                <a:lnTo>
                  <a:pt x="51" y="56"/>
                </a:lnTo>
                <a:lnTo>
                  <a:pt x="51" y="51"/>
                </a:lnTo>
                <a:lnTo>
                  <a:pt x="49" y="51"/>
                </a:lnTo>
                <a:lnTo>
                  <a:pt x="49" y="44"/>
                </a:lnTo>
                <a:lnTo>
                  <a:pt x="51" y="41"/>
                </a:lnTo>
                <a:lnTo>
                  <a:pt x="54" y="39"/>
                </a:lnTo>
                <a:lnTo>
                  <a:pt x="54" y="37"/>
                </a:lnTo>
                <a:lnTo>
                  <a:pt x="56" y="34"/>
                </a:lnTo>
                <a:lnTo>
                  <a:pt x="59" y="29"/>
                </a:lnTo>
                <a:lnTo>
                  <a:pt x="61" y="27"/>
                </a:lnTo>
                <a:lnTo>
                  <a:pt x="66" y="29"/>
                </a:lnTo>
                <a:lnTo>
                  <a:pt x="66" y="32"/>
                </a:lnTo>
                <a:lnTo>
                  <a:pt x="69" y="29"/>
                </a:lnTo>
                <a:lnTo>
                  <a:pt x="71" y="29"/>
                </a:lnTo>
                <a:lnTo>
                  <a:pt x="69" y="24"/>
                </a:lnTo>
                <a:lnTo>
                  <a:pt x="71" y="24"/>
                </a:lnTo>
                <a:lnTo>
                  <a:pt x="71" y="22"/>
                </a:lnTo>
                <a:lnTo>
                  <a:pt x="71" y="19"/>
                </a:lnTo>
                <a:lnTo>
                  <a:pt x="69" y="17"/>
                </a:lnTo>
                <a:lnTo>
                  <a:pt x="71" y="14"/>
                </a:lnTo>
                <a:lnTo>
                  <a:pt x="76" y="14"/>
                </a:lnTo>
                <a:lnTo>
                  <a:pt x="79" y="12"/>
                </a:lnTo>
                <a:lnTo>
                  <a:pt x="83" y="14"/>
                </a:lnTo>
                <a:lnTo>
                  <a:pt x="86" y="17"/>
                </a:lnTo>
                <a:lnTo>
                  <a:pt x="91" y="17"/>
                </a:lnTo>
                <a:lnTo>
                  <a:pt x="93" y="19"/>
                </a:lnTo>
                <a:lnTo>
                  <a:pt x="93" y="17"/>
                </a:lnTo>
                <a:lnTo>
                  <a:pt x="96" y="19"/>
                </a:lnTo>
                <a:lnTo>
                  <a:pt x="96" y="14"/>
                </a:lnTo>
                <a:lnTo>
                  <a:pt x="93" y="12"/>
                </a:lnTo>
                <a:lnTo>
                  <a:pt x="93" y="7"/>
                </a:lnTo>
                <a:lnTo>
                  <a:pt x="96" y="7"/>
                </a:lnTo>
                <a:lnTo>
                  <a:pt x="96" y="5"/>
                </a:lnTo>
                <a:lnTo>
                  <a:pt x="93" y="2"/>
                </a:lnTo>
                <a:lnTo>
                  <a:pt x="93" y="0"/>
                </a:lnTo>
                <a:lnTo>
                  <a:pt x="96" y="0"/>
                </a:lnTo>
                <a:lnTo>
                  <a:pt x="101" y="0"/>
                </a:lnTo>
                <a:lnTo>
                  <a:pt x="101" y="0"/>
                </a:lnTo>
                <a:lnTo>
                  <a:pt x="103" y="2"/>
                </a:lnTo>
                <a:lnTo>
                  <a:pt x="108" y="5"/>
                </a:lnTo>
                <a:lnTo>
                  <a:pt x="113" y="10"/>
                </a:lnTo>
                <a:lnTo>
                  <a:pt x="118" y="12"/>
                </a:lnTo>
                <a:lnTo>
                  <a:pt x="123" y="14"/>
                </a:lnTo>
                <a:lnTo>
                  <a:pt x="125" y="14"/>
                </a:lnTo>
                <a:lnTo>
                  <a:pt x="128" y="14"/>
                </a:lnTo>
                <a:lnTo>
                  <a:pt x="130" y="19"/>
                </a:lnTo>
                <a:lnTo>
                  <a:pt x="133" y="22"/>
                </a:lnTo>
                <a:lnTo>
                  <a:pt x="133" y="22"/>
                </a:lnTo>
                <a:lnTo>
                  <a:pt x="135" y="22"/>
                </a:lnTo>
                <a:lnTo>
                  <a:pt x="138" y="27"/>
                </a:lnTo>
                <a:lnTo>
                  <a:pt x="140" y="27"/>
                </a:lnTo>
                <a:lnTo>
                  <a:pt x="140" y="29"/>
                </a:lnTo>
                <a:lnTo>
                  <a:pt x="140" y="32"/>
                </a:lnTo>
                <a:lnTo>
                  <a:pt x="140" y="34"/>
                </a:lnTo>
                <a:lnTo>
                  <a:pt x="138" y="39"/>
                </a:lnTo>
                <a:lnTo>
                  <a:pt x="140" y="41"/>
                </a:lnTo>
                <a:lnTo>
                  <a:pt x="143" y="41"/>
                </a:lnTo>
                <a:lnTo>
                  <a:pt x="145" y="46"/>
                </a:lnTo>
                <a:lnTo>
                  <a:pt x="143" y="49"/>
                </a:lnTo>
                <a:lnTo>
                  <a:pt x="143" y="51"/>
                </a:lnTo>
                <a:lnTo>
                  <a:pt x="145" y="54"/>
                </a:lnTo>
                <a:lnTo>
                  <a:pt x="145" y="61"/>
                </a:lnTo>
                <a:lnTo>
                  <a:pt x="145" y="64"/>
                </a:lnTo>
                <a:lnTo>
                  <a:pt x="145" y="66"/>
                </a:lnTo>
                <a:lnTo>
                  <a:pt x="145" y="71"/>
                </a:lnTo>
                <a:lnTo>
                  <a:pt x="145" y="73"/>
                </a:lnTo>
                <a:lnTo>
                  <a:pt x="147" y="78"/>
                </a:lnTo>
                <a:lnTo>
                  <a:pt x="150" y="78"/>
                </a:lnTo>
                <a:lnTo>
                  <a:pt x="152" y="83"/>
                </a:lnTo>
                <a:lnTo>
                  <a:pt x="152" y="86"/>
                </a:lnTo>
                <a:lnTo>
                  <a:pt x="152" y="91"/>
                </a:lnTo>
                <a:lnTo>
                  <a:pt x="152" y="91"/>
                </a:lnTo>
                <a:lnTo>
                  <a:pt x="152" y="91"/>
                </a:lnTo>
                <a:lnTo>
                  <a:pt x="147" y="91"/>
                </a:lnTo>
                <a:lnTo>
                  <a:pt x="147" y="88"/>
                </a:lnTo>
                <a:lnTo>
                  <a:pt x="143" y="91"/>
                </a:lnTo>
                <a:lnTo>
                  <a:pt x="140" y="91"/>
                </a:lnTo>
                <a:lnTo>
                  <a:pt x="140" y="93"/>
                </a:lnTo>
                <a:lnTo>
                  <a:pt x="138" y="91"/>
                </a:lnTo>
                <a:lnTo>
                  <a:pt x="135" y="88"/>
                </a:lnTo>
                <a:lnTo>
                  <a:pt x="133" y="91"/>
                </a:lnTo>
                <a:lnTo>
                  <a:pt x="130" y="88"/>
                </a:lnTo>
                <a:lnTo>
                  <a:pt x="130" y="91"/>
                </a:lnTo>
                <a:lnTo>
                  <a:pt x="130" y="93"/>
                </a:lnTo>
                <a:lnTo>
                  <a:pt x="128" y="96"/>
                </a:lnTo>
                <a:lnTo>
                  <a:pt x="125" y="96"/>
                </a:lnTo>
                <a:lnTo>
                  <a:pt x="125" y="93"/>
                </a:lnTo>
                <a:lnTo>
                  <a:pt x="123" y="93"/>
                </a:lnTo>
                <a:lnTo>
                  <a:pt x="125" y="96"/>
                </a:lnTo>
                <a:lnTo>
                  <a:pt x="125" y="98"/>
                </a:lnTo>
                <a:lnTo>
                  <a:pt x="123" y="101"/>
                </a:lnTo>
                <a:lnTo>
                  <a:pt x="120" y="101"/>
                </a:lnTo>
                <a:lnTo>
                  <a:pt x="118" y="101"/>
                </a:lnTo>
                <a:lnTo>
                  <a:pt x="123" y="103"/>
                </a:lnTo>
                <a:lnTo>
                  <a:pt x="123" y="105"/>
                </a:lnTo>
                <a:lnTo>
                  <a:pt x="120" y="105"/>
                </a:lnTo>
                <a:lnTo>
                  <a:pt x="120" y="103"/>
                </a:lnTo>
                <a:lnTo>
                  <a:pt x="118" y="103"/>
                </a:lnTo>
                <a:lnTo>
                  <a:pt x="118" y="103"/>
                </a:lnTo>
                <a:lnTo>
                  <a:pt x="118" y="105"/>
                </a:lnTo>
                <a:lnTo>
                  <a:pt x="120" y="105"/>
                </a:lnTo>
                <a:lnTo>
                  <a:pt x="123" y="108"/>
                </a:lnTo>
                <a:lnTo>
                  <a:pt x="120" y="110"/>
                </a:lnTo>
                <a:lnTo>
                  <a:pt x="118" y="115"/>
                </a:lnTo>
                <a:lnTo>
                  <a:pt x="120" y="118"/>
                </a:lnTo>
                <a:lnTo>
                  <a:pt x="115" y="118"/>
                </a:lnTo>
                <a:lnTo>
                  <a:pt x="118" y="120"/>
                </a:lnTo>
                <a:lnTo>
                  <a:pt x="120" y="120"/>
                </a:lnTo>
                <a:lnTo>
                  <a:pt x="123" y="123"/>
                </a:lnTo>
                <a:lnTo>
                  <a:pt x="120" y="123"/>
                </a:lnTo>
                <a:lnTo>
                  <a:pt x="123" y="125"/>
                </a:lnTo>
                <a:lnTo>
                  <a:pt x="125" y="125"/>
                </a:lnTo>
                <a:lnTo>
                  <a:pt x="120" y="130"/>
                </a:lnTo>
                <a:lnTo>
                  <a:pt x="120" y="130"/>
                </a:lnTo>
                <a:lnTo>
                  <a:pt x="118" y="132"/>
                </a:lnTo>
                <a:lnTo>
                  <a:pt x="118" y="137"/>
                </a:lnTo>
                <a:lnTo>
                  <a:pt x="115" y="142"/>
                </a:lnTo>
                <a:lnTo>
                  <a:pt x="113" y="142"/>
                </a:lnTo>
                <a:lnTo>
                  <a:pt x="111" y="147"/>
                </a:lnTo>
                <a:lnTo>
                  <a:pt x="108" y="145"/>
                </a:lnTo>
                <a:lnTo>
                  <a:pt x="108" y="147"/>
                </a:lnTo>
                <a:lnTo>
                  <a:pt x="108" y="150"/>
                </a:lnTo>
                <a:lnTo>
                  <a:pt x="106" y="152"/>
                </a:lnTo>
                <a:lnTo>
                  <a:pt x="103" y="155"/>
                </a:lnTo>
                <a:lnTo>
                  <a:pt x="101" y="155"/>
                </a:lnTo>
                <a:lnTo>
                  <a:pt x="101" y="152"/>
                </a:lnTo>
                <a:lnTo>
                  <a:pt x="98" y="152"/>
                </a:lnTo>
                <a:lnTo>
                  <a:pt x="98" y="155"/>
                </a:lnTo>
                <a:lnTo>
                  <a:pt x="98" y="160"/>
                </a:lnTo>
                <a:lnTo>
                  <a:pt x="96" y="162"/>
                </a:lnTo>
                <a:lnTo>
                  <a:pt x="93" y="160"/>
                </a:lnTo>
                <a:lnTo>
                  <a:pt x="93" y="160"/>
                </a:lnTo>
                <a:lnTo>
                  <a:pt x="91" y="162"/>
                </a:lnTo>
                <a:lnTo>
                  <a:pt x="91" y="162"/>
                </a:lnTo>
                <a:lnTo>
                  <a:pt x="88" y="162"/>
                </a:lnTo>
                <a:lnTo>
                  <a:pt x="86" y="162"/>
                </a:lnTo>
                <a:lnTo>
                  <a:pt x="86" y="164"/>
                </a:lnTo>
                <a:lnTo>
                  <a:pt x="88" y="167"/>
                </a:lnTo>
                <a:lnTo>
                  <a:pt x="88" y="167"/>
                </a:lnTo>
                <a:lnTo>
                  <a:pt x="83" y="172"/>
                </a:lnTo>
                <a:lnTo>
                  <a:pt x="81" y="172"/>
                </a:lnTo>
                <a:lnTo>
                  <a:pt x="81" y="172"/>
                </a:lnTo>
                <a:lnTo>
                  <a:pt x="81" y="174"/>
                </a:lnTo>
                <a:lnTo>
                  <a:pt x="79" y="179"/>
                </a:lnTo>
                <a:lnTo>
                  <a:pt x="74" y="179"/>
                </a:lnTo>
                <a:lnTo>
                  <a:pt x="71" y="179"/>
                </a:lnTo>
                <a:lnTo>
                  <a:pt x="76" y="184"/>
                </a:lnTo>
                <a:lnTo>
                  <a:pt x="76" y="187"/>
                </a:lnTo>
                <a:lnTo>
                  <a:pt x="76" y="189"/>
                </a:lnTo>
                <a:lnTo>
                  <a:pt x="76" y="192"/>
                </a:lnTo>
                <a:lnTo>
                  <a:pt x="76" y="196"/>
                </a:lnTo>
                <a:lnTo>
                  <a:pt x="76" y="199"/>
                </a:lnTo>
                <a:lnTo>
                  <a:pt x="76" y="201"/>
                </a:lnTo>
                <a:lnTo>
                  <a:pt x="76" y="199"/>
                </a:lnTo>
                <a:lnTo>
                  <a:pt x="74" y="201"/>
                </a:lnTo>
                <a:lnTo>
                  <a:pt x="76" y="206"/>
                </a:lnTo>
                <a:lnTo>
                  <a:pt x="74" y="209"/>
                </a:lnTo>
                <a:lnTo>
                  <a:pt x="76" y="209"/>
                </a:lnTo>
                <a:lnTo>
                  <a:pt x="76" y="211"/>
                </a:lnTo>
                <a:lnTo>
                  <a:pt x="74" y="211"/>
                </a:lnTo>
                <a:lnTo>
                  <a:pt x="76" y="216"/>
                </a:lnTo>
                <a:lnTo>
                  <a:pt x="74" y="219"/>
                </a:lnTo>
                <a:lnTo>
                  <a:pt x="76" y="221"/>
                </a:lnTo>
                <a:lnTo>
                  <a:pt x="76" y="221"/>
                </a:lnTo>
                <a:lnTo>
                  <a:pt x="79" y="223"/>
                </a:lnTo>
                <a:lnTo>
                  <a:pt x="79" y="226"/>
                </a:lnTo>
                <a:lnTo>
                  <a:pt x="81" y="223"/>
                </a:lnTo>
                <a:lnTo>
                  <a:pt x="81" y="228"/>
                </a:lnTo>
                <a:lnTo>
                  <a:pt x="83" y="223"/>
                </a:lnTo>
                <a:lnTo>
                  <a:pt x="86" y="226"/>
                </a:lnTo>
                <a:lnTo>
                  <a:pt x="88" y="228"/>
                </a:lnTo>
                <a:lnTo>
                  <a:pt x="93" y="233"/>
                </a:lnTo>
                <a:lnTo>
                  <a:pt x="91" y="236"/>
                </a:lnTo>
                <a:lnTo>
                  <a:pt x="96" y="238"/>
                </a:lnTo>
                <a:lnTo>
                  <a:pt x="96" y="241"/>
                </a:lnTo>
                <a:lnTo>
                  <a:pt x="101" y="243"/>
                </a:lnTo>
                <a:lnTo>
                  <a:pt x="98" y="248"/>
                </a:lnTo>
                <a:lnTo>
                  <a:pt x="93" y="251"/>
                </a:lnTo>
                <a:lnTo>
                  <a:pt x="93" y="255"/>
                </a:lnTo>
                <a:lnTo>
                  <a:pt x="88" y="255"/>
                </a:lnTo>
                <a:lnTo>
                  <a:pt x="86" y="253"/>
                </a:lnTo>
                <a:lnTo>
                  <a:pt x="86" y="253"/>
                </a:lnTo>
                <a:lnTo>
                  <a:pt x="83" y="251"/>
                </a:lnTo>
                <a:lnTo>
                  <a:pt x="81" y="251"/>
                </a:lnTo>
                <a:lnTo>
                  <a:pt x="81" y="251"/>
                </a:lnTo>
                <a:lnTo>
                  <a:pt x="79" y="251"/>
                </a:lnTo>
                <a:lnTo>
                  <a:pt x="79" y="251"/>
                </a:lnTo>
                <a:lnTo>
                  <a:pt x="76" y="251"/>
                </a:lnTo>
                <a:lnTo>
                  <a:pt x="74" y="251"/>
                </a:lnTo>
                <a:lnTo>
                  <a:pt x="71" y="253"/>
                </a:lnTo>
                <a:lnTo>
                  <a:pt x="71" y="251"/>
                </a:lnTo>
                <a:lnTo>
                  <a:pt x="69" y="253"/>
                </a:lnTo>
                <a:lnTo>
                  <a:pt x="66" y="253"/>
                </a:lnTo>
                <a:lnTo>
                  <a:pt x="64" y="253"/>
                </a:lnTo>
                <a:lnTo>
                  <a:pt x="64" y="255"/>
                </a:lnTo>
                <a:lnTo>
                  <a:pt x="69" y="255"/>
                </a:lnTo>
                <a:lnTo>
                  <a:pt x="69" y="255"/>
                </a:lnTo>
                <a:lnTo>
                  <a:pt x="69" y="255"/>
                </a:lnTo>
                <a:lnTo>
                  <a:pt x="74" y="255"/>
                </a:lnTo>
                <a:lnTo>
                  <a:pt x="76" y="255"/>
                </a:lnTo>
                <a:lnTo>
                  <a:pt x="79" y="255"/>
                </a:lnTo>
                <a:lnTo>
                  <a:pt x="81" y="258"/>
                </a:lnTo>
                <a:lnTo>
                  <a:pt x="83" y="258"/>
                </a:lnTo>
                <a:lnTo>
                  <a:pt x="86" y="258"/>
                </a:lnTo>
                <a:lnTo>
                  <a:pt x="88" y="255"/>
                </a:lnTo>
                <a:lnTo>
                  <a:pt x="91" y="258"/>
                </a:lnTo>
                <a:lnTo>
                  <a:pt x="93" y="260"/>
                </a:lnTo>
                <a:lnTo>
                  <a:pt x="93" y="263"/>
                </a:lnTo>
                <a:lnTo>
                  <a:pt x="91" y="263"/>
                </a:lnTo>
                <a:lnTo>
                  <a:pt x="91" y="263"/>
                </a:lnTo>
                <a:lnTo>
                  <a:pt x="86" y="268"/>
                </a:lnTo>
                <a:lnTo>
                  <a:pt x="86" y="268"/>
                </a:lnTo>
                <a:lnTo>
                  <a:pt x="86" y="265"/>
                </a:lnTo>
                <a:lnTo>
                  <a:pt x="86" y="263"/>
                </a:lnTo>
                <a:lnTo>
                  <a:pt x="83" y="265"/>
                </a:lnTo>
                <a:lnTo>
                  <a:pt x="83" y="268"/>
                </a:lnTo>
                <a:lnTo>
                  <a:pt x="81" y="268"/>
                </a:lnTo>
                <a:lnTo>
                  <a:pt x="81" y="270"/>
                </a:lnTo>
                <a:lnTo>
                  <a:pt x="79" y="273"/>
                </a:lnTo>
                <a:lnTo>
                  <a:pt x="76" y="270"/>
                </a:lnTo>
                <a:lnTo>
                  <a:pt x="76" y="273"/>
                </a:lnTo>
                <a:lnTo>
                  <a:pt x="76" y="275"/>
                </a:lnTo>
                <a:lnTo>
                  <a:pt x="74" y="275"/>
                </a:lnTo>
                <a:lnTo>
                  <a:pt x="74" y="275"/>
                </a:lnTo>
                <a:lnTo>
                  <a:pt x="71" y="275"/>
                </a:lnTo>
                <a:lnTo>
                  <a:pt x="74" y="278"/>
                </a:lnTo>
                <a:lnTo>
                  <a:pt x="76" y="280"/>
                </a:lnTo>
                <a:lnTo>
                  <a:pt x="71" y="280"/>
                </a:lnTo>
                <a:lnTo>
                  <a:pt x="76" y="283"/>
                </a:lnTo>
                <a:lnTo>
                  <a:pt x="76" y="283"/>
                </a:lnTo>
                <a:lnTo>
                  <a:pt x="74" y="287"/>
                </a:lnTo>
                <a:lnTo>
                  <a:pt x="79" y="290"/>
                </a:lnTo>
                <a:lnTo>
                  <a:pt x="74" y="290"/>
                </a:lnTo>
                <a:lnTo>
                  <a:pt x="71" y="290"/>
                </a:lnTo>
                <a:lnTo>
                  <a:pt x="74" y="292"/>
                </a:lnTo>
                <a:lnTo>
                  <a:pt x="71" y="295"/>
                </a:lnTo>
                <a:lnTo>
                  <a:pt x="74" y="297"/>
                </a:lnTo>
                <a:lnTo>
                  <a:pt x="71" y="300"/>
                </a:lnTo>
                <a:lnTo>
                  <a:pt x="74" y="302"/>
                </a:lnTo>
                <a:lnTo>
                  <a:pt x="71" y="305"/>
                </a:lnTo>
                <a:lnTo>
                  <a:pt x="71" y="310"/>
                </a:lnTo>
                <a:lnTo>
                  <a:pt x="74" y="312"/>
                </a:lnTo>
                <a:lnTo>
                  <a:pt x="74" y="314"/>
                </a:lnTo>
                <a:lnTo>
                  <a:pt x="71" y="322"/>
                </a:lnTo>
                <a:lnTo>
                  <a:pt x="69" y="324"/>
                </a:lnTo>
                <a:lnTo>
                  <a:pt x="69" y="329"/>
                </a:lnTo>
                <a:lnTo>
                  <a:pt x="66" y="334"/>
                </a:lnTo>
                <a:lnTo>
                  <a:pt x="64" y="332"/>
                </a:lnTo>
                <a:lnTo>
                  <a:pt x="61" y="329"/>
                </a:lnTo>
                <a:lnTo>
                  <a:pt x="56" y="332"/>
                </a:lnTo>
                <a:lnTo>
                  <a:pt x="51" y="332"/>
                </a:lnTo>
                <a:lnTo>
                  <a:pt x="51" y="329"/>
                </a:lnTo>
                <a:lnTo>
                  <a:pt x="49" y="334"/>
                </a:lnTo>
                <a:lnTo>
                  <a:pt x="44" y="334"/>
                </a:lnTo>
                <a:lnTo>
                  <a:pt x="44" y="339"/>
                </a:lnTo>
                <a:lnTo>
                  <a:pt x="44" y="342"/>
                </a:lnTo>
                <a:lnTo>
                  <a:pt x="44" y="344"/>
                </a:lnTo>
                <a:lnTo>
                  <a:pt x="42" y="346"/>
                </a:lnTo>
                <a:lnTo>
                  <a:pt x="39" y="344"/>
                </a:lnTo>
                <a:lnTo>
                  <a:pt x="29" y="346"/>
                </a:lnTo>
                <a:lnTo>
                  <a:pt x="27" y="346"/>
                </a:lnTo>
                <a:lnTo>
                  <a:pt x="24" y="346"/>
                </a:lnTo>
                <a:lnTo>
                  <a:pt x="27" y="344"/>
                </a:lnTo>
                <a:lnTo>
                  <a:pt x="27" y="337"/>
                </a:lnTo>
                <a:lnTo>
                  <a:pt x="22" y="334"/>
                </a:lnTo>
                <a:lnTo>
                  <a:pt x="22" y="332"/>
                </a:lnTo>
                <a:lnTo>
                  <a:pt x="20" y="332"/>
                </a:lnTo>
                <a:lnTo>
                  <a:pt x="20" y="329"/>
                </a:lnTo>
                <a:lnTo>
                  <a:pt x="24" y="329"/>
                </a:lnTo>
                <a:lnTo>
                  <a:pt x="27" y="324"/>
                </a:lnTo>
                <a:lnTo>
                  <a:pt x="27" y="319"/>
                </a:lnTo>
                <a:lnTo>
                  <a:pt x="22" y="322"/>
                </a:lnTo>
                <a:lnTo>
                  <a:pt x="20" y="319"/>
                </a:lnTo>
                <a:lnTo>
                  <a:pt x="20" y="317"/>
                </a:lnTo>
                <a:lnTo>
                  <a:pt x="15" y="314"/>
                </a:lnTo>
                <a:lnTo>
                  <a:pt x="15" y="312"/>
                </a:lnTo>
                <a:lnTo>
                  <a:pt x="12" y="305"/>
                </a:lnTo>
                <a:lnTo>
                  <a:pt x="12" y="305"/>
                </a:lnTo>
                <a:lnTo>
                  <a:pt x="10" y="300"/>
                </a:lnTo>
                <a:lnTo>
                  <a:pt x="7" y="300"/>
                </a:lnTo>
                <a:lnTo>
                  <a:pt x="5" y="297"/>
                </a:lnTo>
                <a:lnTo>
                  <a:pt x="7" y="295"/>
                </a:lnTo>
                <a:lnTo>
                  <a:pt x="7" y="292"/>
                </a:lnTo>
                <a:lnTo>
                  <a:pt x="7" y="290"/>
                </a:lnTo>
                <a:lnTo>
                  <a:pt x="7" y="287"/>
                </a:lnTo>
                <a:lnTo>
                  <a:pt x="10" y="285"/>
                </a:lnTo>
                <a:lnTo>
                  <a:pt x="10" y="283"/>
                </a:lnTo>
                <a:lnTo>
                  <a:pt x="7" y="283"/>
                </a:lnTo>
                <a:lnTo>
                  <a:pt x="7" y="280"/>
                </a:lnTo>
                <a:lnTo>
                  <a:pt x="5" y="280"/>
                </a:lnTo>
                <a:lnTo>
                  <a:pt x="5" y="283"/>
                </a:lnTo>
                <a:lnTo>
                  <a:pt x="7" y="285"/>
                </a:lnTo>
                <a:lnTo>
                  <a:pt x="5" y="285"/>
                </a:lnTo>
                <a:lnTo>
                  <a:pt x="5" y="283"/>
                </a:lnTo>
                <a:lnTo>
                  <a:pt x="5" y="283"/>
                </a:lnTo>
                <a:lnTo>
                  <a:pt x="2" y="280"/>
                </a:lnTo>
                <a:lnTo>
                  <a:pt x="2" y="275"/>
                </a:lnTo>
                <a:lnTo>
                  <a:pt x="0" y="273"/>
                </a:lnTo>
                <a:lnTo>
                  <a:pt x="0" y="268"/>
                </a:lnTo>
                <a:lnTo>
                  <a:pt x="2" y="265"/>
                </a:lnTo>
                <a:lnTo>
                  <a:pt x="2" y="265"/>
                </a:lnTo>
                <a:lnTo>
                  <a:pt x="2" y="265"/>
                </a:lnTo>
                <a:lnTo>
                  <a:pt x="2" y="265"/>
                </a:lnTo>
                <a:close/>
                <a:moveTo>
                  <a:pt x="93" y="255"/>
                </a:moveTo>
                <a:lnTo>
                  <a:pt x="96" y="260"/>
                </a:lnTo>
                <a:lnTo>
                  <a:pt x="96" y="260"/>
                </a:lnTo>
                <a:lnTo>
                  <a:pt x="96" y="258"/>
                </a:lnTo>
                <a:lnTo>
                  <a:pt x="98" y="255"/>
                </a:lnTo>
                <a:lnTo>
                  <a:pt x="98" y="251"/>
                </a:lnTo>
                <a:lnTo>
                  <a:pt x="96" y="251"/>
                </a:lnTo>
                <a:lnTo>
                  <a:pt x="93" y="255"/>
                </a:lnTo>
                <a:lnTo>
                  <a:pt x="93" y="255"/>
                </a:lnTo>
                <a:lnTo>
                  <a:pt x="93" y="255"/>
                </a:lnTo>
                <a:close/>
                <a:moveTo>
                  <a:pt x="5" y="287"/>
                </a:moveTo>
                <a:lnTo>
                  <a:pt x="2" y="290"/>
                </a:lnTo>
                <a:lnTo>
                  <a:pt x="5" y="290"/>
                </a:lnTo>
                <a:lnTo>
                  <a:pt x="5" y="287"/>
                </a:lnTo>
                <a:lnTo>
                  <a:pt x="5" y="287"/>
                </a:lnTo>
                <a:lnTo>
                  <a:pt x="5" y="287"/>
                </a:lnTo>
                <a:lnTo>
                  <a:pt x="5" y="287"/>
                </a:lnTo>
                <a:close/>
                <a:moveTo>
                  <a:pt x="106" y="278"/>
                </a:moveTo>
                <a:lnTo>
                  <a:pt x="108" y="280"/>
                </a:lnTo>
                <a:lnTo>
                  <a:pt x="108" y="278"/>
                </a:lnTo>
                <a:lnTo>
                  <a:pt x="108" y="278"/>
                </a:lnTo>
                <a:lnTo>
                  <a:pt x="106" y="278"/>
                </a:lnTo>
                <a:lnTo>
                  <a:pt x="106" y="278"/>
                </a:lnTo>
                <a:lnTo>
                  <a:pt x="106" y="278"/>
                </a:lnTo>
                <a:close/>
                <a:moveTo>
                  <a:pt x="108" y="292"/>
                </a:moveTo>
                <a:lnTo>
                  <a:pt x="108" y="292"/>
                </a:lnTo>
                <a:lnTo>
                  <a:pt x="111" y="292"/>
                </a:lnTo>
                <a:lnTo>
                  <a:pt x="113" y="290"/>
                </a:lnTo>
                <a:lnTo>
                  <a:pt x="113" y="290"/>
                </a:lnTo>
                <a:lnTo>
                  <a:pt x="108" y="290"/>
                </a:lnTo>
                <a:lnTo>
                  <a:pt x="108" y="292"/>
                </a:lnTo>
                <a:lnTo>
                  <a:pt x="108" y="292"/>
                </a:lnTo>
                <a:lnTo>
                  <a:pt x="108" y="292"/>
                </a:lnTo>
                <a:close/>
                <a:moveTo>
                  <a:pt x="96" y="314"/>
                </a:moveTo>
                <a:lnTo>
                  <a:pt x="101" y="314"/>
                </a:lnTo>
                <a:lnTo>
                  <a:pt x="101" y="312"/>
                </a:lnTo>
                <a:lnTo>
                  <a:pt x="101" y="312"/>
                </a:lnTo>
                <a:lnTo>
                  <a:pt x="101" y="310"/>
                </a:lnTo>
                <a:lnTo>
                  <a:pt x="103" y="307"/>
                </a:lnTo>
                <a:lnTo>
                  <a:pt x="106" y="305"/>
                </a:lnTo>
                <a:lnTo>
                  <a:pt x="106" y="302"/>
                </a:lnTo>
                <a:lnTo>
                  <a:pt x="106" y="302"/>
                </a:lnTo>
                <a:lnTo>
                  <a:pt x="103" y="300"/>
                </a:lnTo>
                <a:lnTo>
                  <a:pt x="106" y="297"/>
                </a:lnTo>
                <a:lnTo>
                  <a:pt x="106" y="295"/>
                </a:lnTo>
                <a:lnTo>
                  <a:pt x="108" y="295"/>
                </a:lnTo>
                <a:lnTo>
                  <a:pt x="106" y="292"/>
                </a:lnTo>
                <a:lnTo>
                  <a:pt x="103" y="295"/>
                </a:lnTo>
                <a:lnTo>
                  <a:pt x="101" y="295"/>
                </a:lnTo>
                <a:lnTo>
                  <a:pt x="98" y="297"/>
                </a:lnTo>
                <a:lnTo>
                  <a:pt x="96" y="300"/>
                </a:lnTo>
                <a:lnTo>
                  <a:pt x="96" y="302"/>
                </a:lnTo>
                <a:lnTo>
                  <a:pt x="96" y="305"/>
                </a:lnTo>
                <a:lnTo>
                  <a:pt x="93" y="305"/>
                </a:lnTo>
                <a:lnTo>
                  <a:pt x="98" y="310"/>
                </a:lnTo>
                <a:lnTo>
                  <a:pt x="98" y="310"/>
                </a:lnTo>
                <a:lnTo>
                  <a:pt x="98" y="312"/>
                </a:lnTo>
                <a:lnTo>
                  <a:pt x="96" y="314"/>
                </a:lnTo>
                <a:lnTo>
                  <a:pt x="96" y="314"/>
                </a:lnTo>
                <a:lnTo>
                  <a:pt x="96" y="314"/>
                </a:lnTo>
                <a:lnTo>
                  <a:pt x="96" y="314"/>
                </a:lnTo>
                <a:close/>
                <a:moveTo>
                  <a:pt x="74" y="324"/>
                </a:moveTo>
                <a:lnTo>
                  <a:pt x="74" y="327"/>
                </a:lnTo>
                <a:lnTo>
                  <a:pt x="74" y="329"/>
                </a:lnTo>
                <a:lnTo>
                  <a:pt x="76" y="332"/>
                </a:lnTo>
                <a:lnTo>
                  <a:pt x="76" y="329"/>
                </a:lnTo>
                <a:lnTo>
                  <a:pt x="79" y="324"/>
                </a:lnTo>
                <a:lnTo>
                  <a:pt x="79" y="317"/>
                </a:lnTo>
                <a:lnTo>
                  <a:pt x="81" y="312"/>
                </a:lnTo>
                <a:lnTo>
                  <a:pt x="81" y="310"/>
                </a:lnTo>
                <a:lnTo>
                  <a:pt x="79" y="307"/>
                </a:lnTo>
                <a:lnTo>
                  <a:pt x="76" y="310"/>
                </a:lnTo>
                <a:lnTo>
                  <a:pt x="79" y="312"/>
                </a:lnTo>
                <a:lnTo>
                  <a:pt x="76" y="314"/>
                </a:lnTo>
                <a:lnTo>
                  <a:pt x="74" y="317"/>
                </a:lnTo>
                <a:lnTo>
                  <a:pt x="74" y="324"/>
                </a:lnTo>
                <a:lnTo>
                  <a:pt x="74" y="32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8" name="Freeform 47"/>
          <p:cNvSpPr>
            <a:spLocks noEditPoints="1"/>
          </p:cNvSpPr>
          <p:nvPr/>
        </p:nvSpPr>
        <p:spPr bwMode="auto">
          <a:xfrm>
            <a:off x="5151980" y="2384940"/>
            <a:ext cx="252800" cy="427019"/>
          </a:xfrm>
          <a:custGeom>
            <a:avLst/>
            <a:gdLst/>
            <a:ahLst/>
            <a:cxnLst>
              <a:cxn ang="0">
                <a:pos x="137" y="236"/>
              </a:cxn>
              <a:cxn ang="0">
                <a:pos x="155" y="197"/>
              </a:cxn>
              <a:cxn ang="0">
                <a:pos x="140" y="167"/>
              </a:cxn>
              <a:cxn ang="0">
                <a:pos x="135" y="150"/>
              </a:cxn>
              <a:cxn ang="0">
                <a:pos x="130" y="136"/>
              </a:cxn>
              <a:cxn ang="0">
                <a:pos x="123" y="106"/>
              </a:cxn>
              <a:cxn ang="0">
                <a:pos x="118" y="74"/>
              </a:cxn>
              <a:cxn ang="0">
                <a:pos x="105" y="57"/>
              </a:cxn>
              <a:cxn ang="0">
                <a:pos x="96" y="40"/>
              </a:cxn>
              <a:cxn ang="0">
                <a:pos x="101" y="25"/>
              </a:cxn>
              <a:cxn ang="0">
                <a:pos x="96" y="10"/>
              </a:cxn>
              <a:cxn ang="0">
                <a:pos x="76" y="0"/>
              </a:cxn>
              <a:cxn ang="0">
                <a:pos x="64" y="5"/>
              </a:cxn>
              <a:cxn ang="0">
                <a:pos x="61" y="17"/>
              </a:cxn>
              <a:cxn ang="0">
                <a:pos x="59" y="35"/>
              </a:cxn>
              <a:cxn ang="0">
                <a:pos x="46" y="42"/>
              </a:cxn>
              <a:cxn ang="0">
                <a:pos x="24" y="45"/>
              </a:cxn>
              <a:cxn ang="0">
                <a:pos x="7" y="27"/>
              </a:cxn>
              <a:cxn ang="0">
                <a:pos x="2" y="35"/>
              </a:cxn>
              <a:cxn ang="0">
                <a:pos x="12" y="45"/>
              </a:cxn>
              <a:cxn ang="0">
                <a:pos x="29" y="54"/>
              </a:cxn>
              <a:cxn ang="0">
                <a:pos x="39" y="64"/>
              </a:cxn>
              <a:cxn ang="0">
                <a:pos x="42" y="76"/>
              </a:cxn>
              <a:cxn ang="0">
                <a:pos x="44" y="96"/>
              </a:cxn>
              <a:cxn ang="0">
                <a:pos x="46" y="113"/>
              </a:cxn>
              <a:cxn ang="0">
                <a:pos x="54" y="126"/>
              </a:cxn>
              <a:cxn ang="0">
                <a:pos x="66" y="133"/>
              </a:cxn>
              <a:cxn ang="0">
                <a:pos x="69" y="145"/>
              </a:cxn>
              <a:cxn ang="0">
                <a:pos x="59" y="150"/>
              </a:cxn>
              <a:cxn ang="0">
                <a:pos x="51" y="165"/>
              </a:cxn>
              <a:cxn ang="0">
                <a:pos x="46" y="175"/>
              </a:cxn>
              <a:cxn ang="0">
                <a:pos x="42" y="182"/>
              </a:cxn>
              <a:cxn ang="0">
                <a:pos x="34" y="185"/>
              </a:cxn>
              <a:cxn ang="0">
                <a:pos x="32" y="195"/>
              </a:cxn>
              <a:cxn ang="0">
                <a:pos x="24" y="195"/>
              </a:cxn>
              <a:cxn ang="0">
                <a:pos x="22" y="204"/>
              </a:cxn>
              <a:cxn ang="0">
                <a:pos x="27" y="214"/>
              </a:cxn>
              <a:cxn ang="0">
                <a:pos x="29" y="229"/>
              </a:cxn>
              <a:cxn ang="0">
                <a:pos x="29" y="244"/>
              </a:cxn>
              <a:cxn ang="0">
                <a:pos x="29" y="258"/>
              </a:cxn>
              <a:cxn ang="0">
                <a:pos x="44" y="263"/>
              </a:cxn>
              <a:cxn ang="0">
                <a:pos x="54" y="263"/>
              </a:cxn>
              <a:cxn ang="0">
                <a:pos x="56" y="278"/>
              </a:cxn>
              <a:cxn ang="0">
                <a:pos x="73" y="268"/>
              </a:cxn>
              <a:cxn ang="0">
                <a:pos x="88" y="261"/>
              </a:cxn>
              <a:cxn ang="0">
                <a:pos x="93" y="261"/>
              </a:cxn>
              <a:cxn ang="0">
                <a:pos x="96" y="258"/>
              </a:cxn>
              <a:cxn ang="0">
                <a:pos x="103" y="258"/>
              </a:cxn>
              <a:cxn ang="0">
                <a:pos x="115" y="256"/>
              </a:cxn>
              <a:cxn ang="0">
                <a:pos x="123" y="256"/>
              </a:cxn>
              <a:cxn ang="0">
                <a:pos x="61" y="140"/>
              </a:cxn>
              <a:cxn ang="0">
                <a:pos x="22" y="190"/>
              </a:cxn>
              <a:cxn ang="0">
                <a:pos x="22" y="192"/>
              </a:cxn>
              <a:cxn ang="0">
                <a:pos x="19" y="190"/>
              </a:cxn>
              <a:cxn ang="0">
                <a:pos x="51" y="273"/>
              </a:cxn>
              <a:cxn ang="0">
                <a:pos x="49" y="268"/>
              </a:cxn>
              <a:cxn ang="0">
                <a:pos x="42" y="266"/>
              </a:cxn>
              <a:cxn ang="0">
                <a:pos x="34" y="261"/>
              </a:cxn>
              <a:cxn ang="0">
                <a:pos x="7" y="266"/>
              </a:cxn>
              <a:cxn ang="0">
                <a:pos x="17" y="263"/>
              </a:cxn>
              <a:cxn ang="0">
                <a:pos x="17" y="271"/>
              </a:cxn>
              <a:cxn ang="0">
                <a:pos x="10" y="268"/>
              </a:cxn>
            </a:cxnLst>
            <a:rect l="0" t="0" r="r" b="b"/>
            <a:pathLst>
              <a:path w="155" h="278">
                <a:moveTo>
                  <a:pt x="123" y="256"/>
                </a:moveTo>
                <a:lnTo>
                  <a:pt x="123" y="256"/>
                </a:lnTo>
                <a:lnTo>
                  <a:pt x="123" y="254"/>
                </a:lnTo>
                <a:lnTo>
                  <a:pt x="123" y="254"/>
                </a:lnTo>
                <a:lnTo>
                  <a:pt x="130" y="246"/>
                </a:lnTo>
                <a:lnTo>
                  <a:pt x="130" y="246"/>
                </a:lnTo>
                <a:lnTo>
                  <a:pt x="133" y="244"/>
                </a:lnTo>
                <a:lnTo>
                  <a:pt x="133" y="244"/>
                </a:lnTo>
                <a:lnTo>
                  <a:pt x="137" y="236"/>
                </a:lnTo>
                <a:lnTo>
                  <a:pt x="137" y="236"/>
                </a:lnTo>
                <a:lnTo>
                  <a:pt x="140" y="229"/>
                </a:lnTo>
                <a:lnTo>
                  <a:pt x="140" y="229"/>
                </a:lnTo>
                <a:lnTo>
                  <a:pt x="145" y="222"/>
                </a:lnTo>
                <a:lnTo>
                  <a:pt x="145" y="222"/>
                </a:lnTo>
                <a:lnTo>
                  <a:pt x="150" y="212"/>
                </a:lnTo>
                <a:lnTo>
                  <a:pt x="150" y="212"/>
                </a:lnTo>
                <a:lnTo>
                  <a:pt x="155" y="202"/>
                </a:lnTo>
                <a:lnTo>
                  <a:pt x="155" y="202"/>
                </a:lnTo>
                <a:lnTo>
                  <a:pt x="155" y="197"/>
                </a:lnTo>
                <a:lnTo>
                  <a:pt x="155" y="197"/>
                </a:lnTo>
                <a:lnTo>
                  <a:pt x="147" y="190"/>
                </a:lnTo>
                <a:lnTo>
                  <a:pt x="147" y="190"/>
                </a:lnTo>
                <a:lnTo>
                  <a:pt x="142" y="187"/>
                </a:lnTo>
                <a:lnTo>
                  <a:pt x="142" y="187"/>
                </a:lnTo>
                <a:lnTo>
                  <a:pt x="135" y="177"/>
                </a:lnTo>
                <a:lnTo>
                  <a:pt x="135" y="177"/>
                </a:lnTo>
                <a:lnTo>
                  <a:pt x="137" y="172"/>
                </a:lnTo>
                <a:lnTo>
                  <a:pt x="137" y="172"/>
                </a:lnTo>
                <a:lnTo>
                  <a:pt x="140" y="167"/>
                </a:lnTo>
                <a:lnTo>
                  <a:pt x="140" y="167"/>
                </a:lnTo>
                <a:lnTo>
                  <a:pt x="140" y="165"/>
                </a:lnTo>
                <a:lnTo>
                  <a:pt x="140" y="165"/>
                </a:lnTo>
                <a:lnTo>
                  <a:pt x="135" y="160"/>
                </a:lnTo>
                <a:lnTo>
                  <a:pt x="135" y="160"/>
                </a:lnTo>
                <a:lnTo>
                  <a:pt x="133" y="158"/>
                </a:lnTo>
                <a:lnTo>
                  <a:pt x="133" y="158"/>
                </a:lnTo>
                <a:lnTo>
                  <a:pt x="133" y="153"/>
                </a:lnTo>
                <a:lnTo>
                  <a:pt x="133" y="153"/>
                </a:lnTo>
                <a:lnTo>
                  <a:pt x="135" y="150"/>
                </a:lnTo>
                <a:lnTo>
                  <a:pt x="135" y="150"/>
                </a:lnTo>
                <a:lnTo>
                  <a:pt x="133" y="148"/>
                </a:lnTo>
                <a:lnTo>
                  <a:pt x="133" y="148"/>
                </a:lnTo>
                <a:lnTo>
                  <a:pt x="130" y="145"/>
                </a:lnTo>
                <a:lnTo>
                  <a:pt x="130" y="145"/>
                </a:lnTo>
                <a:lnTo>
                  <a:pt x="128" y="143"/>
                </a:lnTo>
                <a:lnTo>
                  <a:pt x="128" y="143"/>
                </a:lnTo>
                <a:lnTo>
                  <a:pt x="128" y="138"/>
                </a:lnTo>
                <a:lnTo>
                  <a:pt x="128" y="138"/>
                </a:lnTo>
                <a:lnTo>
                  <a:pt x="130" y="136"/>
                </a:lnTo>
                <a:lnTo>
                  <a:pt x="130" y="136"/>
                </a:lnTo>
                <a:lnTo>
                  <a:pt x="128" y="136"/>
                </a:lnTo>
                <a:lnTo>
                  <a:pt x="128" y="136"/>
                </a:lnTo>
                <a:lnTo>
                  <a:pt x="128" y="133"/>
                </a:lnTo>
                <a:lnTo>
                  <a:pt x="128" y="133"/>
                </a:lnTo>
                <a:lnTo>
                  <a:pt x="128" y="123"/>
                </a:lnTo>
                <a:lnTo>
                  <a:pt x="128" y="123"/>
                </a:lnTo>
                <a:lnTo>
                  <a:pt x="130" y="121"/>
                </a:lnTo>
                <a:lnTo>
                  <a:pt x="130" y="121"/>
                </a:lnTo>
                <a:lnTo>
                  <a:pt x="123" y="106"/>
                </a:lnTo>
                <a:lnTo>
                  <a:pt x="123" y="106"/>
                </a:lnTo>
                <a:lnTo>
                  <a:pt x="118" y="94"/>
                </a:lnTo>
                <a:lnTo>
                  <a:pt x="118" y="94"/>
                </a:lnTo>
                <a:lnTo>
                  <a:pt x="115" y="89"/>
                </a:lnTo>
                <a:lnTo>
                  <a:pt x="115" y="89"/>
                </a:lnTo>
                <a:lnTo>
                  <a:pt x="113" y="86"/>
                </a:lnTo>
                <a:lnTo>
                  <a:pt x="113" y="86"/>
                </a:lnTo>
                <a:lnTo>
                  <a:pt x="115" y="79"/>
                </a:lnTo>
                <a:lnTo>
                  <a:pt x="115" y="79"/>
                </a:lnTo>
                <a:lnTo>
                  <a:pt x="118" y="74"/>
                </a:lnTo>
                <a:lnTo>
                  <a:pt x="118" y="74"/>
                </a:lnTo>
                <a:lnTo>
                  <a:pt x="118" y="69"/>
                </a:lnTo>
                <a:lnTo>
                  <a:pt x="118" y="69"/>
                </a:lnTo>
                <a:lnTo>
                  <a:pt x="118" y="67"/>
                </a:lnTo>
                <a:lnTo>
                  <a:pt x="118" y="67"/>
                </a:lnTo>
                <a:lnTo>
                  <a:pt x="110" y="62"/>
                </a:lnTo>
                <a:lnTo>
                  <a:pt x="110" y="62"/>
                </a:lnTo>
                <a:lnTo>
                  <a:pt x="108" y="59"/>
                </a:lnTo>
                <a:lnTo>
                  <a:pt x="108" y="59"/>
                </a:lnTo>
                <a:lnTo>
                  <a:pt x="105" y="57"/>
                </a:lnTo>
                <a:lnTo>
                  <a:pt x="105" y="57"/>
                </a:lnTo>
                <a:lnTo>
                  <a:pt x="103" y="54"/>
                </a:lnTo>
                <a:lnTo>
                  <a:pt x="103" y="54"/>
                </a:lnTo>
                <a:lnTo>
                  <a:pt x="101" y="54"/>
                </a:lnTo>
                <a:lnTo>
                  <a:pt x="101" y="54"/>
                </a:lnTo>
                <a:lnTo>
                  <a:pt x="98" y="47"/>
                </a:lnTo>
                <a:lnTo>
                  <a:pt x="98" y="47"/>
                </a:lnTo>
                <a:lnTo>
                  <a:pt x="96" y="45"/>
                </a:lnTo>
                <a:lnTo>
                  <a:pt x="96" y="45"/>
                </a:lnTo>
                <a:lnTo>
                  <a:pt x="96" y="40"/>
                </a:lnTo>
                <a:lnTo>
                  <a:pt x="96" y="40"/>
                </a:lnTo>
                <a:lnTo>
                  <a:pt x="98" y="35"/>
                </a:lnTo>
                <a:lnTo>
                  <a:pt x="98" y="35"/>
                </a:lnTo>
                <a:lnTo>
                  <a:pt x="96" y="35"/>
                </a:lnTo>
                <a:lnTo>
                  <a:pt x="96" y="35"/>
                </a:lnTo>
                <a:lnTo>
                  <a:pt x="98" y="32"/>
                </a:lnTo>
                <a:lnTo>
                  <a:pt x="98" y="32"/>
                </a:lnTo>
                <a:lnTo>
                  <a:pt x="101" y="30"/>
                </a:lnTo>
                <a:lnTo>
                  <a:pt x="101" y="30"/>
                </a:lnTo>
                <a:lnTo>
                  <a:pt x="101" y="25"/>
                </a:lnTo>
                <a:lnTo>
                  <a:pt x="101" y="25"/>
                </a:lnTo>
                <a:lnTo>
                  <a:pt x="103" y="20"/>
                </a:lnTo>
                <a:lnTo>
                  <a:pt x="103" y="20"/>
                </a:lnTo>
                <a:lnTo>
                  <a:pt x="103" y="17"/>
                </a:lnTo>
                <a:lnTo>
                  <a:pt x="103" y="17"/>
                </a:lnTo>
                <a:lnTo>
                  <a:pt x="101" y="13"/>
                </a:lnTo>
                <a:lnTo>
                  <a:pt x="101" y="13"/>
                </a:lnTo>
                <a:lnTo>
                  <a:pt x="101" y="10"/>
                </a:lnTo>
                <a:lnTo>
                  <a:pt x="101" y="10"/>
                </a:lnTo>
                <a:lnTo>
                  <a:pt x="96" y="10"/>
                </a:lnTo>
                <a:lnTo>
                  <a:pt x="96" y="10"/>
                </a:lnTo>
                <a:lnTo>
                  <a:pt x="91" y="10"/>
                </a:lnTo>
                <a:lnTo>
                  <a:pt x="91" y="10"/>
                </a:lnTo>
                <a:lnTo>
                  <a:pt x="88" y="8"/>
                </a:lnTo>
                <a:lnTo>
                  <a:pt x="88" y="8"/>
                </a:lnTo>
                <a:lnTo>
                  <a:pt x="86" y="3"/>
                </a:lnTo>
                <a:lnTo>
                  <a:pt x="86" y="3"/>
                </a:lnTo>
                <a:lnTo>
                  <a:pt x="83" y="0"/>
                </a:lnTo>
                <a:lnTo>
                  <a:pt x="83" y="0"/>
                </a:lnTo>
                <a:lnTo>
                  <a:pt x="76" y="0"/>
                </a:lnTo>
                <a:lnTo>
                  <a:pt x="76" y="0"/>
                </a:lnTo>
                <a:lnTo>
                  <a:pt x="73" y="3"/>
                </a:lnTo>
                <a:lnTo>
                  <a:pt x="73" y="3"/>
                </a:lnTo>
                <a:lnTo>
                  <a:pt x="73" y="5"/>
                </a:lnTo>
                <a:lnTo>
                  <a:pt x="73" y="5"/>
                </a:lnTo>
                <a:lnTo>
                  <a:pt x="71" y="5"/>
                </a:lnTo>
                <a:lnTo>
                  <a:pt x="71" y="5"/>
                </a:lnTo>
                <a:lnTo>
                  <a:pt x="66" y="5"/>
                </a:lnTo>
                <a:lnTo>
                  <a:pt x="66" y="5"/>
                </a:lnTo>
                <a:lnTo>
                  <a:pt x="64" y="5"/>
                </a:lnTo>
                <a:lnTo>
                  <a:pt x="64" y="5"/>
                </a:lnTo>
                <a:lnTo>
                  <a:pt x="64" y="8"/>
                </a:lnTo>
                <a:lnTo>
                  <a:pt x="64" y="8"/>
                </a:lnTo>
                <a:lnTo>
                  <a:pt x="61" y="10"/>
                </a:lnTo>
                <a:lnTo>
                  <a:pt x="61" y="10"/>
                </a:lnTo>
                <a:lnTo>
                  <a:pt x="61" y="13"/>
                </a:lnTo>
                <a:lnTo>
                  <a:pt x="61" y="13"/>
                </a:lnTo>
                <a:lnTo>
                  <a:pt x="61" y="15"/>
                </a:lnTo>
                <a:lnTo>
                  <a:pt x="61" y="15"/>
                </a:lnTo>
                <a:lnTo>
                  <a:pt x="61" y="17"/>
                </a:lnTo>
                <a:lnTo>
                  <a:pt x="61" y="17"/>
                </a:lnTo>
                <a:lnTo>
                  <a:pt x="59" y="25"/>
                </a:lnTo>
                <a:lnTo>
                  <a:pt x="59" y="25"/>
                </a:lnTo>
                <a:lnTo>
                  <a:pt x="61" y="30"/>
                </a:lnTo>
                <a:lnTo>
                  <a:pt x="61" y="30"/>
                </a:lnTo>
                <a:lnTo>
                  <a:pt x="61" y="32"/>
                </a:lnTo>
                <a:lnTo>
                  <a:pt x="61" y="32"/>
                </a:lnTo>
                <a:lnTo>
                  <a:pt x="61" y="35"/>
                </a:lnTo>
                <a:lnTo>
                  <a:pt x="61" y="35"/>
                </a:lnTo>
                <a:lnTo>
                  <a:pt x="59" y="35"/>
                </a:lnTo>
                <a:lnTo>
                  <a:pt x="59" y="35"/>
                </a:lnTo>
                <a:lnTo>
                  <a:pt x="56" y="35"/>
                </a:lnTo>
                <a:lnTo>
                  <a:pt x="56" y="35"/>
                </a:lnTo>
                <a:lnTo>
                  <a:pt x="54" y="37"/>
                </a:lnTo>
                <a:lnTo>
                  <a:pt x="54" y="37"/>
                </a:lnTo>
                <a:lnTo>
                  <a:pt x="51" y="40"/>
                </a:lnTo>
                <a:lnTo>
                  <a:pt x="51" y="40"/>
                </a:lnTo>
                <a:lnTo>
                  <a:pt x="49" y="42"/>
                </a:lnTo>
                <a:lnTo>
                  <a:pt x="49" y="42"/>
                </a:lnTo>
                <a:lnTo>
                  <a:pt x="46" y="42"/>
                </a:lnTo>
                <a:lnTo>
                  <a:pt x="46" y="42"/>
                </a:lnTo>
                <a:lnTo>
                  <a:pt x="42" y="37"/>
                </a:lnTo>
                <a:lnTo>
                  <a:pt x="42" y="37"/>
                </a:lnTo>
                <a:lnTo>
                  <a:pt x="39" y="37"/>
                </a:lnTo>
                <a:lnTo>
                  <a:pt x="39" y="37"/>
                </a:lnTo>
                <a:lnTo>
                  <a:pt x="37" y="40"/>
                </a:lnTo>
                <a:lnTo>
                  <a:pt x="37" y="40"/>
                </a:lnTo>
                <a:lnTo>
                  <a:pt x="32" y="45"/>
                </a:lnTo>
                <a:lnTo>
                  <a:pt x="32" y="45"/>
                </a:lnTo>
                <a:lnTo>
                  <a:pt x="24" y="45"/>
                </a:lnTo>
                <a:lnTo>
                  <a:pt x="24" y="45"/>
                </a:lnTo>
                <a:lnTo>
                  <a:pt x="19" y="42"/>
                </a:lnTo>
                <a:lnTo>
                  <a:pt x="19" y="42"/>
                </a:lnTo>
                <a:lnTo>
                  <a:pt x="17" y="40"/>
                </a:lnTo>
                <a:lnTo>
                  <a:pt x="17" y="40"/>
                </a:lnTo>
                <a:lnTo>
                  <a:pt x="17" y="35"/>
                </a:lnTo>
                <a:lnTo>
                  <a:pt x="17" y="35"/>
                </a:lnTo>
                <a:lnTo>
                  <a:pt x="10" y="30"/>
                </a:lnTo>
                <a:lnTo>
                  <a:pt x="10" y="30"/>
                </a:lnTo>
                <a:lnTo>
                  <a:pt x="7" y="27"/>
                </a:lnTo>
                <a:lnTo>
                  <a:pt x="7" y="27"/>
                </a:lnTo>
                <a:lnTo>
                  <a:pt x="5" y="25"/>
                </a:lnTo>
                <a:lnTo>
                  <a:pt x="5" y="25"/>
                </a:lnTo>
                <a:lnTo>
                  <a:pt x="2" y="27"/>
                </a:lnTo>
                <a:lnTo>
                  <a:pt x="2" y="27"/>
                </a:lnTo>
                <a:lnTo>
                  <a:pt x="2" y="30"/>
                </a:lnTo>
                <a:lnTo>
                  <a:pt x="2" y="30"/>
                </a:lnTo>
                <a:lnTo>
                  <a:pt x="2" y="32"/>
                </a:lnTo>
                <a:lnTo>
                  <a:pt x="2" y="32"/>
                </a:lnTo>
                <a:lnTo>
                  <a:pt x="2" y="35"/>
                </a:lnTo>
                <a:lnTo>
                  <a:pt x="2" y="35"/>
                </a:lnTo>
                <a:lnTo>
                  <a:pt x="0" y="32"/>
                </a:lnTo>
                <a:lnTo>
                  <a:pt x="0" y="32"/>
                </a:lnTo>
                <a:lnTo>
                  <a:pt x="0" y="35"/>
                </a:lnTo>
                <a:lnTo>
                  <a:pt x="0" y="35"/>
                </a:lnTo>
                <a:lnTo>
                  <a:pt x="2" y="37"/>
                </a:lnTo>
                <a:lnTo>
                  <a:pt x="2" y="37"/>
                </a:lnTo>
                <a:lnTo>
                  <a:pt x="7" y="40"/>
                </a:lnTo>
                <a:lnTo>
                  <a:pt x="7" y="40"/>
                </a:lnTo>
                <a:lnTo>
                  <a:pt x="12" y="45"/>
                </a:lnTo>
                <a:lnTo>
                  <a:pt x="12" y="45"/>
                </a:lnTo>
                <a:lnTo>
                  <a:pt x="17" y="47"/>
                </a:lnTo>
                <a:lnTo>
                  <a:pt x="17" y="47"/>
                </a:lnTo>
                <a:lnTo>
                  <a:pt x="22" y="49"/>
                </a:lnTo>
                <a:lnTo>
                  <a:pt x="22" y="49"/>
                </a:lnTo>
                <a:lnTo>
                  <a:pt x="24" y="49"/>
                </a:lnTo>
                <a:lnTo>
                  <a:pt x="24" y="49"/>
                </a:lnTo>
                <a:lnTo>
                  <a:pt x="27" y="49"/>
                </a:lnTo>
                <a:lnTo>
                  <a:pt x="27" y="49"/>
                </a:lnTo>
                <a:lnTo>
                  <a:pt x="29" y="54"/>
                </a:lnTo>
                <a:lnTo>
                  <a:pt x="29" y="54"/>
                </a:lnTo>
                <a:lnTo>
                  <a:pt x="32" y="57"/>
                </a:lnTo>
                <a:lnTo>
                  <a:pt x="32" y="57"/>
                </a:lnTo>
                <a:lnTo>
                  <a:pt x="32" y="57"/>
                </a:lnTo>
                <a:lnTo>
                  <a:pt x="34" y="57"/>
                </a:lnTo>
                <a:lnTo>
                  <a:pt x="34" y="57"/>
                </a:lnTo>
                <a:lnTo>
                  <a:pt x="37" y="62"/>
                </a:lnTo>
                <a:lnTo>
                  <a:pt x="37" y="62"/>
                </a:lnTo>
                <a:lnTo>
                  <a:pt x="39" y="62"/>
                </a:lnTo>
                <a:lnTo>
                  <a:pt x="39" y="62"/>
                </a:lnTo>
                <a:lnTo>
                  <a:pt x="39" y="64"/>
                </a:lnTo>
                <a:lnTo>
                  <a:pt x="39" y="64"/>
                </a:lnTo>
                <a:lnTo>
                  <a:pt x="39" y="67"/>
                </a:lnTo>
                <a:lnTo>
                  <a:pt x="39" y="67"/>
                </a:lnTo>
                <a:lnTo>
                  <a:pt x="39" y="69"/>
                </a:lnTo>
                <a:lnTo>
                  <a:pt x="39" y="69"/>
                </a:lnTo>
                <a:lnTo>
                  <a:pt x="37" y="74"/>
                </a:lnTo>
                <a:lnTo>
                  <a:pt x="37" y="74"/>
                </a:lnTo>
                <a:lnTo>
                  <a:pt x="39" y="76"/>
                </a:lnTo>
                <a:lnTo>
                  <a:pt x="39" y="76"/>
                </a:lnTo>
                <a:lnTo>
                  <a:pt x="42" y="76"/>
                </a:lnTo>
                <a:lnTo>
                  <a:pt x="42" y="76"/>
                </a:lnTo>
                <a:lnTo>
                  <a:pt x="44" y="81"/>
                </a:lnTo>
                <a:lnTo>
                  <a:pt x="44" y="81"/>
                </a:lnTo>
                <a:lnTo>
                  <a:pt x="42" y="84"/>
                </a:lnTo>
                <a:lnTo>
                  <a:pt x="42" y="84"/>
                </a:lnTo>
                <a:lnTo>
                  <a:pt x="42" y="86"/>
                </a:lnTo>
                <a:lnTo>
                  <a:pt x="42" y="86"/>
                </a:lnTo>
                <a:lnTo>
                  <a:pt x="44" y="89"/>
                </a:lnTo>
                <a:lnTo>
                  <a:pt x="44" y="89"/>
                </a:lnTo>
                <a:lnTo>
                  <a:pt x="44" y="96"/>
                </a:lnTo>
                <a:lnTo>
                  <a:pt x="44" y="96"/>
                </a:lnTo>
                <a:lnTo>
                  <a:pt x="44" y="99"/>
                </a:lnTo>
                <a:lnTo>
                  <a:pt x="44" y="99"/>
                </a:lnTo>
                <a:lnTo>
                  <a:pt x="44" y="101"/>
                </a:lnTo>
                <a:lnTo>
                  <a:pt x="44" y="101"/>
                </a:lnTo>
                <a:lnTo>
                  <a:pt x="44" y="106"/>
                </a:lnTo>
                <a:lnTo>
                  <a:pt x="44" y="106"/>
                </a:lnTo>
                <a:lnTo>
                  <a:pt x="44" y="108"/>
                </a:lnTo>
                <a:lnTo>
                  <a:pt x="44" y="108"/>
                </a:lnTo>
                <a:lnTo>
                  <a:pt x="46" y="113"/>
                </a:lnTo>
                <a:lnTo>
                  <a:pt x="46" y="113"/>
                </a:lnTo>
                <a:lnTo>
                  <a:pt x="49" y="113"/>
                </a:lnTo>
                <a:lnTo>
                  <a:pt x="49" y="113"/>
                </a:lnTo>
                <a:lnTo>
                  <a:pt x="51" y="118"/>
                </a:lnTo>
                <a:lnTo>
                  <a:pt x="51" y="118"/>
                </a:lnTo>
                <a:lnTo>
                  <a:pt x="51" y="121"/>
                </a:lnTo>
                <a:lnTo>
                  <a:pt x="51" y="121"/>
                </a:lnTo>
                <a:lnTo>
                  <a:pt x="51" y="126"/>
                </a:lnTo>
                <a:lnTo>
                  <a:pt x="51" y="126"/>
                </a:lnTo>
                <a:lnTo>
                  <a:pt x="54" y="126"/>
                </a:lnTo>
                <a:lnTo>
                  <a:pt x="54" y="126"/>
                </a:lnTo>
                <a:lnTo>
                  <a:pt x="56" y="126"/>
                </a:lnTo>
                <a:lnTo>
                  <a:pt x="56" y="126"/>
                </a:lnTo>
                <a:lnTo>
                  <a:pt x="59" y="128"/>
                </a:lnTo>
                <a:lnTo>
                  <a:pt x="59" y="128"/>
                </a:lnTo>
                <a:lnTo>
                  <a:pt x="66" y="128"/>
                </a:lnTo>
                <a:lnTo>
                  <a:pt x="66" y="128"/>
                </a:lnTo>
                <a:lnTo>
                  <a:pt x="69" y="133"/>
                </a:lnTo>
                <a:lnTo>
                  <a:pt x="69" y="133"/>
                </a:lnTo>
                <a:lnTo>
                  <a:pt x="66" y="133"/>
                </a:lnTo>
                <a:lnTo>
                  <a:pt x="66" y="133"/>
                </a:lnTo>
                <a:lnTo>
                  <a:pt x="69" y="136"/>
                </a:lnTo>
                <a:lnTo>
                  <a:pt x="69" y="136"/>
                </a:lnTo>
                <a:lnTo>
                  <a:pt x="69" y="140"/>
                </a:lnTo>
                <a:lnTo>
                  <a:pt x="69" y="140"/>
                </a:lnTo>
                <a:lnTo>
                  <a:pt x="69" y="140"/>
                </a:lnTo>
                <a:lnTo>
                  <a:pt x="71" y="145"/>
                </a:lnTo>
                <a:lnTo>
                  <a:pt x="71" y="145"/>
                </a:lnTo>
                <a:lnTo>
                  <a:pt x="69" y="145"/>
                </a:lnTo>
                <a:lnTo>
                  <a:pt x="69" y="145"/>
                </a:lnTo>
                <a:lnTo>
                  <a:pt x="69" y="145"/>
                </a:lnTo>
                <a:lnTo>
                  <a:pt x="71" y="148"/>
                </a:lnTo>
                <a:lnTo>
                  <a:pt x="71" y="148"/>
                </a:lnTo>
                <a:lnTo>
                  <a:pt x="71" y="150"/>
                </a:lnTo>
                <a:lnTo>
                  <a:pt x="71" y="150"/>
                </a:lnTo>
                <a:lnTo>
                  <a:pt x="66" y="148"/>
                </a:lnTo>
                <a:lnTo>
                  <a:pt x="66" y="148"/>
                </a:lnTo>
                <a:lnTo>
                  <a:pt x="64" y="148"/>
                </a:lnTo>
                <a:lnTo>
                  <a:pt x="64" y="148"/>
                </a:lnTo>
                <a:lnTo>
                  <a:pt x="59" y="150"/>
                </a:lnTo>
                <a:lnTo>
                  <a:pt x="59" y="150"/>
                </a:lnTo>
                <a:lnTo>
                  <a:pt x="59" y="153"/>
                </a:lnTo>
                <a:lnTo>
                  <a:pt x="59" y="153"/>
                </a:lnTo>
                <a:lnTo>
                  <a:pt x="56" y="155"/>
                </a:lnTo>
                <a:lnTo>
                  <a:pt x="56" y="155"/>
                </a:lnTo>
                <a:lnTo>
                  <a:pt x="56" y="158"/>
                </a:lnTo>
                <a:lnTo>
                  <a:pt x="56" y="158"/>
                </a:lnTo>
                <a:lnTo>
                  <a:pt x="54" y="160"/>
                </a:lnTo>
                <a:lnTo>
                  <a:pt x="54" y="160"/>
                </a:lnTo>
                <a:lnTo>
                  <a:pt x="51" y="165"/>
                </a:lnTo>
                <a:lnTo>
                  <a:pt x="51" y="165"/>
                </a:lnTo>
                <a:lnTo>
                  <a:pt x="49" y="170"/>
                </a:lnTo>
                <a:lnTo>
                  <a:pt x="49" y="170"/>
                </a:lnTo>
                <a:lnTo>
                  <a:pt x="49" y="170"/>
                </a:lnTo>
                <a:lnTo>
                  <a:pt x="46" y="167"/>
                </a:lnTo>
                <a:lnTo>
                  <a:pt x="46" y="167"/>
                </a:lnTo>
                <a:lnTo>
                  <a:pt x="46" y="167"/>
                </a:lnTo>
                <a:lnTo>
                  <a:pt x="46" y="172"/>
                </a:lnTo>
                <a:lnTo>
                  <a:pt x="46" y="172"/>
                </a:lnTo>
                <a:lnTo>
                  <a:pt x="46" y="175"/>
                </a:lnTo>
                <a:lnTo>
                  <a:pt x="46" y="175"/>
                </a:lnTo>
                <a:lnTo>
                  <a:pt x="44" y="175"/>
                </a:lnTo>
                <a:lnTo>
                  <a:pt x="44" y="175"/>
                </a:lnTo>
                <a:lnTo>
                  <a:pt x="42" y="177"/>
                </a:lnTo>
                <a:lnTo>
                  <a:pt x="42" y="177"/>
                </a:lnTo>
                <a:lnTo>
                  <a:pt x="42" y="180"/>
                </a:lnTo>
                <a:lnTo>
                  <a:pt x="42" y="180"/>
                </a:lnTo>
                <a:lnTo>
                  <a:pt x="44" y="182"/>
                </a:lnTo>
                <a:lnTo>
                  <a:pt x="44" y="182"/>
                </a:lnTo>
                <a:lnTo>
                  <a:pt x="42" y="182"/>
                </a:lnTo>
                <a:lnTo>
                  <a:pt x="42" y="182"/>
                </a:lnTo>
                <a:lnTo>
                  <a:pt x="39" y="180"/>
                </a:lnTo>
                <a:lnTo>
                  <a:pt x="39" y="180"/>
                </a:lnTo>
                <a:lnTo>
                  <a:pt x="37" y="180"/>
                </a:lnTo>
                <a:lnTo>
                  <a:pt x="37" y="180"/>
                </a:lnTo>
                <a:lnTo>
                  <a:pt x="37" y="185"/>
                </a:lnTo>
                <a:lnTo>
                  <a:pt x="37" y="185"/>
                </a:lnTo>
                <a:lnTo>
                  <a:pt x="37" y="185"/>
                </a:lnTo>
                <a:lnTo>
                  <a:pt x="34" y="185"/>
                </a:lnTo>
                <a:lnTo>
                  <a:pt x="34" y="185"/>
                </a:lnTo>
                <a:lnTo>
                  <a:pt x="34" y="185"/>
                </a:lnTo>
                <a:lnTo>
                  <a:pt x="37" y="187"/>
                </a:lnTo>
                <a:lnTo>
                  <a:pt x="37" y="187"/>
                </a:lnTo>
                <a:lnTo>
                  <a:pt x="37" y="190"/>
                </a:lnTo>
                <a:lnTo>
                  <a:pt x="37" y="190"/>
                </a:lnTo>
                <a:lnTo>
                  <a:pt x="34" y="192"/>
                </a:lnTo>
                <a:lnTo>
                  <a:pt x="34" y="192"/>
                </a:lnTo>
                <a:lnTo>
                  <a:pt x="34" y="192"/>
                </a:lnTo>
                <a:lnTo>
                  <a:pt x="32" y="195"/>
                </a:lnTo>
                <a:lnTo>
                  <a:pt x="32" y="195"/>
                </a:lnTo>
                <a:lnTo>
                  <a:pt x="29" y="195"/>
                </a:lnTo>
                <a:lnTo>
                  <a:pt x="29" y="195"/>
                </a:lnTo>
                <a:lnTo>
                  <a:pt x="29" y="192"/>
                </a:lnTo>
                <a:lnTo>
                  <a:pt x="29" y="192"/>
                </a:lnTo>
                <a:lnTo>
                  <a:pt x="27" y="192"/>
                </a:lnTo>
                <a:lnTo>
                  <a:pt x="27" y="192"/>
                </a:lnTo>
                <a:lnTo>
                  <a:pt x="24" y="192"/>
                </a:lnTo>
                <a:lnTo>
                  <a:pt x="24" y="192"/>
                </a:lnTo>
                <a:lnTo>
                  <a:pt x="24" y="195"/>
                </a:lnTo>
                <a:lnTo>
                  <a:pt x="24" y="195"/>
                </a:lnTo>
                <a:lnTo>
                  <a:pt x="24" y="197"/>
                </a:lnTo>
                <a:lnTo>
                  <a:pt x="24" y="197"/>
                </a:lnTo>
                <a:lnTo>
                  <a:pt x="24" y="199"/>
                </a:lnTo>
                <a:lnTo>
                  <a:pt x="24" y="199"/>
                </a:lnTo>
                <a:lnTo>
                  <a:pt x="24" y="202"/>
                </a:lnTo>
                <a:lnTo>
                  <a:pt x="24" y="202"/>
                </a:lnTo>
                <a:lnTo>
                  <a:pt x="22" y="202"/>
                </a:lnTo>
                <a:lnTo>
                  <a:pt x="22" y="202"/>
                </a:lnTo>
                <a:lnTo>
                  <a:pt x="22" y="204"/>
                </a:lnTo>
                <a:lnTo>
                  <a:pt x="22" y="204"/>
                </a:lnTo>
                <a:lnTo>
                  <a:pt x="22" y="209"/>
                </a:lnTo>
                <a:lnTo>
                  <a:pt x="22" y="209"/>
                </a:lnTo>
                <a:lnTo>
                  <a:pt x="22" y="209"/>
                </a:lnTo>
                <a:lnTo>
                  <a:pt x="22" y="212"/>
                </a:lnTo>
                <a:lnTo>
                  <a:pt x="22" y="212"/>
                </a:lnTo>
                <a:lnTo>
                  <a:pt x="22" y="214"/>
                </a:lnTo>
                <a:lnTo>
                  <a:pt x="22" y="214"/>
                </a:lnTo>
                <a:lnTo>
                  <a:pt x="24" y="214"/>
                </a:lnTo>
                <a:lnTo>
                  <a:pt x="24" y="214"/>
                </a:lnTo>
                <a:lnTo>
                  <a:pt x="27" y="214"/>
                </a:lnTo>
                <a:lnTo>
                  <a:pt x="27" y="214"/>
                </a:lnTo>
                <a:lnTo>
                  <a:pt x="24" y="219"/>
                </a:lnTo>
                <a:lnTo>
                  <a:pt x="24" y="219"/>
                </a:lnTo>
                <a:lnTo>
                  <a:pt x="24" y="219"/>
                </a:lnTo>
                <a:lnTo>
                  <a:pt x="27" y="224"/>
                </a:lnTo>
                <a:lnTo>
                  <a:pt x="27" y="224"/>
                </a:lnTo>
                <a:lnTo>
                  <a:pt x="24" y="224"/>
                </a:lnTo>
                <a:lnTo>
                  <a:pt x="24" y="224"/>
                </a:lnTo>
                <a:lnTo>
                  <a:pt x="29" y="229"/>
                </a:lnTo>
                <a:lnTo>
                  <a:pt x="29" y="229"/>
                </a:lnTo>
                <a:lnTo>
                  <a:pt x="29" y="231"/>
                </a:lnTo>
                <a:lnTo>
                  <a:pt x="29" y="231"/>
                </a:lnTo>
                <a:lnTo>
                  <a:pt x="29" y="231"/>
                </a:lnTo>
                <a:lnTo>
                  <a:pt x="32" y="236"/>
                </a:lnTo>
                <a:lnTo>
                  <a:pt x="32" y="236"/>
                </a:lnTo>
                <a:lnTo>
                  <a:pt x="29" y="236"/>
                </a:lnTo>
                <a:lnTo>
                  <a:pt x="29" y="236"/>
                </a:lnTo>
                <a:lnTo>
                  <a:pt x="29" y="241"/>
                </a:lnTo>
                <a:lnTo>
                  <a:pt x="29" y="241"/>
                </a:lnTo>
                <a:lnTo>
                  <a:pt x="29" y="244"/>
                </a:lnTo>
                <a:lnTo>
                  <a:pt x="29" y="244"/>
                </a:lnTo>
                <a:lnTo>
                  <a:pt x="27" y="251"/>
                </a:lnTo>
                <a:lnTo>
                  <a:pt x="27" y="251"/>
                </a:lnTo>
                <a:lnTo>
                  <a:pt x="29" y="251"/>
                </a:lnTo>
                <a:lnTo>
                  <a:pt x="29" y="251"/>
                </a:lnTo>
                <a:lnTo>
                  <a:pt x="29" y="256"/>
                </a:lnTo>
                <a:lnTo>
                  <a:pt x="29" y="256"/>
                </a:lnTo>
                <a:lnTo>
                  <a:pt x="29" y="258"/>
                </a:lnTo>
                <a:lnTo>
                  <a:pt x="29" y="258"/>
                </a:lnTo>
                <a:lnTo>
                  <a:pt x="29" y="258"/>
                </a:lnTo>
                <a:lnTo>
                  <a:pt x="34" y="258"/>
                </a:lnTo>
                <a:lnTo>
                  <a:pt x="34" y="258"/>
                </a:lnTo>
                <a:lnTo>
                  <a:pt x="34" y="258"/>
                </a:lnTo>
                <a:lnTo>
                  <a:pt x="37" y="256"/>
                </a:lnTo>
                <a:lnTo>
                  <a:pt x="37" y="256"/>
                </a:lnTo>
                <a:lnTo>
                  <a:pt x="39" y="261"/>
                </a:lnTo>
                <a:lnTo>
                  <a:pt x="39" y="261"/>
                </a:lnTo>
                <a:lnTo>
                  <a:pt x="42" y="261"/>
                </a:lnTo>
                <a:lnTo>
                  <a:pt x="42" y="261"/>
                </a:lnTo>
                <a:lnTo>
                  <a:pt x="44" y="263"/>
                </a:lnTo>
                <a:lnTo>
                  <a:pt x="44" y="263"/>
                </a:lnTo>
                <a:lnTo>
                  <a:pt x="46" y="261"/>
                </a:lnTo>
                <a:lnTo>
                  <a:pt x="46" y="261"/>
                </a:lnTo>
                <a:lnTo>
                  <a:pt x="49" y="263"/>
                </a:lnTo>
                <a:lnTo>
                  <a:pt x="49" y="263"/>
                </a:lnTo>
                <a:lnTo>
                  <a:pt x="49" y="263"/>
                </a:lnTo>
                <a:lnTo>
                  <a:pt x="49" y="263"/>
                </a:lnTo>
                <a:lnTo>
                  <a:pt x="54" y="261"/>
                </a:lnTo>
                <a:lnTo>
                  <a:pt x="54" y="261"/>
                </a:lnTo>
                <a:lnTo>
                  <a:pt x="54" y="263"/>
                </a:lnTo>
                <a:lnTo>
                  <a:pt x="54" y="263"/>
                </a:lnTo>
                <a:lnTo>
                  <a:pt x="51" y="266"/>
                </a:lnTo>
                <a:lnTo>
                  <a:pt x="51" y="266"/>
                </a:lnTo>
                <a:lnTo>
                  <a:pt x="56" y="273"/>
                </a:lnTo>
                <a:lnTo>
                  <a:pt x="56" y="273"/>
                </a:lnTo>
                <a:lnTo>
                  <a:pt x="56" y="273"/>
                </a:lnTo>
                <a:lnTo>
                  <a:pt x="54" y="278"/>
                </a:lnTo>
                <a:lnTo>
                  <a:pt x="54" y="278"/>
                </a:lnTo>
                <a:lnTo>
                  <a:pt x="56" y="278"/>
                </a:lnTo>
                <a:lnTo>
                  <a:pt x="56" y="278"/>
                </a:lnTo>
                <a:lnTo>
                  <a:pt x="59" y="273"/>
                </a:lnTo>
                <a:lnTo>
                  <a:pt x="59" y="273"/>
                </a:lnTo>
                <a:lnTo>
                  <a:pt x="59" y="273"/>
                </a:lnTo>
                <a:lnTo>
                  <a:pt x="59" y="273"/>
                </a:lnTo>
                <a:lnTo>
                  <a:pt x="64" y="273"/>
                </a:lnTo>
                <a:lnTo>
                  <a:pt x="64" y="273"/>
                </a:lnTo>
                <a:lnTo>
                  <a:pt x="64" y="273"/>
                </a:lnTo>
                <a:lnTo>
                  <a:pt x="69" y="268"/>
                </a:lnTo>
                <a:lnTo>
                  <a:pt x="69" y="268"/>
                </a:lnTo>
                <a:lnTo>
                  <a:pt x="73" y="268"/>
                </a:lnTo>
                <a:lnTo>
                  <a:pt x="73" y="268"/>
                </a:lnTo>
                <a:lnTo>
                  <a:pt x="78" y="266"/>
                </a:lnTo>
                <a:lnTo>
                  <a:pt x="78" y="266"/>
                </a:lnTo>
                <a:lnTo>
                  <a:pt x="78" y="263"/>
                </a:lnTo>
                <a:lnTo>
                  <a:pt x="78" y="263"/>
                </a:lnTo>
                <a:lnTo>
                  <a:pt x="83" y="266"/>
                </a:lnTo>
                <a:lnTo>
                  <a:pt x="83" y="266"/>
                </a:lnTo>
                <a:lnTo>
                  <a:pt x="86" y="263"/>
                </a:lnTo>
                <a:lnTo>
                  <a:pt x="86" y="263"/>
                </a:lnTo>
                <a:lnTo>
                  <a:pt x="88" y="261"/>
                </a:lnTo>
                <a:lnTo>
                  <a:pt x="88" y="261"/>
                </a:lnTo>
                <a:lnTo>
                  <a:pt x="88" y="261"/>
                </a:lnTo>
                <a:lnTo>
                  <a:pt x="88" y="263"/>
                </a:lnTo>
                <a:lnTo>
                  <a:pt x="88" y="263"/>
                </a:lnTo>
                <a:lnTo>
                  <a:pt x="88" y="266"/>
                </a:lnTo>
                <a:lnTo>
                  <a:pt x="88" y="266"/>
                </a:lnTo>
                <a:lnTo>
                  <a:pt x="91" y="261"/>
                </a:lnTo>
                <a:lnTo>
                  <a:pt x="91" y="261"/>
                </a:lnTo>
                <a:lnTo>
                  <a:pt x="93" y="261"/>
                </a:lnTo>
                <a:lnTo>
                  <a:pt x="93" y="261"/>
                </a:lnTo>
                <a:lnTo>
                  <a:pt x="91" y="258"/>
                </a:lnTo>
                <a:lnTo>
                  <a:pt x="91" y="258"/>
                </a:lnTo>
                <a:lnTo>
                  <a:pt x="93" y="258"/>
                </a:lnTo>
                <a:lnTo>
                  <a:pt x="93" y="258"/>
                </a:lnTo>
                <a:lnTo>
                  <a:pt x="93" y="261"/>
                </a:lnTo>
                <a:lnTo>
                  <a:pt x="93" y="261"/>
                </a:lnTo>
                <a:lnTo>
                  <a:pt x="96" y="261"/>
                </a:lnTo>
                <a:lnTo>
                  <a:pt x="96" y="261"/>
                </a:lnTo>
                <a:lnTo>
                  <a:pt x="96" y="258"/>
                </a:lnTo>
                <a:lnTo>
                  <a:pt x="96" y="258"/>
                </a:lnTo>
                <a:lnTo>
                  <a:pt x="98" y="261"/>
                </a:lnTo>
                <a:lnTo>
                  <a:pt x="98" y="261"/>
                </a:lnTo>
                <a:lnTo>
                  <a:pt x="101" y="261"/>
                </a:lnTo>
                <a:lnTo>
                  <a:pt x="101" y="261"/>
                </a:lnTo>
                <a:lnTo>
                  <a:pt x="101" y="258"/>
                </a:lnTo>
                <a:lnTo>
                  <a:pt x="101" y="258"/>
                </a:lnTo>
                <a:lnTo>
                  <a:pt x="101" y="258"/>
                </a:lnTo>
                <a:lnTo>
                  <a:pt x="103" y="261"/>
                </a:lnTo>
                <a:lnTo>
                  <a:pt x="103" y="261"/>
                </a:lnTo>
                <a:lnTo>
                  <a:pt x="103" y="258"/>
                </a:lnTo>
                <a:lnTo>
                  <a:pt x="103" y="258"/>
                </a:lnTo>
                <a:lnTo>
                  <a:pt x="108" y="258"/>
                </a:lnTo>
                <a:lnTo>
                  <a:pt x="108" y="258"/>
                </a:lnTo>
                <a:lnTo>
                  <a:pt x="110" y="261"/>
                </a:lnTo>
                <a:lnTo>
                  <a:pt x="110" y="261"/>
                </a:lnTo>
                <a:lnTo>
                  <a:pt x="115" y="261"/>
                </a:lnTo>
                <a:lnTo>
                  <a:pt x="115" y="261"/>
                </a:lnTo>
                <a:lnTo>
                  <a:pt x="115" y="258"/>
                </a:lnTo>
                <a:lnTo>
                  <a:pt x="115" y="258"/>
                </a:lnTo>
                <a:lnTo>
                  <a:pt x="115" y="256"/>
                </a:lnTo>
                <a:lnTo>
                  <a:pt x="115" y="256"/>
                </a:lnTo>
                <a:lnTo>
                  <a:pt x="115" y="256"/>
                </a:lnTo>
                <a:lnTo>
                  <a:pt x="118" y="256"/>
                </a:lnTo>
                <a:lnTo>
                  <a:pt x="118" y="256"/>
                </a:lnTo>
                <a:lnTo>
                  <a:pt x="118" y="258"/>
                </a:lnTo>
                <a:lnTo>
                  <a:pt x="118" y="258"/>
                </a:lnTo>
                <a:lnTo>
                  <a:pt x="120" y="258"/>
                </a:lnTo>
                <a:lnTo>
                  <a:pt x="120" y="258"/>
                </a:lnTo>
                <a:lnTo>
                  <a:pt x="123" y="258"/>
                </a:lnTo>
                <a:lnTo>
                  <a:pt x="123" y="256"/>
                </a:lnTo>
                <a:lnTo>
                  <a:pt x="123" y="256"/>
                </a:lnTo>
                <a:close/>
                <a:moveTo>
                  <a:pt x="64" y="145"/>
                </a:moveTo>
                <a:lnTo>
                  <a:pt x="64" y="145"/>
                </a:lnTo>
                <a:lnTo>
                  <a:pt x="64" y="145"/>
                </a:lnTo>
                <a:lnTo>
                  <a:pt x="61" y="145"/>
                </a:lnTo>
                <a:lnTo>
                  <a:pt x="61" y="145"/>
                </a:lnTo>
                <a:lnTo>
                  <a:pt x="59" y="143"/>
                </a:lnTo>
                <a:lnTo>
                  <a:pt x="59" y="143"/>
                </a:lnTo>
                <a:lnTo>
                  <a:pt x="61" y="140"/>
                </a:lnTo>
                <a:lnTo>
                  <a:pt x="61" y="140"/>
                </a:lnTo>
                <a:lnTo>
                  <a:pt x="66" y="140"/>
                </a:lnTo>
                <a:lnTo>
                  <a:pt x="66" y="140"/>
                </a:lnTo>
                <a:lnTo>
                  <a:pt x="66" y="143"/>
                </a:lnTo>
                <a:lnTo>
                  <a:pt x="66" y="143"/>
                </a:lnTo>
                <a:lnTo>
                  <a:pt x="64" y="143"/>
                </a:lnTo>
                <a:lnTo>
                  <a:pt x="64" y="143"/>
                </a:lnTo>
                <a:lnTo>
                  <a:pt x="64" y="145"/>
                </a:lnTo>
                <a:lnTo>
                  <a:pt x="64" y="145"/>
                </a:lnTo>
                <a:close/>
                <a:moveTo>
                  <a:pt x="22" y="190"/>
                </a:moveTo>
                <a:lnTo>
                  <a:pt x="22" y="190"/>
                </a:lnTo>
                <a:lnTo>
                  <a:pt x="22" y="187"/>
                </a:lnTo>
                <a:lnTo>
                  <a:pt x="22" y="187"/>
                </a:lnTo>
                <a:lnTo>
                  <a:pt x="24" y="187"/>
                </a:lnTo>
                <a:lnTo>
                  <a:pt x="24" y="187"/>
                </a:lnTo>
                <a:lnTo>
                  <a:pt x="22" y="190"/>
                </a:lnTo>
                <a:lnTo>
                  <a:pt x="22" y="190"/>
                </a:lnTo>
                <a:lnTo>
                  <a:pt x="22" y="190"/>
                </a:lnTo>
                <a:close/>
                <a:moveTo>
                  <a:pt x="19" y="190"/>
                </a:moveTo>
                <a:lnTo>
                  <a:pt x="19" y="190"/>
                </a:lnTo>
                <a:lnTo>
                  <a:pt x="22" y="192"/>
                </a:lnTo>
                <a:lnTo>
                  <a:pt x="22" y="192"/>
                </a:lnTo>
                <a:lnTo>
                  <a:pt x="24" y="192"/>
                </a:lnTo>
                <a:lnTo>
                  <a:pt x="24" y="192"/>
                </a:lnTo>
                <a:lnTo>
                  <a:pt x="24" y="195"/>
                </a:lnTo>
                <a:lnTo>
                  <a:pt x="24" y="195"/>
                </a:lnTo>
                <a:lnTo>
                  <a:pt x="22" y="195"/>
                </a:lnTo>
                <a:lnTo>
                  <a:pt x="22" y="195"/>
                </a:lnTo>
                <a:lnTo>
                  <a:pt x="19" y="192"/>
                </a:lnTo>
                <a:lnTo>
                  <a:pt x="19" y="192"/>
                </a:lnTo>
                <a:lnTo>
                  <a:pt x="19" y="190"/>
                </a:lnTo>
                <a:lnTo>
                  <a:pt x="19" y="190"/>
                </a:lnTo>
                <a:close/>
                <a:moveTo>
                  <a:pt x="51" y="271"/>
                </a:moveTo>
                <a:lnTo>
                  <a:pt x="51" y="271"/>
                </a:lnTo>
                <a:lnTo>
                  <a:pt x="51" y="273"/>
                </a:lnTo>
                <a:lnTo>
                  <a:pt x="51" y="273"/>
                </a:lnTo>
                <a:lnTo>
                  <a:pt x="51" y="276"/>
                </a:lnTo>
                <a:lnTo>
                  <a:pt x="51" y="276"/>
                </a:lnTo>
                <a:lnTo>
                  <a:pt x="49" y="273"/>
                </a:lnTo>
                <a:lnTo>
                  <a:pt x="49" y="273"/>
                </a:lnTo>
                <a:lnTo>
                  <a:pt x="51" y="273"/>
                </a:lnTo>
                <a:lnTo>
                  <a:pt x="51" y="273"/>
                </a:lnTo>
                <a:lnTo>
                  <a:pt x="51" y="271"/>
                </a:lnTo>
                <a:lnTo>
                  <a:pt x="51" y="271"/>
                </a:lnTo>
                <a:close/>
                <a:moveTo>
                  <a:pt x="49" y="268"/>
                </a:moveTo>
                <a:lnTo>
                  <a:pt x="49" y="271"/>
                </a:lnTo>
                <a:lnTo>
                  <a:pt x="49" y="271"/>
                </a:lnTo>
                <a:lnTo>
                  <a:pt x="46" y="271"/>
                </a:lnTo>
                <a:lnTo>
                  <a:pt x="46" y="271"/>
                </a:lnTo>
                <a:lnTo>
                  <a:pt x="49" y="268"/>
                </a:lnTo>
                <a:lnTo>
                  <a:pt x="49" y="268"/>
                </a:lnTo>
                <a:close/>
                <a:moveTo>
                  <a:pt x="42" y="266"/>
                </a:moveTo>
                <a:lnTo>
                  <a:pt x="42" y="266"/>
                </a:lnTo>
                <a:lnTo>
                  <a:pt x="46" y="263"/>
                </a:lnTo>
                <a:lnTo>
                  <a:pt x="46" y="263"/>
                </a:lnTo>
                <a:lnTo>
                  <a:pt x="46" y="266"/>
                </a:lnTo>
                <a:lnTo>
                  <a:pt x="46" y="266"/>
                </a:lnTo>
                <a:lnTo>
                  <a:pt x="44" y="268"/>
                </a:lnTo>
                <a:lnTo>
                  <a:pt x="44" y="268"/>
                </a:lnTo>
                <a:lnTo>
                  <a:pt x="42" y="266"/>
                </a:lnTo>
                <a:lnTo>
                  <a:pt x="42" y="266"/>
                </a:lnTo>
                <a:lnTo>
                  <a:pt x="42" y="266"/>
                </a:lnTo>
                <a:close/>
                <a:moveTo>
                  <a:pt x="34" y="261"/>
                </a:moveTo>
                <a:lnTo>
                  <a:pt x="34" y="261"/>
                </a:lnTo>
                <a:lnTo>
                  <a:pt x="39" y="263"/>
                </a:lnTo>
                <a:lnTo>
                  <a:pt x="39" y="263"/>
                </a:lnTo>
                <a:lnTo>
                  <a:pt x="37" y="263"/>
                </a:lnTo>
                <a:lnTo>
                  <a:pt x="37" y="263"/>
                </a:lnTo>
                <a:lnTo>
                  <a:pt x="34" y="263"/>
                </a:lnTo>
                <a:lnTo>
                  <a:pt x="34" y="263"/>
                </a:lnTo>
                <a:lnTo>
                  <a:pt x="34" y="261"/>
                </a:lnTo>
                <a:lnTo>
                  <a:pt x="34" y="261"/>
                </a:lnTo>
                <a:close/>
                <a:moveTo>
                  <a:pt x="29" y="261"/>
                </a:moveTo>
                <a:lnTo>
                  <a:pt x="29" y="261"/>
                </a:lnTo>
                <a:lnTo>
                  <a:pt x="32" y="261"/>
                </a:lnTo>
                <a:lnTo>
                  <a:pt x="32" y="261"/>
                </a:lnTo>
                <a:lnTo>
                  <a:pt x="29" y="263"/>
                </a:lnTo>
                <a:lnTo>
                  <a:pt x="29" y="261"/>
                </a:lnTo>
                <a:lnTo>
                  <a:pt x="29" y="261"/>
                </a:lnTo>
                <a:close/>
                <a:moveTo>
                  <a:pt x="7" y="266"/>
                </a:moveTo>
                <a:lnTo>
                  <a:pt x="7" y="266"/>
                </a:lnTo>
                <a:lnTo>
                  <a:pt x="12" y="266"/>
                </a:lnTo>
                <a:lnTo>
                  <a:pt x="12" y="266"/>
                </a:lnTo>
                <a:lnTo>
                  <a:pt x="12" y="266"/>
                </a:lnTo>
                <a:lnTo>
                  <a:pt x="10" y="263"/>
                </a:lnTo>
                <a:lnTo>
                  <a:pt x="10" y="263"/>
                </a:lnTo>
                <a:lnTo>
                  <a:pt x="10" y="261"/>
                </a:lnTo>
                <a:lnTo>
                  <a:pt x="10" y="261"/>
                </a:lnTo>
                <a:lnTo>
                  <a:pt x="12" y="261"/>
                </a:lnTo>
                <a:lnTo>
                  <a:pt x="12" y="261"/>
                </a:lnTo>
                <a:lnTo>
                  <a:pt x="17" y="263"/>
                </a:lnTo>
                <a:lnTo>
                  <a:pt x="17" y="263"/>
                </a:lnTo>
                <a:lnTo>
                  <a:pt x="17" y="266"/>
                </a:lnTo>
                <a:lnTo>
                  <a:pt x="17" y="266"/>
                </a:lnTo>
                <a:lnTo>
                  <a:pt x="14" y="266"/>
                </a:lnTo>
                <a:lnTo>
                  <a:pt x="14" y="266"/>
                </a:lnTo>
                <a:lnTo>
                  <a:pt x="14" y="268"/>
                </a:lnTo>
                <a:lnTo>
                  <a:pt x="14" y="268"/>
                </a:lnTo>
                <a:lnTo>
                  <a:pt x="14" y="271"/>
                </a:lnTo>
                <a:lnTo>
                  <a:pt x="14" y="271"/>
                </a:lnTo>
                <a:lnTo>
                  <a:pt x="17" y="271"/>
                </a:lnTo>
                <a:lnTo>
                  <a:pt x="17" y="271"/>
                </a:lnTo>
                <a:lnTo>
                  <a:pt x="17" y="273"/>
                </a:lnTo>
                <a:lnTo>
                  <a:pt x="17" y="273"/>
                </a:lnTo>
                <a:lnTo>
                  <a:pt x="17" y="273"/>
                </a:lnTo>
                <a:lnTo>
                  <a:pt x="12" y="271"/>
                </a:lnTo>
                <a:lnTo>
                  <a:pt x="12" y="271"/>
                </a:lnTo>
                <a:lnTo>
                  <a:pt x="10" y="271"/>
                </a:lnTo>
                <a:lnTo>
                  <a:pt x="10" y="271"/>
                </a:lnTo>
                <a:lnTo>
                  <a:pt x="10" y="268"/>
                </a:lnTo>
                <a:lnTo>
                  <a:pt x="10" y="268"/>
                </a:lnTo>
                <a:lnTo>
                  <a:pt x="7" y="268"/>
                </a:lnTo>
                <a:lnTo>
                  <a:pt x="7" y="26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9" name="Freeform 48"/>
          <p:cNvSpPr>
            <a:spLocks noEditPoints="1"/>
          </p:cNvSpPr>
          <p:nvPr/>
        </p:nvSpPr>
        <p:spPr bwMode="auto">
          <a:xfrm>
            <a:off x="5220480" y="2811958"/>
            <a:ext cx="135370" cy="87555"/>
          </a:xfrm>
          <a:custGeom>
            <a:avLst/>
            <a:gdLst/>
            <a:ahLst/>
            <a:cxnLst>
              <a:cxn ang="0">
                <a:pos x="81" y="49"/>
              </a:cxn>
              <a:cxn ang="0">
                <a:pos x="76" y="32"/>
              </a:cxn>
              <a:cxn ang="0">
                <a:pos x="78" y="15"/>
              </a:cxn>
              <a:cxn ang="0">
                <a:pos x="83" y="10"/>
              </a:cxn>
              <a:cxn ang="0">
                <a:pos x="68" y="8"/>
              </a:cxn>
              <a:cxn ang="0">
                <a:pos x="54" y="3"/>
              </a:cxn>
              <a:cxn ang="0">
                <a:pos x="49" y="3"/>
              </a:cxn>
              <a:cxn ang="0">
                <a:pos x="46" y="5"/>
              </a:cxn>
              <a:cxn ang="0">
                <a:pos x="36" y="8"/>
              </a:cxn>
              <a:cxn ang="0">
                <a:pos x="34" y="8"/>
              </a:cxn>
              <a:cxn ang="0">
                <a:pos x="27" y="10"/>
              </a:cxn>
              <a:cxn ang="0">
                <a:pos x="22" y="25"/>
              </a:cxn>
              <a:cxn ang="0">
                <a:pos x="27" y="25"/>
              </a:cxn>
              <a:cxn ang="0">
                <a:pos x="24" y="32"/>
              </a:cxn>
              <a:cxn ang="0">
                <a:pos x="31" y="40"/>
              </a:cxn>
              <a:cxn ang="0">
                <a:pos x="36" y="37"/>
              </a:cxn>
              <a:cxn ang="0">
                <a:pos x="36" y="47"/>
              </a:cxn>
              <a:cxn ang="0">
                <a:pos x="49" y="44"/>
              </a:cxn>
              <a:cxn ang="0">
                <a:pos x="54" y="44"/>
              </a:cxn>
              <a:cxn ang="0">
                <a:pos x="61" y="49"/>
              </a:cxn>
              <a:cxn ang="0">
                <a:pos x="68" y="57"/>
              </a:cxn>
              <a:cxn ang="0">
                <a:pos x="78" y="57"/>
              </a:cxn>
              <a:cxn ang="0">
                <a:pos x="19" y="20"/>
              </a:cxn>
              <a:cxn ang="0">
                <a:pos x="17" y="20"/>
              </a:cxn>
              <a:cxn ang="0">
                <a:pos x="9" y="27"/>
              </a:cxn>
              <a:cxn ang="0">
                <a:pos x="2" y="25"/>
              </a:cxn>
              <a:cxn ang="0">
                <a:pos x="9" y="20"/>
              </a:cxn>
              <a:cxn ang="0">
                <a:pos x="12" y="20"/>
              </a:cxn>
              <a:cxn ang="0">
                <a:pos x="14" y="25"/>
              </a:cxn>
              <a:cxn ang="0">
                <a:pos x="9" y="27"/>
              </a:cxn>
              <a:cxn ang="0">
                <a:pos x="17" y="27"/>
              </a:cxn>
              <a:cxn ang="0">
                <a:pos x="19" y="32"/>
              </a:cxn>
              <a:cxn ang="0">
                <a:pos x="17" y="30"/>
              </a:cxn>
              <a:cxn ang="0">
                <a:pos x="7" y="44"/>
              </a:cxn>
              <a:cxn ang="0">
                <a:pos x="12" y="40"/>
              </a:cxn>
              <a:cxn ang="0">
                <a:pos x="17" y="35"/>
              </a:cxn>
              <a:cxn ang="0">
                <a:pos x="17" y="32"/>
              </a:cxn>
              <a:cxn ang="0">
                <a:pos x="7" y="30"/>
              </a:cxn>
              <a:cxn ang="0">
                <a:pos x="4" y="32"/>
              </a:cxn>
              <a:cxn ang="0">
                <a:pos x="2" y="32"/>
              </a:cxn>
              <a:cxn ang="0">
                <a:pos x="2" y="35"/>
              </a:cxn>
              <a:cxn ang="0">
                <a:pos x="2" y="40"/>
              </a:cxn>
              <a:cxn ang="0">
                <a:pos x="4" y="44"/>
              </a:cxn>
            </a:cxnLst>
            <a:rect l="0" t="0" r="r" b="b"/>
            <a:pathLst>
              <a:path w="83" h="57">
                <a:moveTo>
                  <a:pt x="78" y="57"/>
                </a:moveTo>
                <a:lnTo>
                  <a:pt x="81" y="52"/>
                </a:lnTo>
                <a:lnTo>
                  <a:pt x="81" y="49"/>
                </a:lnTo>
                <a:lnTo>
                  <a:pt x="83" y="47"/>
                </a:lnTo>
                <a:lnTo>
                  <a:pt x="83" y="44"/>
                </a:lnTo>
                <a:lnTo>
                  <a:pt x="76" y="32"/>
                </a:lnTo>
                <a:lnTo>
                  <a:pt x="76" y="20"/>
                </a:lnTo>
                <a:lnTo>
                  <a:pt x="78" y="20"/>
                </a:lnTo>
                <a:lnTo>
                  <a:pt x="78" y="15"/>
                </a:lnTo>
                <a:lnTo>
                  <a:pt x="81" y="10"/>
                </a:lnTo>
                <a:lnTo>
                  <a:pt x="83" y="10"/>
                </a:lnTo>
                <a:lnTo>
                  <a:pt x="83" y="10"/>
                </a:lnTo>
                <a:lnTo>
                  <a:pt x="81" y="8"/>
                </a:lnTo>
                <a:lnTo>
                  <a:pt x="81" y="8"/>
                </a:lnTo>
                <a:lnTo>
                  <a:pt x="68" y="8"/>
                </a:lnTo>
                <a:lnTo>
                  <a:pt x="63" y="5"/>
                </a:lnTo>
                <a:lnTo>
                  <a:pt x="56" y="5"/>
                </a:lnTo>
                <a:lnTo>
                  <a:pt x="54" y="3"/>
                </a:lnTo>
                <a:lnTo>
                  <a:pt x="51" y="5"/>
                </a:lnTo>
                <a:lnTo>
                  <a:pt x="49" y="0"/>
                </a:lnTo>
                <a:lnTo>
                  <a:pt x="49" y="3"/>
                </a:lnTo>
                <a:lnTo>
                  <a:pt x="46" y="3"/>
                </a:lnTo>
                <a:lnTo>
                  <a:pt x="46" y="5"/>
                </a:lnTo>
                <a:lnTo>
                  <a:pt x="46" y="5"/>
                </a:lnTo>
                <a:lnTo>
                  <a:pt x="44" y="8"/>
                </a:lnTo>
                <a:lnTo>
                  <a:pt x="44" y="8"/>
                </a:lnTo>
                <a:lnTo>
                  <a:pt x="36" y="8"/>
                </a:lnTo>
                <a:lnTo>
                  <a:pt x="36" y="5"/>
                </a:lnTo>
                <a:lnTo>
                  <a:pt x="36" y="8"/>
                </a:lnTo>
                <a:lnTo>
                  <a:pt x="34" y="8"/>
                </a:lnTo>
                <a:lnTo>
                  <a:pt x="29" y="8"/>
                </a:lnTo>
                <a:lnTo>
                  <a:pt x="29" y="12"/>
                </a:lnTo>
                <a:lnTo>
                  <a:pt x="27" y="10"/>
                </a:lnTo>
                <a:lnTo>
                  <a:pt x="22" y="12"/>
                </a:lnTo>
                <a:lnTo>
                  <a:pt x="22" y="15"/>
                </a:lnTo>
                <a:lnTo>
                  <a:pt x="22" y="25"/>
                </a:lnTo>
                <a:lnTo>
                  <a:pt x="24" y="27"/>
                </a:lnTo>
                <a:lnTo>
                  <a:pt x="24" y="25"/>
                </a:lnTo>
                <a:lnTo>
                  <a:pt x="27" y="25"/>
                </a:lnTo>
                <a:lnTo>
                  <a:pt x="27" y="27"/>
                </a:lnTo>
                <a:lnTo>
                  <a:pt x="24" y="27"/>
                </a:lnTo>
                <a:lnTo>
                  <a:pt x="24" y="32"/>
                </a:lnTo>
                <a:lnTo>
                  <a:pt x="27" y="35"/>
                </a:lnTo>
                <a:lnTo>
                  <a:pt x="31" y="40"/>
                </a:lnTo>
                <a:lnTo>
                  <a:pt x="31" y="40"/>
                </a:lnTo>
                <a:lnTo>
                  <a:pt x="31" y="37"/>
                </a:lnTo>
                <a:lnTo>
                  <a:pt x="34" y="35"/>
                </a:lnTo>
                <a:lnTo>
                  <a:pt x="36" y="37"/>
                </a:lnTo>
                <a:lnTo>
                  <a:pt x="34" y="44"/>
                </a:lnTo>
                <a:lnTo>
                  <a:pt x="34" y="47"/>
                </a:lnTo>
                <a:lnTo>
                  <a:pt x="36" y="47"/>
                </a:lnTo>
                <a:lnTo>
                  <a:pt x="41" y="42"/>
                </a:lnTo>
                <a:lnTo>
                  <a:pt x="44" y="42"/>
                </a:lnTo>
                <a:lnTo>
                  <a:pt x="49" y="44"/>
                </a:lnTo>
                <a:lnTo>
                  <a:pt x="51" y="44"/>
                </a:lnTo>
                <a:lnTo>
                  <a:pt x="51" y="42"/>
                </a:lnTo>
                <a:lnTo>
                  <a:pt x="54" y="44"/>
                </a:lnTo>
                <a:lnTo>
                  <a:pt x="54" y="47"/>
                </a:lnTo>
                <a:lnTo>
                  <a:pt x="56" y="47"/>
                </a:lnTo>
                <a:lnTo>
                  <a:pt x="61" y="49"/>
                </a:lnTo>
                <a:lnTo>
                  <a:pt x="63" y="52"/>
                </a:lnTo>
                <a:lnTo>
                  <a:pt x="66" y="54"/>
                </a:lnTo>
                <a:lnTo>
                  <a:pt x="68" y="57"/>
                </a:lnTo>
                <a:lnTo>
                  <a:pt x="73" y="54"/>
                </a:lnTo>
                <a:lnTo>
                  <a:pt x="78" y="57"/>
                </a:lnTo>
                <a:lnTo>
                  <a:pt x="78" y="57"/>
                </a:lnTo>
                <a:lnTo>
                  <a:pt x="78" y="57"/>
                </a:lnTo>
                <a:close/>
                <a:moveTo>
                  <a:pt x="17" y="20"/>
                </a:moveTo>
                <a:lnTo>
                  <a:pt x="19" y="20"/>
                </a:lnTo>
                <a:lnTo>
                  <a:pt x="19" y="22"/>
                </a:lnTo>
                <a:lnTo>
                  <a:pt x="17" y="22"/>
                </a:lnTo>
                <a:lnTo>
                  <a:pt x="17" y="20"/>
                </a:lnTo>
                <a:lnTo>
                  <a:pt x="17" y="20"/>
                </a:lnTo>
                <a:lnTo>
                  <a:pt x="17" y="20"/>
                </a:lnTo>
                <a:close/>
                <a:moveTo>
                  <a:pt x="9" y="27"/>
                </a:moveTo>
                <a:lnTo>
                  <a:pt x="9" y="25"/>
                </a:lnTo>
                <a:lnTo>
                  <a:pt x="7" y="25"/>
                </a:lnTo>
                <a:lnTo>
                  <a:pt x="2" y="25"/>
                </a:lnTo>
                <a:lnTo>
                  <a:pt x="2" y="25"/>
                </a:lnTo>
                <a:lnTo>
                  <a:pt x="7" y="22"/>
                </a:lnTo>
                <a:lnTo>
                  <a:pt x="9" y="20"/>
                </a:lnTo>
                <a:lnTo>
                  <a:pt x="9" y="20"/>
                </a:lnTo>
                <a:lnTo>
                  <a:pt x="9" y="20"/>
                </a:lnTo>
                <a:lnTo>
                  <a:pt x="12" y="20"/>
                </a:lnTo>
                <a:lnTo>
                  <a:pt x="14" y="22"/>
                </a:lnTo>
                <a:lnTo>
                  <a:pt x="17" y="25"/>
                </a:lnTo>
                <a:lnTo>
                  <a:pt x="14" y="25"/>
                </a:lnTo>
                <a:lnTo>
                  <a:pt x="12" y="25"/>
                </a:lnTo>
                <a:lnTo>
                  <a:pt x="9" y="27"/>
                </a:lnTo>
                <a:lnTo>
                  <a:pt x="9" y="27"/>
                </a:lnTo>
                <a:lnTo>
                  <a:pt x="9" y="27"/>
                </a:lnTo>
                <a:close/>
                <a:moveTo>
                  <a:pt x="17" y="30"/>
                </a:moveTo>
                <a:lnTo>
                  <a:pt x="17" y="27"/>
                </a:lnTo>
                <a:lnTo>
                  <a:pt x="19" y="27"/>
                </a:lnTo>
                <a:lnTo>
                  <a:pt x="22" y="32"/>
                </a:lnTo>
                <a:lnTo>
                  <a:pt x="19" y="32"/>
                </a:lnTo>
                <a:lnTo>
                  <a:pt x="17" y="30"/>
                </a:lnTo>
                <a:lnTo>
                  <a:pt x="17" y="30"/>
                </a:lnTo>
                <a:lnTo>
                  <a:pt x="17" y="30"/>
                </a:lnTo>
                <a:close/>
                <a:moveTo>
                  <a:pt x="2" y="47"/>
                </a:moveTo>
                <a:lnTo>
                  <a:pt x="4" y="47"/>
                </a:lnTo>
                <a:lnTo>
                  <a:pt x="7" y="44"/>
                </a:lnTo>
                <a:lnTo>
                  <a:pt x="7" y="44"/>
                </a:lnTo>
                <a:lnTo>
                  <a:pt x="7" y="40"/>
                </a:lnTo>
                <a:lnTo>
                  <a:pt x="12" y="40"/>
                </a:lnTo>
                <a:lnTo>
                  <a:pt x="14" y="37"/>
                </a:lnTo>
                <a:lnTo>
                  <a:pt x="17" y="35"/>
                </a:lnTo>
                <a:lnTo>
                  <a:pt x="17" y="35"/>
                </a:lnTo>
                <a:lnTo>
                  <a:pt x="19" y="35"/>
                </a:lnTo>
                <a:lnTo>
                  <a:pt x="17" y="32"/>
                </a:lnTo>
                <a:lnTo>
                  <a:pt x="17" y="32"/>
                </a:lnTo>
                <a:lnTo>
                  <a:pt x="14" y="30"/>
                </a:lnTo>
                <a:lnTo>
                  <a:pt x="9" y="30"/>
                </a:lnTo>
                <a:lnTo>
                  <a:pt x="7" y="30"/>
                </a:lnTo>
                <a:lnTo>
                  <a:pt x="7" y="32"/>
                </a:lnTo>
                <a:lnTo>
                  <a:pt x="4" y="32"/>
                </a:lnTo>
                <a:lnTo>
                  <a:pt x="4" y="32"/>
                </a:lnTo>
                <a:lnTo>
                  <a:pt x="4" y="32"/>
                </a:lnTo>
                <a:lnTo>
                  <a:pt x="2" y="32"/>
                </a:lnTo>
                <a:lnTo>
                  <a:pt x="2" y="32"/>
                </a:lnTo>
                <a:lnTo>
                  <a:pt x="0" y="32"/>
                </a:lnTo>
                <a:lnTo>
                  <a:pt x="2" y="35"/>
                </a:lnTo>
                <a:lnTo>
                  <a:pt x="2" y="35"/>
                </a:lnTo>
                <a:lnTo>
                  <a:pt x="0" y="37"/>
                </a:lnTo>
                <a:lnTo>
                  <a:pt x="0" y="37"/>
                </a:lnTo>
                <a:lnTo>
                  <a:pt x="2" y="40"/>
                </a:lnTo>
                <a:lnTo>
                  <a:pt x="4" y="42"/>
                </a:lnTo>
                <a:lnTo>
                  <a:pt x="4" y="44"/>
                </a:lnTo>
                <a:lnTo>
                  <a:pt x="4" y="44"/>
                </a:lnTo>
                <a:lnTo>
                  <a:pt x="2" y="47"/>
                </a:lnTo>
                <a:lnTo>
                  <a:pt x="2" y="4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0" name="Freeform 49"/>
          <p:cNvSpPr>
            <a:spLocks/>
          </p:cNvSpPr>
          <p:nvPr/>
        </p:nvSpPr>
        <p:spPr bwMode="auto">
          <a:xfrm>
            <a:off x="5207432" y="2876472"/>
            <a:ext cx="161465" cy="82946"/>
          </a:xfrm>
          <a:custGeom>
            <a:avLst/>
            <a:gdLst/>
            <a:ahLst/>
            <a:cxnLst>
              <a:cxn ang="0">
                <a:pos x="99" y="37"/>
              </a:cxn>
              <a:cxn ang="0">
                <a:pos x="94" y="29"/>
              </a:cxn>
              <a:cxn ang="0">
                <a:pos x="91" y="25"/>
              </a:cxn>
              <a:cxn ang="0">
                <a:pos x="91" y="20"/>
              </a:cxn>
              <a:cxn ang="0">
                <a:pos x="89" y="17"/>
              </a:cxn>
              <a:cxn ang="0">
                <a:pos x="81" y="12"/>
              </a:cxn>
              <a:cxn ang="0">
                <a:pos x="74" y="12"/>
              </a:cxn>
              <a:cxn ang="0">
                <a:pos x="69" y="7"/>
              </a:cxn>
              <a:cxn ang="0">
                <a:pos x="62" y="5"/>
              </a:cxn>
              <a:cxn ang="0">
                <a:pos x="59" y="0"/>
              </a:cxn>
              <a:cxn ang="0">
                <a:pos x="57" y="2"/>
              </a:cxn>
              <a:cxn ang="0">
                <a:pos x="49" y="0"/>
              </a:cxn>
              <a:cxn ang="0">
                <a:pos x="42" y="5"/>
              </a:cxn>
              <a:cxn ang="0">
                <a:pos x="44" y="15"/>
              </a:cxn>
              <a:cxn ang="0">
                <a:pos x="37" y="25"/>
              </a:cxn>
              <a:cxn ang="0">
                <a:pos x="30" y="22"/>
              </a:cxn>
              <a:cxn ang="0">
                <a:pos x="22" y="12"/>
              </a:cxn>
              <a:cxn ang="0">
                <a:pos x="20" y="7"/>
              </a:cxn>
              <a:cxn ang="0">
                <a:pos x="15" y="12"/>
              </a:cxn>
              <a:cxn ang="0">
                <a:pos x="10" y="12"/>
              </a:cxn>
              <a:cxn ang="0">
                <a:pos x="8" y="20"/>
              </a:cxn>
              <a:cxn ang="0">
                <a:pos x="5" y="25"/>
              </a:cxn>
              <a:cxn ang="0">
                <a:pos x="3" y="32"/>
              </a:cxn>
              <a:cxn ang="0">
                <a:pos x="0" y="37"/>
              </a:cxn>
              <a:cxn ang="0">
                <a:pos x="3" y="47"/>
              </a:cxn>
              <a:cxn ang="0">
                <a:pos x="5" y="47"/>
              </a:cxn>
              <a:cxn ang="0">
                <a:pos x="12" y="39"/>
              </a:cxn>
              <a:cxn ang="0">
                <a:pos x="25" y="37"/>
              </a:cxn>
              <a:cxn ang="0">
                <a:pos x="30" y="39"/>
              </a:cxn>
              <a:cxn ang="0">
                <a:pos x="35" y="37"/>
              </a:cxn>
              <a:cxn ang="0">
                <a:pos x="39" y="39"/>
              </a:cxn>
              <a:cxn ang="0">
                <a:pos x="47" y="42"/>
              </a:cxn>
              <a:cxn ang="0">
                <a:pos x="52" y="39"/>
              </a:cxn>
              <a:cxn ang="0">
                <a:pos x="64" y="42"/>
              </a:cxn>
              <a:cxn ang="0">
                <a:pos x="71" y="47"/>
              </a:cxn>
              <a:cxn ang="0">
                <a:pos x="79" y="52"/>
              </a:cxn>
              <a:cxn ang="0">
                <a:pos x="79" y="54"/>
              </a:cxn>
              <a:cxn ang="0">
                <a:pos x="91" y="49"/>
              </a:cxn>
              <a:cxn ang="0">
                <a:pos x="94" y="44"/>
              </a:cxn>
              <a:cxn ang="0">
                <a:pos x="99" y="42"/>
              </a:cxn>
            </a:cxnLst>
            <a:rect l="0" t="0" r="r" b="b"/>
            <a:pathLst>
              <a:path w="99" h="54">
                <a:moveTo>
                  <a:pt x="99" y="42"/>
                </a:moveTo>
                <a:lnTo>
                  <a:pt x="99" y="37"/>
                </a:lnTo>
                <a:lnTo>
                  <a:pt x="96" y="34"/>
                </a:lnTo>
                <a:lnTo>
                  <a:pt x="94" y="29"/>
                </a:lnTo>
                <a:lnTo>
                  <a:pt x="94" y="27"/>
                </a:lnTo>
                <a:lnTo>
                  <a:pt x="91" y="25"/>
                </a:lnTo>
                <a:lnTo>
                  <a:pt x="91" y="22"/>
                </a:lnTo>
                <a:lnTo>
                  <a:pt x="91" y="20"/>
                </a:lnTo>
                <a:lnTo>
                  <a:pt x="89" y="20"/>
                </a:lnTo>
                <a:lnTo>
                  <a:pt x="89" y="17"/>
                </a:lnTo>
                <a:lnTo>
                  <a:pt x="89" y="15"/>
                </a:lnTo>
                <a:lnTo>
                  <a:pt x="81" y="12"/>
                </a:lnTo>
                <a:lnTo>
                  <a:pt x="76" y="15"/>
                </a:lnTo>
                <a:lnTo>
                  <a:pt x="74" y="12"/>
                </a:lnTo>
                <a:lnTo>
                  <a:pt x="71" y="10"/>
                </a:lnTo>
                <a:lnTo>
                  <a:pt x="69" y="7"/>
                </a:lnTo>
                <a:lnTo>
                  <a:pt x="64" y="5"/>
                </a:lnTo>
                <a:lnTo>
                  <a:pt x="62" y="5"/>
                </a:lnTo>
                <a:lnTo>
                  <a:pt x="62" y="2"/>
                </a:lnTo>
                <a:lnTo>
                  <a:pt x="59" y="0"/>
                </a:lnTo>
                <a:lnTo>
                  <a:pt x="59" y="2"/>
                </a:lnTo>
                <a:lnTo>
                  <a:pt x="57" y="2"/>
                </a:lnTo>
                <a:lnTo>
                  <a:pt x="52" y="0"/>
                </a:lnTo>
                <a:lnTo>
                  <a:pt x="49" y="0"/>
                </a:lnTo>
                <a:lnTo>
                  <a:pt x="44" y="5"/>
                </a:lnTo>
                <a:lnTo>
                  <a:pt x="42" y="5"/>
                </a:lnTo>
                <a:lnTo>
                  <a:pt x="42" y="7"/>
                </a:lnTo>
                <a:lnTo>
                  <a:pt x="44" y="15"/>
                </a:lnTo>
                <a:lnTo>
                  <a:pt x="42" y="20"/>
                </a:lnTo>
                <a:lnTo>
                  <a:pt x="37" y="25"/>
                </a:lnTo>
                <a:lnTo>
                  <a:pt x="35" y="25"/>
                </a:lnTo>
                <a:lnTo>
                  <a:pt x="30" y="22"/>
                </a:lnTo>
                <a:lnTo>
                  <a:pt x="30" y="20"/>
                </a:lnTo>
                <a:lnTo>
                  <a:pt x="22" y="12"/>
                </a:lnTo>
                <a:lnTo>
                  <a:pt x="22" y="7"/>
                </a:lnTo>
                <a:lnTo>
                  <a:pt x="20" y="7"/>
                </a:lnTo>
                <a:lnTo>
                  <a:pt x="17" y="10"/>
                </a:lnTo>
                <a:lnTo>
                  <a:pt x="15" y="12"/>
                </a:lnTo>
                <a:lnTo>
                  <a:pt x="12" y="12"/>
                </a:lnTo>
                <a:lnTo>
                  <a:pt x="10" y="12"/>
                </a:lnTo>
                <a:lnTo>
                  <a:pt x="8" y="17"/>
                </a:lnTo>
                <a:lnTo>
                  <a:pt x="8" y="20"/>
                </a:lnTo>
                <a:lnTo>
                  <a:pt x="5" y="20"/>
                </a:lnTo>
                <a:lnTo>
                  <a:pt x="5" y="25"/>
                </a:lnTo>
                <a:lnTo>
                  <a:pt x="3" y="29"/>
                </a:lnTo>
                <a:lnTo>
                  <a:pt x="3" y="32"/>
                </a:lnTo>
                <a:lnTo>
                  <a:pt x="3" y="34"/>
                </a:lnTo>
                <a:lnTo>
                  <a:pt x="0" y="37"/>
                </a:lnTo>
                <a:lnTo>
                  <a:pt x="0" y="44"/>
                </a:lnTo>
                <a:lnTo>
                  <a:pt x="3" y="47"/>
                </a:lnTo>
                <a:lnTo>
                  <a:pt x="3" y="47"/>
                </a:lnTo>
                <a:lnTo>
                  <a:pt x="5" y="47"/>
                </a:lnTo>
                <a:lnTo>
                  <a:pt x="8" y="42"/>
                </a:lnTo>
                <a:lnTo>
                  <a:pt x="12" y="39"/>
                </a:lnTo>
                <a:lnTo>
                  <a:pt x="17" y="37"/>
                </a:lnTo>
                <a:lnTo>
                  <a:pt x="25" y="37"/>
                </a:lnTo>
                <a:lnTo>
                  <a:pt x="27" y="37"/>
                </a:lnTo>
                <a:lnTo>
                  <a:pt x="30" y="39"/>
                </a:lnTo>
                <a:lnTo>
                  <a:pt x="32" y="37"/>
                </a:lnTo>
                <a:lnTo>
                  <a:pt x="35" y="37"/>
                </a:lnTo>
                <a:lnTo>
                  <a:pt x="37" y="39"/>
                </a:lnTo>
                <a:lnTo>
                  <a:pt x="39" y="39"/>
                </a:lnTo>
                <a:lnTo>
                  <a:pt x="42" y="42"/>
                </a:lnTo>
                <a:lnTo>
                  <a:pt x="47" y="42"/>
                </a:lnTo>
                <a:lnTo>
                  <a:pt x="47" y="42"/>
                </a:lnTo>
                <a:lnTo>
                  <a:pt x="52" y="39"/>
                </a:lnTo>
                <a:lnTo>
                  <a:pt x="59" y="42"/>
                </a:lnTo>
                <a:lnTo>
                  <a:pt x="64" y="42"/>
                </a:lnTo>
                <a:lnTo>
                  <a:pt x="67" y="47"/>
                </a:lnTo>
                <a:lnTo>
                  <a:pt x="71" y="47"/>
                </a:lnTo>
                <a:lnTo>
                  <a:pt x="74" y="52"/>
                </a:lnTo>
                <a:lnTo>
                  <a:pt x="79" y="52"/>
                </a:lnTo>
                <a:lnTo>
                  <a:pt x="79" y="54"/>
                </a:lnTo>
                <a:lnTo>
                  <a:pt x="79" y="54"/>
                </a:lnTo>
                <a:lnTo>
                  <a:pt x="84" y="52"/>
                </a:lnTo>
                <a:lnTo>
                  <a:pt x="91" y="49"/>
                </a:lnTo>
                <a:lnTo>
                  <a:pt x="91" y="47"/>
                </a:lnTo>
                <a:lnTo>
                  <a:pt x="94" y="44"/>
                </a:lnTo>
                <a:lnTo>
                  <a:pt x="96" y="42"/>
                </a:lnTo>
                <a:lnTo>
                  <a:pt x="99" y="42"/>
                </a:lnTo>
                <a:lnTo>
                  <a:pt x="99" y="4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1" name="Freeform 50"/>
          <p:cNvSpPr>
            <a:spLocks/>
          </p:cNvSpPr>
          <p:nvPr/>
        </p:nvSpPr>
        <p:spPr bwMode="auto">
          <a:xfrm>
            <a:off x="5212325" y="2933306"/>
            <a:ext cx="123953" cy="86018"/>
          </a:xfrm>
          <a:custGeom>
            <a:avLst/>
            <a:gdLst/>
            <a:ahLst/>
            <a:cxnLst>
              <a:cxn ang="0">
                <a:pos x="24" y="34"/>
              </a:cxn>
              <a:cxn ang="0">
                <a:pos x="24" y="32"/>
              </a:cxn>
              <a:cxn ang="0">
                <a:pos x="22" y="27"/>
              </a:cxn>
              <a:cxn ang="0">
                <a:pos x="14" y="27"/>
              </a:cxn>
              <a:cxn ang="0">
                <a:pos x="7" y="20"/>
              </a:cxn>
              <a:cxn ang="0">
                <a:pos x="0" y="20"/>
              </a:cxn>
              <a:cxn ang="0">
                <a:pos x="0" y="15"/>
              </a:cxn>
              <a:cxn ang="0">
                <a:pos x="2" y="10"/>
              </a:cxn>
              <a:cxn ang="0">
                <a:pos x="9" y="2"/>
              </a:cxn>
              <a:cxn ang="0">
                <a:pos x="22" y="0"/>
              </a:cxn>
              <a:cxn ang="0">
                <a:pos x="27" y="2"/>
              </a:cxn>
              <a:cxn ang="0">
                <a:pos x="32" y="0"/>
              </a:cxn>
              <a:cxn ang="0">
                <a:pos x="36" y="2"/>
              </a:cxn>
              <a:cxn ang="0">
                <a:pos x="44" y="5"/>
              </a:cxn>
              <a:cxn ang="0">
                <a:pos x="49" y="2"/>
              </a:cxn>
              <a:cxn ang="0">
                <a:pos x="61" y="5"/>
              </a:cxn>
              <a:cxn ang="0">
                <a:pos x="68" y="10"/>
              </a:cxn>
              <a:cxn ang="0">
                <a:pos x="76" y="15"/>
              </a:cxn>
              <a:cxn ang="0">
                <a:pos x="73" y="22"/>
              </a:cxn>
              <a:cxn ang="0">
                <a:pos x="76" y="24"/>
              </a:cxn>
              <a:cxn ang="0">
                <a:pos x="68" y="32"/>
              </a:cxn>
              <a:cxn ang="0">
                <a:pos x="64" y="39"/>
              </a:cxn>
              <a:cxn ang="0">
                <a:pos x="68" y="44"/>
              </a:cxn>
              <a:cxn ang="0">
                <a:pos x="64" y="42"/>
              </a:cxn>
              <a:cxn ang="0">
                <a:pos x="59" y="47"/>
              </a:cxn>
              <a:cxn ang="0">
                <a:pos x="56" y="52"/>
              </a:cxn>
              <a:cxn ang="0">
                <a:pos x="51" y="54"/>
              </a:cxn>
              <a:cxn ang="0">
                <a:pos x="41" y="54"/>
              </a:cxn>
              <a:cxn ang="0">
                <a:pos x="34" y="52"/>
              </a:cxn>
              <a:cxn ang="0">
                <a:pos x="34" y="44"/>
              </a:cxn>
              <a:cxn ang="0">
                <a:pos x="29" y="39"/>
              </a:cxn>
              <a:cxn ang="0">
                <a:pos x="24" y="39"/>
              </a:cxn>
            </a:cxnLst>
            <a:rect l="0" t="0" r="r" b="b"/>
            <a:pathLst>
              <a:path w="76" h="56">
                <a:moveTo>
                  <a:pt x="24" y="39"/>
                </a:moveTo>
                <a:lnTo>
                  <a:pt x="24" y="34"/>
                </a:lnTo>
                <a:lnTo>
                  <a:pt x="27" y="32"/>
                </a:lnTo>
                <a:lnTo>
                  <a:pt x="24" y="32"/>
                </a:lnTo>
                <a:lnTo>
                  <a:pt x="22" y="29"/>
                </a:lnTo>
                <a:lnTo>
                  <a:pt x="22" y="27"/>
                </a:lnTo>
                <a:lnTo>
                  <a:pt x="19" y="27"/>
                </a:lnTo>
                <a:lnTo>
                  <a:pt x="14" y="27"/>
                </a:lnTo>
                <a:lnTo>
                  <a:pt x="9" y="24"/>
                </a:lnTo>
                <a:lnTo>
                  <a:pt x="7" y="20"/>
                </a:lnTo>
                <a:lnTo>
                  <a:pt x="2" y="22"/>
                </a:lnTo>
                <a:lnTo>
                  <a:pt x="0" y="20"/>
                </a:lnTo>
                <a:lnTo>
                  <a:pt x="2" y="17"/>
                </a:lnTo>
                <a:lnTo>
                  <a:pt x="0" y="15"/>
                </a:lnTo>
                <a:lnTo>
                  <a:pt x="0" y="10"/>
                </a:lnTo>
                <a:lnTo>
                  <a:pt x="2" y="10"/>
                </a:lnTo>
                <a:lnTo>
                  <a:pt x="5" y="5"/>
                </a:lnTo>
                <a:lnTo>
                  <a:pt x="9" y="2"/>
                </a:lnTo>
                <a:lnTo>
                  <a:pt x="14" y="0"/>
                </a:lnTo>
                <a:lnTo>
                  <a:pt x="22" y="0"/>
                </a:lnTo>
                <a:lnTo>
                  <a:pt x="24" y="0"/>
                </a:lnTo>
                <a:lnTo>
                  <a:pt x="27" y="2"/>
                </a:lnTo>
                <a:lnTo>
                  <a:pt x="29" y="0"/>
                </a:lnTo>
                <a:lnTo>
                  <a:pt x="32" y="0"/>
                </a:lnTo>
                <a:lnTo>
                  <a:pt x="34" y="2"/>
                </a:lnTo>
                <a:lnTo>
                  <a:pt x="36" y="2"/>
                </a:lnTo>
                <a:lnTo>
                  <a:pt x="39" y="5"/>
                </a:lnTo>
                <a:lnTo>
                  <a:pt x="44" y="5"/>
                </a:lnTo>
                <a:lnTo>
                  <a:pt x="44" y="5"/>
                </a:lnTo>
                <a:lnTo>
                  <a:pt x="49" y="2"/>
                </a:lnTo>
                <a:lnTo>
                  <a:pt x="56" y="5"/>
                </a:lnTo>
                <a:lnTo>
                  <a:pt x="61" y="5"/>
                </a:lnTo>
                <a:lnTo>
                  <a:pt x="64" y="10"/>
                </a:lnTo>
                <a:lnTo>
                  <a:pt x="68" y="10"/>
                </a:lnTo>
                <a:lnTo>
                  <a:pt x="71" y="15"/>
                </a:lnTo>
                <a:lnTo>
                  <a:pt x="76" y="15"/>
                </a:lnTo>
                <a:lnTo>
                  <a:pt x="76" y="17"/>
                </a:lnTo>
                <a:lnTo>
                  <a:pt x="73" y="22"/>
                </a:lnTo>
                <a:lnTo>
                  <a:pt x="76" y="22"/>
                </a:lnTo>
                <a:lnTo>
                  <a:pt x="76" y="24"/>
                </a:lnTo>
                <a:lnTo>
                  <a:pt x="71" y="27"/>
                </a:lnTo>
                <a:lnTo>
                  <a:pt x="68" y="32"/>
                </a:lnTo>
                <a:lnTo>
                  <a:pt x="66" y="34"/>
                </a:lnTo>
                <a:lnTo>
                  <a:pt x="64" y="39"/>
                </a:lnTo>
                <a:lnTo>
                  <a:pt x="68" y="39"/>
                </a:lnTo>
                <a:lnTo>
                  <a:pt x="68" y="44"/>
                </a:lnTo>
                <a:lnTo>
                  <a:pt x="66" y="44"/>
                </a:lnTo>
                <a:lnTo>
                  <a:pt x="64" y="42"/>
                </a:lnTo>
                <a:lnTo>
                  <a:pt x="61" y="42"/>
                </a:lnTo>
                <a:lnTo>
                  <a:pt x="59" y="47"/>
                </a:lnTo>
                <a:lnTo>
                  <a:pt x="56" y="47"/>
                </a:lnTo>
                <a:lnTo>
                  <a:pt x="56" y="52"/>
                </a:lnTo>
                <a:lnTo>
                  <a:pt x="54" y="52"/>
                </a:lnTo>
                <a:lnTo>
                  <a:pt x="51" y="54"/>
                </a:lnTo>
                <a:lnTo>
                  <a:pt x="46" y="52"/>
                </a:lnTo>
                <a:lnTo>
                  <a:pt x="41" y="54"/>
                </a:lnTo>
                <a:lnTo>
                  <a:pt x="36" y="56"/>
                </a:lnTo>
                <a:lnTo>
                  <a:pt x="34" y="52"/>
                </a:lnTo>
                <a:lnTo>
                  <a:pt x="36" y="49"/>
                </a:lnTo>
                <a:lnTo>
                  <a:pt x="34" y="44"/>
                </a:lnTo>
                <a:lnTo>
                  <a:pt x="32" y="42"/>
                </a:lnTo>
                <a:lnTo>
                  <a:pt x="29" y="39"/>
                </a:lnTo>
                <a:lnTo>
                  <a:pt x="24" y="39"/>
                </a:lnTo>
                <a:lnTo>
                  <a:pt x="24" y="3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Freeform 51"/>
          <p:cNvSpPr>
            <a:spLocks/>
          </p:cNvSpPr>
          <p:nvPr/>
        </p:nvSpPr>
        <p:spPr bwMode="auto">
          <a:xfrm>
            <a:off x="5271039" y="2940986"/>
            <a:ext cx="213655" cy="150532"/>
          </a:xfrm>
          <a:custGeom>
            <a:avLst/>
            <a:gdLst/>
            <a:ahLst/>
            <a:cxnLst>
              <a:cxn ang="0">
                <a:pos x="5" y="49"/>
              </a:cxn>
              <a:cxn ang="0">
                <a:pos x="15" y="49"/>
              </a:cxn>
              <a:cxn ang="0">
                <a:pos x="20" y="47"/>
              </a:cxn>
              <a:cxn ang="0">
                <a:pos x="23" y="42"/>
              </a:cxn>
              <a:cxn ang="0">
                <a:pos x="28" y="37"/>
              </a:cxn>
              <a:cxn ang="0">
                <a:pos x="32" y="39"/>
              </a:cxn>
              <a:cxn ang="0">
                <a:pos x="28" y="34"/>
              </a:cxn>
              <a:cxn ang="0">
                <a:pos x="32" y="27"/>
              </a:cxn>
              <a:cxn ang="0">
                <a:pos x="40" y="19"/>
              </a:cxn>
              <a:cxn ang="0">
                <a:pos x="37" y="17"/>
              </a:cxn>
              <a:cxn ang="0">
                <a:pos x="45" y="10"/>
              </a:cxn>
              <a:cxn ang="0">
                <a:pos x="52" y="5"/>
              </a:cxn>
              <a:cxn ang="0">
                <a:pos x="57" y="0"/>
              </a:cxn>
              <a:cxn ang="0">
                <a:pos x="62" y="0"/>
              </a:cxn>
              <a:cxn ang="0">
                <a:pos x="69" y="5"/>
              </a:cxn>
              <a:cxn ang="0">
                <a:pos x="77" y="2"/>
              </a:cxn>
              <a:cxn ang="0">
                <a:pos x="84" y="5"/>
              </a:cxn>
              <a:cxn ang="0">
                <a:pos x="89" y="5"/>
              </a:cxn>
              <a:cxn ang="0">
                <a:pos x="99" y="7"/>
              </a:cxn>
              <a:cxn ang="0">
                <a:pos x="99" y="15"/>
              </a:cxn>
              <a:cxn ang="0">
                <a:pos x="101" y="22"/>
              </a:cxn>
              <a:cxn ang="0">
                <a:pos x="106" y="32"/>
              </a:cxn>
              <a:cxn ang="0">
                <a:pos x="114" y="39"/>
              </a:cxn>
              <a:cxn ang="0">
                <a:pos x="121" y="47"/>
              </a:cxn>
              <a:cxn ang="0">
                <a:pos x="126" y="54"/>
              </a:cxn>
              <a:cxn ang="0">
                <a:pos x="128" y="56"/>
              </a:cxn>
              <a:cxn ang="0">
                <a:pos x="119" y="64"/>
              </a:cxn>
              <a:cxn ang="0">
                <a:pos x="114" y="64"/>
              </a:cxn>
              <a:cxn ang="0">
                <a:pos x="116" y="71"/>
              </a:cxn>
              <a:cxn ang="0">
                <a:pos x="119" y="81"/>
              </a:cxn>
              <a:cxn ang="0">
                <a:pos x="119" y="83"/>
              </a:cxn>
              <a:cxn ang="0">
                <a:pos x="109" y="86"/>
              </a:cxn>
              <a:cxn ang="0">
                <a:pos x="106" y="98"/>
              </a:cxn>
              <a:cxn ang="0">
                <a:pos x="99" y="96"/>
              </a:cxn>
              <a:cxn ang="0">
                <a:pos x="92" y="96"/>
              </a:cxn>
              <a:cxn ang="0">
                <a:pos x="87" y="98"/>
              </a:cxn>
              <a:cxn ang="0">
                <a:pos x="82" y="96"/>
              </a:cxn>
              <a:cxn ang="0">
                <a:pos x="74" y="98"/>
              </a:cxn>
              <a:cxn ang="0">
                <a:pos x="67" y="96"/>
              </a:cxn>
              <a:cxn ang="0">
                <a:pos x="64" y="96"/>
              </a:cxn>
              <a:cxn ang="0">
                <a:pos x="55" y="96"/>
              </a:cxn>
              <a:cxn ang="0">
                <a:pos x="52" y="93"/>
              </a:cxn>
              <a:cxn ang="0">
                <a:pos x="37" y="88"/>
              </a:cxn>
              <a:cxn ang="0">
                <a:pos x="32" y="93"/>
              </a:cxn>
              <a:cxn ang="0">
                <a:pos x="18" y="93"/>
              </a:cxn>
              <a:cxn ang="0">
                <a:pos x="10" y="93"/>
              </a:cxn>
              <a:cxn ang="0">
                <a:pos x="8" y="91"/>
              </a:cxn>
              <a:cxn ang="0">
                <a:pos x="3" y="81"/>
              </a:cxn>
              <a:cxn ang="0">
                <a:pos x="8" y="76"/>
              </a:cxn>
              <a:cxn ang="0">
                <a:pos x="8" y="66"/>
              </a:cxn>
              <a:cxn ang="0">
                <a:pos x="3" y="59"/>
              </a:cxn>
              <a:cxn ang="0">
                <a:pos x="0" y="51"/>
              </a:cxn>
            </a:cxnLst>
            <a:rect l="0" t="0" r="r" b="b"/>
            <a:pathLst>
              <a:path w="131" h="98">
                <a:moveTo>
                  <a:pt x="0" y="51"/>
                </a:moveTo>
                <a:lnTo>
                  <a:pt x="5" y="49"/>
                </a:lnTo>
                <a:lnTo>
                  <a:pt x="10" y="47"/>
                </a:lnTo>
                <a:lnTo>
                  <a:pt x="15" y="49"/>
                </a:lnTo>
                <a:lnTo>
                  <a:pt x="18" y="47"/>
                </a:lnTo>
                <a:lnTo>
                  <a:pt x="20" y="47"/>
                </a:lnTo>
                <a:lnTo>
                  <a:pt x="20" y="42"/>
                </a:lnTo>
                <a:lnTo>
                  <a:pt x="23" y="42"/>
                </a:lnTo>
                <a:lnTo>
                  <a:pt x="25" y="37"/>
                </a:lnTo>
                <a:lnTo>
                  <a:pt x="28" y="37"/>
                </a:lnTo>
                <a:lnTo>
                  <a:pt x="30" y="39"/>
                </a:lnTo>
                <a:lnTo>
                  <a:pt x="32" y="39"/>
                </a:lnTo>
                <a:lnTo>
                  <a:pt x="32" y="34"/>
                </a:lnTo>
                <a:lnTo>
                  <a:pt x="28" y="34"/>
                </a:lnTo>
                <a:lnTo>
                  <a:pt x="30" y="29"/>
                </a:lnTo>
                <a:lnTo>
                  <a:pt x="32" y="27"/>
                </a:lnTo>
                <a:lnTo>
                  <a:pt x="35" y="22"/>
                </a:lnTo>
                <a:lnTo>
                  <a:pt x="40" y="19"/>
                </a:lnTo>
                <a:lnTo>
                  <a:pt x="40" y="17"/>
                </a:lnTo>
                <a:lnTo>
                  <a:pt x="37" y="17"/>
                </a:lnTo>
                <a:lnTo>
                  <a:pt x="40" y="12"/>
                </a:lnTo>
                <a:lnTo>
                  <a:pt x="45" y="10"/>
                </a:lnTo>
                <a:lnTo>
                  <a:pt x="52" y="7"/>
                </a:lnTo>
                <a:lnTo>
                  <a:pt x="52" y="5"/>
                </a:lnTo>
                <a:lnTo>
                  <a:pt x="55" y="2"/>
                </a:lnTo>
                <a:lnTo>
                  <a:pt x="57" y="0"/>
                </a:lnTo>
                <a:lnTo>
                  <a:pt x="60" y="0"/>
                </a:lnTo>
                <a:lnTo>
                  <a:pt x="62" y="0"/>
                </a:lnTo>
                <a:lnTo>
                  <a:pt x="67" y="0"/>
                </a:lnTo>
                <a:lnTo>
                  <a:pt x="69" y="5"/>
                </a:lnTo>
                <a:lnTo>
                  <a:pt x="74" y="2"/>
                </a:lnTo>
                <a:lnTo>
                  <a:pt x="77" y="2"/>
                </a:lnTo>
                <a:lnTo>
                  <a:pt x="79" y="7"/>
                </a:lnTo>
                <a:lnTo>
                  <a:pt x="84" y="5"/>
                </a:lnTo>
                <a:lnTo>
                  <a:pt x="89" y="2"/>
                </a:lnTo>
                <a:lnTo>
                  <a:pt x="89" y="5"/>
                </a:lnTo>
                <a:lnTo>
                  <a:pt x="92" y="5"/>
                </a:lnTo>
                <a:lnTo>
                  <a:pt x="99" y="7"/>
                </a:lnTo>
                <a:lnTo>
                  <a:pt x="99" y="12"/>
                </a:lnTo>
                <a:lnTo>
                  <a:pt x="99" y="15"/>
                </a:lnTo>
                <a:lnTo>
                  <a:pt x="101" y="19"/>
                </a:lnTo>
                <a:lnTo>
                  <a:pt x="101" y="22"/>
                </a:lnTo>
                <a:lnTo>
                  <a:pt x="104" y="27"/>
                </a:lnTo>
                <a:lnTo>
                  <a:pt x="106" y="32"/>
                </a:lnTo>
                <a:lnTo>
                  <a:pt x="111" y="37"/>
                </a:lnTo>
                <a:lnTo>
                  <a:pt x="114" y="39"/>
                </a:lnTo>
                <a:lnTo>
                  <a:pt x="116" y="44"/>
                </a:lnTo>
                <a:lnTo>
                  <a:pt x="121" y="47"/>
                </a:lnTo>
                <a:lnTo>
                  <a:pt x="126" y="51"/>
                </a:lnTo>
                <a:lnTo>
                  <a:pt x="126" y="54"/>
                </a:lnTo>
                <a:lnTo>
                  <a:pt x="131" y="56"/>
                </a:lnTo>
                <a:lnTo>
                  <a:pt x="128" y="56"/>
                </a:lnTo>
                <a:lnTo>
                  <a:pt x="126" y="64"/>
                </a:lnTo>
                <a:lnTo>
                  <a:pt x="119" y="64"/>
                </a:lnTo>
                <a:lnTo>
                  <a:pt x="114" y="61"/>
                </a:lnTo>
                <a:lnTo>
                  <a:pt x="114" y="64"/>
                </a:lnTo>
                <a:lnTo>
                  <a:pt x="114" y="66"/>
                </a:lnTo>
                <a:lnTo>
                  <a:pt x="116" y="71"/>
                </a:lnTo>
                <a:lnTo>
                  <a:pt x="116" y="76"/>
                </a:lnTo>
                <a:lnTo>
                  <a:pt x="119" y="81"/>
                </a:lnTo>
                <a:lnTo>
                  <a:pt x="119" y="83"/>
                </a:lnTo>
                <a:lnTo>
                  <a:pt x="119" y="83"/>
                </a:lnTo>
                <a:lnTo>
                  <a:pt x="111" y="86"/>
                </a:lnTo>
                <a:lnTo>
                  <a:pt x="109" y="86"/>
                </a:lnTo>
                <a:lnTo>
                  <a:pt x="106" y="91"/>
                </a:lnTo>
                <a:lnTo>
                  <a:pt x="106" y="98"/>
                </a:lnTo>
                <a:lnTo>
                  <a:pt x="101" y="98"/>
                </a:lnTo>
                <a:lnTo>
                  <a:pt x="99" y="96"/>
                </a:lnTo>
                <a:lnTo>
                  <a:pt x="94" y="96"/>
                </a:lnTo>
                <a:lnTo>
                  <a:pt x="92" y="96"/>
                </a:lnTo>
                <a:lnTo>
                  <a:pt x="89" y="96"/>
                </a:lnTo>
                <a:lnTo>
                  <a:pt x="87" y="98"/>
                </a:lnTo>
                <a:lnTo>
                  <a:pt x="84" y="98"/>
                </a:lnTo>
                <a:lnTo>
                  <a:pt x="82" y="96"/>
                </a:lnTo>
                <a:lnTo>
                  <a:pt x="79" y="93"/>
                </a:lnTo>
                <a:lnTo>
                  <a:pt x="74" y="98"/>
                </a:lnTo>
                <a:lnTo>
                  <a:pt x="72" y="96"/>
                </a:lnTo>
                <a:lnTo>
                  <a:pt x="67" y="96"/>
                </a:lnTo>
                <a:lnTo>
                  <a:pt x="64" y="96"/>
                </a:lnTo>
                <a:lnTo>
                  <a:pt x="64" y="96"/>
                </a:lnTo>
                <a:lnTo>
                  <a:pt x="62" y="96"/>
                </a:lnTo>
                <a:lnTo>
                  <a:pt x="55" y="96"/>
                </a:lnTo>
                <a:lnTo>
                  <a:pt x="55" y="96"/>
                </a:lnTo>
                <a:lnTo>
                  <a:pt x="52" y="93"/>
                </a:lnTo>
                <a:lnTo>
                  <a:pt x="42" y="91"/>
                </a:lnTo>
                <a:lnTo>
                  <a:pt x="37" y="88"/>
                </a:lnTo>
                <a:lnTo>
                  <a:pt x="37" y="88"/>
                </a:lnTo>
                <a:lnTo>
                  <a:pt x="32" y="93"/>
                </a:lnTo>
                <a:lnTo>
                  <a:pt x="28" y="93"/>
                </a:lnTo>
                <a:lnTo>
                  <a:pt x="18" y="93"/>
                </a:lnTo>
                <a:lnTo>
                  <a:pt x="15" y="96"/>
                </a:lnTo>
                <a:lnTo>
                  <a:pt x="10" y="93"/>
                </a:lnTo>
                <a:lnTo>
                  <a:pt x="8" y="93"/>
                </a:lnTo>
                <a:lnTo>
                  <a:pt x="8" y="91"/>
                </a:lnTo>
                <a:lnTo>
                  <a:pt x="5" y="86"/>
                </a:lnTo>
                <a:lnTo>
                  <a:pt x="3" y="81"/>
                </a:lnTo>
                <a:lnTo>
                  <a:pt x="5" y="78"/>
                </a:lnTo>
                <a:lnTo>
                  <a:pt x="8" y="76"/>
                </a:lnTo>
                <a:lnTo>
                  <a:pt x="8" y="66"/>
                </a:lnTo>
                <a:lnTo>
                  <a:pt x="8" y="66"/>
                </a:lnTo>
                <a:lnTo>
                  <a:pt x="5" y="61"/>
                </a:lnTo>
                <a:lnTo>
                  <a:pt x="3" y="59"/>
                </a:lnTo>
                <a:lnTo>
                  <a:pt x="3" y="51"/>
                </a:lnTo>
                <a:lnTo>
                  <a:pt x="0" y="51"/>
                </a:lnTo>
                <a:lnTo>
                  <a:pt x="0" y="5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3" name="Freeform 52"/>
          <p:cNvSpPr>
            <a:spLocks/>
          </p:cNvSpPr>
          <p:nvPr/>
        </p:nvSpPr>
        <p:spPr bwMode="auto">
          <a:xfrm>
            <a:off x="5256360" y="3060797"/>
            <a:ext cx="415895" cy="242694"/>
          </a:xfrm>
          <a:custGeom>
            <a:avLst/>
            <a:gdLst/>
            <a:ahLst/>
            <a:cxnLst>
              <a:cxn ang="0">
                <a:pos x="37" y="15"/>
              </a:cxn>
              <a:cxn ang="0">
                <a:pos x="61" y="15"/>
              </a:cxn>
              <a:cxn ang="0">
                <a:pos x="73" y="18"/>
              </a:cxn>
              <a:cxn ang="0">
                <a:pos x="91" y="18"/>
              </a:cxn>
              <a:cxn ang="0">
                <a:pos x="103" y="18"/>
              </a:cxn>
              <a:cxn ang="0">
                <a:pos x="118" y="8"/>
              </a:cxn>
              <a:cxn ang="0">
                <a:pos x="135" y="3"/>
              </a:cxn>
              <a:cxn ang="0">
                <a:pos x="160" y="0"/>
              </a:cxn>
              <a:cxn ang="0">
                <a:pos x="177" y="18"/>
              </a:cxn>
              <a:cxn ang="0">
                <a:pos x="184" y="35"/>
              </a:cxn>
              <a:cxn ang="0">
                <a:pos x="206" y="40"/>
              </a:cxn>
              <a:cxn ang="0">
                <a:pos x="224" y="50"/>
              </a:cxn>
              <a:cxn ang="0">
                <a:pos x="241" y="50"/>
              </a:cxn>
              <a:cxn ang="0">
                <a:pos x="255" y="55"/>
              </a:cxn>
              <a:cxn ang="0">
                <a:pos x="253" y="74"/>
              </a:cxn>
              <a:cxn ang="0">
                <a:pos x="241" y="89"/>
              </a:cxn>
              <a:cxn ang="0">
                <a:pos x="233" y="104"/>
              </a:cxn>
              <a:cxn ang="0">
                <a:pos x="219" y="109"/>
              </a:cxn>
              <a:cxn ang="0">
                <a:pos x="206" y="114"/>
              </a:cxn>
              <a:cxn ang="0">
                <a:pos x="194" y="114"/>
              </a:cxn>
              <a:cxn ang="0">
                <a:pos x="192" y="123"/>
              </a:cxn>
              <a:cxn ang="0">
                <a:pos x="192" y="119"/>
              </a:cxn>
              <a:cxn ang="0">
                <a:pos x="182" y="126"/>
              </a:cxn>
              <a:cxn ang="0">
                <a:pos x="169" y="126"/>
              </a:cxn>
              <a:cxn ang="0">
                <a:pos x="182" y="131"/>
              </a:cxn>
              <a:cxn ang="0">
                <a:pos x="184" y="136"/>
              </a:cxn>
              <a:cxn ang="0">
                <a:pos x="192" y="141"/>
              </a:cxn>
              <a:cxn ang="0">
                <a:pos x="184" y="126"/>
              </a:cxn>
              <a:cxn ang="0">
                <a:pos x="199" y="143"/>
              </a:cxn>
              <a:cxn ang="0">
                <a:pos x="211" y="138"/>
              </a:cxn>
              <a:cxn ang="0">
                <a:pos x="211" y="146"/>
              </a:cxn>
              <a:cxn ang="0">
                <a:pos x="189" y="151"/>
              </a:cxn>
              <a:cxn ang="0">
                <a:pos x="169" y="155"/>
              </a:cxn>
              <a:cxn ang="0">
                <a:pos x="162" y="143"/>
              </a:cxn>
              <a:cxn ang="0">
                <a:pos x="169" y="133"/>
              </a:cxn>
              <a:cxn ang="0">
                <a:pos x="167" y="128"/>
              </a:cxn>
              <a:cxn ang="0">
                <a:pos x="150" y="126"/>
              </a:cxn>
              <a:cxn ang="0">
                <a:pos x="142" y="121"/>
              </a:cxn>
              <a:cxn ang="0">
                <a:pos x="147" y="119"/>
              </a:cxn>
              <a:cxn ang="0">
                <a:pos x="145" y="114"/>
              </a:cxn>
              <a:cxn ang="0">
                <a:pos x="137" y="116"/>
              </a:cxn>
              <a:cxn ang="0">
                <a:pos x="128" y="123"/>
              </a:cxn>
              <a:cxn ang="0">
                <a:pos x="115" y="138"/>
              </a:cxn>
              <a:cxn ang="0">
                <a:pos x="115" y="143"/>
              </a:cxn>
              <a:cxn ang="0">
                <a:pos x="101" y="143"/>
              </a:cxn>
              <a:cxn ang="0">
                <a:pos x="98" y="136"/>
              </a:cxn>
              <a:cxn ang="0">
                <a:pos x="105" y="121"/>
              </a:cxn>
              <a:cxn ang="0">
                <a:pos x="115" y="116"/>
              </a:cxn>
              <a:cxn ang="0">
                <a:pos x="105" y="104"/>
              </a:cxn>
              <a:cxn ang="0">
                <a:pos x="93" y="87"/>
              </a:cxn>
              <a:cxn ang="0">
                <a:pos x="78" y="82"/>
              </a:cxn>
              <a:cxn ang="0">
                <a:pos x="66" y="79"/>
              </a:cxn>
              <a:cxn ang="0">
                <a:pos x="64" y="89"/>
              </a:cxn>
              <a:cxn ang="0">
                <a:pos x="41" y="99"/>
              </a:cxn>
              <a:cxn ang="0">
                <a:pos x="22" y="94"/>
              </a:cxn>
              <a:cxn ang="0">
                <a:pos x="7" y="89"/>
              </a:cxn>
              <a:cxn ang="0">
                <a:pos x="5" y="72"/>
              </a:cxn>
              <a:cxn ang="0">
                <a:pos x="19" y="47"/>
              </a:cxn>
              <a:cxn ang="0">
                <a:pos x="22" y="35"/>
              </a:cxn>
              <a:cxn ang="0">
                <a:pos x="17" y="18"/>
              </a:cxn>
            </a:cxnLst>
            <a:rect l="0" t="0" r="r" b="b"/>
            <a:pathLst>
              <a:path w="255" h="158">
                <a:moveTo>
                  <a:pt x="17" y="15"/>
                </a:moveTo>
                <a:lnTo>
                  <a:pt x="19" y="15"/>
                </a:lnTo>
                <a:lnTo>
                  <a:pt x="24" y="18"/>
                </a:lnTo>
                <a:lnTo>
                  <a:pt x="27" y="15"/>
                </a:lnTo>
                <a:lnTo>
                  <a:pt x="37" y="15"/>
                </a:lnTo>
                <a:lnTo>
                  <a:pt x="41" y="15"/>
                </a:lnTo>
                <a:lnTo>
                  <a:pt x="46" y="10"/>
                </a:lnTo>
                <a:lnTo>
                  <a:pt x="46" y="10"/>
                </a:lnTo>
                <a:lnTo>
                  <a:pt x="51" y="13"/>
                </a:lnTo>
                <a:lnTo>
                  <a:pt x="61" y="15"/>
                </a:lnTo>
                <a:lnTo>
                  <a:pt x="64" y="18"/>
                </a:lnTo>
                <a:lnTo>
                  <a:pt x="64" y="18"/>
                </a:lnTo>
                <a:lnTo>
                  <a:pt x="71" y="18"/>
                </a:lnTo>
                <a:lnTo>
                  <a:pt x="73" y="18"/>
                </a:lnTo>
                <a:lnTo>
                  <a:pt x="73" y="18"/>
                </a:lnTo>
                <a:lnTo>
                  <a:pt x="76" y="18"/>
                </a:lnTo>
                <a:lnTo>
                  <a:pt x="81" y="18"/>
                </a:lnTo>
                <a:lnTo>
                  <a:pt x="83" y="20"/>
                </a:lnTo>
                <a:lnTo>
                  <a:pt x="88" y="15"/>
                </a:lnTo>
                <a:lnTo>
                  <a:pt x="91" y="18"/>
                </a:lnTo>
                <a:lnTo>
                  <a:pt x="93" y="20"/>
                </a:lnTo>
                <a:lnTo>
                  <a:pt x="96" y="20"/>
                </a:lnTo>
                <a:lnTo>
                  <a:pt x="98" y="18"/>
                </a:lnTo>
                <a:lnTo>
                  <a:pt x="101" y="18"/>
                </a:lnTo>
                <a:lnTo>
                  <a:pt x="103" y="18"/>
                </a:lnTo>
                <a:lnTo>
                  <a:pt x="108" y="18"/>
                </a:lnTo>
                <a:lnTo>
                  <a:pt x="110" y="20"/>
                </a:lnTo>
                <a:lnTo>
                  <a:pt x="115" y="20"/>
                </a:lnTo>
                <a:lnTo>
                  <a:pt x="115" y="13"/>
                </a:lnTo>
                <a:lnTo>
                  <a:pt x="118" y="8"/>
                </a:lnTo>
                <a:lnTo>
                  <a:pt x="120" y="8"/>
                </a:lnTo>
                <a:lnTo>
                  <a:pt x="128" y="5"/>
                </a:lnTo>
                <a:lnTo>
                  <a:pt x="130" y="5"/>
                </a:lnTo>
                <a:lnTo>
                  <a:pt x="135" y="5"/>
                </a:lnTo>
                <a:lnTo>
                  <a:pt x="135" y="3"/>
                </a:lnTo>
                <a:lnTo>
                  <a:pt x="137" y="0"/>
                </a:lnTo>
                <a:lnTo>
                  <a:pt x="145" y="3"/>
                </a:lnTo>
                <a:lnTo>
                  <a:pt x="152" y="3"/>
                </a:lnTo>
                <a:lnTo>
                  <a:pt x="155" y="0"/>
                </a:lnTo>
                <a:lnTo>
                  <a:pt x="160" y="0"/>
                </a:lnTo>
                <a:lnTo>
                  <a:pt x="162" y="8"/>
                </a:lnTo>
                <a:lnTo>
                  <a:pt x="164" y="10"/>
                </a:lnTo>
                <a:lnTo>
                  <a:pt x="162" y="15"/>
                </a:lnTo>
                <a:lnTo>
                  <a:pt x="167" y="20"/>
                </a:lnTo>
                <a:lnTo>
                  <a:pt x="177" y="18"/>
                </a:lnTo>
                <a:lnTo>
                  <a:pt x="179" y="20"/>
                </a:lnTo>
                <a:lnTo>
                  <a:pt x="179" y="25"/>
                </a:lnTo>
                <a:lnTo>
                  <a:pt x="182" y="25"/>
                </a:lnTo>
                <a:lnTo>
                  <a:pt x="182" y="30"/>
                </a:lnTo>
                <a:lnTo>
                  <a:pt x="184" y="35"/>
                </a:lnTo>
                <a:lnTo>
                  <a:pt x="192" y="40"/>
                </a:lnTo>
                <a:lnTo>
                  <a:pt x="194" y="37"/>
                </a:lnTo>
                <a:lnTo>
                  <a:pt x="199" y="40"/>
                </a:lnTo>
                <a:lnTo>
                  <a:pt x="201" y="40"/>
                </a:lnTo>
                <a:lnTo>
                  <a:pt x="206" y="40"/>
                </a:lnTo>
                <a:lnTo>
                  <a:pt x="211" y="35"/>
                </a:lnTo>
                <a:lnTo>
                  <a:pt x="214" y="35"/>
                </a:lnTo>
                <a:lnTo>
                  <a:pt x="216" y="42"/>
                </a:lnTo>
                <a:lnTo>
                  <a:pt x="221" y="47"/>
                </a:lnTo>
                <a:lnTo>
                  <a:pt x="224" y="50"/>
                </a:lnTo>
                <a:lnTo>
                  <a:pt x="224" y="47"/>
                </a:lnTo>
                <a:lnTo>
                  <a:pt x="231" y="47"/>
                </a:lnTo>
                <a:lnTo>
                  <a:pt x="233" y="47"/>
                </a:lnTo>
                <a:lnTo>
                  <a:pt x="238" y="50"/>
                </a:lnTo>
                <a:lnTo>
                  <a:pt x="241" y="50"/>
                </a:lnTo>
                <a:lnTo>
                  <a:pt x="246" y="52"/>
                </a:lnTo>
                <a:lnTo>
                  <a:pt x="248" y="52"/>
                </a:lnTo>
                <a:lnTo>
                  <a:pt x="251" y="50"/>
                </a:lnTo>
                <a:lnTo>
                  <a:pt x="253" y="55"/>
                </a:lnTo>
                <a:lnTo>
                  <a:pt x="255" y="55"/>
                </a:lnTo>
                <a:lnTo>
                  <a:pt x="255" y="60"/>
                </a:lnTo>
                <a:lnTo>
                  <a:pt x="253" y="62"/>
                </a:lnTo>
                <a:lnTo>
                  <a:pt x="248" y="64"/>
                </a:lnTo>
                <a:lnTo>
                  <a:pt x="248" y="69"/>
                </a:lnTo>
                <a:lnTo>
                  <a:pt x="253" y="74"/>
                </a:lnTo>
                <a:lnTo>
                  <a:pt x="253" y="77"/>
                </a:lnTo>
                <a:lnTo>
                  <a:pt x="251" y="84"/>
                </a:lnTo>
                <a:lnTo>
                  <a:pt x="253" y="87"/>
                </a:lnTo>
                <a:lnTo>
                  <a:pt x="248" y="89"/>
                </a:lnTo>
                <a:lnTo>
                  <a:pt x="241" y="89"/>
                </a:lnTo>
                <a:lnTo>
                  <a:pt x="238" y="96"/>
                </a:lnTo>
                <a:lnTo>
                  <a:pt x="236" y="96"/>
                </a:lnTo>
                <a:lnTo>
                  <a:pt x="236" y="104"/>
                </a:lnTo>
                <a:lnTo>
                  <a:pt x="233" y="104"/>
                </a:lnTo>
                <a:lnTo>
                  <a:pt x="233" y="104"/>
                </a:lnTo>
                <a:lnTo>
                  <a:pt x="231" y="104"/>
                </a:lnTo>
                <a:lnTo>
                  <a:pt x="226" y="104"/>
                </a:lnTo>
                <a:lnTo>
                  <a:pt x="224" y="104"/>
                </a:lnTo>
                <a:lnTo>
                  <a:pt x="221" y="106"/>
                </a:lnTo>
                <a:lnTo>
                  <a:pt x="219" y="109"/>
                </a:lnTo>
                <a:lnTo>
                  <a:pt x="216" y="109"/>
                </a:lnTo>
                <a:lnTo>
                  <a:pt x="214" y="111"/>
                </a:lnTo>
                <a:lnTo>
                  <a:pt x="211" y="114"/>
                </a:lnTo>
                <a:lnTo>
                  <a:pt x="211" y="114"/>
                </a:lnTo>
                <a:lnTo>
                  <a:pt x="206" y="114"/>
                </a:lnTo>
                <a:lnTo>
                  <a:pt x="204" y="116"/>
                </a:lnTo>
                <a:lnTo>
                  <a:pt x="201" y="116"/>
                </a:lnTo>
                <a:lnTo>
                  <a:pt x="196" y="116"/>
                </a:lnTo>
                <a:lnTo>
                  <a:pt x="196" y="116"/>
                </a:lnTo>
                <a:lnTo>
                  <a:pt x="194" y="114"/>
                </a:lnTo>
                <a:lnTo>
                  <a:pt x="192" y="114"/>
                </a:lnTo>
                <a:lnTo>
                  <a:pt x="194" y="116"/>
                </a:lnTo>
                <a:lnTo>
                  <a:pt x="194" y="119"/>
                </a:lnTo>
                <a:lnTo>
                  <a:pt x="194" y="119"/>
                </a:lnTo>
                <a:lnTo>
                  <a:pt x="192" y="123"/>
                </a:lnTo>
                <a:lnTo>
                  <a:pt x="189" y="126"/>
                </a:lnTo>
                <a:lnTo>
                  <a:pt x="189" y="123"/>
                </a:lnTo>
                <a:lnTo>
                  <a:pt x="189" y="123"/>
                </a:lnTo>
                <a:lnTo>
                  <a:pt x="192" y="119"/>
                </a:lnTo>
                <a:lnTo>
                  <a:pt x="192" y="119"/>
                </a:lnTo>
                <a:lnTo>
                  <a:pt x="189" y="119"/>
                </a:lnTo>
                <a:lnTo>
                  <a:pt x="189" y="119"/>
                </a:lnTo>
                <a:lnTo>
                  <a:pt x="184" y="123"/>
                </a:lnTo>
                <a:lnTo>
                  <a:pt x="182" y="123"/>
                </a:lnTo>
                <a:lnTo>
                  <a:pt x="182" y="126"/>
                </a:lnTo>
                <a:lnTo>
                  <a:pt x="179" y="126"/>
                </a:lnTo>
                <a:lnTo>
                  <a:pt x="177" y="126"/>
                </a:lnTo>
                <a:lnTo>
                  <a:pt x="174" y="126"/>
                </a:lnTo>
                <a:lnTo>
                  <a:pt x="172" y="126"/>
                </a:lnTo>
                <a:lnTo>
                  <a:pt x="169" y="126"/>
                </a:lnTo>
                <a:lnTo>
                  <a:pt x="172" y="128"/>
                </a:lnTo>
                <a:lnTo>
                  <a:pt x="177" y="128"/>
                </a:lnTo>
                <a:lnTo>
                  <a:pt x="179" y="131"/>
                </a:lnTo>
                <a:lnTo>
                  <a:pt x="182" y="131"/>
                </a:lnTo>
                <a:lnTo>
                  <a:pt x="182" y="131"/>
                </a:lnTo>
                <a:lnTo>
                  <a:pt x="184" y="133"/>
                </a:lnTo>
                <a:lnTo>
                  <a:pt x="182" y="133"/>
                </a:lnTo>
                <a:lnTo>
                  <a:pt x="182" y="136"/>
                </a:lnTo>
                <a:lnTo>
                  <a:pt x="184" y="136"/>
                </a:lnTo>
                <a:lnTo>
                  <a:pt x="184" y="136"/>
                </a:lnTo>
                <a:lnTo>
                  <a:pt x="184" y="138"/>
                </a:lnTo>
                <a:lnTo>
                  <a:pt x="187" y="136"/>
                </a:lnTo>
                <a:lnTo>
                  <a:pt x="189" y="136"/>
                </a:lnTo>
                <a:lnTo>
                  <a:pt x="189" y="141"/>
                </a:lnTo>
                <a:lnTo>
                  <a:pt x="192" y="141"/>
                </a:lnTo>
                <a:lnTo>
                  <a:pt x="194" y="143"/>
                </a:lnTo>
                <a:lnTo>
                  <a:pt x="196" y="143"/>
                </a:lnTo>
                <a:lnTo>
                  <a:pt x="192" y="138"/>
                </a:lnTo>
                <a:lnTo>
                  <a:pt x="184" y="131"/>
                </a:lnTo>
                <a:lnTo>
                  <a:pt x="184" y="126"/>
                </a:lnTo>
                <a:lnTo>
                  <a:pt x="184" y="126"/>
                </a:lnTo>
                <a:lnTo>
                  <a:pt x="187" y="128"/>
                </a:lnTo>
                <a:lnTo>
                  <a:pt x="189" y="133"/>
                </a:lnTo>
                <a:lnTo>
                  <a:pt x="196" y="141"/>
                </a:lnTo>
                <a:lnTo>
                  <a:pt x="199" y="143"/>
                </a:lnTo>
                <a:lnTo>
                  <a:pt x="201" y="138"/>
                </a:lnTo>
                <a:lnTo>
                  <a:pt x="201" y="138"/>
                </a:lnTo>
                <a:lnTo>
                  <a:pt x="204" y="141"/>
                </a:lnTo>
                <a:lnTo>
                  <a:pt x="206" y="138"/>
                </a:lnTo>
                <a:lnTo>
                  <a:pt x="211" y="138"/>
                </a:lnTo>
                <a:lnTo>
                  <a:pt x="216" y="138"/>
                </a:lnTo>
                <a:lnTo>
                  <a:pt x="214" y="141"/>
                </a:lnTo>
                <a:lnTo>
                  <a:pt x="214" y="141"/>
                </a:lnTo>
                <a:lnTo>
                  <a:pt x="214" y="143"/>
                </a:lnTo>
                <a:lnTo>
                  <a:pt x="211" y="146"/>
                </a:lnTo>
                <a:lnTo>
                  <a:pt x="206" y="146"/>
                </a:lnTo>
                <a:lnTo>
                  <a:pt x="201" y="146"/>
                </a:lnTo>
                <a:lnTo>
                  <a:pt x="196" y="148"/>
                </a:lnTo>
                <a:lnTo>
                  <a:pt x="194" y="151"/>
                </a:lnTo>
                <a:lnTo>
                  <a:pt x="189" y="151"/>
                </a:lnTo>
                <a:lnTo>
                  <a:pt x="182" y="155"/>
                </a:lnTo>
                <a:lnTo>
                  <a:pt x="177" y="158"/>
                </a:lnTo>
                <a:lnTo>
                  <a:pt x="172" y="158"/>
                </a:lnTo>
                <a:lnTo>
                  <a:pt x="169" y="155"/>
                </a:lnTo>
                <a:lnTo>
                  <a:pt x="169" y="155"/>
                </a:lnTo>
                <a:lnTo>
                  <a:pt x="172" y="151"/>
                </a:lnTo>
                <a:lnTo>
                  <a:pt x="172" y="148"/>
                </a:lnTo>
                <a:lnTo>
                  <a:pt x="167" y="143"/>
                </a:lnTo>
                <a:lnTo>
                  <a:pt x="164" y="143"/>
                </a:lnTo>
                <a:lnTo>
                  <a:pt x="162" y="143"/>
                </a:lnTo>
                <a:lnTo>
                  <a:pt x="160" y="143"/>
                </a:lnTo>
                <a:lnTo>
                  <a:pt x="157" y="143"/>
                </a:lnTo>
                <a:lnTo>
                  <a:pt x="160" y="138"/>
                </a:lnTo>
                <a:lnTo>
                  <a:pt x="164" y="136"/>
                </a:lnTo>
                <a:lnTo>
                  <a:pt x="169" y="133"/>
                </a:lnTo>
                <a:lnTo>
                  <a:pt x="172" y="133"/>
                </a:lnTo>
                <a:lnTo>
                  <a:pt x="169" y="131"/>
                </a:lnTo>
                <a:lnTo>
                  <a:pt x="169" y="126"/>
                </a:lnTo>
                <a:lnTo>
                  <a:pt x="167" y="126"/>
                </a:lnTo>
                <a:lnTo>
                  <a:pt x="167" y="128"/>
                </a:lnTo>
                <a:lnTo>
                  <a:pt x="164" y="128"/>
                </a:lnTo>
                <a:lnTo>
                  <a:pt x="160" y="126"/>
                </a:lnTo>
                <a:lnTo>
                  <a:pt x="157" y="126"/>
                </a:lnTo>
                <a:lnTo>
                  <a:pt x="152" y="128"/>
                </a:lnTo>
                <a:lnTo>
                  <a:pt x="150" y="126"/>
                </a:lnTo>
                <a:lnTo>
                  <a:pt x="147" y="126"/>
                </a:lnTo>
                <a:lnTo>
                  <a:pt x="145" y="123"/>
                </a:lnTo>
                <a:lnTo>
                  <a:pt x="147" y="123"/>
                </a:lnTo>
                <a:lnTo>
                  <a:pt x="147" y="121"/>
                </a:lnTo>
                <a:lnTo>
                  <a:pt x="142" y="121"/>
                </a:lnTo>
                <a:lnTo>
                  <a:pt x="137" y="121"/>
                </a:lnTo>
                <a:lnTo>
                  <a:pt x="137" y="119"/>
                </a:lnTo>
                <a:lnTo>
                  <a:pt x="140" y="119"/>
                </a:lnTo>
                <a:lnTo>
                  <a:pt x="145" y="119"/>
                </a:lnTo>
                <a:lnTo>
                  <a:pt x="147" y="119"/>
                </a:lnTo>
                <a:lnTo>
                  <a:pt x="150" y="119"/>
                </a:lnTo>
                <a:lnTo>
                  <a:pt x="152" y="116"/>
                </a:lnTo>
                <a:lnTo>
                  <a:pt x="150" y="116"/>
                </a:lnTo>
                <a:lnTo>
                  <a:pt x="147" y="116"/>
                </a:lnTo>
                <a:lnTo>
                  <a:pt x="145" y="114"/>
                </a:lnTo>
                <a:lnTo>
                  <a:pt x="142" y="114"/>
                </a:lnTo>
                <a:lnTo>
                  <a:pt x="142" y="116"/>
                </a:lnTo>
                <a:lnTo>
                  <a:pt x="140" y="116"/>
                </a:lnTo>
                <a:lnTo>
                  <a:pt x="137" y="116"/>
                </a:lnTo>
                <a:lnTo>
                  <a:pt x="137" y="116"/>
                </a:lnTo>
                <a:lnTo>
                  <a:pt x="137" y="114"/>
                </a:lnTo>
                <a:lnTo>
                  <a:pt x="132" y="119"/>
                </a:lnTo>
                <a:lnTo>
                  <a:pt x="130" y="119"/>
                </a:lnTo>
                <a:lnTo>
                  <a:pt x="128" y="121"/>
                </a:lnTo>
                <a:lnTo>
                  <a:pt x="128" y="123"/>
                </a:lnTo>
                <a:lnTo>
                  <a:pt x="125" y="128"/>
                </a:lnTo>
                <a:lnTo>
                  <a:pt x="123" y="128"/>
                </a:lnTo>
                <a:lnTo>
                  <a:pt x="123" y="131"/>
                </a:lnTo>
                <a:lnTo>
                  <a:pt x="118" y="138"/>
                </a:lnTo>
                <a:lnTo>
                  <a:pt x="115" y="138"/>
                </a:lnTo>
                <a:lnTo>
                  <a:pt x="115" y="136"/>
                </a:lnTo>
                <a:lnTo>
                  <a:pt x="115" y="138"/>
                </a:lnTo>
                <a:lnTo>
                  <a:pt x="113" y="138"/>
                </a:lnTo>
                <a:lnTo>
                  <a:pt x="115" y="141"/>
                </a:lnTo>
                <a:lnTo>
                  <a:pt x="115" y="143"/>
                </a:lnTo>
                <a:lnTo>
                  <a:pt x="115" y="143"/>
                </a:lnTo>
                <a:lnTo>
                  <a:pt x="113" y="141"/>
                </a:lnTo>
                <a:lnTo>
                  <a:pt x="108" y="143"/>
                </a:lnTo>
                <a:lnTo>
                  <a:pt x="105" y="143"/>
                </a:lnTo>
                <a:lnTo>
                  <a:pt x="101" y="143"/>
                </a:lnTo>
                <a:lnTo>
                  <a:pt x="96" y="143"/>
                </a:lnTo>
                <a:lnTo>
                  <a:pt x="93" y="138"/>
                </a:lnTo>
                <a:lnTo>
                  <a:pt x="96" y="136"/>
                </a:lnTo>
                <a:lnTo>
                  <a:pt x="98" y="138"/>
                </a:lnTo>
                <a:lnTo>
                  <a:pt x="98" y="136"/>
                </a:lnTo>
                <a:lnTo>
                  <a:pt x="101" y="131"/>
                </a:lnTo>
                <a:lnTo>
                  <a:pt x="103" y="131"/>
                </a:lnTo>
                <a:lnTo>
                  <a:pt x="103" y="126"/>
                </a:lnTo>
                <a:lnTo>
                  <a:pt x="103" y="121"/>
                </a:lnTo>
                <a:lnTo>
                  <a:pt x="105" y="121"/>
                </a:lnTo>
                <a:lnTo>
                  <a:pt x="110" y="119"/>
                </a:lnTo>
                <a:lnTo>
                  <a:pt x="113" y="121"/>
                </a:lnTo>
                <a:lnTo>
                  <a:pt x="115" y="121"/>
                </a:lnTo>
                <a:lnTo>
                  <a:pt x="118" y="119"/>
                </a:lnTo>
                <a:lnTo>
                  <a:pt x="115" y="116"/>
                </a:lnTo>
                <a:lnTo>
                  <a:pt x="115" y="114"/>
                </a:lnTo>
                <a:lnTo>
                  <a:pt x="115" y="111"/>
                </a:lnTo>
                <a:lnTo>
                  <a:pt x="110" y="109"/>
                </a:lnTo>
                <a:lnTo>
                  <a:pt x="108" y="106"/>
                </a:lnTo>
                <a:lnTo>
                  <a:pt x="105" y="104"/>
                </a:lnTo>
                <a:lnTo>
                  <a:pt x="103" y="101"/>
                </a:lnTo>
                <a:lnTo>
                  <a:pt x="103" y="99"/>
                </a:lnTo>
                <a:lnTo>
                  <a:pt x="103" y="91"/>
                </a:lnTo>
                <a:lnTo>
                  <a:pt x="98" y="91"/>
                </a:lnTo>
                <a:lnTo>
                  <a:pt x="93" y="87"/>
                </a:lnTo>
                <a:lnTo>
                  <a:pt x="93" y="87"/>
                </a:lnTo>
                <a:lnTo>
                  <a:pt x="91" y="87"/>
                </a:lnTo>
                <a:lnTo>
                  <a:pt x="86" y="87"/>
                </a:lnTo>
                <a:lnTo>
                  <a:pt x="81" y="82"/>
                </a:lnTo>
                <a:lnTo>
                  <a:pt x="78" y="82"/>
                </a:lnTo>
                <a:lnTo>
                  <a:pt x="76" y="79"/>
                </a:lnTo>
                <a:lnTo>
                  <a:pt x="73" y="79"/>
                </a:lnTo>
                <a:lnTo>
                  <a:pt x="71" y="79"/>
                </a:lnTo>
                <a:lnTo>
                  <a:pt x="69" y="82"/>
                </a:lnTo>
                <a:lnTo>
                  <a:pt x="66" y="79"/>
                </a:lnTo>
                <a:lnTo>
                  <a:pt x="66" y="82"/>
                </a:lnTo>
                <a:lnTo>
                  <a:pt x="64" y="79"/>
                </a:lnTo>
                <a:lnTo>
                  <a:pt x="64" y="84"/>
                </a:lnTo>
                <a:lnTo>
                  <a:pt x="64" y="87"/>
                </a:lnTo>
                <a:lnTo>
                  <a:pt x="64" y="89"/>
                </a:lnTo>
                <a:lnTo>
                  <a:pt x="61" y="91"/>
                </a:lnTo>
                <a:lnTo>
                  <a:pt x="56" y="91"/>
                </a:lnTo>
                <a:lnTo>
                  <a:pt x="46" y="94"/>
                </a:lnTo>
                <a:lnTo>
                  <a:pt x="44" y="96"/>
                </a:lnTo>
                <a:lnTo>
                  <a:pt x="41" y="99"/>
                </a:lnTo>
                <a:lnTo>
                  <a:pt x="37" y="99"/>
                </a:lnTo>
                <a:lnTo>
                  <a:pt x="32" y="99"/>
                </a:lnTo>
                <a:lnTo>
                  <a:pt x="32" y="96"/>
                </a:lnTo>
                <a:lnTo>
                  <a:pt x="27" y="94"/>
                </a:lnTo>
                <a:lnTo>
                  <a:pt x="22" y="94"/>
                </a:lnTo>
                <a:lnTo>
                  <a:pt x="17" y="89"/>
                </a:lnTo>
                <a:lnTo>
                  <a:pt x="14" y="89"/>
                </a:lnTo>
                <a:lnTo>
                  <a:pt x="12" y="91"/>
                </a:lnTo>
                <a:lnTo>
                  <a:pt x="9" y="91"/>
                </a:lnTo>
                <a:lnTo>
                  <a:pt x="7" y="89"/>
                </a:lnTo>
                <a:lnTo>
                  <a:pt x="5" y="87"/>
                </a:lnTo>
                <a:lnTo>
                  <a:pt x="0" y="84"/>
                </a:lnTo>
                <a:lnTo>
                  <a:pt x="2" y="82"/>
                </a:lnTo>
                <a:lnTo>
                  <a:pt x="2" y="77"/>
                </a:lnTo>
                <a:lnTo>
                  <a:pt x="5" y="72"/>
                </a:lnTo>
                <a:lnTo>
                  <a:pt x="7" y="72"/>
                </a:lnTo>
                <a:lnTo>
                  <a:pt x="9" y="67"/>
                </a:lnTo>
                <a:lnTo>
                  <a:pt x="7" y="62"/>
                </a:lnTo>
                <a:lnTo>
                  <a:pt x="17" y="52"/>
                </a:lnTo>
                <a:lnTo>
                  <a:pt x="19" y="47"/>
                </a:lnTo>
                <a:lnTo>
                  <a:pt x="22" y="45"/>
                </a:lnTo>
                <a:lnTo>
                  <a:pt x="24" y="45"/>
                </a:lnTo>
                <a:lnTo>
                  <a:pt x="24" y="40"/>
                </a:lnTo>
                <a:lnTo>
                  <a:pt x="24" y="37"/>
                </a:lnTo>
                <a:lnTo>
                  <a:pt x="22" y="35"/>
                </a:lnTo>
                <a:lnTo>
                  <a:pt x="24" y="32"/>
                </a:lnTo>
                <a:lnTo>
                  <a:pt x="19" y="32"/>
                </a:lnTo>
                <a:lnTo>
                  <a:pt x="19" y="28"/>
                </a:lnTo>
                <a:lnTo>
                  <a:pt x="17" y="25"/>
                </a:lnTo>
                <a:lnTo>
                  <a:pt x="17" y="18"/>
                </a:lnTo>
                <a:lnTo>
                  <a:pt x="17" y="15"/>
                </a:lnTo>
                <a:lnTo>
                  <a:pt x="17"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4" name="Freeform 53"/>
          <p:cNvSpPr>
            <a:spLocks/>
          </p:cNvSpPr>
          <p:nvPr/>
        </p:nvSpPr>
        <p:spPr bwMode="auto">
          <a:xfrm>
            <a:off x="5360743" y="3182144"/>
            <a:ext cx="88072" cy="90627"/>
          </a:xfrm>
          <a:custGeom>
            <a:avLst/>
            <a:gdLst/>
            <a:ahLst/>
            <a:cxnLst>
              <a:cxn ang="0">
                <a:pos x="0" y="10"/>
              </a:cxn>
              <a:cxn ang="0">
                <a:pos x="0" y="8"/>
              </a:cxn>
              <a:cxn ang="0">
                <a:pos x="0" y="5"/>
              </a:cxn>
              <a:cxn ang="0">
                <a:pos x="0" y="0"/>
              </a:cxn>
              <a:cxn ang="0">
                <a:pos x="2" y="3"/>
              </a:cxn>
              <a:cxn ang="0">
                <a:pos x="2" y="0"/>
              </a:cxn>
              <a:cxn ang="0">
                <a:pos x="5" y="3"/>
              </a:cxn>
              <a:cxn ang="0">
                <a:pos x="7" y="0"/>
              </a:cxn>
              <a:cxn ang="0">
                <a:pos x="9" y="0"/>
              </a:cxn>
              <a:cxn ang="0">
                <a:pos x="12" y="0"/>
              </a:cxn>
              <a:cxn ang="0">
                <a:pos x="14" y="3"/>
              </a:cxn>
              <a:cxn ang="0">
                <a:pos x="17" y="3"/>
              </a:cxn>
              <a:cxn ang="0">
                <a:pos x="22" y="8"/>
              </a:cxn>
              <a:cxn ang="0">
                <a:pos x="27" y="8"/>
              </a:cxn>
              <a:cxn ang="0">
                <a:pos x="29" y="8"/>
              </a:cxn>
              <a:cxn ang="0">
                <a:pos x="29" y="8"/>
              </a:cxn>
              <a:cxn ang="0">
                <a:pos x="34" y="12"/>
              </a:cxn>
              <a:cxn ang="0">
                <a:pos x="39" y="12"/>
              </a:cxn>
              <a:cxn ang="0">
                <a:pos x="39" y="20"/>
              </a:cxn>
              <a:cxn ang="0">
                <a:pos x="39" y="22"/>
              </a:cxn>
              <a:cxn ang="0">
                <a:pos x="41" y="25"/>
              </a:cxn>
              <a:cxn ang="0">
                <a:pos x="44" y="27"/>
              </a:cxn>
              <a:cxn ang="0">
                <a:pos x="46" y="30"/>
              </a:cxn>
              <a:cxn ang="0">
                <a:pos x="51" y="32"/>
              </a:cxn>
              <a:cxn ang="0">
                <a:pos x="51" y="35"/>
              </a:cxn>
              <a:cxn ang="0">
                <a:pos x="51" y="37"/>
              </a:cxn>
              <a:cxn ang="0">
                <a:pos x="54" y="40"/>
              </a:cxn>
              <a:cxn ang="0">
                <a:pos x="51" y="42"/>
              </a:cxn>
              <a:cxn ang="0">
                <a:pos x="49" y="42"/>
              </a:cxn>
              <a:cxn ang="0">
                <a:pos x="46" y="40"/>
              </a:cxn>
              <a:cxn ang="0">
                <a:pos x="41" y="42"/>
              </a:cxn>
              <a:cxn ang="0">
                <a:pos x="39" y="42"/>
              </a:cxn>
              <a:cxn ang="0">
                <a:pos x="39" y="47"/>
              </a:cxn>
              <a:cxn ang="0">
                <a:pos x="39" y="52"/>
              </a:cxn>
              <a:cxn ang="0">
                <a:pos x="37" y="52"/>
              </a:cxn>
              <a:cxn ang="0">
                <a:pos x="34" y="57"/>
              </a:cxn>
              <a:cxn ang="0">
                <a:pos x="34" y="59"/>
              </a:cxn>
              <a:cxn ang="0">
                <a:pos x="32" y="57"/>
              </a:cxn>
              <a:cxn ang="0">
                <a:pos x="29" y="59"/>
              </a:cxn>
              <a:cxn ang="0">
                <a:pos x="29" y="59"/>
              </a:cxn>
              <a:cxn ang="0">
                <a:pos x="27" y="54"/>
              </a:cxn>
              <a:cxn ang="0">
                <a:pos x="27" y="40"/>
              </a:cxn>
              <a:cxn ang="0">
                <a:pos x="24" y="37"/>
              </a:cxn>
              <a:cxn ang="0">
                <a:pos x="24" y="32"/>
              </a:cxn>
              <a:cxn ang="0">
                <a:pos x="14" y="25"/>
              </a:cxn>
              <a:cxn ang="0">
                <a:pos x="14" y="22"/>
              </a:cxn>
              <a:cxn ang="0">
                <a:pos x="7" y="17"/>
              </a:cxn>
              <a:cxn ang="0">
                <a:pos x="7" y="10"/>
              </a:cxn>
              <a:cxn ang="0">
                <a:pos x="0" y="10"/>
              </a:cxn>
              <a:cxn ang="0">
                <a:pos x="0" y="10"/>
              </a:cxn>
            </a:cxnLst>
            <a:rect l="0" t="0" r="r" b="b"/>
            <a:pathLst>
              <a:path w="54" h="59">
                <a:moveTo>
                  <a:pt x="0" y="10"/>
                </a:moveTo>
                <a:lnTo>
                  <a:pt x="0" y="8"/>
                </a:lnTo>
                <a:lnTo>
                  <a:pt x="0" y="5"/>
                </a:lnTo>
                <a:lnTo>
                  <a:pt x="0" y="0"/>
                </a:lnTo>
                <a:lnTo>
                  <a:pt x="2" y="3"/>
                </a:lnTo>
                <a:lnTo>
                  <a:pt x="2" y="0"/>
                </a:lnTo>
                <a:lnTo>
                  <a:pt x="5" y="3"/>
                </a:lnTo>
                <a:lnTo>
                  <a:pt x="7" y="0"/>
                </a:lnTo>
                <a:lnTo>
                  <a:pt x="9" y="0"/>
                </a:lnTo>
                <a:lnTo>
                  <a:pt x="12" y="0"/>
                </a:lnTo>
                <a:lnTo>
                  <a:pt x="14" y="3"/>
                </a:lnTo>
                <a:lnTo>
                  <a:pt x="17" y="3"/>
                </a:lnTo>
                <a:lnTo>
                  <a:pt x="22" y="8"/>
                </a:lnTo>
                <a:lnTo>
                  <a:pt x="27" y="8"/>
                </a:lnTo>
                <a:lnTo>
                  <a:pt x="29" y="8"/>
                </a:lnTo>
                <a:lnTo>
                  <a:pt x="29" y="8"/>
                </a:lnTo>
                <a:lnTo>
                  <a:pt x="34" y="12"/>
                </a:lnTo>
                <a:lnTo>
                  <a:pt x="39" y="12"/>
                </a:lnTo>
                <a:lnTo>
                  <a:pt x="39" y="20"/>
                </a:lnTo>
                <a:lnTo>
                  <a:pt x="39" y="22"/>
                </a:lnTo>
                <a:lnTo>
                  <a:pt x="41" y="25"/>
                </a:lnTo>
                <a:lnTo>
                  <a:pt x="44" y="27"/>
                </a:lnTo>
                <a:lnTo>
                  <a:pt x="46" y="30"/>
                </a:lnTo>
                <a:lnTo>
                  <a:pt x="51" y="32"/>
                </a:lnTo>
                <a:lnTo>
                  <a:pt x="51" y="35"/>
                </a:lnTo>
                <a:lnTo>
                  <a:pt x="51" y="37"/>
                </a:lnTo>
                <a:lnTo>
                  <a:pt x="54" y="40"/>
                </a:lnTo>
                <a:lnTo>
                  <a:pt x="51" y="42"/>
                </a:lnTo>
                <a:lnTo>
                  <a:pt x="49" y="42"/>
                </a:lnTo>
                <a:lnTo>
                  <a:pt x="46" y="40"/>
                </a:lnTo>
                <a:lnTo>
                  <a:pt x="41" y="42"/>
                </a:lnTo>
                <a:lnTo>
                  <a:pt x="39" y="42"/>
                </a:lnTo>
                <a:lnTo>
                  <a:pt x="39" y="47"/>
                </a:lnTo>
                <a:lnTo>
                  <a:pt x="39" y="52"/>
                </a:lnTo>
                <a:lnTo>
                  <a:pt x="37" y="52"/>
                </a:lnTo>
                <a:lnTo>
                  <a:pt x="34" y="57"/>
                </a:lnTo>
                <a:lnTo>
                  <a:pt x="34" y="59"/>
                </a:lnTo>
                <a:lnTo>
                  <a:pt x="32" y="57"/>
                </a:lnTo>
                <a:lnTo>
                  <a:pt x="29" y="59"/>
                </a:lnTo>
                <a:lnTo>
                  <a:pt x="29" y="59"/>
                </a:lnTo>
                <a:lnTo>
                  <a:pt x="27" y="54"/>
                </a:lnTo>
                <a:lnTo>
                  <a:pt x="27" y="40"/>
                </a:lnTo>
                <a:lnTo>
                  <a:pt x="24" y="37"/>
                </a:lnTo>
                <a:lnTo>
                  <a:pt x="24" y="32"/>
                </a:lnTo>
                <a:lnTo>
                  <a:pt x="14" y="25"/>
                </a:lnTo>
                <a:lnTo>
                  <a:pt x="14" y="22"/>
                </a:lnTo>
                <a:lnTo>
                  <a:pt x="7" y="17"/>
                </a:lnTo>
                <a:lnTo>
                  <a:pt x="7" y="10"/>
                </a:lnTo>
                <a:lnTo>
                  <a:pt x="0" y="10"/>
                </a:lnTo>
                <a:lnTo>
                  <a:pt x="0" y="1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5" name="Freeform 54"/>
          <p:cNvSpPr>
            <a:spLocks/>
          </p:cNvSpPr>
          <p:nvPr/>
        </p:nvSpPr>
        <p:spPr bwMode="auto">
          <a:xfrm>
            <a:off x="5220480" y="3197504"/>
            <a:ext cx="223441" cy="132099"/>
          </a:xfrm>
          <a:custGeom>
            <a:avLst/>
            <a:gdLst/>
            <a:ahLst/>
            <a:cxnLst>
              <a:cxn ang="0">
                <a:pos x="34" y="2"/>
              </a:cxn>
              <a:cxn ang="0">
                <a:pos x="39" y="0"/>
              </a:cxn>
              <a:cxn ang="0">
                <a:pos x="49" y="5"/>
              </a:cxn>
              <a:cxn ang="0">
                <a:pos x="54" y="10"/>
              </a:cxn>
              <a:cxn ang="0">
                <a:pos x="63" y="10"/>
              </a:cxn>
              <a:cxn ang="0">
                <a:pos x="68" y="5"/>
              </a:cxn>
              <a:cxn ang="0">
                <a:pos x="83" y="2"/>
              </a:cxn>
              <a:cxn ang="0">
                <a:pos x="93" y="7"/>
              </a:cxn>
              <a:cxn ang="0">
                <a:pos x="100" y="15"/>
              </a:cxn>
              <a:cxn ang="0">
                <a:pos x="110" y="27"/>
              </a:cxn>
              <a:cxn ang="0">
                <a:pos x="113" y="44"/>
              </a:cxn>
              <a:cxn ang="0">
                <a:pos x="118" y="54"/>
              </a:cxn>
              <a:cxn ang="0">
                <a:pos x="127" y="54"/>
              </a:cxn>
              <a:cxn ang="0">
                <a:pos x="135" y="52"/>
              </a:cxn>
              <a:cxn ang="0">
                <a:pos x="135" y="57"/>
              </a:cxn>
              <a:cxn ang="0">
                <a:pos x="137" y="59"/>
              </a:cxn>
              <a:cxn ang="0">
                <a:pos x="132" y="64"/>
              </a:cxn>
              <a:cxn ang="0">
                <a:pos x="125" y="69"/>
              </a:cxn>
              <a:cxn ang="0">
                <a:pos x="125" y="74"/>
              </a:cxn>
              <a:cxn ang="0">
                <a:pos x="123" y="79"/>
              </a:cxn>
              <a:cxn ang="0">
                <a:pos x="120" y="84"/>
              </a:cxn>
              <a:cxn ang="0">
                <a:pos x="115" y="81"/>
              </a:cxn>
              <a:cxn ang="0">
                <a:pos x="110" y="79"/>
              </a:cxn>
              <a:cxn ang="0">
                <a:pos x="100" y="76"/>
              </a:cxn>
              <a:cxn ang="0">
                <a:pos x="88" y="81"/>
              </a:cxn>
              <a:cxn ang="0">
                <a:pos x="83" y="86"/>
              </a:cxn>
              <a:cxn ang="0">
                <a:pos x="76" y="86"/>
              </a:cxn>
              <a:cxn ang="0">
                <a:pos x="68" y="84"/>
              </a:cxn>
              <a:cxn ang="0">
                <a:pos x="63" y="86"/>
              </a:cxn>
              <a:cxn ang="0">
                <a:pos x="54" y="86"/>
              </a:cxn>
              <a:cxn ang="0">
                <a:pos x="51" y="84"/>
              </a:cxn>
              <a:cxn ang="0">
                <a:pos x="44" y="86"/>
              </a:cxn>
              <a:cxn ang="0">
                <a:pos x="41" y="81"/>
              </a:cxn>
              <a:cxn ang="0">
                <a:pos x="41" y="79"/>
              </a:cxn>
              <a:cxn ang="0">
                <a:pos x="36" y="74"/>
              </a:cxn>
              <a:cxn ang="0">
                <a:pos x="36" y="69"/>
              </a:cxn>
              <a:cxn ang="0">
                <a:pos x="29" y="71"/>
              </a:cxn>
              <a:cxn ang="0">
                <a:pos x="24" y="69"/>
              </a:cxn>
              <a:cxn ang="0">
                <a:pos x="17" y="66"/>
              </a:cxn>
              <a:cxn ang="0">
                <a:pos x="19" y="62"/>
              </a:cxn>
              <a:cxn ang="0">
                <a:pos x="9" y="54"/>
              </a:cxn>
              <a:cxn ang="0">
                <a:pos x="4" y="47"/>
              </a:cxn>
              <a:cxn ang="0">
                <a:pos x="0" y="44"/>
              </a:cxn>
              <a:cxn ang="0">
                <a:pos x="7" y="39"/>
              </a:cxn>
              <a:cxn ang="0">
                <a:pos x="12" y="37"/>
              </a:cxn>
              <a:cxn ang="0">
                <a:pos x="14" y="32"/>
              </a:cxn>
              <a:cxn ang="0">
                <a:pos x="24" y="15"/>
              </a:cxn>
              <a:cxn ang="0">
                <a:pos x="29" y="7"/>
              </a:cxn>
              <a:cxn ang="0">
                <a:pos x="31" y="2"/>
              </a:cxn>
            </a:cxnLst>
            <a:rect l="0" t="0" r="r" b="b"/>
            <a:pathLst>
              <a:path w="137" h="86">
                <a:moveTo>
                  <a:pt x="31" y="2"/>
                </a:moveTo>
                <a:lnTo>
                  <a:pt x="34" y="2"/>
                </a:lnTo>
                <a:lnTo>
                  <a:pt x="36" y="0"/>
                </a:lnTo>
                <a:lnTo>
                  <a:pt x="39" y="0"/>
                </a:lnTo>
                <a:lnTo>
                  <a:pt x="44" y="5"/>
                </a:lnTo>
                <a:lnTo>
                  <a:pt x="49" y="5"/>
                </a:lnTo>
                <a:lnTo>
                  <a:pt x="54" y="7"/>
                </a:lnTo>
                <a:lnTo>
                  <a:pt x="54" y="10"/>
                </a:lnTo>
                <a:lnTo>
                  <a:pt x="59" y="10"/>
                </a:lnTo>
                <a:lnTo>
                  <a:pt x="63" y="10"/>
                </a:lnTo>
                <a:lnTo>
                  <a:pt x="66" y="7"/>
                </a:lnTo>
                <a:lnTo>
                  <a:pt x="68" y="5"/>
                </a:lnTo>
                <a:lnTo>
                  <a:pt x="78" y="2"/>
                </a:lnTo>
                <a:lnTo>
                  <a:pt x="83" y="2"/>
                </a:lnTo>
                <a:lnTo>
                  <a:pt x="93" y="0"/>
                </a:lnTo>
                <a:lnTo>
                  <a:pt x="93" y="7"/>
                </a:lnTo>
                <a:lnTo>
                  <a:pt x="100" y="12"/>
                </a:lnTo>
                <a:lnTo>
                  <a:pt x="100" y="15"/>
                </a:lnTo>
                <a:lnTo>
                  <a:pt x="110" y="22"/>
                </a:lnTo>
                <a:lnTo>
                  <a:pt x="110" y="27"/>
                </a:lnTo>
                <a:lnTo>
                  <a:pt x="113" y="30"/>
                </a:lnTo>
                <a:lnTo>
                  <a:pt x="113" y="44"/>
                </a:lnTo>
                <a:lnTo>
                  <a:pt x="115" y="49"/>
                </a:lnTo>
                <a:lnTo>
                  <a:pt x="118" y="54"/>
                </a:lnTo>
                <a:lnTo>
                  <a:pt x="123" y="54"/>
                </a:lnTo>
                <a:lnTo>
                  <a:pt x="127" y="54"/>
                </a:lnTo>
                <a:lnTo>
                  <a:pt x="130" y="54"/>
                </a:lnTo>
                <a:lnTo>
                  <a:pt x="135" y="52"/>
                </a:lnTo>
                <a:lnTo>
                  <a:pt x="137" y="54"/>
                </a:lnTo>
                <a:lnTo>
                  <a:pt x="135" y="57"/>
                </a:lnTo>
                <a:lnTo>
                  <a:pt x="137" y="57"/>
                </a:lnTo>
                <a:lnTo>
                  <a:pt x="137" y="59"/>
                </a:lnTo>
                <a:lnTo>
                  <a:pt x="135" y="64"/>
                </a:lnTo>
                <a:lnTo>
                  <a:pt x="132" y="64"/>
                </a:lnTo>
                <a:lnTo>
                  <a:pt x="125" y="64"/>
                </a:lnTo>
                <a:lnTo>
                  <a:pt x="125" y="69"/>
                </a:lnTo>
                <a:lnTo>
                  <a:pt x="123" y="71"/>
                </a:lnTo>
                <a:lnTo>
                  <a:pt x="125" y="74"/>
                </a:lnTo>
                <a:lnTo>
                  <a:pt x="125" y="76"/>
                </a:lnTo>
                <a:lnTo>
                  <a:pt x="123" y="79"/>
                </a:lnTo>
                <a:lnTo>
                  <a:pt x="125" y="84"/>
                </a:lnTo>
                <a:lnTo>
                  <a:pt x="120" y="84"/>
                </a:lnTo>
                <a:lnTo>
                  <a:pt x="120" y="81"/>
                </a:lnTo>
                <a:lnTo>
                  <a:pt x="115" y="81"/>
                </a:lnTo>
                <a:lnTo>
                  <a:pt x="113" y="81"/>
                </a:lnTo>
                <a:lnTo>
                  <a:pt x="110" y="79"/>
                </a:lnTo>
                <a:lnTo>
                  <a:pt x="105" y="76"/>
                </a:lnTo>
                <a:lnTo>
                  <a:pt x="100" y="76"/>
                </a:lnTo>
                <a:lnTo>
                  <a:pt x="98" y="79"/>
                </a:lnTo>
                <a:lnTo>
                  <a:pt x="88" y="81"/>
                </a:lnTo>
                <a:lnTo>
                  <a:pt x="86" y="84"/>
                </a:lnTo>
                <a:lnTo>
                  <a:pt x="83" y="86"/>
                </a:lnTo>
                <a:lnTo>
                  <a:pt x="81" y="86"/>
                </a:lnTo>
                <a:lnTo>
                  <a:pt x="76" y="86"/>
                </a:lnTo>
                <a:lnTo>
                  <a:pt x="73" y="86"/>
                </a:lnTo>
                <a:lnTo>
                  <a:pt x="68" y="84"/>
                </a:lnTo>
                <a:lnTo>
                  <a:pt x="66" y="86"/>
                </a:lnTo>
                <a:lnTo>
                  <a:pt x="63" y="86"/>
                </a:lnTo>
                <a:lnTo>
                  <a:pt x="59" y="86"/>
                </a:lnTo>
                <a:lnTo>
                  <a:pt x="54" y="86"/>
                </a:lnTo>
                <a:lnTo>
                  <a:pt x="51" y="86"/>
                </a:lnTo>
                <a:lnTo>
                  <a:pt x="51" y="84"/>
                </a:lnTo>
                <a:lnTo>
                  <a:pt x="46" y="84"/>
                </a:lnTo>
                <a:lnTo>
                  <a:pt x="44" y="86"/>
                </a:lnTo>
                <a:lnTo>
                  <a:pt x="41" y="84"/>
                </a:lnTo>
                <a:lnTo>
                  <a:pt x="41" y="81"/>
                </a:lnTo>
                <a:lnTo>
                  <a:pt x="41" y="79"/>
                </a:lnTo>
                <a:lnTo>
                  <a:pt x="41" y="79"/>
                </a:lnTo>
                <a:lnTo>
                  <a:pt x="36" y="76"/>
                </a:lnTo>
                <a:lnTo>
                  <a:pt x="36" y="74"/>
                </a:lnTo>
                <a:lnTo>
                  <a:pt x="34" y="71"/>
                </a:lnTo>
                <a:lnTo>
                  <a:pt x="36" y="69"/>
                </a:lnTo>
                <a:lnTo>
                  <a:pt x="31" y="66"/>
                </a:lnTo>
                <a:lnTo>
                  <a:pt x="29" y="71"/>
                </a:lnTo>
                <a:lnTo>
                  <a:pt x="27" y="69"/>
                </a:lnTo>
                <a:lnTo>
                  <a:pt x="24" y="69"/>
                </a:lnTo>
                <a:lnTo>
                  <a:pt x="22" y="66"/>
                </a:lnTo>
                <a:lnTo>
                  <a:pt x="17" y="66"/>
                </a:lnTo>
                <a:lnTo>
                  <a:pt x="17" y="64"/>
                </a:lnTo>
                <a:lnTo>
                  <a:pt x="19" y="62"/>
                </a:lnTo>
                <a:lnTo>
                  <a:pt x="14" y="57"/>
                </a:lnTo>
                <a:lnTo>
                  <a:pt x="9" y="54"/>
                </a:lnTo>
                <a:lnTo>
                  <a:pt x="9" y="52"/>
                </a:lnTo>
                <a:lnTo>
                  <a:pt x="4" y="47"/>
                </a:lnTo>
                <a:lnTo>
                  <a:pt x="4" y="44"/>
                </a:lnTo>
                <a:lnTo>
                  <a:pt x="0" y="44"/>
                </a:lnTo>
                <a:lnTo>
                  <a:pt x="4" y="39"/>
                </a:lnTo>
                <a:lnTo>
                  <a:pt x="7" y="39"/>
                </a:lnTo>
                <a:lnTo>
                  <a:pt x="7" y="37"/>
                </a:lnTo>
                <a:lnTo>
                  <a:pt x="12" y="37"/>
                </a:lnTo>
                <a:lnTo>
                  <a:pt x="14" y="34"/>
                </a:lnTo>
                <a:lnTo>
                  <a:pt x="14" y="32"/>
                </a:lnTo>
                <a:lnTo>
                  <a:pt x="19" y="25"/>
                </a:lnTo>
                <a:lnTo>
                  <a:pt x="24" y="15"/>
                </a:lnTo>
                <a:lnTo>
                  <a:pt x="27" y="7"/>
                </a:lnTo>
                <a:lnTo>
                  <a:pt x="29" y="7"/>
                </a:lnTo>
                <a:lnTo>
                  <a:pt x="31" y="5"/>
                </a:lnTo>
                <a:lnTo>
                  <a:pt x="31" y="2"/>
                </a:lnTo>
                <a:lnTo>
                  <a:pt x="31"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6" name="Freeform 55"/>
          <p:cNvSpPr>
            <a:spLocks/>
          </p:cNvSpPr>
          <p:nvPr/>
        </p:nvSpPr>
        <p:spPr bwMode="auto">
          <a:xfrm>
            <a:off x="5127516" y="3189824"/>
            <a:ext cx="143525" cy="87555"/>
          </a:xfrm>
          <a:custGeom>
            <a:avLst/>
            <a:gdLst/>
            <a:ahLst/>
            <a:cxnLst>
              <a:cxn ang="0">
                <a:pos x="57" y="49"/>
              </a:cxn>
              <a:cxn ang="0">
                <a:pos x="61" y="44"/>
              </a:cxn>
              <a:cxn ang="0">
                <a:pos x="64" y="44"/>
              </a:cxn>
              <a:cxn ang="0">
                <a:pos x="64" y="42"/>
              </a:cxn>
              <a:cxn ang="0">
                <a:pos x="69" y="42"/>
              </a:cxn>
              <a:cxn ang="0">
                <a:pos x="71" y="39"/>
              </a:cxn>
              <a:cxn ang="0">
                <a:pos x="71" y="37"/>
              </a:cxn>
              <a:cxn ang="0">
                <a:pos x="76" y="30"/>
              </a:cxn>
              <a:cxn ang="0">
                <a:pos x="81" y="20"/>
              </a:cxn>
              <a:cxn ang="0">
                <a:pos x="84" y="12"/>
              </a:cxn>
              <a:cxn ang="0">
                <a:pos x="86" y="12"/>
              </a:cxn>
              <a:cxn ang="0">
                <a:pos x="88" y="10"/>
              </a:cxn>
              <a:cxn ang="0">
                <a:pos x="86" y="5"/>
              </a:cxn>
              <a:cxn ang="0">
                <a:pos x="84" y="3"/>
              </a:cxn>
              <a:cxn ang="0">
                <a:pos x="79" y="0"/>
              </a:cxn>
              <a:cxn ang="0">
                <a:pos x="76" y="3"/>
              </a:cxn>
              <a:cxn ang="0">
                <a:pos x="71" y="0"/>
              </a:cxn>
              <a:cxn ang="0">
                <a:pos x="66" y="0"/>
              </a:cxn>
              <a:cxn ang="0">
                <a:pos x="61" y="0"/>
              </a:cxn>
              <a:cxn ang="0">
                <a:pos x="57" y="0"/>
              </a:cxn>
              <a:cxn ang="0">
                <a:pos x="54" y="5"/>
              </a:cxn>
              <a:cxn ang="0">
                <a:pos x="52" y="7"/>
              </a:cxn>
              <a:cxn ang="0">
                <a:pos x="52" y="10"/>
              </a:cxn>
              <a:cxn ang="0">
                <a:pos x="47" y="5"/>
              </a:cxn>
              <a:cxn ang="0">
                <a:pos x="42" y="10"/>
              </a:cxn>
              <a:cxn ang="0">
                <a:pos x="37" y="10"/>
              </a:cxn>
              <a:cxn ang="0">
                <a:pos x="37" y="12"/>
              </a:cxn>
              <a:cxn ang="0">
                <a:pos x="29" y="15"/>
              </a:cxn>
              <a:cxn ang="0">
                <a:pos x="22" y="15"/>
              </a:cxn>
              <a:cxn ang="0">
                <a:pos x="17" y="15"/>
              </a:cxn>
              <a:cxn ang="0">
                <a:pos x="7" y="10"/>
              </a:cxn>
              <a:cxn ang="0">
                <a:pos x="7" y="10"/>
              </a:cxn>
              <a:cxn ang="0">
                <a:pos x="7" y="15"/>
              </a:cxn>
              <a:cxn ang="0">
                <a:pos x="7" y="17"/>
              </a:cxn>
              <a:cxn ang="0">
                <a:pos x="0" y="17"/>
              </a:cxn>
              <a:cxn ang="0">
                <a:pos x="0" y="20"/>
              </a:cxn>
              <a:cxn ang="0">
                <a:pos x="2" y="22"/>
              </a:cxn>
              <a:cxn ang="0">
                <a:pos x="2" y="25"/>
              </a:cxn>
              <a:cxn ang="0">
                <a:pos x="2" y="27"/>
              </a:cxn>
              <a:cxn ang="0">
                <a:pos x="2" y="32"/>
              </a:cxn>
              <a:cxn ang="0">
                <a:pos x="0" y="35"/>
              </a:cxn>
              <a:cxn ang="0">
                <a:pos x="0" y="35"/>
              </a:cxn>
              <a:cxn ang="0">
                <a:pos x="5" y="39"/>
              </a:cxn>
              <a:cxn ang="0">
                <a:pos x="5" y="44"/>
              </a:cxn>
              <a:cxn ang="0">
                <a:pos x="7" y="44"/>
              </a:cxn>
              <a:cxn ang="0">
                <a:pos x="12" y="49"/>
              </a:cxn>
              <a:cxn ang="0">
                <a:pos x="17" y="52"/>
              </a:cxn>
              <a:cxn ang="0">
                <a:pos x="20" y="54"/>
              </a:cxn>
              <a:cxn ang="0">
                <a:pos x="27" y="54"/>
              </a:cxn>
              <a:cxn ang="0">
                <a:pos x="32" y="57"/>
              </a:cxn>
              <a:cxn ang="0">
                <a:pos x="34" y="54"/>
              </a:cxn>
              <a:cxn ang="0">
                <a:pos x="37" y="54"/>
              </a:cxn>
              <a:cxn ang="0">
                <a:pos x="39" y="52"/>
              </a:cxn>
              <a:cxn ang="0">
                <a:pos x="42" y="52"/>
              </a:cxn>
              <a:cxn ang="0">
                <a:pos x="44" y="52"/>
              </a:cxn>
              <a:cxn ang="0">
                <a:pos x="47" y="49"/>
              </a:cxn>
              <a:cxn ang="0">
                <a:pos x="49" y="47"/>
              </a:cxn>
              <a:cxn ang="0">
                <a:pos x="52" y="47"/>
              </a:cxn>
              <a:cxn ang="0">
                <a:pos x="57" y="47"/>
              </a:cxn>
              <a:cxn ang="0">
                <a:pos x="57" y="49"/>
              </a:cxn>
              <a:cxn ang="0">
                <a:pos x="57" y="49"/>
              </a:cxn>
            </a:cxnLst>
            <a:rect l="0" t="0" r="r" b="b"/>
            <a:pathLst>
              <a:path w="88" h="57">
                <a:moveTo>
                  <a:pt x="57" y="49"/>
                </a:moveTo>
                <a:lnTo>
                  <a:pt x="61" y="44"/>
                </a:lnTo>
                <a:lnTo>
                  <a:pt x="64" y="44"/>
                </a:lnTo>
                <a:lnTo>
                  <a:pt x="64" y="42"/>
                </a:lnTo>
                <a:lnTo>
                  <a:pt x="69" y="42"/>
                </a:lnTo>
                <a:lnTo>
                  <a:pt x="71" y="39"/>
                </a:lnTo>
                <a:lnTo>
                  <a:pt x="71" y="37"/>
                </a:lnTo>
                <a:lnTo>
                  <a:pt x="76" y="30"/>
                </a:lnTo>
                <a:lnTo>
                  <a:pt x="81" y="20"/>
                </a:lnTo>
                <a:lnTo>
                  <a:pt x="84" y="12"/>
                </a:lnTo>
                <a:lnTo>
                  <a:pt x="86" y="12"/>
                </a:lnTo>
                <a:lnTo>
                  <a:pt x="88" y="10"/>
                </a:lnTo>
                <a:lnTo>
                  <a:pt x="86" y="5"/>
                </a:lnTo>
                <a:lnTo>
                  <a:pt x="84" y="3"/>
                </a:lnTo>
                <a:lnTo>
                  <a:pt x="79" y="0"/>
                </a:lnTo>
                <a:lnTo>
                  <a:pt x="76" y="3"/>
                </a:lnTo>
                <a:lnTo>
                  <a:pt x="71" y="0"/>
                </a:lnTo>
                <a:lnTo>
                  <a:pt x="66" y="0"/>
                </a:lnTo>
                <a:lnTo>
                  <a:pt x="61" y="0"/>
                </a:lnTo>
                <a:lnTo>
                  <a:pt x="57" y="0"/>
                </a:lnTo>
                <a:lnTo>
                  <a:pt x="54" y="5"/>
                </a:lnTo>
                <a:lnTo>
                  <a:pt x="52" y="7"/>
                </a:lnTo>
                <a:lnTo>
                  <a:pt x="52" y="10"/>
                </a:lnTo>
                <a:lnTo>
                  <a:pt x="47" y="5"/>
                </a:lnTo>
                <a:lnTo>
                  <a:pt x="42" y="10"/>
                </a:lnTo>
                <a:lnTo>
                  <a:pt x="37" y="10"/>
                </a:lnTo>
                <a:lnTo>
                  <a:pt x="37" y="12"/>
                </a:lnTo>
                <a:lnTo>
                  <a:pt x="29" y="15"/>
                </a:lnTo>
                <a:lnTo>
                  <a:pt x="22" y="15"/>
                </a:lnTo>
                <a:lnTo>
                  <a:pt x="17" y="15"/>
                </a:lnTo>
                <a:lnTo>
                  <a:pt x="7" y="10"/>
                </a:lnTo>
                <a:lnTo>
                  <a:pt x="7" y="10"/>
                </a:lnTo>
                <a:lnTo>
                  <a:pt x="7" y="15"/>
                </a:lnTo>
                <a:lnTo>
                  <a:pt x="7" y="17"/>
                </a:lnTo>
                <a:lnTo>
                  <a:pt x="0" y="17"/>
                </a:lnTo>
                <a:lnTo>
                  <a:pt x="0" y="20"/>
                </a:lnTo>
                <a:lnTo>
                  <a:pt x="2" y="22"/>
                </a:lnTo>
                <a:lnTo>
                  <a:pt x="2" y="25"/>
                </a:lnTo>
                <a:lnTo>
                  <a:pt x="2" y="27"/>
                </a:lnTo>
                <a:lnTo>
                  <a:pt x="2" y="32"/>
                </a:lnTo>
                <a:lnTo>
                  <a:pt x="0" y="35"/>
                </a:lnTo>
                <a:lnTo>
                  <a:pt x="0" y="35"/>
                </a:lnTo>
                <a:lnTo>
                  <a:pt x="5" y="39"/>
                </a:lnTo>
                <a:lnTo>
                  <a:pt x="5" y="44"/>
                </a:lnTo>
                <a:lnTo>
                  <a:pt x="7" y="44"/>
                </a:lnTo>
                <a:lnTo>
                  <a:pt x="12" y="49"/>
                </a:lnTo>
                <a:lnTo>
                  <a:pt x="17" y="52"/>
                </a:lnTo>
                <a:lnTo>
                  <a:pt x="20" y="54"/>
                </a:lnTo>
                <a:lnTo>
                  <a:pt x="27" y="54"/>
                </a:lnTo>
                <a:lnTo>
                  <a:pt x="32" y="57"/>
                </a:lnTo>
                <a:lnTo>
                  <a:pt x="34" y="54"/>
                </a:lnTo>
                <a:lnTo>
                  <a:pt x="37" y="54"/>
                </a:lnTo>
                <a:lnTo>
                  <a:pt x="39" y="52"/>
                </a:lnTo>
                <a:lnTo>
                  <a:pt x="42" y="52"/>
                </a:lnTo>
                <a:lnTo>
                  <a:pt x="44" y="52"/>
                </a:lnTo>
                <a:lnTo>
                  <a:pt x="47" y="49"/>
                </a:lnTo>
                <a:lnTo>
                  <a:pt x="49" y="47"/>
                </a:lnTo>
                <a:lnTo>
                  <a:pt x="52" y="47"/>
                </a:lnTo>
                <a:lnTo>
                  <a:pt x="57" y="47"/>
                </a:lnTo>
                <a:lnTo>
                  <a:pt x="57" y="49"/>
                </a:lnTo>
                <a:lnTo>
                  <a:pt x="57" y="4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Freeform 56"/>
          <p:cNvSpPr>
            <a:spLocks/>
          </p:cNvSpPr>
          <p:nvPr/>
        </p:nvSpPr>
        <p:spPr bwMode="auto">
          <a:xfrm>
            <a:off x="5138932" y="3163712"/>
            <a:ext cx="125584" cy="49153"/>
          </a:xfrm>
          <a:custGeom>
            <a:avLst/>
            <a:gdLst/>
            <a:ahLst/>
            <a:cxnLst>
              <a:cxn ang="0">
                <a:pos x="0" y="27"/>
              </a:cxn>
              <a:cxn ang="0">
                <a:pos x="10" y="32"/>
              </a:cxn>
              <a:cxn ang="0">
                <a:pos x="15" y="32"/>
              </a:cxn>
              <a:cxn ang="0">
                <a:pos x="22" y="32"/>
              </a:cxn>
              <a:cxn ang="0">
                <a:pos x="30" y="29"/>
              </a:cxn>
              <a:cxn ang="0">
                <a:pos x="30" y="27"/>
              </a:cxn>
              <a:cxn ang="0">
                <a:pos x="35" y="27"/>
              </a:cxn>
              <a:cxn ang="0">
                <a:pos x="40" y="22"/>
              </a:cxn>
              <a:cxn ang="0">
                <a:pos x="45" y="27"/>
              </a:cxn>
              <a:cxn ang="0">
                <a:pos x="45" y="24"/>
              </a:cxn>
              <a:cxn ang="0">
                <a:pos x="47" y="22"/>
              </a:cxn>
              <a:cxn ang="0">
                <a:pos x="50" y="17"/>
              </a:cxn>
              <a:cxn ang="0">
                <a:pos x="54" y="17"/>
              </a:cxn>
              <a:cxn ang="0">
                <a:pos x="59" y="17"/>
              </a:cxn>
              <a:cxn ang="0">
                <a:pos x="64" y="17"/>
              </a:cxn>
              <a:cxn ang="0">
                <a:pos x="69" y="20"/>
              </a:cxn>
              <a:cxn ang="0">
                <a:pos x="74" y="15"/>
              </a:cxn>
              <a:cxn ang="0">
                <a:pos x="74" y="10"/>
              </a:cxn>
              <a:cxn ang="0">
                <a:pos x="77" y="5"/>
              </a:cxn>
              <a:cxn ang="0">
                <a:pos x="77" y="5"/>
              </a:cxn>
              <a:cxn ang="0">
                <a:pos x="69" y="0"/>
              </a:cxn>
              <a:cxn ang="0">
                <a:pos x="64" y="0"/>
              </a:cxn>
              <a:cxn ang="0">
                <a:pos x="62" y="0"/>
              </a:cxn>
              <a:cxn ang="0">
                <a:pos x="59" y="0"/>
              </a:cxn>
              <a:cxn ang="0">
                <a:pos x="57" y="0"/>
              </a:cxn>
              <a:cxn ang="0">
                <a:pos x="57" y="2"/>
              </a:cxn>
              <a:cxn ang="0">
                <a:pos x="54" y="0"/>
              </a:cxn>
              <a:cxn ang="0">
                <a:pos x="50" y="0"/>
              </a:cxn>
              <a:cxn ang="0">
                <a:pos x="47" y="0"/>
              </a:cxn>
              <a:cxn ang="0">
                <a:pos x="45" y="0"/>
              </a:cxn>
              <a:cxn ang="0">
                <a:pos x="42" y="5"/>
              </a:cxn>
              <a:cxn ang="0">
                <a:pos x="40" y="5"/>
              </a:cxn>
              <a:cxn ang="0">
                <a:pos x="40" y="2"/>
              </a:cxn>
              <a:cxn ang="0">
                <a:pos x="40" y="2"/>
              </a:cxn>
              <a:cxn ang="0">
                <a:pos x="32" y="2"/>
              </a:cxn>
              <a:cxn ang="0">
                <a:pos x="30" y="5"/>
              </a:cxn>
              <a:cxn ang="0">
                <a:pos x="25" y="7"/>
              </a:cxn>
              <a:cxn ang="0">
                <a:pos x="20" y="10"/>
              </a:cxn>
              <a:cxn ang="0">
                <a:pos x="15" y="12"/>
              </a:cxn>
              <a:cxn ang="0">
                <a:pos x="10" y="15"/>
              </a:cxn>
              <a:cxn ang="0">
                <a:pos x="8" y="12"/>
              </a:cxn>
              <a:cxn ang="0">
                <a:pos x="5" y="12"/>
              </a:cxn>
              <a:cxn ang="0">
                <a:pos x="0" y="15"/>
              </a:cxn>
              <a:cxn ang="0">
                <a:pos x="0" y="15"/>
              </a:cxn>
              <a:cxn ang="0">
                <a:pos x="0" y="20"/>
              </a:cxn>
              <a:cxn ang="0">
                <a:pos x="0" y="27"/>
              </a:cxn>
              <a:cxn ang="0">
                <a:pos x="0" y="27"/>
              </a:cxn>
            </a:cxnLst>
            <a:rect l="0" t="0" r="r" b="b"/>
            <a:pathLst>
              <a:path w="77" h="32">
                <a:moveTo>
                  <a:pt x="0" y="27"/>
                </a:moveTo>
                <a:lnTo>
                  <a:pt x="10" y="32"/>
                </a:lnTo>
                <a:lnTo>
                  <a:pt x="15" y="32"/>
                </a:lnTo>
                <a:lnTo>
                  <a:pt x="22" y="32"/>
                </a:lnTo>
                <a:lnTo>
                  <a:pt x="30" y="29"/>
                </a:lnTo>
                <a:lnTo>
                  <a:pt x="30" y="27"/>
                </a:lnTo>
                <a:lnTo>
                  <a:pt x="35" y="27"/>
                </a:lnTo>
                <a:lnTo>
                  <a:pt x="40" y="22"/>
                </a:lnTo>
                <a:lnTo>
                  <a:pt x="45" y="27"/>
                </a:lnTo>
                <a:lnTo>
                  <a:pt x="45" y="24"/>
                </a:lnTo>
                <a:lnTo>
                  <a:pt x="47" y="22"/>
                </a:lnTo>
                <a:lnTo>
                  <a:pt x="50" y="17"/>
                </a:lnTo>
                <a:lnTo>
                  <a:pt x="54" y="17"/>
                </a:lnTo>
                <a:lnTo>
                  <a:pt x="59" y="17"/>
                </a:lnTo>
                <a:lnTo>
                  <a:pt x="64" y="17"/>
                </a:lnTo>
                <a:lnTo>
                  <a:pt x="69" y="20"/>
                </a:lnTo>
                <a:lnTo>
                  <a:pt x="74" y="15"/>
                </a:lnTo>
                <a:lnTo>
                  <a:pt x="74" y="10"/>
                </a:lnTo>
                <a:lnTo>
                  <a:pt x="77" y="5"/>
                </a:lnTo>
                <a:lnTo>
                  <a:pt x="77" y="5"/>
                </a:lnTo>
                <a:lnTo>
                  <a:pt x="69" y="0"/>
                </a:lnTo>
                <a:lnTo>
                  <a:pt x="64" y="0"/>
                </a:lnTo>
                <a:lnTo>
                  <a:pt x="62" y="0"/>
                </a:lnTo>
                <a:lnTo>
                  <a:pt x="59" y="0"/>
                </a:lnTo>
                <a:lnTo>
                  <a:pt x="57" y="0"/>
                </a:lnTo>
                <a:lnTo>
                  <a:pt x="57" y="2"/>
                </a:lnTo>
                <a:lnTo>
                  <a:pt x="54" y="0"/>
                </a:lnTo>
                <a:lnTo>
                  <a:pt x="50" y="0"/>
                </a:lnTo>
                <a:lnTo>
                  <a:pt x="47" y="0"/>
                </a:lnTo>
                <a:lnTo>
                  <a:pt x="45" y="0"/>
                </a:lnTo>
                <a:lnTo>
                  <a:pt x="42" y="5"/>
                </a:lnTo>
                <a:lnTo>
                  <a:pt x="40" y="5"/>
                </a:lnTo>
                <a:lnTo>
                  <a:pt x="40" y="2"/>
                </a:lnTo>
                <a:lnTo>
                  <a:pt x="40" y="2"/>
                </a:lnTo>
                <a:lnTo>
                  <a:pt x="32" y="2"/>
                </a:lnTo>
                <a:lnTo>
                  <a:pt x="30" y="5"/>
                </a:lnTo>
                <a:lnTo>
                  <a:pt x="25" y="7"/>
                </a:lnTo>
                <a:lnTo>
                  <a:pt x="20" y="10"/>
                </a:lnTo>
                <a:lnTo>
                  <a:pt x="15" y="12"/>
                </a:lnTo>
                <a:lnTo>
                  <a:pt x="10" y="15"/>
                </a:lnTo>
                <a:lnTo>
                  <a:pt x="8" y="12"/>
                </a:lnTo>
                <a:lnTo>
                  <a:pt x="5" y="12"/>
                </a:lnTo>
                <a:lnTo>
                  <a:pt x="0" y="15"/>
                </a:lnTo>
                <a:lnTo>
                  <a:pt x="0" y="15"/>
                </a:lnTo>
                <a:lnTo>
                  <a:pt x="0" y="20"/>
                </a:lnTo>
                <a:lnTo>
                  <a:pt x="0" y="27"/>
                </a:lnTo>
                <a:lnTo>
                  <a:pt x="0" y="2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8" name="Freeform 57"/>
          <p:cNvSpPr>
            <a:spLocks/>
          </p:cNvSpPr>
          <p:nvPr/>
        </p:nvSpPr>
        <p:spPr bwMode="auto">
          <a:xfrm>
            <a:off x="5275932" y="3314243"/>
            <a:ext cx="148417" cy="87555"/>
          </a:xfrm>
          <a:custGeom>
            <a:avLst/>
            <a:gdLst/>
            <a:ahLst/>
            <a:cxnLst>
              <a:cxn ang="0">
                <a:pos x="7" y="3"/>
              </a:cxn>
              <a:cxn ang="0">
                <a:pos x="7" y="5"/>
              </a:cxn>
              <a:cxn ang="0">
                <a:pos x="10" y="10"/>
              </a:cxn>
              <a:cxn ang="0">
                <a:pos x="17" y="8"/>
              </a:cxn>
              <a:cxn ang="0">
                <a:pos x="20" y="10"/>
              </a:cxn>
              <a:cxn ang="0">
                <a:pos x="29" y="10"/>
              </a:cxn>
              <a:cxn ang="0">
                <a:pos x="34" y="8"/>
              </a:cxn>
              <a:cxn ang="0">
                <a:pos x="42" y="10"/>
              </a:cxn>
              <a:cxn ang="0">
                <a:pos x="49" y="10"/>
              </a:cxn>
              <a:cxn ang="0">
                <a:pos x="54" y="5"/>
              </a:cxn>
              <a:cxn ang="0">
                <a:pos x="66" y="0"/>
              </a:cxn>
              <a:cxn ang="0">
                <a:pos x="76" y="3"/>
              </a:cxn>
              <a:cxn ang="0">
                <a:pos x="81" y="5"/>
              </a:cxn>
              <a:cxn ang="0">
                <a:pos x="86" y="8"/>
              </a:cxn>
              <a:cxn ang="0">
                <a:pos x="91" y="8"/>
              </a:cxn>
              <a:cxn ang="0">
                <a:pos x="89" y="15"/>
              </a:cxn>
              <a:cxn ang="0">
                <a:pos x="81" y="20"/>
              </a:cxn>
              <a:cxn ang="0">
                <a:pos x="81" y="30"/>
              </a:cxn>
              <a:cxn ang="0">
                <a:pos x="76" y="35"/>
              </a:cxn>
              <a:cxn ang="0">
                <a:pos x="81" y="40"/>
              </a:cxn>
              <a:cxn ang="0">
                <a:pos x="84" y="42"/>
              </a:cxn>
              <a:cxn ang="0">
                <a:pos x="79" y="45"/>
              </a:cxn>
              <a:cxn ang="0">
                <a:pos x="69" y="40"/>
              </a:cxn>
              <a:cxn ang="0">
                <a:pos x="66" y="42"/>
              </a:cxn>
              <a:cxn ang="0">
                <a:pos x="64" y="45"/>
              </a:cxn>
              <a:cxn ang="0">
                <a:pos x="57" y="49"/>
              </a:cxn>
              <a:cxn ang="0">
                <a:pos x="59" y="54"/>
              </a:cxn>
              <a:cxn ang="0">
                <a:pos x="49" y="57"/>
              </a:cxn>
              <a:cxn ang="0">
                <a:pos x="44" y="57"/>
              </a:cxn>
              <a:cxn ang="0">
                <a:pos x="39" y="57"/>
              </a:cxn>
              <a:cxn ang="0">
                <a:pos x="37" y="54"/>
              </a:cxn>
              <a:cxn ang="0">
                <a:pos x="27" y="54"/>
              </a:cxn>
              <a:cxn ang="0">
                <a:pos x="22" y="57"/>
              </a:cxn>
              <a:cxn ang="0">
                <a:pos x="15" y="57"/>
              </a:cxn>
              <a:cxn ang="0">
                <a:pos x="15" y="54"/>
              </a:cxn>
              <a:cxn ang="0">
                <a:pos x="10" y="42"/>
              </a:cxn>
              <a:cxn ang="0">
                <a:pos x="2" y="37"/>
              </a:cxn>
              <a:cxn ang="0">
                <a:pos x="2" y="32"/>
              </a:cxn>
              <a:cxn ang="0">
                <a:pos x="7" y="25"/>
              </a:cxn>
              <a:cxn ang="0">
                <a:pos x="7" y="17"/>
              </a:cxn>
              <a:cxn ang="0">
                <a:pos x="0" y="8"/>
              </a:cxn>
              <a:cxn ang="0">
                <a:pos x="2" y="0"/>
              </a:cxn>
            </a:cxnLst>
            <a:rect l="0" t="0" r="r" b="b"/>
            <a:pathLst>
              <a:path w="91" h="57">
                <a:moveTo>
                  <a:pt x="2" y="0"/>
                </a:moveTo>
                <a:lnTo>
                  <a:pt x="7" y="3"/>
                </a:lnTo>
                <a:lnTo>
                  <a:pt x="7" y="3"/>
                </a:lnTo>
                <a:lnTo>
                  <a:pt x="7" y="5"/>
                </a:lnTo>
                <a:lnTo>
                  <a:pt x="7" y="8"/>
                </a:lnTo>
                <a:lnTo>
                  <a:pt x="10" y="10"/>
                </a:lnTo>
                <a:lnTo>
                  <a:pt x="12" y="8"/>
                </a:lnTo>
                <a:lnTo>
                  <a:pt x="17" y="8"/>
                </a:lnTo>
                <a:lnTo>
                  <a:pt x="17" y="10"/>
                </a:lnTo>
                <a:lnTo>
                  <a:pt x="20" y="10"/>
                </a:lnTo>
                <a:lnTo>
                  <a:pt x="25" y="10"/>
                </a:lnTo>
                <a:lnTo>
                  <a:pt x="29" y="10"/>
                </a:lnTo>
                <a:lnTo>
                  <a:pt x="32" y="10"/>
                </a:lnTo>
                <a:lnTo>
                  <a:pt x="34" y="8"/>
                </a:lnTo>
                <a:lnTo>
                  <a:pt x="39" y="10"/>
                </a:lnTo>
                <a:lnTo>
                  <a:pt x="42" y="10"/>
                </a:lnTo>
                <a:lnTo>
                  <a:pt x="47" y="10"/>
                </a:lnTo>
                <a:lnTo>
                  <a:pt x="49" y="10"/>
                </a:lnTo>
                <a:lnTo>
                  <a:pt x="52" y="8"/>
                </a:lnTo>
                <a:lnTo>
                  <a:pt x="54" y="5"/>
                </a:lnTo>
                <a:lnTo>
                  <a:pt x="64" y="3"/>
                </a:lnTo>
                <a:lnTo>
                  <a:pt x="66" y="0"/>
                </a:lnTo>
                <a:lnTo>
                  <a:pt x="71" y="0"/>
                </a:lnTo>
                <a:lnTo>
                  <a:pt x="76" y="3"/>
                </a:lnTo>
                <a:lnTo>
                  <a:pt x="79" y="5"/>
                </a:lnTo>
                <a:lnTo>
                  <a:pt x="81" y="5"/>
                </a:lnTo>
                <a:lnTo>
                  <a:pt x="86" y="5"/>
                </a:lnTo>
                <a:lnTo>
                  <a:pt x="86" y="8"/>
                </a:lnTo>
                <a:lnTo>
                  <a:pt x="91" y="8"/>
                </a:lnTo>
                <a:lnTo>
                  <a:pt x="91" y="8"/>
                </a:lnTo>
                <a:lnTo>
                  <a:pt x="89" y="15"/>
                </a:lnTo>
                <a:lnTo>
                  <a:pt x="89" y="15"/>
                </a:lnTo>
                <a:lnTo>
                  <a:pt x="84" y="15"/>
                </a:lnTo>
                <a:lnTo>
                  <a:pt x="81" y="20"/>
                </a:lnTo>
                <a:lnTo>
                  <a:pt x="81" y="27"/>
                </a:lnTo>
                <a:lnTo>
                  <a:pt x="81" y="30"/>
                </a:lnTo>
                <a:lnTo>
                  <a:pt x="76" y="32"/>
                </a:lnTo>
                <a:lnTo>
                  <a:pt x="76" y="35"/>
                </a:lnTo>
                <a:lnTo>
                  <a:pt x="79" y="35"/>
                </a:lnTo>
                <a:lnTo>
                  <a:pt x="81" y="40"/>
                </a:lnTo>
                <a:lnTo>
                  <a:pt x="84" y="42"/>
                </a:lnTo>
                <a:lnTo>
                  <a:pt x="84" y="42"/>
                </a:lnTo>
                <a:lnTo>
                  <a:pt x="81" y="42"/>
                </a:lnTo>
                <a:lnTo>
                  <a:pt x="79" y="45"/>
                </a:lnTo>
                <a:lnTo>
                  <a:pt x="74" y="40"/>
                </a:lnTo>
                <a:lnTo>
                  <a:pt x="69" y="40"/>
                </a:lnTo>
                <a:lnTo>
                  <a:pt x="69" y="42"/>
                </a:lnTo>
                <a:lnTo>
                  <a:pt x="66" y="42"/>
                </a:lnTo>
                <a:lnTo>
                  <a:pt x="64" y="45"/>
                </a:lnTo>
                <a:lnTo>
                  <a:pt x="64" y="45"/>
                </a:lnTo>
                <a:lnTo>
                  <a:pt x="61" y="45"/>
                </a:lnTo>
                <a:lnTo>
                  <a:pt x="57" y="49"/>
                </a:lnTo>
                <a:lnTo>
                  <a:pt x="57" y="52"/>
                </a:lnTo>
                <a:lnTo>
                  <a:pt x="59" y="54"/>
                </a:lnTo>
                <a:lnTo>
                  <a:pt x="57" y="57"/>
                </a:lnTo>
                <a:lnTo>
                  <a:pt x="49" y="57"/>
                </a:lnTo>
                <a:lnTo>
                  <a:pt x="47" y="57"/>
                </a:lnTo>
                <a:lnTo>
                  <a:pt x="44" y="57"/>
                </a:lnTo>
                <a:lnTo>
                  <a:pt x="42" y="57"/>
                </a:lnTo>
                <a:lnTo>
                  <a:pt x="39" y="57"/>
                </a:lnTo>
                <a:lnTo>
                  <a:pt x="37" y="57"/>
                </a:lnTo>
                <a:lnTo>
                  <a:pt x="37" y="54"/>
                </a:lnTo>
                <a:lnTo>
                  <a:pt x="32" y="54"/>
                </a:lnTo>
                <a:lnTo>
                  <a:pt x="27" y="54"/>
                </a:lnTo>
                <a:lnTo>
                  <a:pt x="25" y="57"/>
                </a:lnTo>
                <a:lnTo>
                  <a:pt x="22" y="57"/>
                </a:lnTo>
                <a:lnTo>
                  <a:pt x="17" y="57"/>
                </a:lnTo>
                <a:lnTo>
                  <a:pt x="15" y="57"/>
                </a:lnTo>
                <a:lnTo>
                  <a:pt x="15" y="57"/>
                </a:lnTo>
                <a:lnTo>
                  <a:pt x="15" y="54"/>
                </a:lnTo>
                <a:lnTo>
                  <a:pt x="15" y="49"/>
                </a:lnTo>
                <a:lnTo>
                  <a:pt x="10" y="42"/>
                </a:lnTo>
                <a:lnTo>
                  <a:pt x="2" y="37"/>
                </a:lnTo>
                <a:lnTo>
                  <a:pt x="2" y="37"/>
                </a:lnTo>
                <a:lnTo>
                  <a:pt x="5" y="35"/>
                </a:lnTo>
                <a:lnTo>
                  <a:pt x="2" y="32"/>
                </a:lnTo>
                <a:lnTo>
                  <a:pt x="2" y="30"/>
                </a:lnTo>
                <a:lnTo>
                  <a:pt x="7" y="25"/>
                </a:lnTo>
                <a:lnTo>
                  <a:pt x="10" y="22"/>
                </a:lnTo>
                <a:lnTo>
                  <a:pt x="7" y="17"/>
                </a:lnTo>
                <a:lnTo>
                  <a:pt x="2" y="13"/>
                </a:lnTo>
                <a:lnTo>
                  <a:pt x="0" y="8"/>
                </a:lnTo>
                <a:lnTo>
                  <a:pt x="2" y="5"/>
                </a:lnTo>
                <a:lnTo>
                  <a:pt x="2" y="0"/>
                </a:lnTo>
                <a:lnTo>
                  <a:pt x="2"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9" name="Freeform 58"/>
          <p:cNvSpPr>
            <a:spLocks/>
          </p:cNvSpPr>
          <p:nvPr/>
        </p:nvSpPr>
        <p:spPr bwMode="auto">
          <a:xfrm>
            <a:off x="5235159" y="3371076"/>
            <a:ext cx="65238" cy="49153"/>
          </a:xfrm>
          <a:custGeom>
            <a:avLst/>
            <a:gdLst/>
            <a:ahLst/>
            <a:cxnLst>
              <a:cxn ang="0">
                <a:pos x="27" y="0"/>
              </a:cxn>
              <a:cxn ang="0">
                <a:pos x="35" y="5"/>
              </a:cxn>
              <a:cxn ang="0">
                <a:pos x="40" y="12"/>
              </a:cxn>
              <a:cxn ang="0">
                <a:pos x="40" y="17"/>
              </a:cxn>
              <a:cxn ang="0">
                <a:pos x="40" y="20"/>
              </a:cxn>
              <a:cxn ang="0">
                <a:pos x="37" y="22"/>
              </a:cxn>
              <a:cxn ang="0">
                <a:pos x="35" y="22"/>
              </a:cxn>
              <a:cxn ang="0">
                <a:pos x="32" y="25"/>
              </a:cxn>
              <a:cxn ang="0">
                <a:pos x="25" y="25"/>
              </a:cxn>
              <a:cxn ang="0">
                <a:pos x="20" y="25"/>
              </a:cxn>
              <a:cxn ang="0">
                <a:pos x="20" y="27"/>
              </a:cxn>
              <a:cxn ang="0">
                <a:pos x="15" y="27"/>
              </a:cxn>
              <a:cxn ang="0">
                <a:pos x="10" y="32"/>
              </a:cxn>
              <a:cxn ang="0">
                <a:pos x="10" y="32"/>
              </a:cxn>
              <a:cxn ang="0">
                <a:pos x="8" y="30"/>
              </a:cxn>
              <a:cxn ang="0">
                <a:pos x="5" y="27"/>
              </a:cxn>
              <a:cxn ang="0">
                <a:pos x="3" y="22"/>
              </a:cxn>
              <a:cxn ang="0">
                <a:pos x="0" y="17"/>
              </a:cxn>
              <a:cxn ang="0">
                <a:pos x="3" y="10"/>
              </a:cxn>
              <a:cxn ang="0">
                <a:pos x="3" y="12"/>
              </a:cxn>
              <a:cxn ang="0">
                <a:pos x="3" y="10"/>
              </a:cxn>
              <a:cxn ang="0">
                <a:pos x="3" y="8"/>
              </a:cxn>
              <a:cxn ang="0">
                <a:pos x="8" y="5"/>
              </a:cxn>
              <a:cxn ang="0">
                <a:pos x="10" y="5"/>
              </a:cxn>
              <a:cxn ang="0">
                <a:pos x="13" y="3"/>
              </a:cxn>
              <a:cxn ang="0">
                <a:pos x="20" y="3"/>
              </a:cxn>
              <a:cxn ang="0">
                <a:pos x="22" y="3"/>
              </a:cxn>
              <a:cxn ang="0">
                <a:pos x="25" y="0"/>
              </a:cxn>
              <a:cxn ang="0">
                <a:pos x="27" y="0"/>
              </a:cxn>
              <a:cxn ang="0">
                <a:pos x="27" y="0"/>
              </a:cxn>
            </a:cxnLst>
            <a:rect l="0" t="0" r="r" b="b"/>
            <a:pathLst>
              <a:path w="40" h="32">
                <a:moveTo>
                  <a:pt x="27" y="0"/>
                </a:moveTo>
                <a:lnTo>
                  <a:pt x="35" y="5"/>
                </a:lnTo>
                <a:lnTo>
                  <a:pt x="40" y="12"/>
                </a:lnTo>
                <a:lnTo>
                  <a:pt x="40" y="17"/>
                </a:lnTo>
                <a:lnTo>
                  <a:pt x="40" y="20"/>
                </a:lnTo>
                <a:lnTo>
                  <a:pt x="37" y="22"/>
                </a:lnTo>
                <a:lnTo>
                  <a:pt x="35" y="22"/>
                </a:lnTo>
                <a:lnTo>
                  <a:pt x="32" y="25"/>
                </a:lnTo>
                <a:lnTo>
                  <a:pt x="25" y="25"/>
                </a:lnTo>
                <a:lnTo>
                  <a:pt x="20" y="25"/>
                </a:lnTo>
                <a:lnTo>
                  <a:pt x="20" y="27"/>
                </a:lnTo>
                <a:lnTo>
                  <a:pt x="15" y="27"/>
                </a:lnTo>
                <a:lnTo>
                  <a:pt x="10" y="32"/>
                </a:lnTo>
                <a:lnTo>
                  <a:pt x="10" y="32"/>
                </a:lnTo>
                <a:lnTo>
                  <a:pt x="8" y="30"/>
                </a:lnTo>
                <a:lnTo>
                  <a:pt x="5" y="27"/>
                </a:lnTo>
                <a:lnTo>
                  <a:pt x="3" y="22"/>
                </a:lnTo>
                <a:lnTo>
                  <a:pt x="0" y="17"/>
                </a:lnTo>
                <a:lnTo>
                  <a:pt x="3" y="10"/>
                </a:lnTo>
                <a:lnTo>
                  <a:pt x="3" y="12"/>
                </a:lnTo>
                <a:lnTo>
                  <a:pt x="3" y="10"/>
                </a:lnTo>
                <a:lnTo>
                  <a:pt x="3" y="8"/>
                </a:lnTo>
                <a:lnTo>
                  <a:pt x="8" y="5"/>
                </a:lnTo>
                <a:lnTo>
                  <a:pt x="10" y="5"/>
                </a:lnTo>
                <a:lnTo>
                  <a:pt x="13" y="3"/>
                </a:lnTo>
                <a:lnTo>
                  <a:pt x="20" y="3"/>
                </a:lnTo>
                <a:lnTo>
                  <a:pt x="22" y="3"/>
                </a:lnTo>
                <a:lnTo>
                  <a:pt x="25" y="0"/>
                </a:lnTo>
                <a:lnTo>
                  <a:pt x="27" y="0"/>
                </a:lnTo>
                <a:lnTo>
                  <a:pt x="27"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0" name="Freeform 59"/>
          <p:cNvSpPr>
            <a:spLocks/>
          </p:cNvSpPr>
          <p:nvPr/>
        </p:nvSpPr>
        <p:spPr bwMode="auto">
          <a:xfrm>
            <a:off x="5204170" y="3363397"/>
            <a:ext cx="47299" cy="87555"/>
          </a:xfrm>
          <a:custGeom>
            <a:avLst/>
            <a:gdLst/>
            <a:ahLst/>
            <a:cxnLst>
              <a:cxn ang="0">
                <a:pos x="22" y="15"/>
              </a:cxn>
              <a:cxn ang="0">
                <a:pos x="19" y="22"/>
              </a:cxn>
              <a:cxn ang="0">
                <a:pos x="22" y="27"/>
              </a:cxn>
              <a:cxn ang="0">
                <a:pos x="24" y="32"/>
              </a:cxn>
              <a:cxn ang="0">
                <a:pos x="27" y="35"/>
              </a:cxn>
              <a:cxn ang="0">
                <a:pos x="29" y="37"/>
              </a:cxn>
              <a:cxn ang="0">
                <a:pos x="29" y="42"/>
              </a:cxn>
              <a:cxn ang="0">
                <a:pos x="27" y="47"/>
              </a:cxn>
              <a:cxn ang="0">
                <a:pos x="19" y="47"/>
              </a:cxn>
              <a:cxn ang="0">
                <a:pos x="19" y="52"/>
              </a:cxn>
              <a:cxn ang="0">
                <a:pos x="17" y="57"/>
              </a:cxn>
              <a:cxn ang="0">
                <a:pos x="14" y="57"/>
              </a:cxn>
              <a:cxn ang="0">
                <a:pos x="12" y="54"/>
              </a:cxn>
              <a:cxn ang="0">
                <a:pos x="10" y="47"/>
              </a:cxn>
              <a:cxn ang="0">
                <a:pos x="5" y="47"/>
              </a:cxn>
              <a:cxn ang="0">
                <a:pos x="2" y="45"/>
              </a:cxn>
              <a:cxn ang="0">
                <a:pos x="5" y="42"/>
              </a:cxn>
              <a:cxn ang="0">
                <a:pos x="2" y="40"/>
              </a:cxn>
              <a:cxn ang="0">
                <a:pos x="2" y="35"/>
              </a:cxn>
              <a:cxn ang="0">
                <a:pos x="5" y="32"/>
              </a:cxn>
              <a:cxn ang="0">
                <a:pos x="2" y="27"/>
              </a:cxn>
              <a:cxn ang="0">
                <a:pos x="2" y="20"/>
              </a:cxn>
              <a:cxn ang="0">
                <a:pos x="5" y="20"/>
              </a:cxn>
              <a:cxn ang="0">
                <a:pos x="5" y="17"/>
              </a:cxn>
              <a:cxn ang="0">
                <a:pos x="0" y="15"/>
              </a:cxn>
              <a:cxn ang="0">
                <a:pos x="0" y="10"/>
              </a:cxn>
              <a:cxn ang="0">
                <a:pos x="2" y="5"/>
              </a:cxn>
              <a:cxn ang="0">
                <a:pos x="7" y="0"/>
              </a:cxn>
              <a:cxn ang="0">
                <a:pos x="7" y="3"/>
              </a:cxn>
              <a:cxn ang="0">
                <a:pos x="10" y="5"/>
              </a:cxn>
              <a:cxn ang="0">
                <a:pos x="12" y="0"/>
              </a:cxn>
              <a:cxn ang="0">
                <a:pos x="12" y="0"/>
              </a:cxn>
              <a:cxn ang="0">
                <a:pos x="12" y="3"/>
              </a:cxn>
              <a:cxn ang="0">
                <a:pos x="14" y="5"/>
              </a:cxn>
              <a:cxn ang="0">
                <a:pos x="17" y="5"/>
              </a:cxn>
              <a:cxn ang="0">
                <a:pos x="19" y="8"/>
              </a:cxn>
              <a:cxn ang="0">
                <a:pos x="19" y="10"/>
              </a:cxn>
              <a:cxn ang="0">
                <a:pos x="19" y="15"/>
              </a:cxn>
              <a:cxn ang="0">
                <a:pos x="22" y="15"/>
              </a:cxn>
              <a:cxn ang="0">
                <a:pos x="22" y="15"/>
              </a:cxn>
            </a:cxnLst>
            <a:rect l="0" t="0" r="r" b="b"/>
            <a:pathLst>
              <a:path w="29" h="57">
                <a:moveTo>
                  <a:pt x="22" y="15"/>
                </a:moveTo>
                <a:lnTo>
                  <a:pt x="19" y="22"/>
                </a:lnTo>
                <a:lnTo>
                  <a:pt x="22" y="27"/>
                </a:lnTo>
                <a:lnTo>
                  <a:pt x="24" y="32"/>
                </a:lnTo>
                <a:lnTo>
                  <a:pt x="27" y="35"/>
                </a:lnTo>
                <a:lnTo>
                  <a:pt x="29" y="37"/>
                </a:lnTo>
                <a:lnTo>
                  <a:pt x="29" y="42"/>
                </a:lnTo>
                <a:lnTo>
                  <a:pt x="27" y="47"/>
                </a:lnTo>
                <a:lnTo>
                  <a:pt x="19" y="47"/>
                </a:lnTo>
                <a:lnTo>
                  <a:pt x="19" y="52"/>
                </a:lnTo>
                <a:lnTo>
                  <a:pt x="17" y="57"/>
                </a:lnTo>
                <a:lnTo>
                  <a:pt x="14" y="57"/>
                </a:lnTo>
                <a:lnTo>
                  <a:pt x="12" y="54"/>
                </a:lnTo>
                <a:lnTo>
                  <a:pt x="10" y="47"/>
                </a:lnTo>
                <a:lnTo>
                  <a:pt x="5" y="47"/>
                </a:lnTo>
                <a:lnTo>
                  <a:pt x="2" y="45"/>
                </a:lnTo>
                <a:lnTo>
                  <a:pt x="5" y="42"/>
                </a:lnTo>
                <a:lnTo>
                  <a:pt x="2" y="40"/>
                </a:lnTo>
                <a:lnTo>
                  <a:pt x="2" y="35"/>
                </a:lnTo>
                <a:lnTo>
                  <a:pt x="5" y="32"/>
                </a:lnTo>
                <a:lnTo>
                  <a:pt x="2" y="27"/>
                </a:lnTo>
                <a:lnTo>
                  <a:pt x="2" y="20"/>
                </a:lnTo>
                <a:lnTo>
                  <a:pt x="5" y="20"/>
                </a:lnTo>
                <a:lnTo>
                  <a:pt x="5" y="17"/>
                </a:lnTo>
                <a:lnTo>
                  <a:pt x="0" y="15"/>
                </a:lnTo>
                <a:lnTo>
                  <a:pt x="0" y="10"/>
                </a:lnTo>
                <a:lnTo>
                  <a:pt x="2" y="5"/>
                </a:lnTo>
                <a:lnTo>
                  <a:pt x="7" y="0"/>
                </a:lnTo>
                <a:lnTo>
                  <a:pt x="7" y="3"/>
                </a:lnTo>
                <a:lnTo>
                  <a:pt x="10" y="5"/>
                </a:lnTo>
                <a:lnTo>
                  <a:pt x="12" y="0"/>
                </a:lnTo>
                <a:lnTo>
                  <a:pt x="12" y="0"/>
                </a:lnTo>
                <a:lnTo>
                  <a:pt x="12" y="3"/>
                </a:lnTo>
                <a:lnTo>
                  <a:pt x="14" y="5"/>
                </a:lnTo>
                <a:lnTo>
                  <a:pt x="17" y="5"/>
                </a:lnTo>
                <a:lnTo>
                  <a:pt x="19" y="8"/>
                </a:lnTo>
                <a:lnTo>
                  <a:pt x="19" y="10"/>
                </a:lnTo>
                <a:lnTo>
                  <a:pt x="19" y="15"/>
                </a:lnTo>
                <a:lnTo>
                  <a:pt x="22" y="15"/>
                </a:lnTo>
                <a:lnTo>
                  <a:pt x="22"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1" name="Freeform 60"/>
          <p:cNvSpPr>
            <a:spLocks/>
          </p:cNvSpPr>
          <p:nvPr/>
        </p:nvSpPr>
        <p:spPr bwMode="auto">
          <a:xfrm>
            <a:off x="5187861" y="3262018"/>
            <a:ext cx="104381" cy="127492"/>
          </a:xfrm>
          <a:custGeom>
            <a:avLst/>
            <a:gdLst/>
            <a:ahLst/>
            <a:cxnLst>
              <a:cxn ang="0">
                <a:pos x="2" y="5"/>
              </a:cxn>
              <a:cxn ang="0">
                <a:pos x="7" y="5"/>
              </a:cxn>
              <a:cxn ang="0">
                <a:pos x="12" y="0"/>
              </a:cxn>
              <a:cxn ang="0">
                <a:pos x="20" y="0"/>
              </a:cxn>
              <a:cxn ang="0">
                <a:pos x="24" y="5"/>
              </a:cxn>
              <a:cxn ang="0">
                <a:pos x="29" y="12"/>
              </a:cxn>
              <a:cxn ang="0">
                <a:pos x="39" y="20"/>
              </a:cxn>
              <a:cxn ang="0">
                <a:pos x="37" y="24"/>
              </a:cxn>
              <a:cxn ang="0">
                <a:pos x="44" y="27"/>
              </a:cxn>
              <a:cxn ang="0">
                <a:pos x="49" y="29"/>
              </a:cxn>
              <a:cxn ang="0">
                <a:pos x="56" y="27"/>
              </a:cxn>
              <a:cxn ang="0">
                <a:pos x="56" y="32"/>
              </a:cxn>
              <a:cxn ang="0">
                <a:pos x="54" y="42"/>
              </a:cxn>
              <a:cxn ang="0">
                <a:pos x="61" y="51"/>
              </a:cxn>
              <a:cxn ang="0">
                <a:pos x="61" y="59"/>
              </a:cxn>
              <a:cxn ang="0">
                <a:pos x="56" y="66"/>
              </a:cxn>
              <a:cxn ang="0">
                <a:pos x="56" y="71"/>
              </a:cxn>
              <a:cxn ang="0">
                <a:pos x="51" y="74"/>
              </a:cxn>
              <a:cxn ang="0">
                <a:pos x="42" y="74"/>
              </a:cxn>
              <a:cxn ang="0">
                <a:pos x="37" y="76"/>
              </a:cxn>
              <a:cxn ang="0">
                <a:pos x="32" y="81"/>
              </a:cxn>
              <a:cxn ang="0">
                <a:pos x="29" y="81"/>
              </a:cxn>
              <a:cxn ang="0">
                <a:pos x="29" y="74"/>
              </a:cxn>
              <a:cxn ang="0">
                <a:pos x="24" y="71"/>
              </a:cxn>
              <a:cxn ang="0">
                <a:pos x="22" y="66"/>
              </a:cxn>
              <a:cxn ang="0">
                <a:pos x="24" y="64"/>
              </a:cxn>
              <a:cxn ang="0">
                <a:pos x="20" y="59"/>
              </a:cxn>
              <a:cxn ang="0">
                <a:pos x="15" y="56"/>
              </a:cxn>
              <a:cxn ang="0">
                <a:pos x="12" y="54"/>
              </a:cxn>
              <a:cxn ang="0">
                <a:pos x="10" y="49"/>
              </a:cxn>
              <a:cxn ang="0">
                <a:pos x="7" y="42"/>
              </a:cxn>
              <a:cxn ang="0">
                <a:pos x="12" y="42"/>
              </a:cxn>
              <a:cxn ang="0">
                <a:pos x="10" y="39"/>
              </a:cxn>
              <a:cxn ang="0">
                <a:pos x="5" y="34"/>
              </a:cxn>
              <a:cxn ang="0">
                <a:pos x="7" y="27"/>
              </a:cxn>
              <a:cxn ang="0">
                <a:pos x="5" y="24"/>
              </a:cxn>
              <a:cxn ang="0">
                <a:pos x="2" y="24"/>
              </a:cxn>
              <a:cxn ang="0">
                <a:pos x="7" y="20"/>
              </a:cxn>
              <a:cxn ang="0">
                <a:pos x="7" y="20"/>
              </a:cxn>
              <a:cxn ang="0">
                <a:pos x="2" y="17"/>
              </a:cxn>
              <a:cxn ang="0">
                <a:pos x="0" y="7"/>
              </a:cxn>
              <a:cxn ang="0">
                <a:pos x="0" y="7"/>
              </a:cxn>
            </a:cxnLst>
            <a:rect l="0" t="0" r="r" b="b"/>
            <a:pathLst>
              <a:path w="64" h="83">
                <a:moveTo>
                  <a:pt x="0" y="7"/>
                </a:moveTo>
                <a:lnTo>
                  <a:pt x="2" y="5"/>
                </a:lnTo>
                <a:lnTo>
                  <a:pt x="5" y="5"/>
                </a:lnTo>
                <a:lnTo>
                  <a:pt x="7" y="5"/>
                </a:lnTo>
                <a:lnTo>
                  <a:pt x="10" y="2"/>
                </a:lnTo>
                <a:lnTo>
                  <a:pt x="12" y="0"/>
                </a:lnTo>
                <a:lnTo>
                  <a:pt x="15" y="0"/>
                </a:lnTo>
                <a:lnTo>
                  <a:pt x="20" y="0"/>
                </a:lnTo>
                <a:lnTo>
                  <a:pt x="24" y="2"/>
                </a:lnTo>
                <a:lnTo>
                  <a:pt x="24" y="5"/>
                </a:lnTo>
                <a:lnTo>
                  <a:pt x="29" y="10"/>
                </a:lnTo>
                <a:lnTo>
                  <a:pt x="29" y="12"/>
                </a:lnTo>
                <a:lnTo>
                  <a:pt x="34" y="15"/>
                </a:lnTo>
                <a:lnTo>
                  <a:pt x="39" y="20"/>
                </a:lnTo>
                <a:lnTo>
                  <a:pt x="37" y="22"/>
                </a:lnTo>
                <a:lnTo>
                  <a:pt x="37" y="24"/>
                </a:lnTo>
                <a:lnTo>
                  <a:pt x="42" y="24"/>
                </a:lnTo>
                <a:lnTo>
                  <a:pt x="44" y="27"/>
                </a:lnTo>
                <a:lnTo>
                  <a:pt x="47" y="27"/>
                </a:lnTo>
                <a:lnTo>
                  <a:pt x="49" y="29"/>
                </a:lnTo>
                <a:lnTo>
                  <a:pt x="51" y="24"/>
                </a:lnTo>
                <a:lnTo>
                  <a:pt x="56" y="27"/>
                </a:lnTo>
                <a:lnTo>
                  <a:pt x="54" y="29"/>
                </a:lnTo>
                <a:lnTo>
                  <a:pt x="56" y="32"/>
                </a:lnTo>
                <a:lnTo>
                  <a:pt x="56" y="39"/>
                </a:lnTo>
                <a:lnTo>
                  <a:pt x="54" y="42"/>
                </a:lnTo>
                <a:lnTo>
                  <a:pt x="56" y="47"/>
                </a:lnTo>
                <a:lnTo>
                  <a:pt x="61" y="51"/>
                </a:lnTo>
                <a:lnTo>
                  <a:pt x="64" y="56"/>
                </a:lnTo>
                <a:lnTo>
                  <a:pt x="61" y="59"/>
                </a:lnTo>
                <a:lnTo>
                  <a:pt x="56" y="64"/>
                </a:lnTo>
                <a:lnTo>
                  <a:pt x="56" y="66"/>
                </a:lnTo>
                <a:lnTo>
                  <a:pt x="59" y="69"/>
                </a:lnTo>
                <a:lnTo>
                  <a:pt x="56" y="71"/>
                </a:lnTo>
                <a:lnTo>
                  <a:pt x="54" y="71"/>
                </a:lnTo>
                <a:lnTo>
                  <a:pt x="51" y="74"/>
                </a:lnTo>
                <a:lnTo>
                  <a:pt x="49" y="74"/>
                </a:lnTo>
                <a:lnTo>
                  <a:pt x="42" y="74"/>
                </a:lnTo>
                <a:lnTo>
                  <a:pt x="39" y="76"/>
                </a:lnTo>
                <a:lnTo>
                  <a:pt x="37" y="76"/>
                </a:lnTo>
                <a:lnTo>
                  <a:pt x="32" y="79"/>
                </a:lnTo>
                <a:lnTo>
                  <a:pt x="32" y="81"/>
                </a:lnTo>
                <a:lnTo>
                  <a:pt x="32" y="83"/>
                </a:lnTo>
                <a:lnTo>
                  <a:pt x="29" y="81"/>
                </a:lnTo>
                <a:lnTo>
                  <a:pt x="29" y="76"/>
                </a:lnTo>
                <a:lnTo>
                  <a:pt x="29" y="74"/>
                </a:lnTo>
                <a:lnTo>
                  <a:pt x="27" y="71"/>
                </a:lnTo>
                <a:lnTo>
                  <a:pt x="24" y="71"/>
                </a:lnTo>
                <a:lnTo>
                  <a:pt x="22" y="69"/>
                </a:lnTo>
                <a:lnTo>
                  <a:pt x="22" y="66"/>
                </a:lnTo>
                <a:lnTo>
                  <a:pt x="22" y="66"/>
                </a:lnTo>
                <a:lnTo>
                  <a:pt x="24" y="64"/>
                </a:lnTo>
                <a:lnTo>
                  <a:pt x="24" y="59"/>
                </a:lnTo>
                <a:lnTo>
                  <a:pt x="20" y="59"/>
                </a:lnTo>
                <a:lnTo>
                  <a:pt x="17" y="56"/>
                </a:lnTo>
                <a:lnTo>
                  <a:pt x="15" y="56"/>
                </a:lnTo>
                <a:lnTo>
                  <a:pt x="12" y="56"/>
                </a:lnTo>
                <a:lnTo>
                  <a:pt x="12" y="54"/>
                </a:lnTo>
                <a:lnTo>
                  <a:pt x="10" y="49"/>
                </a:lnTo>
                <a:lnTo>
                  <a:pt x="10" y="49"/>
                </a:lnTo>
                <a:lnTo>
                  <a:pt x="7" y="44"/>
                </a:lnTo>
                <a:lnTo>
                  <a:pt x="7" y="42"/>
                </a:lnTo>
                <a:lnTo>
                  <a:pt x="10" y="39"/>
                </a:lnTo>
                <a:lnTo>
                  <a:pt x="12" y="42"/>
                </a:lnTo>
                <a:lnTo>
                  <a:pt x="12" y="39"/>
                </a:lnTo>
                <a:lnTo>
                  <a:pt x="10" y="39"/>
                </a:lnTo>
                <a:lnTo>
                  <a:pt x="10" y="37"/>
                </a:lnTo>
                <a:lnTo>
                  <a:pt x="5" y="34"/>
                </a:lnTo>
                <a:lnTo>
                  <a:pt x="5" y="32"/>
                </a:lnTo>
                <a:lnTo>
                  <a:pt x="7" y="27"/>
                </a:lnTo>
                <a:lnTo>
                  <a:pt x="7" y="24"/>
                </a:lnTo>
                <a:lnTo>
                  <a:pt x="5" y="24"/>
                </a:lnTo>
                <a:lnTo>
                  <a:pt x="5" y="24"/>
                </a:lnTo>
                <a:lnTo>
                  <a:pt x="2" y="24"/>
                </a:lnTo>
                <a:lnTo>
                  <a:pt x="2" y="22"/>
                </a:lnTo>
                <a:lnTo>
                  <a:pt x="7" y="20"/>
                </a:lnTo>
                <a:lnTo>
                  <a:pt x="7" y="20"/>
                </a:lnTo>
                <a:lnTo>
                  <a:pt x="7" y="20"/>
                </a:lnTo>
                <a:lnTo>
                  <a:pt x="5" y="17"/>
                </a:lnTo>
                <a:lnTo>
                  <a:pt x="2" y="17"/>
                </a:lnTo>
                <a:lnTo>
                  <a:pt x="2" y="12"/>
                </a:lnTo>
                <a:lnTo>
                  <a:pt x="0" y="7"/>
                </a:lnTo>
                <a:lnTo>
                  <a:pt x="0" y="7"/>
                </a:lnTo>
                <a:lnTo>
                  <a:pt x="0"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Freeform 61"/>
          <p:cNvSpPr>
            <a:spLocks/>
          </p:cNvSpPr>
          <p:nvPr/>
        </p:nvSpPr>
        <p:spPr bwMode="auto">
          <a:xfrm>
            <a:off x="5182969" y="3334211"/>
            <a:ext cx="44036" cy="52225"/>
          </a:xfrm>
          <a:custGeom>
            <a:avLst/>
            <a:gdLst/>
            <a:ahLst/>
            <a:cxnLst>
              <a:cxn ang="0">
                <a:pos x="13" y="34"/>
              </a:cxn>
              <a:cxn ang="0">
                <a:pos x="13" y="29"/>
              </a:cxn>
              <a:cxn ang="0">
                <a:pos x="15" y="24"/>
              </a:cxn>
              <a:cxn ang="0">
                <a:pos x="20" y="19"/>
              </a:cxn>
              <a:cxn ang="0">
                <a:pos x="20" y="22"/>
              </a:cxn>
              <a:cxn ang="0">
                <a:pos x="23" y="24"/>
              </a:cxn>
              <a:cxn ang="0">
                <a:pos x="25" y="19"/>
              </a:cxn>
              <a:cxn ang="0">
                <a:pos x="25" y="19"/>
              </a:cxn>
              <a:cxn ang="0">
                <a:pos x="27" y="17"/>
              </a:cxn>
              <a:cxn ang="0">
                <a:pos x="27" y="12"/>
              </a:cxn>
              <a:cxn ang="0">
                <a:pos x="23" y="12"/>
              </a:cxn>
              <a:cxn ang="0">
                <a:pos x="20" y="9"/>
              </a:cxn>
              <a:cxn ang="0">
                <a:pos x="18" y="9"/>
              </a:cxn>
              <a:cxn ang="0">
                <a:pos x="15" y="9"/>
              </a:cxn>
              <a:cxn ang="0">
                <a:pos x="15" y="7"/>
              </a:cxn>
              <a:cxn ang="0">
                <a:pos x="13" y="2"/>
              </a:cxn>
              <a:cxn ang="0">
                <a:pos x="13" y="2"/>
              </a:cxn>
              <a:cxn ang="0">
                <a:pos x="10" y="2"/>
              </a:cxn>
              <a:cxn ang="0">
                <a:pos x="8" y="0"/>
              </a:cxn>
              <a:cxn ang="0">
                <a:pos x="5" y="2"/>
              </a:cxn>
              <a:cxn ang="0">
                <a:pos x="5" y="4"/>
              </a:cxn>
              <a:cxn ang="0">
                <a:pos x="8" y="4"/>
              </a:cxn>
              <a:cxn ang="0">
                <a:pos x="8" y="7"/>
              </a:cxn>
              <a:cxn ang="0">
                <a:pos x="5" y="9"/>
              </a:cxn>
              <a:cxn ang="0">
                <a:pos x="5" y="9"/>
              </a:cxn>
              <a:cxn ang="0">
                <a:pos x="3" y="12"/>
              </a:cxn>
              <a:cxn ang="0">
                <a:pos x="3" y="17"/>
              </a:cxn>
              <a:cxn ang="0">
                <a:pos x="0" y="19"/>
              </a:cxn>
              <a:cxn ang="0">
                <a:pos x="0" y="19"/>
              </a:cxn>
              <a:cxn ang="0">
                <a:pos x="0" y="22"/>
              </a:cxn>
              <a:cxn ang="0">
                <a:pos x="3" y="24"/>
              </a:cxn>
              <a:cxn ang="0">
                <a:pos x="10" y="32"/>
              </a:cxn>
              <a:cxn ang="0">
                <a:pos x="10" y="32"/>
              </a:cxn>
              <a:cxn ang="0">
                <a:pos x="13" y="34"/>
              </a:cxn>
              <a:cxn ang="0">
                <a:pos x="13" y="34"/>
              </a:cxn>
            </a:cxnLst>
            <a:rect l="0" t="0" r="r" b="b"/>
            <a:pathLst>
              <a:path w="27" h="34">
                <a:moveTo>
                  <a:pt x="13" y="34"/>
                </a:moveTo>
                <a:lnTo>
                  <a:pt x="13" y="29"/>
                </a:lnTo>
                <a:lnTo>
                  <a:pt x="15" y="24"/>
                </a:lnTo>
                <a:lnTo>
                  <a:pt x="20" y="19"/>
                </a:lnTo>
                <a:lnTo>
                  <a:pt x="20" y="22"/>
                </a:lnTo>
                <a:lnTo>
                  <a:pt x="23" y="24"/>
                </a:lnTo>
                <a:lnTo>
                  <a:pt x="25" y="19"/>
                </a:lnTo>
                <a:lnTo>
                  <a:pt x="25" y="19"/>
                </a:lnTo>
                <a:lnTo>
                  <a:pt x="27" y="17"/>
                </a:lnTo>
                <a:lnTo>
                  <a:pt x="27" y="12"/>
                </a:lnTo>
                <a:lnTo>
                  <a:pt x="23" y="12"/>
                </a:lnTo>
                <a:lnTo>
                  <a:pt x="20" y="9"/>
                </a:lnTo>
                <a:lnTo>
                  <a:pt x="18" y="9"/>
                </a:lnTo>
                <a:lnTo>
                  <a:pt x="15" y="9"/>
                </a:lnTo>
                <a:lnTo>
                  <a:pt x="15" y="7"/>
                </a:lnTo>
                <a:lnTo>
                  <a:pt x="13" y="2"/>
                </a:lnTo>
                <a:lnTo>
                  <a:pt x="13" y="2"/>
                </a:lnTo>
                <a:lnTo>
                  <a:pt x="10" y="2"/>
                </a:lnTo>
                <a:lnTo>
                  <a:pt x="8" y="0"/>
                </a:lnTo>
                <a:lnTo>
                  <a:pt x="5" y="2"/>
                </a:lnTo>
                <a:lnTo>
                  <a:pt x="5" y="4"/>
                </a:lnTo>
                <a:lnTo>
                  <a:pt x="8" y="4"/>
                </a:lnTo>
                <a:lnTo>
                  <a:pt x="8" y="7"/>
                </a:lnTo>
                <a:lnTo>
                  <a:pt x="5" y="9"/>
                </a:lnTo>
                <a:lnTo>
                  <a:pt x="5" y="9"/>
                </a:lnTo>
                <a:lnTo>
                  <a:pt x="3" y="12"/>
                </a:lnTo>
                <a:lnTo>
                  <a:pt x="3" y="17"/>
                </a:lnTo>
                <a:lnTo>
                  <a:pt x="0" y="19"/>
                </a:lnTo>
                <a:lnTo>
                  <a:pt x="0" y="19"/>
                </a:lnTo>
                <a:lnTo>
                  <a:pt x="0" y="22"/>
                </a:lnTo>
                <a:lnTo>
                  <a:pt x="3" y="24"/>
                </a:lnTo>
                <a:lnTo>
                  <a:pt x="10" y="32"/>
                </a:lnTo>
                <a:lnTo>
                  <a:pt x="10" y="32"/>
                </a:lnTo>
                <a:lnTo>
                  <a:pt x="13" y="34"/>
                </a:lnTo>
                <a:lnTo>
                  <a:pt x="13" y="3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Freeform 62"/>
          <p:cNvSpPr>
            <a:spLocks noEditPoints="1"/>
          </p:cNvSpPr>
          <p:nvPr/>
        </p:nvSpPr>
        <p:spPr bwMode="auto">
          <a:xfrm>
            <a:off x="5063908" y="3257409"/>
            <a:ext cx="135370" cy="98306"/>
          </a:xfrm>
          <a:custGeom>
            <a:avLst/>
            <a:gdLst/>
            <a:ahLst/>
            <a:cxnLst>
              <a:cxn ang="0">
                <a:pos x="83" y="23"/>
              </a:cxn>
              <a:cxn ang="0">
                <a:pos x="81" y="20"/>
              </a:cxn>
              <a:cxn ang="0">
                <a:pos x="76" y="10"/>
              </a:cxn>
              <a:cxn ang="0">
                <a:pos x="71" y="13"/>
              </a:cxn>
              <a:cxn ang="0">
                <a:pos x="56" y="8"/>
              </a:cxn>
              <a:cxn ang="0">
                <a:pos x="46" y="0"/>
              </a:cxn>
              <a:cxn ang="0">
                <a:pos x="36" y="0"/>
              </a:cxn>
              <a:cxn ang="0">
                <a:pos x="22" y="13"/>
              </a:cxn>
              <a:cxn ang="0">
                <a:pos x="17" y="18"/>
              </a:cxn>
              <a:cxn ang="0">
                <a:pos x="4" y="18"/>
              </a:cxn>
              <a:cxn ang="0">
                <a:pos x="0" y="25"/>
              </a:cxn>
              <a:cxn ang="0">
                <a:pos x="4" y="30"/>
              </a:cxn>
              <a:cxn ang="0">
                <a:pos x="12" y="20"/>
              </a:cxn>
              <a:cxn ang="0">
                <a:pos x="17" y="23"/>
              </a:cxn>
              <a:cxn ang="0">
                <a:pos x="22" y="32"/>
              </a:cxn>
              <a:cxn ang="0">
                <a:pos x="29" y="37"/>
              </a:cxn>
              <a:cxn ang="0">
                <a:pos x="27" y="40"/>
              </a:cxn>
              <a:cxn ang="0">
                <a:pos x="27" y="45"/>
              </a:cxn>
              <a:cxn ang="0">
                <a:pos x="36" y="50"/>
              </a:cxn>
              <a:cxn ang="0">
                <a:pos x="39" y="54"/>
              </a:cxn>
              <a:cxn ang="0">
                <a:pos x="54" y="57"/>
              </a:cxn>
              <a:cxn ang="0">
                <a:pos x="59" y="64"/>
              </a:cxn>
              <a:cxn ang="0">
                <a:pos x="61" y="64"/>
              </a:cxn>
              <a:cxn ang="0">
                <a:pos x="51" y="50"/>
              </a:cxn>
              <a:cxn ang="0">
                <a:pos x="36" y="37"/>
              </a:cxn>
              <a:cxn ang="0">
                <a:pos x="36" y="32"/>
              </a:cxn>
              <a:cxn ang="0">
                <a:pos x="32" y="25"/>
              </a:cxn>
              <a:cxn ang="0">
                <a:pos x="34" y="20"/>
              </a:cxn>
              <a:cxn ang="0">
                <a:pos x="39" y="25"/>
              </a:cxn>
              <a:cxn ang="0">
                <a:pos x="44" y="20"/>
              </a:cxn>
              <a:cxn ang="0">
                <a:pos x="49" y="20"/>
              </a:cxn>
              <a:cxn ang="0">
                <a:pos x="54" y="20"/>
              </a:cxn>
              <a:cxn ang="0">
                <a:pos x="59" y="23"/>
              </a:cxn>
              <a:cxn ang="0">
                <a:pos x="64" y="23"/>
              </a:cxn>
              <a:cxn ang="0">
                <a:pos x="71" y="23"/>
              </a:cxn>
              <a:cxn ang="0">
                <a:pos x="78" y="25"/>
              </a:cxn>
              <a:cxn ang="0">
                <a:pos x="54" y="62"/>
              </a:cxn>
              <a:cxn ang="0">
                <a:pos x="46" y="62"/>
              </a:cxn>
              <a:cxn ang="0">
                <a:pos x="51" y="59"/>
              </a:cxn>
              <a:cxn ang="0">
                <a:pos x="44" y="57"/>
              </a:cxn>
              <a:cxn ang="0">
                <a:pos x="51" y="57"/>
              </a:cxn>
              <a:cxn ang="0">
                <a:pos x="44" y="57"/>
              </a:cxn>
              <a:cxn ang="0">
                <a:pos x="24" y="37"/>
              </a:cxn>
              <a:cxn ang="0">
                <a:pos x="22" y="37"/>
              </a:cxn>
              <a:cxn ang="0">
                <a:pos x="22" y="35"/>
              </a:cxn>
              <a:cxn ang="0">
                <a:pos x="19" y="42"/>
              </a:cxn>
              <a:cxn ang="0">
                <a:pos x="24" y="47"/>
              </a:cxn>
              <a:cxn ang="0">
                <a:pos x="19" y="37"/>
              </a:cxn>
              <a:cxn ang="0">
                <a:pos x="17" y="37"/>
              </a:cxn>
              <a:cxn ang="0">
                <a:pos x="17" y="35"/>
              </a:cxn>
              <a:cxn ang="0">
                <a:pos x="12" y="32"/>
              </a:cxn>
              <a:cxn ang="0">
                <a:pos x="14" y="23"/>
              </a:cxn>
              <a:cxn ang="0">
                <a:pos x="14" y="27"/>
              </a:cxn>
              <a:cxn ang="0">
                <a:pos x="12" y="23"/>
              </a:cxn>
            </a:cxnLst>
            <a:rect l="0" t="0" r="r" b="b"/>
            <a:pathLst>
              <a:path w="83" h="64">
                <a:moveTo>
                  <a:pt x="78" y="27"/>
                </a:moveTo>
                <a:lnTo>
                  <a:pt x="78" y="27"/>
                </a:lnTo>
                <a:lnTo>
                  <a:pt x="78" y="25"/>
                </a:lnTo>
                <a:lnTo>
                  <a:pt x="78" y="25"/>
                </a:lnTo>
                <a:lnTo>
                  <a:pt x="83" y="23"/>
                </a:lnTo>
                <a:lnTo>
                  <a:pt x="83" y="23"/>
                </a:lnTo>
                <a:lnTo>
                  <a:pt x="83" y="23"/>
                </a:lnTo>
                <a:lnTo>
                  <a:pt x="83" y="23"/>
                </a:lnTo>
                <a:lnTo>
                  <a:pt x="81" y="20"/>
                </a:lnTo>
                <a:lnTo>
                  <a:pt x="81" y="20"/>
                </a:lnTo>
                <a:lnTo>
                  <a:pt x="78" y="20"/>
                </a:lnTo>
                <a:lnTo>
                  <a:pt x="78" y="20"/>
                </a:lnTo>
                <a:lnTo>
                  <a:pt x="78" y="15"/>
                </a:lnTo>
                <a:lnTo>
                  <a:pt x="78" y="15"/>
                </a:lnTo>
                <a:lnTo>
                  <a:pt x="76" y="10"/>
                </a:lnTo>
                <a:lnTo>
                  <a:pt x="76" y="10"/>
                </a:lnTo>
                <a:lnTo>
                  <a:pt x="73" y="10"/>
                </a:lnTo>
                <a:lnTo>
                  <a:pt x="73" y="10"/>
                </a:lnTo>
                <a:lnTo>
                  <a:pt x="71" y="13"/>
                </a:lnTo>
                <a:lnTo>
                  <a:pt x="71" y="13"/>
                </a:lnTo>
                <a:lnTo>
                  <a:pt x="66" y="10"/>
                </a:lnTo>
                <a:lnTo>
                  <a:pt x="66" y="10"/>
                </a:lnTo>
                <a:lnTo>
                  <a:pt x="59" y="10"/>
                </a:lnTo>
                <a:lnTo>
                  <a:pt x="59" y="10"/>
                </a:lnTo>
                <a:lnTo>
                  <a:pt x="56" y="8"/>
                </a:lnTo>
                <a:lnTo>
                  <a:pt x="56" y="8"/>
                </a:lnTo>
                <a:lnTo>
                  <a:pt x="51" y="5"/>
                </a:lnTo>
                <a:lnTo>
                  <a:pt x="51" y="5"/>
                </a:lnTo>
                <a:lnTo>
                  <a:pt x="46" y="0"/>
                </a:lnTo>
                <a:lnTo>
                  <a:pt x="46" y="0"/>
                </a:lnTo>
                <a:lnTo>
                  <a:pt x="44" y="0"/>
                </a:lnTo>
                <a:lnTo>
                  <a:pt x="44" y="0"/>
                </a:lnTo>
                <a:lnTo>
                  <a:pt x="44" y="0"/>
                </a:lnTo>
                <a:lnTo>
                  <a:pt x="36" y="0"/>
                </a:lnTo>
                <a:lnTo>
                  <a:pt x="36" y="0"/>
                </a:lnTo>
                <a:lnTo>
                  <a:pt x="27" y="5"/>
                </a:lnTo>
                <a:lnTo>
                  <a:pt x="27" y="5"/>
                </a:lnTo>
                <a:lnTo>
                  <a:pt x="27" y="10"/>
                </a:lnTo>
                <a:lnTo>
                  <a:pt x="27" y="10"/>
                </a:lnTo>
                <a:lnTo>
                  <a:pt x="22" y="13"/>
                </a:lnTo>
                <a:lnTo>
                  <a:pt x="22" y="13"/>
                </a:lnTo>
                <a:lnTo>
                  <a:pt x="22" y="18"/>
                </a:lnTo>
                <a:lnTo>
                  <a:pt x="22" y="18"/>
                </a:lnTo>
                <a:lnTo>
                  <a:pt x="17" y="18"/>
                </a:lnTo>
                <a:lnTo>
                  <a:pt x="17" y="18"/>
                </a:lnTo>
                <a:lnTo>
                  <a:pt x="12" y="15"/>
                </a:lnTo>
                <a:lnTo>
                  <a:pt x="12" y="15"/>
                </a:lnTo>
                <a:lnTo>
                  <a:pt x="9" y="15"/>
                </a:lnTo>
                <a:lnTo>
                  <a:pt x="9" y="15"/>
                </a:lnTo>
                <a:lnTo>
                  <a:pt x="4" y="18"/>
                </a:lnTo>
                <a:lnTo>
                  <a:pt x="4" y="18"/>
                </a:lnTo>
                <a:lnTo>
                  <a:pt x="0" y="20"/>
                </a:lnTo>
                <a:lnTo>
                  <a:pt x="0" y="20"/>
                </a:lnTo>
                <a:lnTo>
                  <a:pt x="0" y="20"/>
                </a:lnTo>
                <a:lnTo>
                  <a:pt x="0" y="25"/>
                </a:lnTo>
                <a:lnTo>
                  <a:pt x="0" y="25"/>
                </a:lnTo>
                <a:lnTo>
                  <a:pt x="4" y="30"/>
                </a:lnTo>
                <a:lnTo>
                  <a:pt x="4" y="30"/>
                </a:lnTo>
                <a:lnTo>
                  <a:pt x="4" y="30"/>
                </a:lnTo>
                <a:lnTo>
                  <a:pt x="4" y="30"/>
                </a:lnTo>
                <a:lnTo>
                  <a:pt x="9" y="25"/>
                </a:lnTo>
                <a:lnTo>
                  <a:pt x="9" y="25"/>
                </a:lnTo>
                <a:lnTo>
                  <a:pt x="9" y="23"/>
                </a:lnTo>
                <a:lnTo>
                  <a:pt x="9" y="23"/>
                </a:lnTo>
                <a:lnTo>
                  <a:pt x="12" y="20"/>
                </a:lnTo>
                <a:lnTo>
                  <a:pt x="12" y="20"/>
                </a:lnTo>
                <a:lnTo>
                  <a:pt x="14" y="20"/>
                </a:lnTo>
                <a:lnTo>
                  <a:pt x="14" y="20"/>
                </a:lnTo>
                <a:lnTo>
                  <a:pt x="17" y="23"/>
                </a:lnTo>
                <a:lnTo>
                  <a:pt x="17" y="23"/>
                </a:lnTo>
                <a:lnTo>
                  <a:pt x="19" y="25"/>
                </a:lnTo>
                <a:lnTo>
                  <a:pt x="19" y="25"/>
                </a:lnTo>
                <a:lnTo>
                  <a:pt x="19" y="30"/>
                </a:lnTo>
                <a:lnTo>
                  <a:pt x="19" y="30"/>
                </a:lnTo>
                <a:lnTo>
                  <a:pt x="22" y="32"/>
                </a:lnTo>
                <a:lnTo>
                  <a:pt x="22" y="32"/>
                </a:lnTo>
                <a:lnTo>
                  <a:pt x="27" y="37"/>
                </a:lnTo>
                <a:lnTo>
                  <a:pt x="27" y="37"/>
                </a:lnTo>
                <a:lnTo>
                  <a:pt x="29" y="37"/>
                </a:lnTo>
                <a:lnTo>
                  <a:pt x="29" y="37"/>
                </a:lnTo>
                <a:lnTo>
                  <a:pt x="32" y="40"/>
                </a:lnTo>
                <a:lnTo>
                  <a:pt x="32" y="40"/>
                </a:lnTo>
                <a:lnTo>
                  <a:pt x="29" y="40"/>
                </a:lnTo>
                <a:lnTo>
                  <a:pt x="29" y="40"/>
                </a:lnTo>
                <a:lnTo>
                  <a:pt x="27" y="40"/>
                </a:lnTo>
                <a:lnTo>
                  <a:pt x="27" y="40"/>
                </a:lnTo>
                <a:lnTo>
                  <a:pt x="24" y="42"/>
                </a:lnTo>
                <a:lnTo>
                  <a:pt x="24" y="42"/>
                </a:lnTo>
                <a:lnTo>
                  <a:pt x="27" y="45"/>
                </a:lnTo>
                <a:lnTo>
                  <a:pt x="27" y="45"/>
                </a:lnTo>
                <a:lnTo>
                  <a:pt x="29" y="45"/>
                </a:lnTo>
                <a:lnTo>
                  <a:pt x="29" y="45"/>
                </a:lnTo>
                <a:lnTo>
                  <a:pt x="34" y="50"/>
                </a:lnTo>
                <a:lnTo>
                  <a:pt x="34" y="50"/>
                </a:lnTo>
                <a:lnTo>
                  <a:pt x="36" y="50"/>
                </a:lnTo>
                <a:lnTo>
                  <a:pt x="36" y="50"/>
                </a:lnTo>
                <a:lnTo>
                  <a:pt x="36" y="52"/>
                </a:lnTo>
                <a:lnTo>
                  <a:pt x="36" y="52"/>
                </a:lnTo>
                <a:lnTo>
                  <a:pt x="39" y="54"/>
                </a:lnTo>
                <a:lnTo>
                  <a:pt x="39" y="54"/>
                </a:lnTo>
                <a:lnTo>
                  <a:pt x="41" y="54"/>
                </a:lnTo>
                <a:lnTo>
                  <a:pt x="41" y="54"/>
                </a:lnTo>
                <a:lnTo>
                  <a:pt x="49" y="54"/>
                </a:lnTo>
                <a:lnTo>
                  <a:pt x="49" y="54"/>
                </a:lnTo>
                <a:lnTo>
                  <a:pt x="54" y="57"/>
                </a:lnTo>
                <a:lnTo>
                  <a:pt x="54" y="57"/>
                </a:lnTo>
                <a:lnTo>
                  <a:pt x="61" y="64"/>
                </a:lnTo>
                <a:lnTo>
                  <a:pt x="61" y="64"/>
                </a:lnTo>
                <a:lnTo>
                  <a:pt x="59" y="64"/>
                </a:lnTo>
                <a:lnTo>
                  <a:pt x="59" y="64"/>
                </a:lnTo>
                <a:lnTo>
                  <a:pt x="54" y="62"/>
                </a:lnTo>
                <a:lnTo>
                  <a:pt x="54" y="62"/>
                </a:lnTo>
                <a:lnTo>
                  <a:pt x="56" y="64"/>
                </a:lnTo>
                <a:lnTo>
                  <a:pt x="56" y="64"/>
                </a:lnTo>
                <a:lnTo>
                  <a:pt x="61" y="64"/>
                </a:lnTo>
                <a:lnTo>
                  <a:pt x="61" y="64"/>
                </a:lnTo>
                <a:lnTo>
                  <a:pt x="61" y="64"/>
                </a:lnTo>
                <a:lnTo>
                  <a:pt x="61" y="62"/>
                </a:lnTo>
                <a:lnTo>
                  <a:pt x="61" y="62"/>
                </a:lnTo>
                <a:lnTo>
                  <a:pt x="51" y="50"/>
                </a:lnTo>
                <a:lnTo>
                  <a:pt x="51" y="50"/>
                </a:lnTo>
                <a:lnTo>
                  <a:pt x="39" y="40"/>
                </a:lnTo>
                <a:lnTo>
                  <a:pt x="39" y="40"/>
                </a:lnTo>
                <a:lnTo>
                  <a:pt x="36" y="37"/>
                </a:lnTo>
                <a:lnTo>
                  <a:pt x="36" y="37"/>
                </a:lnTo>
                <a:lnTo>
                  <a:pt x="39" y="37"/>
                </a:lnTo>
                <a:lnTo>
                  <a:pt x="39" y="37"/>
                </a:lnTo>
                <a:lnTo>
                  <a:pt x="36" y="35"/>
                </a:lnTo>
                <a:lnTo>
                  <a:pt x="36" y="35"/>
                </a:lnTo>
                <a:lnTo>
                  <a:pt x="36" y="32"/>
                </a:lnTo>
                <a:lnTo>
                  <a:pt x="36" y="32"/>
                </a:lnTo>
                <a:lnTo>
                  <a:pt x="32" y="27"/>
                </a:lnTo>
                <a:lnTo>
                  <a:pt x="32" y="27"/>
                </a:lnTo>
                <a:lnTo>
                  <a:pt x="32" y="27"/>
                </a:lnTo>
                <a:lnTo>
                  <a:pt x="32" y="25"/>
                </a:lnTo>
                <a:lnTo>
                  <a:pt x="32" y="25"/>
                </a:lnTo>
                <a:lnTo>
                  <a:pt x="32" y="25"/>
                </a:lnTo>
                <a:lnTo>
                  <a:pt x="32" y="20"/>
                </a:lnTo>
                <a:lnTo>
                  <a:pt x="32" y="20"/>
                </a:lnTo>
                <a:lnTo>
                  <a:pt x="34" y="20"/>
                </a:lnTo>
                <a:lnTo>
                  <a:pt x="34" y="20"/>
                </a:lnTo>
                <a:lnTo>
                  <a:pt x="36" y="23"/>
                </a:lnTo>
                <a:lnTo>
                  <a:pt x="36" y="23"/>
                </a:lnTo>
                <a:lnTo>
                  <a:pt x="39" y="25"/>
                </a:lnTo>
                <a:lnTo>
                  <a:pt x="39" y="25"/>
                </a:lnTo>
                <a:lnTo>
                  <a:pt x="39" y="25"/>
                </a:lnTo>
                <a:lnTo>
                  <a:pt x="39" y="23"/>
                </a:lnTo>
                <a:lnTo>
                  <a:pt x="39" y="23"/>
                </a:lnTo>
                <a:lnTo>
                  <a:pt x="44" y="20"/>
                </a:lnTo>
                <a:lnTo>
                  <a:pt x="44" y="20"/>
                </a:lnTo>
                <a:lnTo>
                  <a:pt x="44" y="23"/>
                </a:lnTo>
                <a:lnTo>
                  <a:pt x="44" y="23"/>
                </a:lnTo>
                <a:lnTo>
                  <a:pt x="46" y="20"/>
                </a:lnTo>
                <a:lnTo>
                  <a:pt x="46" y="20"/>
                </a:lnTo>
                <a:lnTo>
                  <a:pt x="49" y="20"/>
                </a:lnTo>
                <a:lnTo>
                  <a:pt x="49" y="20"/>
                </a:lnTo>
                <a:lnTo>
                  <a:pt x="51" y="20"/>
                </a:lnTo>
                <a:lnTo>
                  <a:pt x="51" y="20"/>
                </a:lnTo>
                <a:lnTo>
                  <a:pt x="54" y="20"/>
                </a:lnTo>
                <a:lnTo>
                  <a:pt x="54" y="20"/>
                </a:lnTo>
                <a:lnTo>
                  <a:pt x="54" y="23"/>
                </a:lnTo>
                <a:lnTo>
                  <a:pt x="54" y="23"/>
                </a:lnTo>
                <a:lnTo>
                  <a:pt x="56" y="23"/>
                </a:lnTo>
                <a:lnTo>
                  <a:pt x="56" y="23"/>
                </a:lnTo>
                <a:lnTo>
                  <a:pt x="59" y="23"/>
                </a:lnTo>
                <a:lnTo>
                  <a:pt x="59" y="23"/>
                </a:lnTo>
                <a:lnTo>
                  <a:pt x="61" y="23"/>
                </a:lnTo>
                <a:lnTo>
                  <a:pt x="61" y="23"/>
                </a:lnTo>
                <a:lnTo>
                  <a:pt x="64" y="23"/>
                </a:lnTo>
                <a:lnTo>
                  <a:pt x="64" y="23"/>
                </a:lnTo>
                <a:lnTo>
                  <a:pt x="66" y="23"/>
                </a:lnTo>
                <a:lnTo>
                  <a:pt x="66" y="23"/>
                </a:lnTo>
                <a:lnTo>
                  <a:pt x="68" y="23"/>
                </a:lnTo>
                <a:lnTo>
                  <a:pt x="68" y="23"/>
                </a:lnTo>
                <a:lnTo>
                  <a:pt x="71" y="23"/>
                </a:lnTo>
                <a:lnTo>
                  <a:pt x="71" y="23"/>
                </a:lnTo>
                <a:lnTo>
                  <a:pt x="76" y="25"/>
                </a:lnTo>
                <a:lnTo>
                  <a:pt x="76" y="25"/>
                </a:lnTo>
                <a:lnTo>
                  <a:pt x="78" y="25"/>
                </a:lnTo>
                <a:lnTo>
                  <a:pt x="78" y="25"/>
                </a:lnTo>
                <a:lnTo>
                  <a:pt x="78" y="27"/>
                </a:lnTo>
                <a:lnTo>
                  <a:pt x="78" y="27"/>
                </a:lnTo>
                <a:close/>
                <a:moveTo>
                  <a:pt x="46" y="62"/>
                </a:moveTo>
                <a:lnTo>
                  <a:pt x="54" y="62"/>
                </a:lnTo>
                <a:lnTo>
                  <a:pt x="54" y="62"/>
                </a:lnTo>
                <a:lnTo>
                  <a:pt x="54" y="64"/>
                </a:lnTo>
                <a:lnTo>
                  <a:pt x="54" y="64"/>
                </a:lnTo>
                <a:lnTo>
                  <a:pt x="49" y="64"/>
                </a:lnTo>
                <a:lnTo>
                  <a:pt x="49" y="64"/>
                </a:lnTo>
                <a:lnTo>
                  <a:pt x="46" y="62"/>
                </a:lnTo>
                <a:lnTo>
                  <a:pt x="46" y="62"/>
                </a:lnTo>
                <a:close/>
                <a:moveTo>
                  <a:pt x="44" y="59"/>
                </a:moveTo>
                <a:lnTo>
                  <a:pt x="44" y="59"/>
                </a:lnTo>
                <a:lnTo>
                  <a:pt x="51" y="59"/>
                </a:lnTo>
                <a:lnTo>
                  <a:pt x="51" y="59"/>
                </a:lnTo>
                <a:lnTo>
                  <a:pt x="49" y="62"/>
                </a:lnTo>
                <a:lnTo>
                  <a:pt x="49" y="62"/>
                </a:lnTo>
                <a:lnTo>
                  <a:pt x="44" y="59"/>
                </a:lnTo>
                <a:lnTo>
                  <a:pt x="44" y="59"/>
                </a:lnTo>
                <a:close/>
                <a:moveTo>
                  <a:pt x="44" y="57"/>
                </a:moveTo>
                <a:lnTo>
                  <a:pt x="44" y="57"/>
                </a:lnTo>
                <a:lnTo>
                  <a:pt x="49" y="57"/>
                </a:lnTo>
                <a:lnTo>
                  <a:pt x="49" y="57"/>
                </a:lnTo>
                <a:lnTo>
                  <a:pt x="51" y="57"/>
                </a:lnTo>
                <a:lnTo>
                  <a:pt x="51" y="57"/>
                </a:lnTo>
                <a:lnTo>
                  <a:pt x="49" y="59"/>
                </a:lnTo>
                <a:lnTo>
                  <a:pt x="49" y="59"/>
                </a:lnTo>
                <a:lnTo>
                  <a:pt x="46" y="57"/>
                </a:lnTo>
                <a:lnTo>
                  <a:pt x="46" y="57"/>
                </a:lnTo>
                <a:lnTo>
                  <a:pt x="44" y="57"/>
                </a:lnTo>
                <a:lnTo>
                  <a:pt x="44" y="57"/>
                </a:lnTo>
                <a:close/>
                <a:moveTo>
                  <a:pt x="22" y="37"/>
                </a:moveTo>
                <a:lnTo>
                  <a:pt x="22" y="37"/>
                </a:lnTo>
                <a:lnTo>
                  <a:pt x="24" y="37"/>
                </a:lnTo>
                <a:lnTo>
                  <a:pt x="24" y="37"/>
                </a:lnTo>
                <a:lnTo>
                  <a:pt x="27" y="40"/>
                </a:lnTo>
                <a:lnTo>
                  <a:pt x="27" y="40"/>
                </a:lnTo>
                <a:lnTo>
                  <a:pt x="24" y="40"/>
                </a:lnTo>
                <a:lnTo>
                  <a:pt x="24" y="40"/>
                </a:lnTo>
                <a:lnTo>
                  <a:pt x="22" y="37"/>
                </a:lnTo>
                <a:lnTo>
                  <a:pt x="22" y="37"/>
                </a:lnTo>
                <a:close/>
                <a:moveTo>
                  <a:pt x="19" y="32"/>
                </a:moveTo>
                <a:lnTo>
                  <a:pt x="19" y="32"/>
                </a:lnTo>
                <a:lnTo>
                  <a:pt x="22" y="35"/>
                </a:lnTo>
                <a:lnTo>
                  <a:pt x="22" y="35"/>
                </a:lnTo>
                <a:lnTo>
                  <a:pt x="19" y="35"/>
                </a:lnTo>
                <a:lnTo>
                  <a:pt x="19" y="35"/>
                </a:lnTo>
                <a:lnTo>
                  <a:pt x="19" y="32"/>
                </a:lnTo>
                <a:lnTo>
                  <a:pt x="19" y="32"/>
                </a:lnTo>
                <a:close/>
                <a:moveTo>
                  <a:pt x="19" y="42"/>
                </a:moveTo>
                <a:lnTo>
                  <a:pt x="19" y="42"/>
                </a:lnTo>
                <a:lnTo>
                  <a:pt x="24" y="45"/>
                </a:lnTo>
                <a:lnTo>
                  <a:pt x="24" y="45"/>
                </a:lnTo>
                <a:lnTo>
                  <a:pt x="24" y="47"/>
                </a:lnTo>
                <a:lnTo>
                  <a:pt x="24" y="47"/>
                </a:lnTo>
                <a:lnTo>
                  <a:pt x="19" y="42"/>
                </a:lnTo>
                <a:lnTo>
                  <a:pt x="19" y="42"/>
                </a:lnTo>
                <a:close/>
                <a:moveTo>
                  <a:pt x="17" y="37"/>
                </a:moveTo>
                <a:lnTo>
                  <a:pt x="17" y="37"/>
                </a:lnTo>
                <a:lnTo>
                  <a:pt x="19" y="37"/>
                </a:lnTo>
                <a:lnTo>
                  <a:pt x="19" y="37"/>
                </a:lnTo>
                <a:lnTo>
                  <a:pt x="19" y="40"/>
                </a:lnTo>
                <a:lnTo>
                  <a:pt x="19" y="40"/>
                </a:lnTo>
                <a:lnTo>
                  <a:pt x="17" y="37"/>
                </a:lnTo>
                <a:lnTo>
                  <a:pt x="17" y="37"/>
                </a:lnTo>
                <a:close/>
                <a:moveTo>
                  <a:pt x="12" y="27"/>
                </a:moveTo>
                <a:lnTo>
                  <a:pt x="12" y="27"/>
                </a:lnTo>
                <a:lnTo>
                  <a:pt x="14" y="30"/>
                </a:lnTo>
                <a:lnTo>
                  <a:pt x="14" y="30"/>
                </a:lnTo>
                <a:lnTo>
                  <a:pt x="17" y="35"/>
                </a:lnTo>
                <a:lnTo>
                  <a:pt x="17" y="35"/>
                </a:lnTo>
                <a:lnTo>
                  <a:pt x="14" y="35"/>
                </a:lnTo>
                <a:lnTo>
                  <a:pt x="14" y="35"/>
                </a:lnTo>
                <a:lnTo>
                  <a:pt x="12" y="32"/>
                </a:lnTo>
                <a:lnTo>
                  <a:pt x="12" y="32"/>
                </a:lnTo>
                <a:lnTo>
                  <a:pt x="12" y="32"/>
                </a:lnTo>
                <a:lnTo>
                  <a:pt x="12" y="27"/>
                </a:lnTo>
                <a:lnTo>
                  <a:pt x="12" y="27"/>
                </a:lnTo>
                <a:close/>
                <a:moveTo>
                  <a:pt x="14" y="23"/>
                </a:moveTo>
                <a:lnTo>
                  <a:pt x="14" y="23"/>
                </a:lnTo>
                <a:lnTo>
                  <a:pt x="17" y="27"/>
                </a:lnTo>
                <a:lnTo>
                  <a:pt x="17" y="27"/>
                </a:lnTo>
                <a:lnTo>
                  <a:pt x="14" y="30"/>
                </a:lnTo>
                <a:lnTo>
                  <a:pt x="14" y="30"/>
                </a:lnTo>
                <a:lnTo>
                  <a:pt x="14" y="27"/>
                </a:lnTo>
                <a:lnTo>
                  <a:pt x="14" y="27"/>
                </a:lnTo>
                <a:lnTo>
                  <a:pt x="12" y="27"/>
                </a:lnTo>
                <a:lnTo>
                  <a:pt x="12" y="27"/>
                </a:lnTo>
                <a:lnTo>
                  <a:pt x="12" y="23"/>
                </a:lnTo>
                <a:lnTo>
                  <a:pt x="12" y="23"/>
                </a:lnTo>
                <a:lnTo>
                  <a:pt x="14" y="23"/>
                </a:lnTo>
                <a:lnTo>
                  <a:pt x="14" y="2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Freeform 63"/>
          <p:cNvSpPr>
            <a:spLocks/>
          </p:cNvSpPr>
          <p:nvPr/>
        </p:nvSpPr>
        <p:spPr bwMode="auto">
          <a:xfrm>
            <a:off x="5116099" y="3288130"/>
            <a:ext cx="91334" cy="75266"/>
          </a:xfrm>
          <a:custGeom>
            <a:avLst/>
            <a:gdLst/>
            <a:ahLst/>
            <a:cxnLst>
              <a:cxn ang="0">
                <a:pos x="29" y="42"/>
              </a:cxn>
              <a:cxn ang="0">
                <a:pos x="7" y="20"/>
              </a:cxn>
              <a:cxn ang="0">
                <a:pos x="7" y="17"/>
              </a:cxn>
              <a:cxn ang="0">
                <a:pos x="4" y="12"/>
              </a:cxn>
              <a:cxn ang="0">
                <a:pos x="0" y="7"/>
              </a:cxn>
              <a:cxn ang="0">
                <a:pos x="0" y="5"/>
              </a:cxn>
              <a:cxn ang="0">
                <a:pos x="2" y="0"/>
              </a:cxn>
              <a:cxn ang="0">
                <a:pos x="7" y="5"/>
              </a:cxn>
              <a:cxn ang="0">
                <a:pos x="7" y="3"/>
              </a:cxn>
              <a:cxn ang="0">
                <a:pos x="12" y="3"/>
              </a:cxn>
              <a:cxn ang="0">
                <a:pos x="17" y="0"/>
              </a:cxn>
              <a:cxn ang="0">
                <a:pos x="22" y="0"/>
              </a:cxn>
              <a:cxn ang="0">
                <a:pos x="24" y="3"/>
              </a:cxn>
              <a:cxn ang="0">
                <a:pos x="29" y="3"/>
              </a:cxn>
              <a:cxn ang="0">
                <a:pos x="34" y="3"/>
              </a:cxn>
              <a:cxn ang="0">
                <a:pos x="39" y="3"/>
              </a:cxn>
              <a:cxn ang="0">
                <a:pos x="46" y="5"/>
              </a:cxn>
              <a:cxn ang="0">
                <a:pos x="49" y="7"/>
              </a:cxn>
              <a:cxn ang="0">
                <a:pos x="51" y="10"/>
              </a:cxn>
              <a:cxn ang="0">
                <a:pos x="49" y="17"/>
              </a:cxn>
              <a:cxn ang="0">
                <a:pos x="54" y="22"/>
              </a:cxn>
              <a:cxn ang="0">
                <a:pos x="56" y="25"/>
              </a:cxn>
              <a:cxn ang="0">
                <a:pos x="51" y="25"/>
              </a:cxn>
              <a:cxn ang="0">
                <a:pos x="54" y="32"/>
              </a:cxn>
              <a:cxn ang="0">
                <a:pos x="51" y="32"/>
              </a:cxn>
              <a:cxn ang="0">
                <a:pos x="46" y="32"/>
              </a:cxn>
              <a:cxn ang="0">
                <a:pos x="49" y="34"/>
              </a:cxn>
              <a:cxn ang="0">
                <a:pos x="46" y="39"/>
              </a:cxn>
              <a:cxn ang="0">
                <a:pos x="44" y="42"/>
              </a:cxn>
              <a:cxn ang="0">
                <a:pos x="41" y="49"/>
              </a:cxn>
              <a:cxn ang="0">
                <a:pos x="36" y="47"/>
              </a:cxn>
              <a:cxn ang="0">
                <a:pos x="29" y="47"/>
              </a:cxn>
              <a:cxn ang="0">
                <a:pos x="29" y="44"/>
              </a:cxn>
            </a:cxnLst>
            <a:rect l="0" t="0" r="r" b="b"/>
            <a:pathLst>
              <a:path w="56" h="49">
                <a:moveTo>
                  <a:pt x="29" y="44"/>
                </a:moveTo>
                <a:lnTo>
                  <a:pt x="29" y="42"/>
                </a:lnTo>
                <a:lnTo>
                  <a:pt x="19" y="30"/>
                </a:lnTo>
                <a:lnTo>
                  <a:pt x="7" y="20"/>
                </a:lnTo>
                <a:lnTo>
                  <a:pt x="4" y="17"/>
                </a:lnTo>
                <a:lnTo>
                  <a:pt x="7" y="17"/>
                </a:lnTo>
                <a:lnTo>
                  <a:pt x="4" y="15"/>
                </a:lnTo>
                <a:lnTo>
                  <a:pt x="4" y="12"/>
                </a:lnTo>
                <a:lnTo>
                  <a:pt x="0" y="7"/>
                </a:lnTo>
                <a:lnTo>
                  <a:pt x="0" y="7"/>
                </a:lnTo>
                <a:lnTo>
                  <a:pt x="0" y="5"/>
                </a:lnTo>
                <a:lnTo>
                  <a:pt x="0" y="5"/>
                </a:lnTo>
                <a:lnTo>
                  <a:pt x="0" y="0"/>
                </a:lnTo>
                <a:lnTo>
                  <a:pt x="2" y="0"/>
                </a:lnTo>
                <a:lnTo>
                  <a:pt x="4" y="3"/>
                </a:lnTo>
                <a:lnTo>
                  <a:pt x="7" y="5"/>
                </a:lnTo>
                <a:lnTo>
                  <a:pt x="7" y="5"/>
                </a:lnTo>
                <a:lnTo>
                  <a:pt x="7" y="3"/>
                </a:lnTo>
                <a:lnTo>
                  <a:pt x="12" y="0"/>
                </a:lnTo>
                <a:lnTo>
                  <a:pt x="12" y="3"/>
                </a:lnTo>
                <a:lnTo>
                  <a:pt x="14" y="0"/>
                </a:lnTo>
                <a:lnTo>
                  <a:pt x="17" y="0"/>
                </a:lnTo>
                <a:lnTo>
                  <a:pt x="19" y="0"/>
                </a:lnTo>
                <a:lnTo>
                  <a:pt x="22" y="0"/>
                </a:lnTo>
                <a:lnTo>
                  <a:pt x="22" y="3"/>
                </a:lnTo>
                <a:lnTo>
                  <a:pt x="24" y="3"/>
                </a:lnTo>
                <a:lnTo>
                  <a:pt x="27" y="3"/>
                </a:lnTo>
                <a:lnTo>
                  <a:pt x="29" y="3"/>
                </a:lnTo>
                <a:lnTo>
                  <a:pt x="32" y="3"/>
                </a:lnTo>
                <a:lnTo>
                  <a:pt x="34" y="3"/>
                </a:lnTo>
                <a:lnTo>
                  <a:pt x="36" y="3"/>
                </a:lnTo>
                <a:lnTo>
                  <a:pt x="39" y="3"/>
                </a:lnTo>
                <a:lnTo>
                  <a:pt x="44" y="5"/>
                </a:lnTo>
                <a:lnTo>
                  <a:pt x="46" y="5"/>
                </a:lnTo>
                <a:lnTo>
                  <a:pt x="49" y="7"/>
                </a:lnTo>
                <a:lnTo>
                  <a:pt x="49" y="7"/>
                </a:lnTo>
                <a:lnTo>
                  <a:pt x="51" y="7"/>
                </a:lnTo>
                <a:lnTo>
                  <a:pt x="51" y="10"/>
                </a:lnTo>
                <a:lnTo>
                  <a:pt x="49" y="15"/>
                </a:lnTo>
                <a:lnTo>
                  <a:pt x="49" y="17"/>
                </a:lnTo>
                <a:lnTo>
                  <a:pt x="54" y="20"/>
                </a:lnTo>
                <a:lnTo>
                  <a:pt x="54" y="22"/>
                </a:lnTo>
                <a:lnTo>
                  <a:pt x="56" y="22"/>
                </a:lnTo>
                <a:lnTo>
                  <a:pt x="56" y="25"/>
                </a:lnTo>
                <a:lnTo>
                  <a:pt x="54" y="22"/>
                </a:lnTo>
                <a:lnTo>
                  <a:pt x="51" y="25"/>
                </a:lnTo>
                <a:lnTo>
                  <a:pt x="51" y="27"/>
                </a:lnTo>
                <a:lnTo>
                  <a:pt x="54" y="32"/>
                </a:lnTo>
                <a:lnTo>
                  <a:pt x="54" y="32"/>
                </a:lnTo>
                <a:lnTo>
                  <a:pt x="51" y="32"/>
                </a:lnTo>
                <a:lnTo>
                  <a:pt x="49" y="30"/>
                </a:lnTo>
                <a:lnTo>
                  <a:pt x="46" y="32"/>
                </a:lnTo>
                <a:lnTo>
                  <a:pt x="46" y="34"/>
                </a:lnTo>
                <a:lnTo>
                  <a:pt x="49" y="34"/>
                </a:lnTo>
                <a:lnTo>
                  <a:pt x="49" y="37"/>
                </a:lnTo>
                <a:lnTo>
                  <a:pt x="46" y="39"/>
                </a:lnTo>
                <a:lnTo>
                  <a:pt x="46" y="39"/>
                </a:lnTo>
                <a:lnTo>
                  <a:pt x="44" y="42"/>
                </a:lnTo>
                <a:lnTo>
                  <a:pt x="44" y="47"/>
                </a:lnTo>
                <a:lnTo>
                  <a:pt x="41" y="49"/>
                </a:lnTo>
                <a:lnTo>
                  <a:pt x="41" y="49"/>
                </a:lnTo>
                <a:lnTo>
                  <a:pt x="36" y="47"/>
                </a:lnTo>
                <a:lnTo>
                  <a:pt x="36" y="47"/>
                </a:lnTo>
                <a:lnTo>
                  <a:pt x="29" y="47"/>
                </a:lnTo>
                <a:lnTo>
                  <a:pt x="29" y="44"/>
                </a:lnTo>
                <a:lnTo>
                  <a:pt x="29" y="44"/>
                </a:lnTo>
                <a:lnTo>
                  <a:pt x="29" y="4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Freeform 64"/>
          <p:cNvSpPr>
            <a:spLocks/>
          </p:cNvSpPr>
          <p:nvPr/>
        </p:nvSpPr>
        <p:spPr bwMode="auto">
          <a:xfrm>
            <a:off x="5059016" y="3243586"/>
            <a:ext cx="76655" cy="44546"/>
          </a:xfrm>
          <a:custGeom>
            <a:avLst/>
            <a:gdLst/>
            <a:ahLst/>
            <a:cxnLst>
              <a:cxn ang="0">
                <a:pos x="3" y="29"/>
              </a:cxn>
              <a:cxn ang="0">
                <a:pos x="7" y="27"/>
              </a:cxn>
              <a:cxn ang="0">
                <a:pos x="12" y="24"/>
              </a:cxn>
              <a:cxn ang="0">
                <a:pos x="15" y="24"/>
              </a:cxn>
              <a:cxn ang="0">
                <a:pos x="20" y="27"/>
              </a:cxn>
              <a:cxn ang="0">
                <a:pos x="25" y="27"/>
              </a:cxn>
              <a:cxn ang="0">
                <a:pos x="25" y="22"/>
              </a:cxn>
              <a:cxn ang="0">
                <a:pos x="30" y="19"/>
              </a:cxn>
              <a:cxn ang="0">
                <a:pos x="30" y="14"/>
              </a:cxn>
              <a:cxn ang="0">
                <a:pos x="39" y="9"/>
              </a:cxn>
              <a:cxn ang="0">
                <a:pos x="47" y="9"/>
              </a:cxn>
              <a:cxn ang="0">
                <a:pos x="47" y="4"/>
              </a:cxn>
              <a:cxn ang="0">
                <a:pos x="42" y="0"/>
              </a:cxn>
              <a:cxn ang="0">
                <a:pos x="37" y="0"/>
              </a:cxn>
              <a:cxn ang="0">
                <a:pos x="32" y="4"/>
              </a:cxn>
              <a:cxn ang="0">
                <a:pos x="30" y="4"/>
              </a:cxn>
              <a:cxn ang="0">
                <a:pos x="27" y="4"/>
              </a:cxn>
              <a:cxn ang="0">
                <a:pos x="25" y="7"/>
              </a:cxn>
              <a:cxn ang="0">
                <a:pos x="20" y="7"/>
              </a:cxn>
              <a:cxn ang="0">
                <a:pos x="17" y="7"/>
              </a:cxn>
              <a:cxn ang="0">
                <a:pos x="15" y="4"/>
              </a:cxn>
              <a:cxn ang="0">
                <a:pos x="7" y="4"/>
              </a:cxn>
              <a:cxn ang="0">
                <a:pos x="5" y="4"/>
              </a:cxn>
              <a:cxn ang="0">
                <a:pos x="3" y="9"/>
              </a:cxn>
              <a:cxn ang="0">
                <a:pos x="3" y="12"/>
              </a:cxn>
              <a:cxn ang="0">
                <a:pos x="0" y="17"/>
              </a:cxn>
              <a:cxn ang="0">
                <a:pos x="3" y="22"/>
              </a:cxn>
              <a:cxn ang="0">
                <a:pos x="3" y="22"/>
              </a:cxn>
              <a:cxn ang="0">
                <a:pos x="5" y="22"/>
              </a:cxn>
              <a:cxn ang="0">
                <a:pos x="5" y="24"/>
              </a:cxn>
              <a:cxn ang="0">
                <a:pos x="3" y="24"/>
              </a:cxn>
              <a:cxn ang="0">
                <a:pos x="3" y="29"/>
              </a:cxn>
              <a:cxn ang="0">
                <a:pos x="3" y="29"/>
              </a:cxn>
            </a:cxnLst>
            <a:rect l="0" t="0" r="r" b="b"/>
            <a:pathLst>
              <a:path w="47" h="29">
                <a:moveTo>
                  <a:pt x="3" y="29"/>
                </a:moveTo>
                <a:lnTo>
                  <a:pt x="7" y="27"/>
                </a:lnTo>
                <a:lnTo>
                  <a:pt x="12" y="24"/>
                </a:lnTo>
                <a:lnTo>
                  <a:pt x="15" y="24"/>
                </a:lnTo>
                <a:lnTo>
                  <a:pt x="20" y="27"/>
                </a:lnTo>
                <a:lnTo>
                  <a:pt x="25" y="27"/>
                </a:lnTo>
                <a:lnTo>
                  <a:pt x="25" y="22"/>
                </a:lnTo>
                <a:lnTo>
                  <a:pt x="30" y="19"/>
                </a:lnTo>
                <a:lnTo>
                  <a:pt x="30" y="14"/>
                </a:lnTo>
                <a:lnTo>
                  <a:pt x="39" y="9"/>
                </a:lnTo>
                <a:lnTo>
                  <a:pt x="47" y="9"/>
                </a:lnTo>
                <a:lnTo>
                  <a:pt x="47" y="4"/>
                </a:lnTo>
                <a:lnTo>
                  <a:pt x="42" y="0"/>
                </a:lnTo>
                <a:lnTo>
                  <a:pt x="37" y="0"/>
                </a:lnTo>
                <a:lnTo>
                  <a:pt x="32" y="4"/>
                </a:lnTo>
                <a:lnTo>
                  <a:pt x="30" y="4"/>
                </a:lnTo>
                <a:lnTo>
                  <a:pt x="27" y="4"/>
                </a:lnTo>
                <a:lnTo>
                  <a:pt x="25" y="7"/>
                </a:lnTo>
                <a:lnTo>
                  <a:pt x="20" y="7"/>
                </a:lnTo>
                <a:lnTo>
                  <a:pt x="17" y="7"/>
                </a:lnTo>
                <a:lnTo>
                  <a:pt x="15" y="4"/>
                </a:lnTo>
                <a:lnTo>
                  <a:pt x="7" y="4"/>
                </a:lnTo>
                <a:lnTo>
                  <a:pt x="5" y="4"/>
                </a:lnTo>
                <a:lnTo>
                  <a:pt x="3" y="9"/>
                </a:lnTo>
                <a:lnTo>
                  <a:pt x="3" y="12"/>
                </a:lnTo>
                <a:lnTo>
                  <a:pt x="0" y="17"/>
                </a:lnTo>
                <a:lnTo>
                  <a:pt x="3" y="22"/>
                </a:lnTo>
                <a:lnTo>
                  <a:pt x="3" y="22"/>
                </a:lnTo>
                <a:lnTo>
                  <a:pt x="5" y="22"/>
                </a:lnTo>
                <a:lnTo>
                  <a:pt x="5" y="24"/>
                </a:lnTo>
                <a:lnTo>
                  <a:pt x="3" y="24"/>
                </a:lnTo>
                <a:lnTo>
                  <a:pt x="3" y="29"/>
                </a:lnTo>
                <a:lnTo>
                  <a:pt x="3" y="2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6" name="Freeform 65"/>
          <p:cNvSpPr>
            <a:spLocks/>
          </p:cNvSpPr>
          <p:nvPr/>
        </p:nvSpPr>
        <p:spPr bwMode="auto">
          <a:xfrm>
            <a:off x="4967682" y="3174463"/>
            <a:ext cx="171252" cy="79874"/>
          </a:xfrm>
          <a:custGeom>
            <a:avLst/>
            <a:gdLst/>
            <a:ahLst/>
            <a:cxnLst>
              <a:cxn ang="0">
                <a:pos x="63" y="49"/>
              </a:cxn>
              <a:cxn ang="0">
                <a:pos x="73" y="52"/>
              </a:cxn>
              <a:cxn ang="0">
                <a:pos x="81" y="52"/>
              </a:cxn>
              <a:cxn ang="0">
                <a:pos x="86" y="49"/>
              </a:cxn>
              <a:cxn ang="0">
                <a:pos x="93" y="45"/>
              </a:cxn>
              <a:cxn ang="0">
                <a:pos x="100" y="42"/>
              </a:cxn>
              <a:cxn ang="0">
                <a:pos x="100" y="35"/>
              </a:cxn>
              <a:cxn ang="0">
                <a:pos x="98" y="30"/>
              </a:cxn>
              <a:cxn ang="0">
                <a:pos x="105" y="27"/>
              </a:cxn>
              <a:cxn ang="0">
                <a:pos x="105" y="20"/>
              </a:cxn>
              <a:cxn ang="0">
                <a:pos x="105" y="8"/>
              </a:cxn>
              <a:cxn ang="0">
                <a:pos x="95" y="5"/>
              </a:cxn>
              <a:cxn ang="0">
                <a:pos x="88" y="5"/>
              </a:cxn>
              <a:cxn ang="0">
                <a:pos x="78" y="3"/>
              </a:cxn>
              <a:cxn ang="0">
                <a:pos x="73" y="3"/>
              </a:cxn>
              <a:cxn ang="0">
                <a:pos x="71" y="8"/>
              </a:cxn>
              <a:cxn ang="0">
                <a:pos x="66" y="10"/>
              </a:cxn>
              <a:cxn ang="0">
                <a:pos x="56" y="5"/>
              </a:cxn>
              <a:cxn ang="0">
                <a:pos x="56" y="10"/>
              </a:cxn>
              <a:cxn ang="0">
                <a:pos x="51" y="13"/>
              </a:cxn>
              <a:cxn ang="0">
                <a:pos x="44" y="20"/>
              </a:cxn>
              <a:cxn ang="0">
                <a:pos x="49" y="25"/>
              </a:cxn>
              <a:cxn ang="0">
                <a:pos x="46" y="27"/>
              </a:cxn>
              <a:cxn ang="0">
                <a:pos x="39" y="27"/>
              </a:cxn>
              <a:cxn ang="0">
                <a:pos x="34" y="27"/>
              </a:cxn>
              <a:cxn ang="0">
                <a:pos x="27" y="30"/>
              </a:cxn>
              <a:cxn ang="0">
                <a:pos x="22" y="30"/>
              </a:cxn>
              <a:cxn ang="0">
                <a:pos x="14" y="27"/>
              </a:cxn>
              <a:cxn ang="0">
                <a:pos x="12" y="32"/>
              </a:cxn>
              <a:cxn ang="0">
                <a:pos x="7" y="32"/>
              </a:cxn>
              <a:cxn ang="0">
                <a:pos x="2" y="30"/>
              </a:cxn>
              <a:cxn ang="0">
                <a:pos x="0" y="30"/>
              </a:cxn>
              <a:cxn ang="0">
                <a:pos x="0" y="35"/>
              </a:cxn>
              <a:cxn ang="0">
                <a:pos x="2" y="40"/>
              </a:cxn>
              <a:cxn ang="0">
                <a:pos x="7" y="37"/>
              </a:cxn>
              <a:cxn ang="0">
                <a:pos x="12" y="40"/>
              </a:cxn>
              <a:cxn ang="0">
                <a:pos x="17" y="42"/>
              </a:cxn>
              <a:cxn ang="0">
                <a:pos x="22" y="42"/>
              </a:cxn>
              <a:cxn ang="0">
                <a:pos x="32" y="40"/>
              </a:cxn>
              <a:cxn ang="0">
                <a:pos x="36" y="42"/>
              </a:cxn>
              <a:cxn ang="0">
                <a:pos x="54" y="49"/>
              </a:cxn>
              <a:cxn ang="0">
                <a:pos x="61" y="49"/>
              </a:cxn>
              <a:cxn ang="0">
                <a:pos x="61" y="49"/>
              </a:cxn>
            </a:cxnLst>
            <a:rect l="0" t="0" r="r" b="b"/>
            <a:pathLst>
              <a:path w="105" h="52">
                <a:moveTo>
                  <a:pt x="61" y="49"/>
                </a:moveTo>
                <a:lnTo>
                  <a:pt x="63" y="49"/>
                </a:lnTo>
                <a:lnTo>
                  <a:pt x="71" y="49"/>
                </a:lnTo>
                <a:lnTo>
                  <a:pt x="73" y="52"/>
                </a:lnTo>
                <a:lnTo>
                  <a:pt x="76" y="52"/>
                </a:lnTo>
                <a:lnTo>
                  <a:pt x="81" y="52"/>
                </a:lnTo>
                <a:lnTo>
                  <a:pt x="83" y="49"/>
                </a:lnTo>
                <a:lnTo>
                  <a:pt x="86" y="49"/>
                </a:lnTo>
                <a:lnTo>
                  <a:pt x="88" y="49"/>
                </a:lnTo>
                <a:lnTo>
                  <a:pt x="93" y="45"/>
                </a:lnTo>
                <a:lnTo>
                  <a:pt x="98" y="45"/>
                </a:lnTo>
                <a:lnTo>
                  <a:pt x="100" y="42"/>
                </a:lnTo>
                <a:lnTo>
                  <a:pt x="100" y="37"/>
                </a:lnTo>
                <a:lnTo>
                  <a:pt x="100" y="35"/>
                </a:lnTo>
                <a:lnTo>
                  <a:pt x="100" y="32"/>
                </a:lnTo>
                <a:lnTo>
                  <a:pt x="98" y="30"/>
                </a:lnTo>
                <a:lnTo>
                  <a:pt x="98" y="27"/>
                </a:lnTo>
                <a:lnTo>
                  <a:pt x="105" y="27"/>
                </a:lnTo>
                <a:lnTo>
                  <a:pt x="105" y="25"/>
                </a:lnTo>
                <a:lnTo>
                  <a:pt x="105" y="20"/>
                </a:lnTo>
                <a:lnTo>
                  <a:pt x="105" y="13"/>
                </a:lnTo>
                <a:lnTo>
                  <a:pt x="105" y="8"/>
                </a:lnTo>
                <a:lnTo>
                  <a:pt x="98" y="5"/>
                </a:lnTo>
                <a:lnTo>
                  <a:pt x="95" y="5"/>
                </a:lnTo>
                <a:lnTo>
                  <a:pt x="93" y="5"/>
                </a:lnTo>
                <a:lnTo>
                  <a:pt x="88" y="5"/>
                </a:lnTo>
                <a:lnTo>
                  <a:pt x="83" y="3"/>
                </a:lnTo>
                <a:lnTo>
                  <a:pt x="78" y="3"/>
                </a:lnTo>
                <a:lnTo>
                  <a:pt x="76" y="0"/>
                </a:lnTo>
                <a:lnTo>
                  <a:pt x="73" y="3"/>
                </a:lnTo>
                <a:lnTo>
                  <a:pt x="73" y="5"/>
                </a:lnTo>
                <a:lnTo>
                  <a:pt x="71" y="8"/>
                </a:lnTo>
                <a:lnTo>
                  <a:pt x="68" y="8"/>
                </a:lnTo>
                <a:lnTo>
                  <a:pt x="66" y="10"/>
                </a:lnTo>
                <a:lnTo>
                  <a:pt x="59" y="5"/>
                </a:lnTo>
                <a:lnTo>
                  <a:pt x="56" y="5"/>
                </a:lnTo>
                <a:lnTo>
                  <a:pt x="56" y="8"/>
                </a:lnTo>
                <a:lnTo>
                  <a:pt x="56" y="10"/>
                </a:lnTo>
                <a:lnTo>
                  <a:pt x="54" y="10"/>
                </a:lnTo>
                <a:lnTo>
                  <a:pt x="51" y="13"/>
                </a:lnTo>
                <a:lnTo>
                  <a:pt x="49" y="15"/>
                </a:lnTo>
                <a:lnTo>
                  <a:pt x="44" y="20"/>
                </a:lnTo>
                <a:lnTo>
                  <a:pt x="44" y="22"/>
                </a:lnTo>
                <a:lnTo>
                  <a:pt x="49" y="25"/>
                </a:lnTo>
                <a:lnTo>
                  <a:pt x="49" y="27"/>
                </a:lnTo>
                <a:lnTo>
                  <a:pt x="46" y="27"/>
                </a:lnTo>
                <a:lnTo>
                  <a:pt x="44" y="27"/>
                </a:lnTo>
                <a:lnTo>
                  <a:pt x="39" y="27"/>
                </a:lnTo>
                <a:lnTo>
                  <a:pt x="36" y="27"/>
                </a:lnTo>
                <a:lnTo>
                  <a:pt x="34" y="27"/>
                </a:lnTo>
                <a:lnTo>
                  <a:pt x="29" y="30"/>
                </a:lnTo>
                <a:lnTo>
                  <a:pt x="27" y="30"/>
                </a:lnTo>
                <a:lnTo>
                  <a:pt x="24" y="30"/>
                </a:lnTo>
                <a:lnTo>
                  <a:pt x="22" y="30"/>
                </a:lnTo>
                <a:lnTo>
                  <a:pt x="19" y="30"/>
                </a:lnTo>
                <a:lnTo>
                  <a:pt x="14" y="27"/>
                </a:lnTo>
                <a:lnTo>
                  <a:pt x="9" y="30"/>
                </a:lnTo>
                <a:lnTo>
                  <a:pt x="12" y="32"/>
                </a:lnTo>
                <a:lnTo>
                  <a:pt x="9" y="32"/>
                </a:lnTo>
                <a:lnTo>
                  <a:pt x="7" y="32"/>
                </a:lnTo>
                <a:lnTo>
                  <a:pt x="4" y="30"/>
                </a:lnTo>
                <a:lnTo>
                  <a:pt x="2" y="30"/>
                </a:lnTo>
                <a:lnTo>
                  <a:pt x="0" y="30"/>
                </a:lnTo>
                <a:lnTo>
                  <a:pt x="0" y="30"/>
                </a:lnTo>
                <a:lnTo>
                  <a:pt x="0" y="32"/>
                </a:lnTo>
                <a:lnTo>
                  <a:pt x="0" y="35"/>
                </a:lnTo>
                <a:lnTo>
                  <a:pt x="2" y="35"/>
                </a:lnTo>
                <a:lnTo>
                  <a:pt x="2" y="40"/>
                </a:lnTo>
                <a:lnTo>
                  <a:pt x="4" y="40"/>
                </a:lnTo>
                <a:lnTo>
                  <a:pt x="7" y="37"/>
                </a:lnTo>
                <a:lnTo>
                  <a:pt x="9" y="42"/>
                </a:lnTo>
                <a:lnTo>
                  <a:pt x="12" y="40"/>
                </a:lnTo>
                <a:lnTo>
                  <a:pt x="14" y="40"/>
                </a:lnTo>
                <a:lnTo>
                  <a:pt x="17" y="42"/>
                </a:lnTo>
                <a:lnTo>
                  <a:pt x="17" y="42"/>
                </a:lnTo>
                <a:lnTo>
                  <a:pt x="22" y="42"/>
                </a:lnTo>
                <a:lnTo>
                  <a:pt x="29" y="40"/>
                </a:lnTo>
                <a:lnTo>
                  <a:pt x="32" y="40"/>
                </a:lnTo>
                <a:lnTo>
                  <a:pt x="39" y="40"/>
                </a:lnTo>
                <a:lnTo>
                  <a:pt x="36" y="42"/>
                </a:lnTo>
                <a:lnTo>
                  <a:pt x="44" y="47"/>
                </a:lnTo>
                <a:lnTo>
                  <a:pt x="54" y="49"/>
                </a:lnTo>
                <a:lnTo>
                  <a:pt x="59" y="47"/>
                </a:lnTo>
                <a:lnTo>
                  <a:pt x="61" y="49"/>
                </a:lnTo>
                <a:lnTo>
                  <a:pt x="61" y="49"/>
                </a:lnTo>
                <a:lnTo>
                  <a:pt x="61" y="4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Freeform 66"/>
          <p:cNvSpPr>
            <a:spLocks/>
          </p:cNvSpPr>
          <p:nvPr/>
        </p:nvSpPr>
        <p:spPr bwMode="auto">
          <a:xfrm>
            <a:off x="5063908" y="2985531"/>
            <a:ext cx="231596" cy="185861"/>
          </a:xfrm>
          <a:custGeom>
            <a:avLst/>
            <a:gdLst/>
            <a:ahLst/>
            <a:cxnLst>
              <a:cxn ang="0">
                <a:pos x="86" y="121"/>
              </a:cxn>
              <a:cxn ang="0">
                <a:pos x="91" y="116"/>
              </a:cxn>
              <a:cxn ang="0">
                <a:pos x="96" y="116"/>
              </a:cxn>
              <a:cxn ang="0">
                <a:pos x="103" y="118"/>
              </a:cxn>
              <a:cxn ang="0">
                <a:pos x="105" y="116"/>
              </a:cxn>
              <a:cxn ang="0">
                <a:pos x="110" y="116"/>
              </a:cxn>
              <a:cxn ang="0">
                <a:pos x="123" y="121"/>
              </a:cxn>
              <a:cxn ang="0">
                <a:pos x="127" y="116"/>
              </a:cxn>
              <a:cxn ang="0">
                <a:pos x="135" y="101"/>
              </a:cxn>
              <a:cxn ang="0">
                <a:pos x="140" y="94"/>
              </a:cxn>
              <a:cxn ang="0">
                <a:pos x="142" y="89"/>
              </a:cxn>
              <a:cxn ang="0">
                <a:pos x="140" y="84"/>
              </a:cxn>
              <a:cxn ang="0">
                <a:pos x="137" y="81"/>
              </a:cxn>
              <a:cxn ang="0">
                <a:pos x="135" y="74"/>
              </a:cxn>
              <a:cxn ang="0">
                <a:pos x="135" y="62"/>
              </a:cxn>
              <a:cxn ang="0">
                <a:pos x="130" y="52"/>
              </a:cxn>
              <a:cxn ang="0">
                <a:pos x="135" y="47"/>
              </a:cxn>
              <a:cxn ang="0">
                <a:pos x="135" y="37"/>
              </a:cxn>
              <a:cxn ang="0">
                <a:pos x="130" y="30"/>
              </a:cxn>
              <a:cxn ang="0">
                <a:pos x="125" y="18"/>
              </a:cxn>
              <a:cxn ang="0">
                <a:pos x="125" y="10"/>
              </a:cxn>
              <a:cxn ang="0">
                <a:pos x="120" y="5"/>
              </a:cxn>
              <a:cxn ang="0">
                <a:pos x="78" y="8"/>
              </a:cxn>
              <a:cxn ang="0">
                <a:pos x="71" y="13"/>
              </a:cxn>
              <a:cxn ang="0">
                <a:pos x="66" y="13"/>
              </a:cxn>
              <a:cxn ang="0">
                <a:pos x="76" y="5"/>
              </a:cxn>
              <a:cxn ang="0">
                <a:pos x="71" y="10"/>
              </a:cxn>
              <a:cxn ang="0">
                <a:pos x="59" y="10"/>
              </a:cxn>
              <a:cxn ang="0">
                <a:pos x="59" y="3"/>
              </a:cxn>
              <a:cxn ang="0">
                <a:pos x="64" y="5"/>
              </a:cxn>
              <a:cxn ang="0">
                <a:pos x="59" y="3"/>
              </a:cxn>
              <a:cxn ang="0">
                <a:pos x="44" y="3"/>
              </a:cxn>
              <a:cxn ang="0">
                <a:pos x="36" y="5"/>
              </a:cxn>
              <a:cxn ang="0">
                <a:pos x="29" y="8"/>
              </a:cxn>
              <a:cxn ang="0">
                <a:pos x="27" y="15"/>
              </a:cxn>
              <a:cxn ang="0">
                <a:pos x="14" y="18"/>
              </a:cxn>
              <a:cxn ang="0">
                <a:pos x="7" y="22"/>
              </a:cxn>
              <a:cxn ang="0">
                <a:pos x="4" y="27"/>
              </a:cxn>
              <a:cxn ang="0">
                <a:pos x="4" y="27"/>
              </a:cxn>
              <a:cxn ang="0">
                <a:pos x="4" y="40"/>
              </a:cxn>
              <a:cxn ang="0">
                <a:pos x="0" y="45"/>
              </a:cxn>
              <a:cxn ang="0">
                <a:pos x="4" y="52"/>
              </a:cxn>
              <a:cxn ang="0">
                <a:pos x="7" y="59"/>
              </a:cxn>
              <a:cxn ang="0">
                <a:pos x="7" y="64"/>
              </a:cxn>
              <a:cxn ang="0">
                <a:pos x="12" y="72"/>
              </a:cxn>
              <a:cxn ang="0">
                <a:pos x="14" y="81"/>
              </a:cxn>
              <a:cxn ang="0">
                <a:pos x="14" y="86"/>
              </a:cxn>
              <a:cxn ang="0">
                <a:pos x="17" y="84"/>
              </a:cxn>
              <a:cxn ang="0">
                <a:pos x="27" y="84"/>
              </a:cxn>
              <a:cxn ang="0">
                <a:pos x="29" y="89"/>
              </a:cxn>
              <a:cxn ang="0">
                <a:pos x="34" y="91"/>
              </a:cxn>
              <a:cxn ang="0">
                <a:pos x="32" y="96"/>
              </a:cxn>
              <a:cxn ang="0">
                <a:pos x="34" y="101"/>
              </a:cxn>
              <a:cxn ang="0">
                <a:pos x="36" y="99"/>
              </a:cxn>
              <a:cxn ang="0">
                <a:pos x="36" y="94"/>
              </a:cxn>
              <a:cxn ang="0">
                <a:pos x="44" y="99"/>
              </a:cxn>
              <a:cxn ang="0">
                <a:pos x="49" y="99"/>
              </a:cxn>
              <a:cxn ang="0">
                <a:pos x="56" y="101"/>
              </a:cxn>
              <a:cxn ang="0">
                <a:pos x="71" y="109"/>
              </a:cxn>
              <a:cxn ang="0">
                <a:pos x="76" y="113"/>
              </a:cxn>
              <a:cxn ang="0">
                <a:pos x="83" y="113"/>
              </a:cxn>
              <a:cxn ang="0">
                <a:pos x="86" y="118"/>
              </a:cxn>
            </a:cxnLst>
            <a:rect l="0" t="0" r="r" b="b"/>
            <a:pathLst>
              <a:path w="142" h="121">
                <a:moveTo>
                  <a:pt x="86" y="118"/>
                </a:moveTo>
                <a:lnTo>
                  <a:pt x="86" y="121"/>
                </a:lnTo>
                <a:lnTo>
                  <a:pt x="88" y="121"/>
                </a:lnTo>
                <a:lnTo>
                  <a:pt x="91" y="116"/>
                </a:lnTo>
                <a:lnTo>
                  <a:pt x="93" y="116"/>
                </a:lnTo>
                <a:lnTo>
                  <a:pt x="96" y="116"/>
                </a:lnTo>
                <a:lnTo>
                  <a:pt x="100" y="116"/>
                </a:lnTo>
                <a:lnTo>
                  <a:pt x="103" y="118"/>
                </a:lnTo>
                <a:lnTo>
                  <a:pt x="103" y="116"/>
                </a:lnTo>
                <a:lnTo>
                  <a:pt x="105" y="116"/>
                </a:lnTo>
                <a:lnTo>
                  <a:pt x="108" y="116"/>
                </a:lnTo>
                <a:lnTo>
                  <a:pt x="110" y="116"/>
                </a:lnTo>
                <a:lnTo>
                  <a:pt x="115" y="116"/>
                </a:lnTo>
                <a:lnTo>
                  <a:pt x="123" y="121"/>
                </a:lnTo>
                <a:lnTo>
                  <a:pt x="125" y="121"/>
                </a:lnTo>
                <a:lnTo>
                  <a:pt x="127" y="116"/>
                </a:lnTo>
                <a:lnTo>
                  <a:pt x="125" y="111"/>
                </a:lnTo>
                <a:lnTo>
                  <a:pt x="135" y="101"/>
                </a:lnTo>
                <a:lnTo>
                  <a:pt x="137" y="96"/>
                </a:lnTo>
                <a:lnTo>
                  <a:pt x="140" y="94"/>
                </a:lnTo>
                <a:lnTo>
                  <a:pt x="142" y="94"/>
                </a:lnTo>
                <a:lnTo>
                  <a:pt x="142" y="89"/>
                </a:lnTo>
                <a:lnTo>
                  <a:pt x="142" y="86"/>
                </a:lnTo>
                <a:lnTo>
                  <a:pt x="140" y="84"/>
                </a:lnTo>
                <a:lnTo>
                  <a:pt x="142" y="81"/>
                </a:lnTo>
                <a:lnTo>
                  <a:pt x="137" y="81"/>
                </a:lnTo>
                <a:lnTo>
                  <a:pt x="137" y="77"/>
                </a:lnTo>
                <a:lnTo>
                  <a:pt x="135" y="74"/>
                </a:lnTo>
                <a:lnTo>
                  <a:pt x="135" y="67"/>
                </a:lnTo>
                <a:lnTo>
                  <a:pt x="135" y="62"/>
                </a:lnTo>
                <a:lnTo>
                  <a:pt x="132" y="57"/>
                </a:lnTo>
                <a:lnTo>
                  <a:pt x="130" y="52"/>
                </a:lnTo>
                <a:lnTo>
                  <a:pt x="132" y="49"/>
                </a:lnTo>
                <a:lnTo>
                  <a:pt x="135" y="47"/>
                </a:lnTo>
                <a:lnTo>
                  <a:pt x="135" y="37"/>
                </a:lnTo>
                <a:lnTo>
                  <a:pt x="135" y="37"/>
                </a:lnTo>
                <a:lnTo>
                  <a:pt x="132" y="32"/>
                </a:lnTo>
                <a:lnTo>
                  <a:pt x="130" y="30"/>
                </a:lnTo>
                <a:lnTo>
                  <a:pt x="130" y="22"/>
                </a:lnTo>
                <a:lnTo>
                  <a:pt x="125" y="18"/>
                </a:lnTo>
                <a:lnTo>
                  <a:pt x="127" y="15"/>
                </a:lnTo>
                <a:lnTo>
                  <a:pt x="125" y="10"/>
                </a:lnTo>
                <a:lnTo>
                  <a:pt x="123" y="8"/>
                </a:lnTo>
                <a:lnTo>
                  <a:pt x="120" y="5"/>
                </a:lnTo>
                <a:lnTo>
                  <a:pt x="98" y="8"/>
                </a:lnTo>
                <a:lnTo>
                  <a:pt x="78" y="8"/>
                </a:lnTo>
                <a:lnTo>
                  <a:pt x="78" y="8"/>
                </a:lnTo>
                <a:lnTo>
                  <a:pt x="71" y="13"/>
                </a:lnTo>
                <a:lnTo>
                  <a:pt x="68" y="13"/>
                </a:lnTo>
                <a:lnTo>
                  <a:pt x="66" y="13"/>
                </a:lnTo>
                <a:lnTo>
                  <a:pt x="71" y="10"/>
                </a:lnTo>
                <a:lnTo>
                  <a:pt x="76" y="5"/>
                </a:lnTo>
                <a:lnTo>
                  <a:pt x="73" y="5"/>
                </a:lnTo>
                <a:lnTo>
                  <a:pt x="71" y="10"/>
                </a:lnTo>
                <a:lnTo>
                  <a:pt x="64" y="13"/>
                </a:lnTo>
                <a:lnTo>
                  <a:pt x="59" y="10"/>
                </a:lnTo>
                <a:lnTo>
                  <a:pt x="56" y="5"/>
                </a:lnTo>
                <a:lnTo>
                  <a:pt x="59" y="3"/>
                </a:lnTo>
                <a:lnTo>
                  <a:pt x="61" y="5"/>
                </a:lnTo>
                <a:lnTo>
                  <a:pt x="64" y="5"/>
                </a:lnTo>
                <a:lnTo>
                  <a:pt x="64" y="5"/>
                </a:lnTo>
                <a:lnTo>
                  <a:pt x="59" y="3"/>
                </a:lnTo>
                <a:lnTo>
                  <a:pt x="51" y="0"/>
                </a:lnTo>
                <a:lnTo>
                  <a:pt x="44" y="3"/>
                </a:lnTo>
                <a:lnTo>
                  <a:pt x="41" y="3"/>
                </a:lnTo>
                <a:lnTo>
                  <a:pt x="36" y="5"/>
                </a:lnTo>
                <a:lnTo>
                  <a:pt x="34" y="8"/>
                </a:lnTo>
                <a:lnTo>
                  <a:pt x="29" y="8"/>
                </a:lnTo>
                <a:lnTo>
                  <a:pt x="27" y="13"/>
                </a:lnTo>
                <a:lnTo>
                  <a:pt x="27" y="15"/>
                </a:lnTo>
                <a:lnTo>
                  <a:pt x="22" y="15"/>
                </a:lnTo>
                <a:lnTo>
                  <a:pt x="14" y="18"/>
                </a:lnTo>
                <a:lnTo>
                  <a:pt x="9" y="18"/>
                </a:lnTo>
                <a:lnTo>
                  <a:pt x="7" y="22"/>
                </a:lnTo>
                <a:lnTo>
                  <a:pt x="4" y="25"/>
                </a:lnTo>
                <a:lnTo>
                  <a:pt x="4" y="27"/>
                </a:lnTo>
                <a:lnTo>
                  <a:pt x="4" y="27"/>
                </a:lnTo>
                <a:lnTo>
                  <a:pt x="4" y="27"/>
                </a:lnTo>
                <a:lnTo>
                  <a:pt x="4" y="35"/>
                </a:lnTo>
                <a:lnTo>
                  <a:pt x="4" y="40"/>
                </a:lnTo>
                <a:lnTo>
                  <a:pt x="0" y="42"/>
                </a:lnTo>
                <a:lnTo>
                  <a:pt x="0" y="45"/>
                </a:lnTo>
                <a:lnTo>
                  <a:pt x="4" y="49"/>
                </a:lnTo>
                <a:lnTo>
                  <a:pt x="4" y="52"/>
                </a:lnTo>
                <a:lnTo>
                  <a:pt x="7" y="57"/>
                </a:lnTo>
                <a:lnTo>
                  <a:pt x="7" y="59"/>
                </a:lnTo>
                <a:lnTo>
                  <a:pt x="7" y="62"/>
                </a:lnTo>
                <a:lnTo>
                  <a:pt x="7" y="64"/>
                </a:lnTo>
                <a:lnTo>
                  <a:pt x="9" y="69"/>
                </a:lnTo>
                <a:lnTo>
                  <a:pt x="12" y="72"/>
                </a:lnTo>
                <a:lnTo>
                  <a:pt x="14" y="74"/>
                </a:lnTo>
                <a:lnTo>
                  <a:pt x="14" y="81"/>
                </a:lnTo>
                <a:lnTo>
                  <a:pt x="12" y="84"/>
                </a:lnTo>
                <a:lnTo>
                  <a:pt x="14" y="86"/>
                </a:lnTo>
                <a:lnTo>
                  <a:pt x="14" y="84"/>
                </a:lnTo>
                <a:lnTo>
                  <a:pt x="17" y="84"/>
                </a:lnTo>
                <a:lnTo>
                  <a:pt x="19" y="84"/>
                </a:lnTo>
                <a:lnTo>
                  <a:pt x="27" y="84"/>
                </a:lnTo>
                <a:lnTo>
                  <a:pt x="27" y="86"/>
                </a:lnTo>
                <a:lnTo>
                  <a:pt x="29" y="89"/>
                </a:lnTo>
                <a:lnTo>
                  <a:pt x="32" y="89"/>
                </a:lnTo>
                <a:lnTo>
                  <a:pt x="34" y="91"/>
                </a:lnTo>
                <a:lnTo>
                  <a:pt x="32" y="94"/>
                </a:lnTo>
                <a:lnTo>
                  <a:pt x="32" y="96"/>
                </a:lnTo>
                <a:lnTo>
                  <a:pt x="34" y="96"/>
                </a:lnTo>
                <a:lnTo>
                  <a:pt x="34" y="101"/>
                </a:lnTo>
                <a:lnTo>
                  <a:pt x="36" y="101"/>
                </a:lnTo>
                <a:lnTo>
                  <a:pt x="36" y="99"/>
                </a:lnTo>
                <a:lnTo>
                  <a:pt x="39" y="99"/>
                </a:lnTo>
                <a:lnTo>
                  <a:pt x="36" y="94"/>
                </a:lnTo>
                <a:lnTo>
                  <a:pt x="36" y="94"/>
                </a:lnTo>
                <a:lnTo>
                  <a:pt x="44" y="99"/>
                </a:lnTo>
                <a:lnTo>
                  <a:pt x="49" y="96"/>
                </a:lnTo>
                <a:lnTo>
                  <a:pt x="49" y="99"/>
                </a:lnTo>
                <a:lnTo>
                  <a:pt x="51" y="104"/>
                </a:lnTo>
                <a:lnTo>
                  <a:pt x="56" y="101"/>
                </a:lnTo>
                <a:lnTo>
                  <a:pt x="61" y="104"/>
                </a:lnTo>
                <a:lnTo>
                  <a:pt x="71" y="109"/>
                </a:lnTo>
                <a:lnTo>
                  <a:pt x="73" y="113"/>
                </a:lnTo>
                <a:lnTo>
                  <a:pt x="76" y="113"/>
                </a:lnTo>
                <a:lnTo>
                  <a:pt x="78" y="113"/>
                </a:lnTo>
                <a:lnTo>
                  <a:pt x="83" y="113"/>
                </a:lnTo>
                <a:lnTo>
                  <a:pt x="86" y="116"/>
                </a:lnTo>
                <a:lnTo>
                  <a:pt x="86" y="118"/>
                </a:lnTo>
                <a:lnTo>
                  <a:pt x="86" y="11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Freeform 67"/>
          <p:cNvSpPr>
            <a:spLocks/>
          </p:cNvSpPr>
          <p:nvPr/>
        </p:nvSpPr>
        <p:spPr bwMode="auto">
          <a:xfrm>
            <a:off x="5019872" y="3114558"/>
            <a:ext cx="184299" cy="75266"/>
          </a:xfrm>
          <a:custGeom>
            <a:avLst/>
            <a:gdLst/>
            <a:ahLst/>
            <a:cxnLst>
              <a:cxn ang="0">
                <a:pos x="41" y="2"/>
              </a:cxn>
              <a:cxn ang="0">
                <a:pos x="44" y="0"/>
              </a:cxn>
              <a:cxn ang="0">
                <a:pos x="54" y="0"/>
              </a:cxn>
              <a:cxn ang="0">
                <a:pos x="56" y="5"/>
              </a:cxn>
              <a:cxn ang="0">
                <a:pos x="61" y="7"/>
              </a:cxn>
              <a:cxn ang="0">
                <a:pos x="59" y="12"/>
              </a:cxn>
              <a:cxn ang="0">
                <a:pos x="61" y="17"/>
              </a:cxn>
              <a:cxn ang="0">
                <a:pos x="63" y="15"/>
              </a:cxn>
              <a:cxn ang="0">
                <a:pos x="63" y="10"/>
              </a:cxn>
              <a:cxn ang="0">
                <a:pos x="71" y="15"/>
              </a:cxn>
              <a:cxn ang="0">
                <a:pos x="76" y="15"/>
              </a:cxn>
              <a:cxn ang="0">
                <a:pos x="83" y="17"/>
              </a:cxn>
              <a:cxn ang="0">
                <a:pos x="98" y="25"/>
              </a:cxn>
              <a:cxn ang="0">
                <a:pos x="103" y="29"/>
              </a:cxn>
              <a:cxn ang="0">
                <a:pos x="110" y="29"/>
              </a:cxn>
              <a:cxn ang="0">
                <a:pos x="113" y="34"/>
              </a:cxn>
              <a:cxn ang="0">
                <a:pos x="103" y="37"/>
              </a:cxn>
              <a:cxn ang="0">
                <a:pos x="93" y="42"/>
              </a:cxn>
              <a:cxn ang="0">
                <a:pos x="83" y="47"/>
              </a:cxn>
              <a:cxn ang="0">
                <a:pos x="78" y="44"/>
              </a:cxn>
              <a:cxn ang="0">
                <a:pos x="66" y="44"/>
              </a:cxn>
              <a:cxn ang="0">
                <a:pos x="61" y="44"/>
              </a:cxn>
              <a:cxn ang="0">
                <a:pos x="51" y="42"/>
              </a:cxn>
              <a:cxn ang="0">
                <a:pos x="44" y="39"/>
              </a:cxn>
              <a:cxn ang="0">
                <a:pos x="41" y="44"/>
              </a:cxn>
              <a:cxn ang="0">
                <a:pos x="36" y="47"/>
              </a:cxn>
              <a:cxn ang="0">
                <a:pos x="27" y="44"/>
              </a:cxn>
              <a:cxn ang="0">
                <a:pos x="24" y="44"/>
              </a:cxn>
              <a:cxn ang="0">
                <a:pos x="14" y="34"/>
              </a:cxn>
              <a:cxn ang="0">
                <a:pos x="7" y="29"/>
              </a:cxn>
              <a:cxn ang="0">
                <a:pos x="7" y="22"/>
              </a:cxn>
              <a:cxn ang="0">
                <a:pos x="0" y="15"/>
              </a:cxn>
              <a:cxn ang="0">
                <a:pos x="0" y="12"/>
              </a:cxn>
              <a:cxn ang="0">
                <a:pos x="4" y="15"/>
              </a:cxn>
              <a:cxn ang="0">
                <a:pos x="12" y="10"/>
              </a:cxn>
              <a:cxn ang="0">
                <a:pos x="19" y="5"/>
              </a:cxn>
              <a:cxn ang="0">
                <a:pos x="27" y="2"/>
              </a:cxn>
              <a:cxn ang="0">
                <a:pos x="29" y="2"/>
              </a:cxn>
              <a:cxn ang="0">
                <a:pos x="34" y="0"/>
              </a:cxn>
              <a:cxn ang="0">
                <a:pos x="39" y="0"/>
              </a:cxn>
              <a:cxn ang="0">
                <a:pos x="39" y="0"/>
              </a:cxn>
            </a:cxnLst>
            <a:rect l="0" t="0" r="r" b="b"/>
            <a:pathLst>
              <a:path w="113" h="49">
                <a:moveTo>
                  <a:pt x="39" y="0"/>
                </a:moveTo>
                <a:lnTo>
                  <a:pt x="41" y="2"/>
                </a:lnTo>
                <a:lnTo>
                  <a:pt x="41" y="0"/>
                </a:lnTo>
                <a:lnTo>
                  <a:pt x="44" y="0"/>
                </a:lnTo>
                <a:lnTo>
                  <a:pt x="46" y="0"/>
                </a:lnTo>
                <a:lnTo>
                  <a:pt x="54" y="0"/>
                </a:lnTo>
                <a:lnTo>
                  <a:pt x="54" y="2"/>
                </a:lnTo>
                <a:lnTo>
                  <a:pt x="56" y="5"/>
                </a:lnTo>
                <a:lnTo>
                  <a:pt x="59" y="5"/>
                </a:lnTo>
                <a:lnTo>
                  <a:pt x="61" y="7"/>
                </a:lnTo>
                <a:lnTo>
                  <a:pt x="59" y="10"/>
                </a:lnTo>
                <a:lnTo>
                  <a:pt x="59" y="12"/>
                </a:lnTo>
                <a:lnTo>
                  <a:pt x="61" y="12"/>
                </a:lnTo>
                <a:lnTo>
                  <a:pt x="61" y="17"/>
                </a:lnTo>
                <a:lnTo>
                  <a:pt x="63" y="17"/>
                </a:lnTo>
                <a:lnTo>
                  <a:pt x="63" y="15"/>
                </a:lnTo>
                <a:lnTo>
                  <a:pt x="66" y="15"/>
                </a:lnTo>
                <a:lnTo>
                  <a:pt x="63" y="10"/>
                </a:lnTo>
                <a:lnTo>
                  <a:pt x="63" y="10"/>
                </a:lnTo>
                <a:lnTo>
                  <a:pt x="71" y="15"/>
                </a:lnTo>
                <a:lnTo>
                  <a:pt x="76" y="12"/>
                </a:lnTo>
                <a:lnTo>
                  <a:pt x="76" y="15"/>
                </a:lnTo>
                <a:lnTo>
                  <a:pt x="78" y="20"/>
                </a:lnTo>
                <a:lnTo>
                  <a:pt x="83" y="17"/>
                </a:lnTo>
                <a:lnTo>
                  <a:pt x="88" y="20"/>
                </a:lnTo>
                <a:lnTo>
                  <a:pt x="98" y="25"/>
                </a:lnTo>
                <a:lnTo>
                  <a:pt x="100" y="29"/>
                </a:lnTo>
                <a:lnTo>
                  <a:pt x="103" y="29"/>
                </a:lnTo>
                <a:lnTo>
                  <a:pt x="105" y="29"/>
                </a:lnTo>
                <a:lnTo>
                  <a:pt x="110" y="29"/>
                </a:lnTo>
                <a:lnTo>
                  <a:pt x="113" y="32"/>
                </a:lnTo>
                <a:lnTo>
                  <a:pt x="113" y="34"/>
                </a:lnTo>
                <a:lnTo>
                  <a:pt x="105" y="34"/>
                </a:lnTo>
                <a:lnTo>
                  <a:pt x="103" y="37"/>
                </a:lnTo>
                <a:lnTo>
                  <a:pt x="98" y="39"/>
                </a:lnTo>
                <a:lnTo>
                  <a:pt x="93" y="42"/>
                </a:lnTo>
                <a:lnTo>
                  <a:pt x="88" y="44"/>
                </a:lnTo>
                <a:lnTo>
                  <a:pt x="83" y="47"/>
                </a:lnTo>
                <a:lnTo>
                  <a:pt x="81" y="44"/>
                </a:lnTo>
                <a:lnTo>
                  <a:pt x="78" y="44"/>
                </a:lnTo>
                <a:lnTo>
                  <a:pt x="73" y="47"/>
                </a:lnTo>
                <a:lnTo>
                  <a:pt x="66" y="44"/>
                </a:lnTo>
                <a:lnTo>
                  <a:pt x="63" y="44"/>
                </a:lnTo>
                <a:lnTo>
                  <a:pt x="61" y="44"/>
                </a:lnTo>
                <a:lnTo>
                  <a:pt x="56" y="44"/>
                </a:lnTo>
                <a:lnTo>
                  <a:pt x="51" y="42"/>
                </a:lnTo>
                <a:lnTo>
                  <a:pt x="46" y="42"/>
                </a:lnTo>
                <a:lnTo>
                  <a:pt x="44" y="39"/>
                </a:lnTo>
                <a:lnTo>
                  <a:pt x="41" y="42"/>
                </a:lnTo>
                <a:lnTo>
                  <a:pt x="41" y="44"/>
                </a:lnTo>
                <a:lnTo>
                  <a:pt x="39" y="47"/>
                </a:lnTo>
                <a:lnTo>
                  <a:pt x="36" y="47"/>
                </a:lnTo>
                <a:lnTo>
                  <a:pt x="34" y="49"/>
                </a:lnTo>
                <a:lnTo>
                  <a:pt x="27" y="44"/>
                </a:lnTo>
                <a:lnTo>
                  <a:pt x="24" y="44"/>
                </a:lnTo>
                <a:lnTo>
                  <a:pt x="24" y="44"/>
                </a:lnTo>
                <a:lnTo>
                  <a:pt x="19" y="37"/>
                </a:lnTo>
                <a:lnTo>
                  <a:pt x="14" y="34"/>
                </a:lnTo>
                <a:lnTo>
                  <a:pt x="9" y="32"/>
                </a:lnTo>
                <a:lnTo>
                  <a:pt x="7" y="29"/>
                </a:lnTo>
                <a:lnTo>
                  <a:pt x="7" y="27"/>
                </a:lnTo>
                <a:lnTo>
                  <a:pt x="7" y="22"/>
                </a:lnTo>
                <a:lnTo>
                  <a:pt x="2" y="17"/>
                </a:lnTo>
                <a:lnTo>
                  <a:pt x="0" y="15"/>
                </a:lnTo>
                <a:lnTo>
                  <a:pt x="0" y="12"/>
                </a:lnTo>
                <a:lnTo>
                  <a:pt x="0" y="12"/>
                </a:lnTo>
                <a:lnTo>
                  <a:pt x="2" y="15"/>
                </a:lnTo>
                <a:lnTo>
                  <a:pt x="4" y="15"/>
                </a:lnTo>
                <a:lnTo>
                  <a:pt x="9" y="10"/>
                </a:lnTo>
                <a:lnTo>
                  <a:pt x="12" y="10"/>
                </a:lnTo>
                <a:lnTo>
                  <a:pt x="14" y="5"/>
                </a:lnTo>
                <a:lnTo>
                  <a:pt x="19" y="5"/>
                </a:lnTo>
                <a:lnTo>
                  <a:pt x="19" y="2"/>
                </a:lnTo>
                <a:lnTo>
                  <a:pt x="27" y="2"/>
                </a:lnTo>
                <a:lnTo>
                  <a:pt x="27" y="5"/>
                </a:lnTo>
                <a:lnTo>
                  <a:pt x="29" y="2"/>
                </a:lnTo>
                <a:lnTo>
                  <a:pt x="29" y="0"/>
                </a:lnTo>
                <a:lnTo>
                  <a:pt x="34" y="0"/>
                </a:lnTo>
                <a:lnTo>
                  <a:pt x="36" y="0"/>
                </a:lnTo>
                <a:lnTo>
                  <a:pt x="39" y="0"/>
                </a:lnTo>
                <a:lnTo>
                  <a:pt x="39" y="0"/>
                </a:lnTo>
                <a:lnTo>
                  <a:pt x="39"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Freeform 68"/>
          <p:cNvSpPr>
            <a:spLocks/>
          </p:cNvSpPr>
          <p:nvPr/>
        </p:nvSpPr>
        <p:spPr bwMode="auto">
          <a:xfrm>
            <a:off x="4874717" y="2985531"/>
            <a:ext cx="212025" cy="238086"/>
          </a:xfrm>
          <a:custGeom>
            <a:avLst/>
            <a:gdLst/>
            <a:ahLst/>
            <a:cxnLst>
              <a:cxn ang="0">
                <a:pos x="47" y="3"/>
              </a:cxn>
              <a:cxn ang="0">
                <a:pos x="54" y="10"/>
              </a:cxn>
              <a:cxn ang="0">
                <a:pos x="57" y="18"/>
              </a:cxn>
              <a:cxn ang="0">
                <a:pos x="64" y="15"/>
              </a:cxn>
              <a:cxn ang="0">
                <a:pos x="71" y="15"/>
              </a:cxn>
              <a:cxn ang="0">
                <a:pos x="66" y="20"/>
              </a:cxn>
              <a:cxn ang="0">
                <a:pos x="74" y="22"/>
              </a:cxn>
              <a:cxn ang="0">
                <a:pos x="86" y="18"/>
              </a:cxn>
              <a:cxn ang="0">
                <a:pos x="91" y="13"/>
              </a:cxn>
              <a:cxn ang="0">
                <a:pos x="91" y="15"/>
              </a:cxn>
              <a:cxn ang="0">
                <a:pos x="96" y="15"/>
              </a:cxn>
              <a:cxn ang="0">
                <a:pos x="106" y="20"/>
              </a:cxn>
              <a:cxn ang="0">
                <a:pos x="113" y="27"/>
              </a:cxn>
              <a:cxn ang="0">
                <a:pos x="120" y="35"/>
              </a:cxn>
              <a:cxn ang="0">
                <a:pos x="120" y="49"/>
              </a:cxn>
              <a:cxn ang="0">
                <a:pos x="123" y="62"/>
              </a:cxn>
              <a:cxn ang="0">
                <a:pos x="130" y="74"/>
              </a:cxn>
              <a:cxn ang="0">
                <a:pos x="123" y="84"/>
              </a:cxn>
              <a:cxn ang="0">
                <a:pos x="116" y="86"/>
              </a:cxn>
              <a:cxn ang="0">
                <a:pos x="101" y="94"/>
              </a:cxn>
              <a:cxn ang="0">
                <a:pos x="89" y="96"/>
              </a:cxn>
              <a:cxn ang="0">
                <a:pos x="96" y="106"/>
              </a:cxn>
              <a:cxn ang="0">
                <a:pos x="103" y="118"/>
              </a:cxn>
              <a:cxn ang="0">
                <a:pos x="113" y="133"/>
              </a:cxn>
              <a:cxn ang="0">
                <a:pos x="101" y="143"/>
              </a:cxn>
              <a:cxn ang="0">
                <a:pos x="103" y="150"/>
              </a:cxn>
              <a:cxn ang="0">
                <a:pos x="91" y="150"/>
              </a:cxn>
              <a:cxn ang="0">
                <a:pos x="79" y="153"/>
              </a:cxn>
              <a:cxn ang="0">
                <a:pos x="69" y="155"/>
              </a:cxn>
              <a:cxn ang="0">
                <a:pos x="59" y="153"/>
              </a:cxn>
              <a:cxn ang="0">
                <a:pos x="49" y="150"/>
              </a:cxn>
              <a:cxn ang="0">
                <a:pos x="44" y="148"/>
              </a:cxn>
              <a:cxn ang="0">
                <a:pos x="34" y="150"/>
              </a:cxn>
              <a:cxn ang="0">
                <a:pos x="29" y="148"/>
              </a:cxn>
              <a:cxn ang="0">
                <a:pos x="29" y="136"/>
              </a:cxn>
              <a:cxn ang="0">
                <a:pos x="32" y="123"/>
              </a:cxn>
              <a:cxn ang="0">
                <a:pos x="20" y="121"/>
              </a:cxn>
              <a:cxn ang="0">
                <a:pos x="12" y="118"/>
              </a:cxn>
              <a:cxn ang="0">
                <a:pos x="7" y="109"/>
              </a:cxn>
              <a:cxn ang="0">
                <a:pos x="5" y="96"/>
              </a:cxn>
              <a:cxn ang="0">
                <a:pos x="2" y="86"/>
              </a:cxn>
              <a:cxn ang="0">
                <a:pos x="2" y="72"/>
              </a:cxn>
              <a:cxn ang="0">
                <a:pos x="15" y="67"/>
              </a:cxn>
              <a:cxn ang="0">
                <a:pos x="17" y="57"/>
              </a:cxn>
              <a:cxn ang="0">
                <a:pos x="12" y="52"/>
              </a:cxn>
              <a:cxn ang="0">
                <a:pos x="20" y="47"/>
              </a:cxn>
              <a:cxn ang="0">
                <a:pos x="22" y="40"/>
              </a:cxn>
              <a:cxn ang="0">
                <a:pos x="17" y="35"/>
              </a:cxn>
              <a:cxn ang="0">
                <a:pos x="29" y="30"/>
              </a:cxn>
              <a:cxn ang="0">
                <a:pos x="32" y="32"/>
              </a:cxn>
              <a:cxn ang="0">
                <a:pos x="34" y="35"/>
              </a:cxn>
              <a:cxn ang="0">
                <a:pos x="37" y="30"/>
              </a:cxn>
              <a:cxn ang="0">
                <a:pos x="47" y="25"/>
              </a:cxn>
              <a:cxn ang="0">
                <a:pos x="47" y="25"/>
              </a:cxn>
              <a:cxn ang="0">
                <a:pos x="44" y="20"/>
              </a:cxn>
              <a:cxn ang="0">
                <a:pos x="37" y="13"/>
              </a:cxn>
              <a:cxn ang="0">
                <a:pos x="39" y="5"/>
              </a:cxn>
              <a:cxn ang="0">
                <a:pos x="37" y="0"/>
              </a:cxn>
            </a:cxnLst>
            <a:rect l="0" t="0" r="r" b="b"/>
            <a:pathLst>
              <a:path w="130" h="155">
                <a:moveTo>
                  <a:pt x="37" y="0"/>
                </a:moveTo>
                <a:lnTo>
                  <a:pt x="39" y="0"/>
                </a:lnTo>
                <a:lnTo>
                  <a:pt x="47" y="3"/>
                </a:lnTo>
                <a:lnTo>
                  <a:pt x="47" y="3"/>
                </a:lnTo>
                <a:lnTo>
                  <a:pt x="52" y="3"/>
                </a:lnTo>
                <a:lnTo>
                  <a:pt x="54" y="5"/>
                </a:lnTo>
                <a:lnTo>
                  <a:pt x="57" y="5"/>
                </a:lnTo>
                <a:lnTo>
                  <a:pt x="54" y="10"/>
                </a:lnTo>
                <a:lnTo>
                  <a:pt x="54" y="13"/>
                </a:lnTo>
                <a:lnTo>
                  <a:pt x="54" y="13"/>
                </a:lnTo>
                <a:lnTo>
                  <a:pt x="57" y="15"/>
                </a:lnTo>
                <a:lnTo>
                  <a:pt x="57" y="18"/>
                </a:lnTo>
                <a:lnTo>
                  <a:pt x="59" y="15"/>
                </a:lnTo>
                <a:lnTo>
                  <a:pt x="61" y="13"/>
                </a:lnTo>
                <a:lnTo>
                  <a:pt x="61" y="13"/>
                </a:lnTo>
                <a:lnTo>
                  <a:pt x="64" y="15"/>
                </a:lnTo>
                <a:lnTo>
                  <a:pt x="66" y="18"/>
                </a:lnTo>
                <a:lnTo>
                  <a:pt x="69" y="15"/>
                </a:lnTo>
                <a:lnTo>
                  <a:pt x="71" y="13"/>
                </a:lnTo>
                <a:lnTo>
                  <a:pt x="71" y="15"/>
                </a:lnTo>
                <a:lnTo>
                  <a:pt x="71" y="18"/>
                </a:lnTo>
                <a:lnTo>
                  <a:pt x="69" y="20"/>
                </a:lnTo>
                <a:lnTo>
                  <a:pt x="69" y="20"/>
                </a:lnTo>
                <a:lnTo>
                  <a:pt x="66" y="20"/>
                </a:lnTo>
                <a:lnTo>
                  <a:pt x="69" y="22"/>
                </a:lnTo>
                <a:lnTo>
                  <a:pt x="71" y="22"/>
                </a:lnTo>
                <a:lnTo>
                  <a:pt x="74" y="22"/>
                </a:lnTo>
                <a:lnTo>
                  <a:pt x="74" y="22"/>
                </a:lnTo>
                <a:lnTo>
                  <a:pt x="79" y="22"/>
                </a:lnTo>
                <a:lnTo>
                  <a:pt x="79" y="20"/>
                </a:lnTo>
                <a:lnTo>
                  <a:pt x="81" y="18"/>
                </a:lnTo>
                <a:lnTo>
                  <a:pt x="86" y="18"/>
                </a:lnTo>
                <a:lnTo>
                  <a:pt x="86" y="15"/>
                </a:lnTo>
                <a:lnTo>
                  <a:pt x="89" y="15"/>
                </a:lnTo>
                <a:lnTo>
                  <a:pt x="89" y="13"/>
                </a:lnTo>
                <a:lnTo>
                  <a:pt x="91" y="13"/>
                </a:lnTo>
                <a:lnTo>
                  <a:pt x="96" y="13"/>
                </a:lnTo>
                <a:lnTo>
                  <a:pt x="91" y="13"/>
                </a:lnTo>
                <a:lnTo>
                  <a:pt x="91" y="15"/>
                </a:lnTo>
                <a:lnTo>
                  <a:pt x="91" y="15"/>
                </a:lnTo>
                <a:lnTo>
                  <a:pt x="89" y="15"/>
                </a:lnTo>
                <a:lnTo>
                  <a:pt x="89" y="18"/>
                </a:lnTo>
                <a:lnTo>
                  <a:pt x="93" y="15"/>
                </a:lnTo>
                <a:lnTo>
                  <a:pt x="96" y="15"/>
                </a:lnTo>
                <a:lnTo>
                  <a:pt x="98" y="15"/>
                </a:lnTo>
                <a:lnTo>
                  <a:pt x="98" y="15"/>
                </a:lnTo>
                <a:lnTo>
                  <a:pt x="101" y="15"/>
                </a:lnTo>
                <a:lnTo>
                  <a:pt x="106" y="20"/>
                </a:lnTo>
                <a:lnTo>
                  <a:pt x="108" y="20"/>
                </a:lnTo>
                <a:lnTo>
                  <a:pt x="111" y="22"/>
                </a:lnTo>
                <a:lnTo>
                  <a:pt x="108" y="25"/>
                </a:lnTo>
                <a:lnTo>
                  <a:pt x="113" y="27"/>
                </a:lnTo>
                <a:lnTo>
                  <a:pt x="116" y="27"/>
                </a:lnTo>
                <a:lnTo>
                  <a:pt x="116" y="27"/>
                </a:lnTo>
                <a:lnTo>
                  <a:pt x="120" y="27"/>
                </a:lnTo>
                <a:lnTo>
                  <a:pt x="120" y="35"/>
                </a:lnTo>
                <a:lnTo>
                  <a:pt x="120" y="40"/>
                </a:lnTo>
                <a:lnTo>
                  <a:pt x="116" y="42"/>
                </a:lnTo>
                <a:lnTo>
                  <a:pt x="116" y="45"/>
                </a:lnTo>
                <a:lnTo>
                  <a:pt x="120" y="49"/>
                </a:lnTo>
                <a:lnTo>
                  <a:pt x="120" y="52"/>
                </a:lnTo>
                <a:lnTo>
                  <a:pt x="123" y="57"/>
                </a:lnTo>
                <a:lnTo>
                  <a:pt x="123" y="59"/>
                </a:lnTo>
                <a:lnTo>
                  <a:pt x="123" y="62"/>
                </a:lnTo>
                <a:lnTo>
                  <a:pt x="123" y="64"/>
                </a:lnTo>
                <a:lnTo>
                  <a:pt x="125" y="69"/>
                </a:lnTo>
                <a:lnTo>
                  <a:pt x="128" y="72"/>
                </a:lnTo>
                <a:lnTo>
                  <a:pt x="130" y="74"/>
                </a:lnTo>
                <a:lnTo>
                  <a:pt x="130" y="81"/>
                </a:lnTo>
                <a:lnTo>
                  <a:pt x="128" y="84"/>
                </a:lnTo>
                <a:lnTo>
                  <a:pt x="125" y="84"/>
                </a:lnTo>
                <a:lnTo>
                  <a:pt x="123" y="84"/>
                </a:lnTo>
                <a:lnTo>
                  <a:pt x="118" y="84"/>
                </a:lnTo>
                <a:lnTo>
                  <a:pt x="118" y="86"/>
                </a:lnTo>
                <a:lnTo>
                  <a:pt x="116" y="89"/>
                </a:lnTo>
                <a:lnTo>
                  <a:pt x="116" y="86"/>
                </a:lnTo>
                <a:lnTo>
                  <a:pt x="108" y="86"/>
                </a:lnTo>
                <a:lnTo>
                  <a:pt x="108" y="89"/>
                </a:lnTo>
                <a:lnTo>
                  <a:pt x="103" y="89"/>
                </a:lnTo>
                <a:lnTo>
                  <a:pt x="101" y="94"/>
                </a:lnTo>
                <a:lnTo>
                  <a:pt x="98" y="94"/>
                </a:lnTo>
                <a:lnTo>
                  <a:pt x="93" y="99"/>
                </a:lnTo>
                <a:lnTo>
                  <a:pt x="91" y="99"/>
                </a:lnTo>
                <a:lnTo>
                  <a:pt x="89" y="96"/>
                </a:lnTo>
                <a:lnTo>
                  <a:pt x="89" y="96"/>
                </a:lnTo>
                <a:lnTo>
                  <a:pt x="89" y="99"/>
                </a:lnTo>
                <a:lnTo>
                  <a:pt x="91" y="101"/>
                </a:lnTo>
                <a:lnTo>
                  <a:pt x="96" y="106"/>
                </a:lnTo>
                <a:lnTo>
                  <a:pt x="96" y="111"/>
                </a:lnTo>
                <a:lnTo>
                  <a:pt x="96" y="113"/>
                </a:lnTo>
                <a:lnTo>
                  <a:pt x="98" y="116"/>
                </a:lnTo>
                <a:lnTo>
                  <a:pt x="103" y="118"/>
                </a:lnTo>
                <a:lnTo>
                  <a:pt x="108" y="121"/>
                </a:lnTo>
                <a:lnTo>
                  <a:pt x="113" y="128"/>
                </a:lnTo>
                <a:lnTo>
                  <a:pt x="113" y="131"/>
                </a:lnTo>
                <a:lnTo>
                  <a:pt x="113" y="133"/>
                </a:lnTo>
                <a:lnTo>
                  <a:pt x="111" y="133"/>
                </a:lnTo>
                <a:lnTo>
                  <a:pt x="108" y="136"/>
                </a:lnTo>
                <a:lnTo>
                  <a:pt x="106" y="138"/>
                </a:lnTo>
                <a:lnTo>
                  <a:pt x="101" y="143"/>
                </a:lnTo>
                <a:lnTo>
                  <a:pt x="101" y="145"/>
                </a:lnTo>
                <a:lnTo>
                  <a:pt x="106" y="148"/>
                </a:lnTo>
                <a:lnTo>
                  <a:pt x="106" y="150"/>
                </a:lnTo>
                <a:lnTo>
                  <a:pt x="103" y="150"/>
                </a:lnTo>
                <a:lnTo>
                  <a:pt x="101" y="150"/>
                </a:lnTo>
                <a:lnTo>
                  <a:pt x="96" y="150"/>
                </a:lnTo>
                <a:lnTo>
                  <a:pt x="93" y="150"/>
                </a:lnTo>
                <a:lnTo>
                  <a:pt x="91" y="150"/>
                </a:lnTo>
                <a:lnTo>
                  <a:pt x="86" y="153"/>
                </a:lnTo>
                <a:lnTo>
                  <a:pt x="84" y="153"/>
                </a:lnTo>
                <a:lnTo>
                  <a:pt x="81" y="153"/>
                </a:lnTo>
                <a:lnTo>
                  <a:pt x="79" y="153"/>
                </a:lnTo>
                <a:lnTo>
                  <a:pt x="76" y="153"/>
                </a:lnTo>
                <a:lnTo>
                  <a:pt x="71" y="150"/>
                </a:lnTo>
                <a:lnTo>
                  <a:pt x="66" y="153"/>
                </a:lnTo>
                <a:lnTo>
                  <a:pt x="69" y="155"/>
                </a:lnTo>
                <a:lnTo>
                  <a:pt x="66" y="155"/>
                </a:lnTo>
                <a:lnTo>
                  <a:pt x="64" y="155"/>
                </a:lnTo>
                <a:lnTo>
                  <a:pt x="61" y="153"/>
                </a:lnTo>
                <a:lnTo>
                  <a:pt x="59" y="153"/>
                </a:lnTo>
                <a:lnTo>
                  <a:pt x="57" y="153"/>
                </a:lnTo>
                <a:lnTo>
                  <a:pt x="57" y="153"/>
                </a:lnTo>
                <a:lnTo>
                  <a:pt x="54" y="153"/>
                </a:lnTo>
                <a:lnTo>
                  <a:pt x="49" y="150"/>
                </a:lnTo>
                <a:lnTo>
                  <a:pt x="47" y="150"/>
                </a:lnTo>
                <a:lnTo>
                  <a:pt x="47" y="150"/>
                </a:lnTo>
                <a:lnTo>
                  <a:pt x="44" y="150"/>
                </a:lnTo>
                <a:lnTo>
                  <a:pt x="44" y="148"/>
                </a:lnTo>
                <a:lnTo>
                  <a:pt x="39" y="148"/>
                </a:lnTo>
                <a:lnTo>
                  <a:pt x="39" y="150"/>
                </a:lnTo>
                <a:lnTo>
                  <a:pt x="39" y="153"/>
                </a:lnTo>
                <a:lnTo>
                  <a:pt x="34" y="150"/>
                </a:lnTo>
                <a:lnTo>
                  <a:pt x="32" y="153"/>
                </a:lnTo>
                <a:lnTo>
                  <a:pt x="29" y="153"/>
                </a:lnTo>
                <a:lnTo>
                  <a:pt x="29" y="153"/>
                </a:lnTo>
                <a:lnTo>
                  <a:pt x="29" y="148"/>
                </a:lnTo>
                <a:lnTo>
                  <a:pt x="27" y="148"/>
                </a:lnTo>
                <a:lnTo>
                  <a:pt x="27" y="143"/>
                </a:lnTo>
                <a:lnTo>
                  <a:pt x="27" y="138"/>
                </a:lnTo>
                <a:lnTo>
                  <a:pt x="29" y="136"/>
                </a:lnTo>
                <a:lnTo>
                  <a:pt x="29" y="133"/>
                </a:lnTo>
                <a:lnTo>
                  <a:pt x="32" y="128"/>
                </a:lnTo>
                <a:lnTo>
                  <a:pt x="34" y="126"/>
                </a:lnTo>
                <a:lnTo>
                  <a:pt x="32" y="123"/>
                </a:lnTo>
                <a:lnTo>
                  <a:pt x="29" y="123"/>
                </a:lnTo>
                <a:lnTo>
                  <a:pt x="25" y="121"/>
                </a:lnTo>
                <a:lnTo>
                  <a:pt x="22" y="121"/>
                </a:lnTo>
                <a:lnTo>
                  <a:pt x="20" y="121"/>
                </a:lnTo>
                <a:lnTo>
                  <a:pt x="17" y="121"/>
                </a:lnTo>
                <a:lnTo>
                  <a:pt x="15" y="123"/>
                </a:lnTo>
                <a:lnTo>
                  <a:pt x="12" y="121"/>
                </a:lnTo>
                <a:lnTo>
                  <a:pt x="12" y="118"/>
                </a:lnTo>
                <a:lnTo>
                  <a:pt x="10" y="116"/>
                </a:lnTo>
                <a:lnTo>
                  <a:pt x="10" y="116"/>
                </a:lnTo>
                <a:lnTo>
                  <a:pt x="10" y="111"/>
                </a:lnTo>
                <a:lnTo>
                  <a:pt x="7" y="109"/>
                </a:lnTo>
                <a:lnTo>
                  <a:pt x="7" y="106"/>
                </a:lnTo>
                <a:lnTo>
                  <a:pt x="5" y="101"/>
                </a:lnTo>
                <a:lnTo>
                  <a:pt x="2" y="101"/>
                </a:lnTo>
                <a:lnTo>
                  <a:pt x="5" y="96"/>
                </a:lnTo>
                <a:lnTo>
                  <a:pt x="2" y="94"/>
                </a:lnTo>
                <a:lnTo>
                  <a:pt x="2" y="91"/>
                </a:lnTo>
                <a:lnTo>
                  <a:pt x="0" y="89"/>
                </a:lnTo>
                <a:lnTo>
                  <a:pt x="2" y="86"/>
                </a:lnTo>
                <a:lnTo>
                  <a:pt x="0" y="86"/>
                </a:lnTo>
                <a:lnTo>
                  <a:pt x="2" y="81"/>
                </a:lnTo>
                <a:lnTo>
                  <a:pt x="2" y="77"/>
                </a:lnTo>
                <a:lnTo>
                  <a:pt x="2" y="72"/>
                </a:lnTo>
                <a:lnTo>
                  <a:pt x="5" y="69"/>
                </a:lnTo>
                <a:lnTo>
                  <a:pt x="7" y="67"/>
                </a:lnTo>
                <a:lnTo>
                  <a:pt x="10" y="67"/>
                </a:lnTo>
                <a:lnTo>
                  <a:pt x="15" y="67"/>
                </a:lnTo>
                <a:lnTo>
                  <a:pt x="17" y="64"/>
                </a:lnTo>
                <a:lnTo>
                  <a:pt x="15" y="62"/>
                </a:lnTo>
                <a:lnTo>
                  <a:pt x="17" y="62"/>
                </a:lnTo>
                <a:lnTo>
                  <a:pt x="17" y="57"/>
                </a:lnTo>
                <a:lnTo>
                  <a:pt x="17" y="57"/>
                </a:lnTo>
                <a:lnTo>
                  <a:pt x="17" y="54"/>
                </a:lnTo>
                <a:lnTo>
                  <a:pt x="12" y="54"/>
                </a:lnTo>
                <a:lnTo>
                  <a:pt x="12" y="52"/>
                </a:lnTo>
                <a:lnTo>
                  <a:pt x="15" y="49"/>
                </a:lnTo>
                <a:lnTo>
                  <a:pt x="17" y="52"/>
                </a:lnTo>
                <a:lnTo>
                  <a:pt x="20" y="49"/>
                </a:lnTo>
                <a:lnTo>
                  <a:pt x="20" y="47"/>
                </a:lnTo>
                <a:lnTo>
                  <a:pt x="20" y="45"/>
                </a:lnTo>
                <a:lnTo>
                  <a:pt x="20" y="42"/>
                </a:lnTo>
                <a:lnTo>
                  <a:pt x="22" y="40"/>
                </a:lnTo>
                <a:lnTo>
                  <a:pt x="22" y="40"/>
                </a:lnTo>
                <a:lnTo>
                  <a:pt x="22" y="40"/>
                </a:lnTo>
                <a:lnTo>
                  <a:pt x="22" y="37"/>
                </a:lnTo>
                <a:lnTo>
                  <a:pt x="17" y="37"/>
                </a:lnTo>
                <a:lnTo>
                  <a:pt x="17" y="35"/>
                </a:lnTo>
                <a:lnTo>
                  <a:pt x="17" y="30"/>
                </a:lnTo>
                <a:lnTo>
                  <a:pt x="25" y="30"/>
                </a:lnTo>
                <a:lnTo>
                  <a:pt x="25" y="27"/>
                </a:lnTo>
                <a:lnTo>
                  <a:pt x="29" y="30"/>
                </a:lnTo>
                <a:lnTo>
                  <a:pt x="29" y="35"/>
                </a:lnTo>
                <a:lnTo>
                  <a:pt x="32" y="37"/>
                </a:lnTo>
                <a:lnTo>
                  <a:pt x="34" y="35"/>
                </a:lnTo>
                <a:lnTo>
                  <a:pt x="32" y="32"/>
                </a:lnTo>
                <a:lnTo>
                  <a:pt x="32" y="30"/>
                </a:lnTo>
                <a:lnTo>
                  <a:pt x="34" y="30"/>
                </a:lnTo>
                <a:lnTo>
                  <a:pt x="34" y="32"/>
                </a:lnTo>
                <a:lnTo>
                  <a:pt x="34" y="35"/>
                </a:lnTo>
                <a:lnTo>
                  <a:pt x="39" y="40"/>
                </a:lnTo>
                <a:lnTo>
                  <a:pt x="37" y="37"/>
                </a:lnTo>
                <a:lnTo>
                  <a:pt x="37" y="32"/>
                </a:lnTo>
                <a:lnTo>
                  <a:pt x="37" y="30"/>
                </a:lnTo>
                <a:lnTo>
                  <a:pt x="39" y="27"/>
                </a:lnTo>
                <a:lnTo>
                  <a:pt x="42" y="25"/>
                </a:lnTo>
                <a:lnTo>
                  <a:pt x="44" y="27"/>
                </a:lnTo>
                <a:lnTo>
                  <a:pt x="47" y="25"/>
                </a:lnTo>
                <a:lnTo>
                  <a:pt x="52" y="32"/>
                </a:lnTo>
                <a:lnTo>
                  <a:pt x="59" y="32"/>
                </a:lnTo>
                <a:lnTo>
                  <a:pt x="52" y="30"/>
                </a:lnTo>
                <a:lnTo>
                  <a:pt x="47" y="25"/>
                </a:lnTo>
                <a:lnTo>
                  <a:pt x="44" y="25"/>
                </a:lnTo>
                <a:lnTo>
                  <a:pt x="42" y="22"/>
                </a:lnTo>
                <a:lnTo>
                  <a:pt x="42" y="20"/>
                </a:lnTo>
                <a:lnTo>
                  <a:pt x="44" y="20"/>
                </a:lnTo>
                <a:lnTo>
                  <a:pt x="42" y="18"/>
                </a:lnTo>
                <a:lnTo>
                  <a:pt x="42" y="15"/>
                </a:lnTo>
                <a:lnTo>
                  <a:pt x="37" y="15"/>
                </a:lnTo>
                <a:lnTo>
                  <a:pt x="37" y="13"/>
                </a:lnTo>
                <a:lnTo>
                  <a:pt x="39" y="13"/>
                </a:lnTo>
                <a:lnTo>
                  <a:pt x="44" y="10"/>
                </a:lnTo>
                <a:lnTo>
                  <a:pt x="39" y="8"/>
                </a:lnTo>
                <a:lnTo>
                  <a:pt x="39" y="5"/>
                </a:lnTo>
                <a:lnTo>
                  <a:pt x="39" y="5"/>
                </a:lnTo>
                <a:lnTo>
                  <a:pt x="37" y="5"/>
                </a:lnTo>
                <a:lnTo>
                  <a:pt x="37" y="3"/>
                </a:lnTo>
                <a:lnTo>
                  <a:pt x="37" y="0"/>
                </a:lnTo>
                <a:lnTo>
                  <a:pt x="37"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Freeform 69"/>
          <p:cNvSpPr>
            <a:spLocks/>
          </p:cNvSpPr>
          <p:nvPr/>
        </p:nvSpPr>
        <p:spPr bwMode="auto">
          <a:xfrm>
            <a:off x="4967682" y="3228225"/>
            <a:ext cx="3262" cy="7681"/>
          </a:xfrm>
          <a:custGeom>
            <a:avLst/>
            <a:gdLst/>
            <a:ahLst/>
            <a:cxnLst>
              <a:cxn ang="0">
                <a:pos x="0" y="0"/>
              </a:cxn>
              <a:cxn ang="0">
                <a:pos x="2" y="0"/>
              </a:cxn>
              <a:cxn ang="0">
                <a:pos x="2" y="5"/>
              </a:cxn>
              <a:cxn ang="0">
                <a:pos x="0" y="5"/>
              </a:cxn>
              <a:cxn ang="0">
                <a:pos x="0" y="2"/>
              </a:cxn>
              <a:cxn ang="0">
                <a:pos x="0" y="0"/>
              </a:cxn>
              <a:cxn ang="0">
                <a:pos x="0" y="0"/>
              </a:cxn>
              <a:cxn ang="0">
                <a:pos x="0" y="0"/>
              </a:cxn>
            </a:cxnLst>
            <a:rect l="0" t="0" r="r" b="b"/>
            <a:pathLst>
              <a:path w="2" h="5">
                <a:moveTo>
                  <a:pt x="0" y="0"/>
                </a:moveTo>
                <a:lnTo>
                  <a:pt x="2" y="0"/>
                </a:lnTo>
                <a:lnTo>
                  <a:pt x="2" y="5"/>
                </a:lnTo>
                <a:lnTo>
                  <a:pt x="0" y="5"/>
                </a:lnTo>
                <a:lnTo>
                  <a:pt x="0" y="2"/>
                </a:lnTo>
                <a:lnTo>
                  <a:pt x="0" y="0"/>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Freeform 70"/>
          <p:cNvSpPr>
            <a:spLocks/>
          </p:cNvSpPr>
          <p:nvPr/>
        </p:nvSpPr>
        <p:spPr bwMode="auto">
          <a:xfrm>
            <a:off x="4877979" y="3212865"/>
            <a:ext cx="117429" cy="59906"/>
          </a:xfrm>
          <a:custGeom>
            <a:avLst/>
            <a:gdLst/>
            <a:ahLst/>
            <a:cxnLst>
              <a:cxn ang="0">
                <a:pos x="30" y="5"/>
              </a:cxn>
              <a:cxn ang="0">
                <a:pos x="37" y="5"/>
              </a:cxn>
              <a:cxn ang="0">
                <a:pos x="37" y="0"/>
              </a:cxn>
              <a:cxn ang="0">
                <a:pos x="42" y="2"/>
              </a:cxn>
              <a:cxn ang="0">
                <a:pos x="45" y="2"/>
              </a:cxn>
              <a:cxn ang="0">
                <a:pos x="52" y="5"/>
              </a:cxn>
              <a:cxn ang="0">
                <a:pos x="55" y="10"/>
              </a:cxn>
              <a:cxn ang="0">
                <a:pos x="55" y="15"/>
              </a:cxn>
              <a:cxn ang="0">
                <a:pos x="62" y="12"/>
              </a:cxn>
              <a:cxn ang="0">
                <a:pos x="67" y="15"/>
              </a:cxn>
              <a:cxn ang="0">
                <a:pos x="72" y="17"/>
              </a:cxn>
              <a:cxn ang="0">
                <a:pos x="69" y="24"/>
              </a:cxn>
              <a:cxn ang="0">
                <a:pos x="62" y="32"/>
              </a:cxn>
              <a:cxn ang="0">
                <a:pos x="57" y="29"/>
              </a:cxn>
              <a:cxn ang="0">
                <a:pos x="50" y="32"/>
              </a:cxn>
              <a:cxn ang="0">
                <a:pos x="47" y="34"/>
              </a:cxn>
              <a:cxn ang="0">
                <a:pos x="42" y="29"/>
              </a:cxn>
              <a:cxn ang="0">
                <a:pos x="32" y="37"/>
              </a:cxn>
              <a:cxn ang="0">
                <a:pos x="23" y="39"/>
              </a:cxn>
              <a:cxn ang="0">
                <a:pos x="18" y="34"/>
              </a:cxn>
              <a:cxn ang="0">
                <a:pos x="15" y="29"/>
              </a:cxn>
              <a:cxn ang="0">
                <a:pos x="10" y="27"/>
              </a:cxn>
              <a:cxn ang="0">
                <a:pos x="8" y="32"/>
              </a:cxn>
              <a:cxn ang="0">
                <a:pos x="3" y="34"/>
              </a:cxn>
              <a:cxn ang="0">
                <a:pos x="3" y="29"/>
              </a:cxn>
              <a:cxn ang="0">
                <a:pos x="5" y="27"/>
              </a:cxn>
              <a:cxn ang="0">
                <a:pos x="10" y="17"/>
              </a:cxn>
              <a:cxn ang="0">
                <a:pos x="15" y="12"/>
              </a:cxn>
              <a:cxn ang="0">
                <a:pos x="18" y="7"/>
              </a:cxn>
              <a:cxn ang="0">
                <a:pos x="15" y="2"/>
              </a:cxn>
              <a:cxn ang="0">
                <a:pos x="20" y="5"/>
              </a:cxn>
              <a:cxn ang="0">
                <a:pos x="27" y="5"/>
              </a:cxn>
            </a:cxnLst>
            <a:rect l="0" t="0" r="r" b="b"/>
            <a:pathLst>
              <a:path w="72" h="39">
                <a:moveTo>
                  <a:pt x="27" y="5"/>
                </a:moveTo>
                <a:lnTo>
                  <a:pt x="30" y="5"/>
                </a:lnTo>
                <a:lnTo>
                  <a:pt x="32" y="2"/>
                </a:lnTo>
                <a:lnTo>
                  <a:pt x="37" y="5"/>
                </a:lnTo>
                <a:lnTo>
                  <a:pt x="37" y="2"/>
                </a:lnTo>
                <a:lnTo>
                  <a:pt x="37" y="0"/>
                </a:lnTo>
                <a:lnTo>
                  <a:pt x="42" y="0"/>
                </a:lnTo>
                <a:lnTo>
                  <a:pt x="42" y="2"/>
                </a:lnTo>
                <a:lnTo>
                  <a:pt x="45" y="2"/>
                </a:lnTo>
                <a:lnTo>
                  <a:pt x="45" y="2"/>
                </a:lnTo>
                <a:lnTo>
                  <a:pt x="47" y="2"/>
                </a:lnTo>
                <a:lnTo>
                  <a:pt x="52" y="5"/>
                </a:lnTo>
                <a:lnTo>
                  <a:pt x="55" y="7"/>
                </a:lnTo>
                <a:lnTo>
                  <a:pt x="55" y="10"/>
                </a:lnTo>
                <a:lnTo>
                  <a:pt x="55" y="12"/>
                </a:lnTo>
                <a:lnTo>
                  <a:pt x="55" y="15"/>
                </a:lnTo>
                <a:lnTo>
                  <a:pt x="59" y="15"/>
                </a:lnTo>
                <a:lnTo>
                  <a:pt x="62" y="12"/>
                </a:lnTo>
                <a:lnTo>
                  <a:pt x="64" y="17"/>
                </a:lnTo>
                <a:lnTo>
                  <a:pt x="67" y="15"/>
                </a:lnTo>
                <a:lnTo>
                  <a:pt x="69" y="15"/>
                </a:lnTo>
                <a:lnTo>
                  <a:pt x="72" y="17"/>
                </a:lnTo>
                <a:lnTo>
                  <a:pt x="67" y="20"/>
                </a:lnTo>
                <a:lnTo>
                  <a:pt x="69" y="24"/>
                </a:lnTo>
                <a:lnTo>
                  <a:pt x="64" y="27"/>
                </a:lnTo>
                <a:lnTo>
                  <a:pt x="62" y="32"/>
                </a:lnTo>
                <a:lnTo>
                  <a:pt x="59" y="29"/>
                </a:lnTo>
                <a:lnTo>
                  <a:pt x="57" y="29"/>
                </a:lnTo>
                <a:lnTo>
                  <a:pt x="50" y="27"/>
                </a:lnTo>
                <a:lnTo>
                  <a:pt x="50" y="32"/>
                </a:lnTo>
                <a:lnTo>
                  <a:pt x="47" y="37"/>
                </a:lnTo>
                <a:lnTo>
                  <a:pt x="47" y="34"/>
                </a:lnTo>
                <a:lnTo>
                  <a:pt x="42" y="32"/>
                </a:lnTo>
                <a:lnTo>
                  <a:pt x="42" y="29"/>
                </a:lnTo>
                <a:lnTo>
                  <a:pt x="37" y="27"/>
                </a:lnTo>
                <a:lnTo>
                  <a:pt x="32" y="37"/>
                </a:lnTo>
                <a:lnTo>
                  <a:pt x="27" y="34"/>
                </a:lnTo>
                <a:lnTo>
                  <a:pt x="23" y="39"/>
                </a:lnTo>
                <a:lnTo>
                  <a:pt x="20" y="37"/>
                </a:lnTo>
                <a:lnTo>
                  <a:pt x="18" y="34"/>
                </a:lnTo>
                <a:lnTo>
                  <a:pt x="18" y="34"/>
                </a:lnTo>
                <a:lnTo>
                  <a:pt x="15" y="29"/>
                </a:lnTo>
                <a:lnTo>
                  <a:pt x="15" y="27"/>
                </a:lnTo>
                <a:lnTo>
                  <a:pt x="10" y="27"/>
                </a:lnTo>
                <a:lnTo>
                  <a:pt x="8" y="29"/>
                </a:lnTo>
                <a:lnTo>
                  <a:pt x="8" y="32"/>
                </a:lnTo>
                <a:lnTo>
                  <a:pt x="5" y="34"/>
                </a:lnTo>
                <a:lnTo>
                  <a:pt x="3" y="34"/>
                </a:lnTo>
                <a:lnTo>
                  <a:pt x="0" y="32"/>
                </a:lnTo>
                <a:lnTo>
                  <a:pt x="3" y="29"/>
                </a:lnTo>
                <a:lnTo>
                  <a:pt x="5" y="29"/>
                </a:lnTo>
                <a:lnTo>
                  <a:pt x="5" y="27"/>
                </a:lnTo>
                <a:lnTo>
                  <a:pt x="5" y="22"/>
                </a:lnTo>
                <a:lnTo>
                  <a:pt x="10" y="17"/>
                </a:lnTo>
                <a:lnTo>
                  <a:pt x="13" y="15"/>
                </a:lnTo>
                <a:lnTo>
                  <a:pt x="15" y="12"/>
                </a:lnTo>
                <a:lnTo>
                  <a:pt x="18" y="10"/>
                </a:lnTo>
                <a:lnTo>
                  <a:pt x="18" y="7"/>
                </a:lnTo>
                <a:lnTo>
                  <a:pt x="15" y="5"/>
                </a:lnTo>
                <a:lnTo>
                  <a:pt x="15" y="2"/>
                </a:lnTo>
                <a:lnTo>
                  <a:pt x="20" y="2"/>
                </a:lnTo>
                <a:lnTo>
                  <a:pt x="20" y="5"/>
                </a:lnTo>
                <a:lnTo>
                  <a:pt x="23" y="5"/>
                </a:lnTo>
                <a:lnTo>
                  <a:pt x="27" y="5"/>
                </a:lnTo>
                <a:lnTo>
                  <a:pt x="27"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Freeform 72"/>
          <p:cNvSpPr>
            <a:spLocks/>
          </p:cNvSpPr>
          <p:nvPr/>
        </p:nvSpPr>
        <p:spPr bwMode="auto">
          <a:xfrm>
            <a:off x="4811110" y="3103806"/>
            <a:ext cx="71762" cy="55297"/>
          </a:xfrm>
          <a:custGeom>
            <a:avLst/>
            <a:gdLst/>
            <a:ahLst/>
            <a:cxnLst>
              <a:cxn ang="0">
                <a:pos x="41" y="24"/>
              </a:cxn>
              <a:cxn ang="0">
                <a:pos x="44" y="19"/>
              </a:cxn>
              <a:cxn ang="0">
                <a:pos x="41" y="17"/>
              </a:cxn>
              <a:cxn ang="0">
                <a:pos x="41" y="14"/>
              </a:cxn>
              <a:cxn ang="0">
                <a:pos x="39" y="12"/>
              </a:cxn>
              <a:cxn ang="0">
                <a:pos x="41" y="9"/>
              </a:cxn>
              <a:cxn ang="0">
                <a:pos x="36" y="7"/>
              </a:cxn>
              <a:cxn ang="0">
                <a:pos x="36" y="4"/>
              </a:cxn>
              <a:cxn ang="0">
                <a:pos x="36" y="2"/>
              </a:cxn>
              <a:cxn ang="0">
                <a:pos x="32" y="4"/>
              </a:cxn>
              <a:cxn ang="0">
                <a:pos x="32" y="2"/>
              </a:cxn>
              <a:cxn ang="0">
                <a:pos x="29" y="2"/>
              </a:cxn>
              <a:cxn ang="0">
                <a:pos x="27" y="0"/>
              </a:cxn>
              <a:cxn ang="0">
                <a:pos x="22" y="0"/>
              </a:cxn>
              <a:cxn ang="0">
                <a:pos x="19" y="2"/>
              </a:cxn>
              <a:cxn ang="0">
                <a:pos x="17" y="2"/>
              </a:cxn>
              <a:cxn ang="0">
                <a:pos x="17" y="2"/>
              </a:cxn>
              <a:cxn ang="0">
                <a:pos x="14" y="4"/>
              </a:cxn>
              <a:cxn ang="0">
                <a:pos x="12" y="4"/>
              </a:cxn>
              <a:cxn ang="0">
                <a:pos x="12" y="4"/>
              </a:cxn>
              <a:cxn ang="0">
                <a:pos x="9" y="4"/>
              </a:cxn>
              <a:cxn ang="0">
                <a:pos x="7" y="2"/>
              </a:cxn>
              <a:cxn ang="0">
                <a:pos x="5" y="0"/>
              </a:cxn>
              <a:cxn ang="0">
                <a:pos x="2" y="2"/>
              </a:cxn>
              <a:cxn ang="0">
                <a:pos x="0" y="7"/>
              </a:cxn>
              <a:cxn ang="0">
                <a:pos x="2" y="7"/>
              </a:cxn>
              <a:cxn ang="0">
                <a:pos x="2" y="14"/>
              </a:cxn>
              <a:cxn ang="0">
                <a:pos x="7" y="14"/>
              </a:cxn>
              <a:cxn ang="0">
                <a:pos x="7" y="17"/>
              </a:cxn>
              <a:cxn ang="0">
                <a:pos x="12" y="22"/>
              </a:cxn>
              <a:cxn ang="0">
                <a:pos x="12" y="22"/>
              </a:cxn>
              <a:cxn ang="0">
                <a:pos x="14" y="22"/>
              </a:cxn>
              <a:cxn ang="0">
                <a:pos x="17" y="24"/>
              </a:cxn>
              <a:cxn ang="0">
                <a:pos x="17" y="27"/>
              </a:cxn>
              <a:cxn ang="0">
                <a:pos x="19" y="29"/>
              </a:cxn>
              <a:cxn ang="0">
                <a:pos x="22" y="29"/>
              </a:cxn>
              <a:cxn ang="0">
                <a:pos x="24" y="29"/>
              </a:cxn>
              <a:cxn ang="0">
                <a:pos x="24" y="29"/>
              </a:cxn>
              <a:cxn ang="0">
                <a:pos x="27" y="29"/>
              </a:cxn>
              <a:cxn ang="0">
                <a:pos x="32" y="34"/>
              </a:cxn>
              <a:cxn ang="0">
                <a:pos x="34" y="34"/>
              </a:cxn>
              <a:cxn ang="0">
                <a:pos x="36" y="36"/>
              </a:cxn>
              <a:cxn ang="0">
                <a:pos x="39" y="36"/>
              </a:cxn>
              <a:cxn ang="0">
                <a:pos x="41" y="36"/>
              </a:cxn>
              <a:cxn ang="0">
                <a:pos x="41" y="34"/>
              </a:cxn>
              <a:cxn ang="0">
                <a:pos x="39" y="34"/>
              </a:cxn>
              <a:cxn ang="0">
                <a:pos x="39" y="32"/>
              </a:cxn>
              <a:cxn ang="0">
                <a:pos x="39" y="29"/>
              </a:cxn>
              <a:cxn ang="0">
                <a:pos x="39" y="27"/>
              </a:cxn>
              <a:cxn ang="0">
                <a:pos x="41" y="24"/>
              </a:cxn>
              <a:cxn ang="0">
                <a:pos x="41" y="24"/>
              </a:cxn>
              <a:cxn ang="0">
                <a:pos x="41" y="24"/>
              </a:cxn>
            </a:cxnLst>
            <a:rect l="0" t="0" r="r" b="b"/>
            <a:pathLst>
              <a:path w="44" h="36">
                <a:moveTo>
                  <a:pt x="41" y="24"/>
                </a:moveTo>
                <a:lnTo>
                  <a:pt x="44" y="19"/>
                </a:lnTo>
                <a:lnTo>
                  <a:pt x="41" y="17"/>
                </a:lnTo>
                <a:lnTo>
                  <a:pt x="41" y="14"/>
                </a:lnTo>
                <a:lnTo>
                  <a:pt x="39" y="12"/>
                </a:lnTo>
                <a:lnTo>
                  <a:pt x="41" y="9"/>
                </a:lnTo>
                <a:lnTo>
                  <a:pt x="36" y="7"/>
                </a:lnTo>
                <a:lnTo>
                  <a:pt x="36" y="4"/>
                </a:lnTo>
                <a:lnTo>
                  <a:pt x="36" y="2"/>
                </a:lnTo>
                <a:lnTo>
                  <a:pt x="32" y="4"/>
                </a:lnTo>
                <a:lnTo>
                  <a:pt x="32" y="2"/>
                </a:lnTo>
                <a:lnTo>
                  <a:pt x="29" y="2"/>
                </a:lnTo>
                <a:lnTo>
                  <a:pt x="27" y="0"/>
                </a:lnTo>
                <a:lnTo>
                  <a:pt x="22" y="0"/>
                </a:lnTo>
                <a:lnTo>
                  <a:pt x="19" y="2"/>
                </a:lnTo>
                <a:lnTo>
                  <a:pt x="17" y="2"/>
                </a:lnTo>
                <a:lnTo>
                  <a:pt x="17" y="2"/>
                </a:lnTo>
                <a:lnTo>
                  <a:pt x="14" y="4"/>
                </a:lnTo>
                <a:lnTo>
                  <a:pt x="12" y="4"/>
                </a:lnTo>
                <a:lnTo>
                  <a:pt x="12" y="4"/>
                </a:lnTo>
                <a:lnTo>
                  <a:pt x="9" y="4"/>
                </a:lnTo>
                <a:lnTo>
                  <a:pt x="7" y="2"/>
                </a:lnTo>
                <a:lnTo>
                  <a:pt x="5" y="0"/>
                </a:lnTo>
                <a:lnTo>
                  <a:pt x="2" y="2"/>
                </a:lnTo>
                <a:lnTo>
                  <a:pt x="0" y="7"/>
                </a:lnTo>
                <a:lnTo>
                  <a:pt x="2" y="7"/>
                </a:lnTo>
                <a:lnTo>
                  <a:pt x="2" y="14"/>
                </a:lnTo>
                <a:lnTo>
                  <a:pt x="7" y="14"/>
                </a:lnTo>
                <a:lnTo>
                  <a:pt x="7" y="17"/>
                </a:lnTo>
                <a:lnTo>
                  <a:pt x="12" y="22"/>
                </a:lnTo>
                <a:lnTo>
                  <a:pt x="12" y="22"/>
                </a:lnTo>
                <a:lnTo>
                  <a:pt x="14" y="22"/>
                </a:lnTo>
                <a:lnTo>
                  <a:pt x="17" y="24"/>
                </a:lnTo>
                <a:lnTo>
                  <a:pt x="17" y="27"/>
                </a:lnTo>
                <a:lnTo>
                  <a:pt x="19" y="29"/>
                </a:lnTo>
                <a:lnTo>
                  <a:pt x="22" y="29"/>
                </a:lnTo>
                <a:lnTo>
                  <a:pt x="24" y="29"/>
                </a:lnTo>
                <a:lnTo>
                  <a:pt x="24" y="29"/>
                </a:lnTo>
                <a:lnTo>
                  <a:pt x="27" y="29"/>
                </a:lnTo>
                <a:lnTo>
                  <a:pt x="32" y="34"/>
                </a:lnTo>
                <a:lnTo>
                  <a:pt x="34" y="34"/>
                </a:lnTo>
                <a:lnTo>
                  <a:pt x="36" y="36"/>
                </a:lnTo>
                <a:lnTo>
                  <a:pt x="39" y="36"/>
                </a:lnTo>
                <a:lnTo>
                  <a:pt x="41" y="36"/>
                </a:lnTo>
                <a:lnTo>
                  <a:pt x="41" y="34"/>
                </a:lnTo>
                <a:lnTo>
                  <a:pt x="39" y="34"/>
                </a:lnTo>
                <a:lnTo>
                  <a:pt x="39" y="32"/>
                </a:lnTo>
                <a:lnTo>
                  <a:pt x="39" y="29"/>
                </a:lnTo>
                <a:lnTo>
                  <a:pt x="39" y="27"/>
                </a:lnTo>
                <a:lnTo>
                  <a:pt x="41" y="24"/>
                </a:lnTo>
                <a:lnTo>
                  <a:pt x="41" y="24"/>
                </a:lnTo>
                <a:lnTo>
                  <a:pt x="41" y="2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Freeform 73"/>
          <p:cNvSpPr>
            <a:spLocks/>
          </p:cNvSpPr>
          <p:nvPr/>
        </p:nvSpPr>
        <p:spPr bwMode="auto">
          <a:xfrm>
            <a:off x="4874717" y="3140670"/>
            <a:ext cx="16310" cy="23041"/>
          </a:xfrm>
          <a:custGeom>
            <a:avLst/>
            <a:gdLst/>
            <a:ahLst/>
            <a:cxnLst>
              <a:cxn ang="0">
                <a:pos x="2" y="12"/>
              </a:cxn>
              <a:cxn ang="0">
                <a:pos x="2" y="10"/>
              </a:cxn>
              <a:cxn ang="0">
                <a:pos x="0" y="10"/>
              </a:cxn>
              <a:cxn ang="0">
                <a:pos x="0" y="8"/>
              </a:cxn>
              <a:cxn ang="0">
                <a:pos x="0" y="5"/>
              </a:cxn>
              <a:cxn ang="0">
                <a:pos x="0" y="3"/>
              </a:cxn>
              <a:cxn ang="0">
                <a:pos x="2" y="0"/>
              </a:cxn>
              <a:cxn ang="0">
                <a:pos x="5" y="0"/>
              </a:cxn>
              <a:cxn ang="0">
                <a:pos x="7" y="5"/>
              </a:cxn>
              <a:cxn ang="0">
                <a:pos x="7" y="8"/>
              </a:cxn>
              <a:cxn ang="0">
                <a:pos x="10" y="10"/>
              </a:cxn>
              <a:cxn ang="0">
                <a:pos x="10" y="15"/>
              </a:cxn>
              <a:cxn ang="0">
                <a:pos x="7" y="15"/>
              </a:cxn>
              <a:cxn ang="0">
                <a:pos x="2" y="15"/>
              </a:cxn>
              <a:cxn ang="0">
                <a:pos x="2" y="12"/>
              </a:cxn>
              <a:cxn ang="0">
                <a:pos x="2" y="12"/>
              </a:cxn>
              <a:cxn ang="0">
                <a:pos x="2" y="12"/>
              </a:cxn>
            </a:cxnLst>
            <a:rect l="0" t="0" r="r" b="b"/>
            <a:pathLst>
              <a:path w="10" h="15">
                <a:moveTo>
                  <a:pt x="2" y="12"/>
                </a:moveTo>
                <a:lnTo>
                  <a:pt x="2" y="10"/>
                </a:lnTo>
                <a:lnTo>
                  <a:pt x="0" y="10"/>
                </a:lnTo>
                <a:lnTo>
                  <a:pt x="0" y="8"/>
                </a:lnTo>
                <a:lnTo>
                  <a:pt x="0" y="5"/>
                </a:lnTo>
                <a:lnTo>
                  <a:pt x="0" y="3"/>
                </a:lnTo>
                <a:lnTo>
                  <a:pt x="2" y="0"/>
                </a:lnTo>
                <a:lnTo>
                  <a:pt x="5" y="0"/>
                </a:lnTo>
                <a:lnTo>
                  <a:pt x="7" y="5"/>
                </a:lnTo>
                <a:lnTo>
                  <a:pt x="7" y="8"/>
                </a:lnTo>
                <a:lnTo>
                  <a:pt x="10" y="10"/>
                </a:lnTo>
                <a:lnTo>
                  <a:pt x="10" y="15"/>
                </a:lnTo>
                <a:lnTo>
                  <a:pt x="7" y="15"/>
                </a:lnTo>
                <a:lnTo>
                  <a:pt x="2" y="15"/>
                </a:lnTo>
                <a:lnTo>
                  <a:pt x="2" y="12"/>
                </a:lnTo>
                <a:lnTo>
                  <a:pt x="2" y="12"/>
                </a:lnTo>
                <a:lnTo>
                  <a:pt x="2" y="1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Freeform 74"/>
          <p:cNvSpPr>
            <a:spLocks noEditPoints="1"/>
          </p:cNvSpPr>
          <p:nvPr/>
        </p:nvSpPr>
        <p:spPr bwMode="auto">
          <a:xfrm>
            <a:off x="4594191" y="2721333"/>
            <a:ext cx="16310" cy="38401"/>
          </a:xfrm>
          <a:custGeom>
            <a:avLst/>
            <a:gdLst/>
            <a:ahLst/>
            <a:cxnLst>
              <a:cxn ang="0">
                <a:pos x="5" y="20"/>
              </a:cxn>
              <a:cxn ang="0">
                <a:pos x="5" y="20"/>
              </a:cxn>
              <a:cxn ang="0">
                <a:pos x="7" y="25"/>
              </a:cxn>
              <a:cxn ang="0">
                <a:pos x="7" y="25"/>
              </a:cxn>
              <a:cxn ang="0">
                <a:pos x="7" y="22"/>
              </a:cxn>
              <a:cxn ang="0">
                <a:pos x="7" y="22"/>
              </a:cxn>
              <a:cxn ang="0">
                <a:pos x="7" y="20"/>
              </a:cxn>
              <a:cxn ang="0">
                <a:pos x="7" y="20"/>
              </a:cxn>
              <a:cxn ang="0">
                <a:pos x="5" y="20"/>
              </a:cxn>
              <a:cxn ang="0">
                <a:pos x="5" y="20"/>
              </a:cxn>
              <a:cxn ang="0">
                <a:pos x="7" y="12"/>
              </a:cxn>
              <a:cxn ang="0">
                <a:pos x="7" y="12"/>
              </a:cxn>
              <a:cxn ang="0">
                <a:pos x="5" y="12"/>
              </a:cxn>
              <a:cxn ang="0">
                <a:pos x="5" y="12"/>
              </a:cxn>
              <a:cxn ang="0">
                <a:pos x="7" y="15"/>
              </a:cxn>
              <a:cxn ang="0">
                <a:pos x="7" y="15"/>
              </a:cxn>
              <a:cxn ang="0">
                <a:pos x="7" y="12"/>
              </a:cxn>
              <a:cxn ang="0">
                <a:pos x="7" y="12"/>
              </a:cxn>
              <a:cxn ang="0">
                <a:pos x="7" y="12"/>
              </a:cxn>
              <a:cxn ang="0">
                <a:pos x="0" y="3"/>
              </a:cxn>
              <a:cxn ang="0">
                <a:pos x="0" y="3"/>
              </a:cxn>
              <a:cxn ang="0">
                <a:pos x="0" y="5"/>
              </a:cxn>
              <a:cxn ang="0">
                <a:pos x="0" y="5"/>
              </a:cxn>
              <a:cxn ang="0">
                <a:pos x="2" y="8"/>
              </a:cxn>
              <a:cxn ang="0">
                <a:pos x="2" y="8"/>
              </a:cxn>
              <a:cxn ang="0">
                <a:pos x="0" y="3"/>
              </a:cxn>
              <a:cxn ang="0">
                <a:pos x="0" y="3"/>
              </a:cxn>
              <a:cxn ang="0">
                <a:pos x="7" y="0"/>
              </a:cxn>
              <a:cxn ang="0">
                <a:pos x="7" y="0"/>
              </a:cxn>
              <a:cxn ang="0">
                <a:pos x="10" y="3"/>
              </a:cxn>
              <a:cxn ang="0">
                <a:pos x="10" y="3"/>
              </a:cxn>
              <a:cxn ang="0">
                <a:pos x="10" y="0"/>
              </a:cxn>
              <a:cxn ang="0">
                <a:pos x="10" y="0"/>
              </a:cxn>
              <a:cxn ang="0">
                <a:pos x="7" y="0"/>
              </a:cxn>
              <a:cxn ang="0">
                <a:pos x="7" y="0"/>
              </a:cxn>
              <a:cxn ang="0">
                <a:pos x="2" y="0"/>
              </a:cxn>
              <a:cxn ang="0">
                <a:pos x="5" y="0"/>
              </a:cxn>
              <a:cxn ang="0">
                <a:pos x="5" y="0"/>
              </a:cxn>
              <a:cxn ang="0">
                <a:pos x="7" y="3"/>
              </a:cxn>
              <a:cxn ang="0">
                <a:pos x="7" y="3"/>
              </a:cxn>
              <a:cxn ang="0">
                <a:pos x="7" y="5"/>
              </a:cxn>
              <a:cxn ang="0">
                <a:pos x="7" y="5"/>
              </a:cxn>
              <a:cxn ang="0">
                <a:pos x="5" y="3"/>
              </a:cxn>
              <a:cxn ang="0">
                <a:pos x="5" y="3"/>
              </a:cxn>
              <a:cxn ang="0">
                <a:pos x="2" y="0"/>
              </a:cxn>
              <a:cxn ang="0">
                <a:pos x="2" y="0"/>
              </a:cxn>
              <a:cxn ang="0">
                <a:pos x="2" y="0"/>
              </a:cxn>
              <a:cxn ang="0">
                <a:pos x="2" y="0"/>
              </a:cxn>
              <a:cxn ang="0">
                <a:pos x="7" y="8"/>
              </a:cxn>
              <a:cxn ang="0">
                <a:pos x="7" y="8"/>
              </a:cxn>
              <a:cxn ang="0">
                <a:pos x="10" y="10"/>
              </a:cxn>
              <a:cxn ang="0">
                <a:pos x="10" y="10"/>
              </a:cxn>
              <a:cxn ang="0">
                <a:pos x="7" y="10"/>
              </a:cxn>
              <a:cxn ang="0">
                <a:pos x="7" y="10"/>
              </a:cxn>
              <a:cxn ang="0">
                <a:pos x="2" y="5"/>
              </a:cxn>
              <a:cxn ang="0">
                <a:pos x="2" y="5"/>
              </a:cxn>
              <a:cxn ang="0">
                <a:pos x="2" y="3"/>
              </a:cxn>
              <a:cxn ang="0">
                <a:pos x="2" y="0"/>
              </a:cxn>
            </a:cxnLst>
            <a:rect l="0" t="0" r="r" b="b"/>
            <a:pathLst>
              <a:path w="10" h="25">
                <a:moveTo>
                  <a:pt x="5" y="20"/>
                </a:moveTo>
                <a:lnTo>
                  <a:pt x="5" y="20"/>
                </a:lnTo>
                <a:lnTo>
                  <a:pt x="7" y="25"/>
                </a:lnTo>
                <a:lnTo>
                  <a:pt x="7" y="25"/>
                </a:lnTo>
                <a:lnTo>
                  <a:pt x="7" y="22"/>
                </a:lnTo>
                <a:lnTo>
                  <a:pt x="7" y="22"/>
                </a:lnTo>
                <a:lnTo>
                  <a:pt x="7" y="20"/>
                </a:lnTo>
                <a:lnTo>
                  <a:pt x="7" y="20"/>
                </a:lnTo>
                <a:lnTo>
                  <a:pt x="5" y="20"/>
                </a:lnTo>
                <a:lnTo>
                  <a:pt x="5" y="20"/>
                </a:lnTo>
                <a:close/>
                <a:moveTo>
                  <a:pt x="7" y="12"/>
                </a:moveTo>
                <a:lnTo>
                  <a:pt x="7" y="12"/>
                </a:lnTo>
                <a:lnTo>
                  <a:pt x="5" y="12"/>
                </a:lnTo>
                <a:lnTo>
                  <a:pt x="5" y="12"/>
                </a:lnTo>
                <a:lnTo>
                  <a:pt x="7" y="15"/>
                </a:lnTo>
                <a:lnTo>
                  <a:pt x="7" y="15"/>
                </a:lnTo>
                <a:lnTo>
                  <a:pt x="7" y="12"/>
                </a:lnTo>
                <a:lnTo>
                  <a:pt x="7" y="12"/>
                </a:lnTo>
                <a:lnTo>
                  <a:pt x="7" y="12"/>
                </a:lnTo>
                <a:close/>
                <a:moveTo>
                  <a:pt x="0" y="3"/>
                </a:moveTo>
                <a:lnTo>
                  <a:pt x="0" y="3"/>
                </a:lnTo>
                <a:lnTo>
                  <a:pt x="0" y="5"/>
                </a:lnTo>
                <a:lnTo>
                  <a:pt x="0" y="5"/>
                </a:lnTo>
                <a:lnTo>
                  <a:pt x="2" y="8"/>
                </a:lnTo>
                <a:lnTo>
                  <a:pt x="2" y="8"/>
                </a:lnTo>
                <a:lnTo>
                  <a:pt x="0" y="3"/>
                </a:lnTo>
                <a:lnTo>
                  <a:pt x="0" y="3"/>
                </a:lnTo>
                <a:close/>
                <a:moveTo>
                  <a:pt x="7" y="0"/>
                </a:moveTo>
                <a:lnTo>
                  <a:pt x="7" y="0"/>
                </a:lnTo>
                <a:lnTo>
                  <a:pt x="10" y="3"/>
                </a:lnTo>
                <a:lnTo>
                  <a:pt x="10" y="3"/>
                </a:lnTo>
                <a:lnTo>
                  <a:pt x="10" y="0"/>
                </a:lnTo>
                <a:lnTo>
                  <a:pt x="10" y="0"/>
                </a:lnTo>
                <a:lnTo>
                  <a:pt x="7" y="0"/>
                </a:lnTo>
                <a:lnTo>
                  <a:pt x="7" y="0"/>
                </a:lnTo>
                <a:close/>
                <a:moveTo>
                  <a:pt x="2" y="0"/>
                </a:moveTo>
                <a:lnTo>
                  <a:pt x="5" y="0"/>
                </a:lnTo>
                <a:lnTo>
                  <a:pt x="5" y="0"/>
                </a:lnTo>
                <a:lnTo>
                  <a:pt x="7" y="3"/>
                </a:lnTo>
                <a:lnTo>
                  <a:pt x="7" y="3"/>
                </a:lnTo>
                <a:lnTo>
                  <a:pt x="7" y="5"/>
                </a:lnTo>
                <a:lnTo>
                  <a:pt x="7" y="5"/>
                </a:lnTo>
                <a:lnTo>
                  <a:pt x="5" y="3"/>
                </a:lnTo>
                <a:lnTo>
                  <a:pt x="5" y="3"/>
                </a:lnTo>
                <a:lnTo>
                  <a:pt x="2" y="0"/>
                </a:lnTo>
                <a:lnTo>
                  <a:pt x="2" y="0"/>
                </a:lnTo>
                <a:close/>
                <a:moveTo>
                  <a:pt x="2" y="0"/>
                </a:moveTo>
                <a:lnTo>
                  <a:pt x="2" y="0"/>
                </a:lnTo>
                <a:lnTo>
                  <a:pt x="7" y="8"/>
                </a:lnTo>
                <a:lnTo>
                  <a:pt x="7" y="8"/>
                </a:lnTo>
                <a:lnTo>
                  <a:pt x="10" y="10"/>
                </a:lnTo>
                <a:lnTo>
                  <a:pt x="10" y="10"/>
                </a:lnTo>
                <a:lnTo>
                  <a:pt x="7" y="10"/>
                </a:lnTo>
                <a:lnTo>
                  <a:pt x="7" y="10"/>
                </a:lnTo>
                <a:lnTo>
                  <a:pt x="2" y="5"/>
                </a:lnTo>
                <a:lnTo>
                  <a:pt x="2" y="5"/>
                </a:lnTo>
                <a:lnTo>
                  <a:pt x="2" y="3"/>
                </a:lnTo>
                <a:lnTo>
                  <a:pt x="2"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Freeform 75"/>
          <p:cNvSpPr>
            <a:spLocks/>
          </p:cNvSpPr>
          <p:nvPr/>
        </p:nvSpPr>
        <p:spPr bwMode="auto">
          <a:xfrm>
            <a:off x="4514275" y="2970171"/>
            <a:ext cx="99489" cy="129027"/>
          </a:xfrm>
          <a:custGeom>
            <a:avLst/>
            <a:gdLst/>
            <a:ahLst/>
            <a:cxnLst>
              <a:cxn ang="0">
                <a:pos x="27" y="82"/>
              </a:cxn>
              <a:cxn ang="0">
                <a:pos x="32" y="77"/>
              </a:cxn>
              <a:cxn ang="0">
                <a:pos x="36" y="74"/>
              </a:cxn>
              <a:cxn ang="0">
                <a:pos x="46" y="72"/>
              </a:cxn>
              <a:cxn ang="0">
                <a:pos x="51" y="69"/>
              </a:cxn>
              <a:cxn ang="0">
                <a:pos x="54" y="67"/>
              </a:cxn>
              <a:cxn ang="0">
                <a:pos x="59" y="59"/>
              </a:cxn>
              <a:cxn ang="0">
                <a:pos x="61" y="47"/>
              </a:cxn>
              <a:cxn ang="0">
                <a:pos x="61" y="42"/>
              </a:cxn>
              <a:cxn ang="0">
                <a:pos x="56" y="32"/>
              </a:cxn>
              <a:cxn ang="0">
                <a:pos x="56" y="30"/>
              </a:cxn>
              <a:cxn ang="0">
                <a:pos x="46" y="20"/>
              </a:cxn>
              <a:cxn ang="0">
                <a:pos x="41" y="28"/>
              </a:cxn>
              <a:cxn ang="0">
                <a:pos x="41" y="13"/>
              </a:cxn>
              <a:cxn ang="0">
                <a:pos x="46" y="8"/>
              </a:cxn>
              <a:cxn ang="0">
                <a:pos x="51" y="5"/>
              </a:cxn>
              <a:cxn ang="0">
                <a:pos x="46" y="3"/>
              </a:cxn>
              <a:cxn ang="0">
                <a:pos x="41" y="10"/>
              </a:cxn>
              <a:cxn ang="0">
                <a:pos x="41" y="3"/>
              </a:cxn>
              <a:cxn ang="0">
                <a:pos x="39" y="5"/>
              </a:cxn>
              <a:cxn ang="0">
                <a:pos x="34" y="8"/>
              </a:cxn>
              <a:cxn ang="0">
                <a:pos x="34" y="10"/>
              </a:cxn>
              <a:cxn ang="0">
                <a:pos x="32" y="13"/>
              </a:cxn>
              <a:cxn ang="0">
                <a:pos x="32" y="18"/>
              </a:cxn>
              <a:cxn ang="0">
                <a:pos x="36" y="18"/>
              </a:cxn>
              <a:cxn ang="0">
                <a:pos x="29" y="23"/>
              </a:cxn>
              <a:cxn ang="0">
                <a:pos x="22" y="25"/>
              </a:cxn>
              <a:cxn ang="0">
                <a:pos x="12" y="23"/>
              </a:cxn>
              <a:cxn ang="0">
                <a:pos x="9" y="25"/>
              </a:cxn>
              <a:cxn ang="0">
                <a:pos x="12" y="30"/>
              </a:cxn>
              <a:cxn ang="0">
                <a:pos x="7" y="28"/>
              </a:cxn>
              <a:cxn ang="0">
                <a:pos x="14" y="32"/>
              </a:cxn>
              <a:cxn ang="0">
                <a:pos x="12" y="37"/>
              </a:cxn>
              <a:cxn ang="0">
                <a:pos x="7" y="40"/>
              </a:cxn>
              <a:cxn ang="0">
                <a:pos x="9" y="42"/>
              </a:cxn>
              <a:cxn ang="0">
                <a:pos x="22" y="45"/>
              </a:cxn>
              <a:cxn ang="0">
                <a:pos x="14" y="52"/>
              </a:cxn>
              <a:cxn ang="0">
                <a:pos x="7" y="59"/>
              </a:cxn>
              <a:cxn ang="0">
                <a:pos x="14" y="59"/>
              </a:cxn>
              <a:cxn ang="0">
                <a:pos x="22" y="57"/>
              </a:cxn>
              <a:cxn ang="0">
                <a:pos x="12" y="59"/>
              </a:cxn>
              <a:cxn ang="0">
                <a:pos x="9" y="64"/>
              </a:cxn>
              <a:cxn ang="0">
                <a:pos x="7" y="67"/>
              </a:cxn>
              <a:cxn ang="0">
                <a:pos x="4" y="64"/>
              </a:cxn>
              <a:cxn ang="0">
                <a:pos x="9" y="69"/>
              </a:cxn>
              <a:cxn ang="0">
                <a:pos x="2" y="74"/>
              </a:cxn>
              <a:cxn ang="0">
                <a:pos x="12" y="74"/>
              </a:cxn>
              <a:cxn ang="0">
                <a:pos x="7" y="79"/>
              </a:cxn>
              <a:cxn ang="0">
                <a:pos x="7" y="82"/>
              </a:cxn>
              <a:cxn ang="0">
                <a:pos x="14" y="82"/>
              </a:cxn>
            </a:cxnLst>
            <a:rect l="0" t="0" r="r" b="b"/>
            <a:pathLst>
              <a:path w="61" h="84">
                <a:moveTo>
                  <a:pt x="14" y="84"/>
                </a:moveTo>
                <a:lnTo>
                  <a:pt x="22" y="82"/>
                </a:lnTo>
                <a:lnTo>
                  <a:pt x="27" y="82"/>
                </a:lnTo>
                <a:lnTo>
                  <a:pt x="29" y="79"/>
                </a:lnTo>
                <a:lnTo>
                  <a:pt x="29" y="74"/>
                </a:lnTo>
                <a:lnTo>
                  <a:pt x="32" y="77"/>
                </a:lnTo>
                <a:lnTo>
                  <a:pt x="29" y="77"/>
                </a:lnTo>
                <a:lnTo>
                  <a:pt x="34" y="77"/>
                </a:lnTo>
                <a:lnTo>
                  <a:pt x="36" y="74"/>
                </a:lnTo>
                <a:lnTo>
                  <a:pt x="39" y="74"/>
                </a:lnTo>
                <a:lnTo>
                  <a:pt x="39" y="72"/>
                </a:lnTo>
                <a:lnTo>
                  <a:pt x="46" y="72"/>
                </a:lnTo>
                <a:lnTo>
                  <a:pt x="49" y="69"/>
                </a:lnTo>
                <a:lnTo>
                  <a:pt x="49" y="72"/>
                </a:lnTo>
                <a:lnTo>
                  <a:pt x="51" y="69"/>
                </a:lnTo>
                <a:lnTo>
                  <a:pt x="54" y="69"/>
                </a:lnTo>
                <a:lnTo>
                  <a:pt x="59" y="69"/>
                </a:lnTo>
                <a:lnTo>
                  <a:pt x="54" y="67"/>
                </a:lnTo>
                <a:lnTo>
                  <a:pt x="56" y="64"/>
                </a:lnTo>
                <a:lnTo>
                  <a:pt x="59" y="62"/>
                </a:lnTo>
                <a:lnTo>
                  <a:pt x="59" y="59"/>
                </a:lnTo>
                <a:lnTo>
                  <a:pt x="61" y="57"/>
                </a:lnTo>
                <a:lnTo>
                  <a:pt x="61" y="55"/>
                </a:lnTo>
                <a:lnTo>
                  <a:pt x="61" y="47"/>
                </a:lnTo>
                <a:lnTo>
                  <a:pt x="59" y="45"/>
                </a:lnTo>
                <a:lnTo>
                  <a:pt x="61" y="45"/>
                </a:lnTo>
                <a:lnTo>
                  <a:pt x="61" y="42"/>
                </a:lnTo>
                <a:lnTo>
                  <a:pt x="59" y="37"/>
                </a:lnTo>
                <a:lnTo>
                  <a:pt x="59" y="35"/>
                </a:lnTo>
                <a:lnTo>
                  <a:pt x="56" y="32"/>
                </a:lnTo>
                <a:lnTo>
                  <a:pt x="59" y="32"/>
                </a:lnTo>
                <a:lnTo>
                  <a:pt x="61" y="32"/>
                </a:lnTo>
                <a:lnTo>
                  <a:pt x="56" y="30"/>
                </a:lnTo>
                <a:lnTo>
                  <a:pt x="54" y="30"/>
                </a:lnTo>
                <a:lnTo>
                  <a:pt x="51" y="23"/>
                </a:lnTo>
                <a:lnTo>
                  <a:pt x="46" y="20"/>
                </a:lnTo>
                <a:lnTo>
                  <a:pt x="46" y="23"/>
                </a:lnTo>
                <a:lnTo>
                  <a:pt x="44" y="28"/>
                </a:lnTo>
                <a:lnTo>
                  <a:pt x="41" y="28"/>
                </a:lnTo>
                <a:lnTo>
                  <a:pt x="36" y="20"/>
                </a:lnTo>
                <a:lnTo>
                  <a:pt x="39" y="15"/>
                </a:lnTo>
                <a:lnTo>
                  <a:pt x="41" y="13"/>
                </a:lnTo>
                <a:lnTo>
                  <a:pt x="44" y="10"/>
                </a:lnTo>
                <a:lnTo>
                  <a:pt x="46" y="10"/>
                </a:lnTo>
                <a:lnTo>
                  <a:pt x="46" y="8"/>
                </a:lnTo>
                <a:lnTo>
                  <a:pt x="46" y="8"/>
                </a:lnTo>
                <a:lnTo>
                  <a:pt x="49" y="5"/>
                </a:lnTo>
                <a:lnTo>
                  <a:pt x="51" y="5"/>
                </a:lnTo>
                <a:lnTo>
                  <a:pt x="49" y="3"/>
                </a:lnTo>
                <a:lnTo>
                  <a:pt x="46" y="0"/>
                </a:lnTo>
                <a:lnTo>
                  <a:pt x="46" y="3"/>
                </a:lnTo>
                <a:lnTo>
                  <a:pt x="44" y="3"/>
                </a:lnTo>
                <a:lnTo>
                  <a:pt x="44" y="5"/>
                </a:lnTo>
                <a:lnTo>
                  <a:pt x="41" y="10"/>
                </a:lnTo>
                <a:lnTo>
                  <a:pt x="41" y="8"/>
                </a:lnTo>
                <a:lnTo>
                  <a:pt x="44" y="5"/>
                </a:lnTo>
                <a:lnTo>
                  <a:pt x="41" y="3"/>
                </a:lnTo>
                <a:lnTo>
                  <a:pt x="39" y="3"/>
                </a:lnTo>
                <a:lnTo>
                  <a:pt x="41" y="5"/>
                </a:lnTo>
                <a:lnTo>
                  <a:pt x="39" y="5"/>
                </a:lnTo>
                <a:lnTo>
                  <a:pt x="36" y="5"/>
                </a:lnTo>
                <a:lnTo>
                  <a:pt x="34" y="5"/>
                </a:lnTo>
                <a:lnTo>
                  <a:pt x="34" y="8"/>
                </a:lnTo>
                <a:lnTo>
                  <a:pt x="32" y="8"/>
                </a:lnTo>
                <a:lnTo>
                  <a:pt x="32" y="10"/>
                </a:lnTo>
                <a:lnTo>
                  <a:pt x="34" y="10"/>
                </a:lnTo>
                <a:lnTo>
                  <a:pt x="32" y="13"/>
                </a:lnTo>
                <a:lnTo>
                  <a:pt x="29" y="13"/>
                </a:lnTo>
                <a:lnTo>
                  <a:pt x="32" y="13"/>
                </a:lnTo>
                <a:lnTo>
                  <a:pt x="27" y="15"/>
                </a:lnTo>
                <a:lnTo>
                  <a:pt x="29" y="18"/>
                </a:lnTo>
                <a:lnTo>
                  <a:pt x="32" y="18"/>
                </a:lnTo>
                <a:lnTo>
                  <a:pt x="32" y="18"/>
                </a:lnTo>
                <a:lnTo>
                  <a:pt x="34" y="18"/>
                </a:lnTo>
                <a:lnTo>
                  <a:pt x="36" y="18"/>
                </a:lnTo>
                <a:lnTo>
                  <a:pt x="32" y="20"/>
                </a:lnTo>
                <a:lnTo>
                  <a:pt x="27" y="23"/>
                </a:lnTo>
                <a:lnTo>
                  <a:pt x="29" y="23"/>
                </a:lnTo>
                <a:lnTo>
                  <a:pt x="24" y="25"/>
                </a:lnTo>
                <a:lnTo>
                  <a:pt x="22" y="23"/>
                </a:lnTo>
                <a:lnTo>
                  <a:pt x="22" y="25"/>
                </a:lnTo>
                <a:lnTo>
                  <a:pt x="19" y="23"/>
                </a:lnTo>
                <a:lnTo>
                  <a:pt x="12" y="23"/>
                </a:lnTo>
                <a:lnTo>
                  <a:pt x="12" y="23"/>
                </a:lnTo>
                <a:lnTo>
                  <a:pt x="9" y="23"/>
                </a:lnTo>
                <a:lnTo>
                  <a:pt x="7" y="25"/>
                </a:lnTo>
                <a:lnTo>
                  <a:pt x="9" y="25"/>
                </a:lnTo>
                <a:lnTo>
                  <a:pt x="9" y="28"/>
                </a:lnTo>
                <a:lnTo>
                  <a:pt x="12" y="28"/>
                </a:lnTo>
                <a:lnTo>
                  <a:pt x="12" y="30"/>
                </a:lnTo>
                <a:lnTo>
                  <a:pt x="9" y="30"/>
                </a:lnTo>
                <a:lnTo>
                  <a:pt x="9" y="28"/>
                </a:lnTo>
                <a:lnTo>
                  <a:pt x="7" y="28"/>
                </a:lnTo>
                <a:lnTo>
                  <a:pt x="12" y="32"/>
                </a:lnTo>
                <a:lnTo>
                  <a:pt x="14" y="30"/>
                </a:lnTo>
                <a:lnTo>
                  <a:pt x="14" y="32"/>
                </a:lnTo>
                <a:lnTo>
                  <a:pt x="12" y="35"/>
                </a:lnTo>
                <a:lnTo>
                  <a:pt x="9" y="35"/>
                </a:lnTo>
                <a:lnTo>
                  <a:pt x="12" y="37"/>
                </a:lnTo>
                <a:lnTo>
                  <a:pt x="7" y="37"/>
                </a:lnTo>
                <a:lnTo>
                  <a:pt x="7" y="40"/>
                </a:lnTo>
                <a:lnTo>
                  <a:pt x="7" y="40"/>
                </a:lnTo>
                <a:lnTo>
                  <a:pt x="9" y="42"/>
                </a:lnTo>
                <a:lnTo>
                  <a:pt x="12" y="42"/>
                </a:lnTo>
                <a:lnTo>
                  <a:pt x="9" y="42"/>
                </a:lnTo>
                <a:lnTo>
                  <a:pt x="14" y="42"/>
                </a:lnTo>
                <a:lnTo>
                  <a:pt x="14" y="45"/>
                </a:lnTo>
                <a:lnTo>
                  <a:pt x="22" y="45"/>
                </a:lnTo>
                <a:lnTo>
                  <a:pt x="19" y="50"/>
                </a:lnTo>
                <a:lnTo>
                  <a:pt x="17" y="47"/>
                </a:lnTo>
                <a:lnTo>
                  <a:pt x="14" y="52"/>
                </a:lnTo>
                <a:lnTo>
                  <a:pt x="17" y="52"/>
                </a:lnTo>
                <a:lnTo>
                  <a:pt x="14" y="57"/>
                </a:lnTo>
                <a:lnTo>
                  <a:pt x="7" y="59"/>
                </a:lnTo>
                <a:lnTo>
                  <a:pt x="9" y="59"/>
                </a:lnTo>
                <a:lnTo>
                  <a:pt x="14" y="57"/>
                </a:lnTo>
                <a:lnTo>
                  <a:pt x="14" y="59"/>
                </a:lnTo>
                <a:lnTo>
                  <a:pt x="19" y="59"/>
                </a:lnTo>
                <a:lnTo>
                  <a:pt x="22" y="57"/>
                </a:lnTo>
                <a:lnTo>
                  <a:pt x="22" y="57"/>
                </a:lnTo>
                <a:lnTo>
                  <a:pt x="24" y="57"/>
                </a:lnTo>
                <a:lnTo>
                  <a:pt x="17" y="59"/>
                </a:lnTo>
                <a:lnTo>
                  <a:pt x="12" y="59"/>
                </a:lnTo>
                <a:lnTo>
                  <a:pt x="12" y="62"/>
                </a:lnTo>
                <a:lnTo>
                  <a:pt x="7" y="62"/>
                </a:lnTo>
                <a:lnTo>
                  <a:pt x="9" y="64"/>
                </a:lnTo>
                <a:lnTo>
                  <a:pt x="9" y="67"/>
                </a:lnTo>
                <a:lnTo>
                  <a:pt x="9" y="67"/>
                </a:lnTo>
                <a:lnTo>
                  <a:pt x="7" y="67"/>
                </a:lnTo>
                <a:lnTo>
                  <a:pt x="4" y="64"/>
                </a:lnTo>
                <a:lnTo>
                  <a:pt x="4" y="67"/>
                </a:lnTo>
                <a:lnTo>
                  <a:pt x="4" y="64"/>
                </a:lnTo>
                <a:lnTo>
                  <a:pt x="0" y="67"/>
                </a:lnTo>
                <a:lnTo>
                  <a:pt x="0" y="69"/>
                </a:lnTo>
                <a:lnTo>
                  <a:pt x="9" y="69"/>
                </a:lnTo>
                <a:lnTo>
                  <a:pt x="7" y="72"/>
                </a:lnTo>
                <a:lnTo>
                  <a:pt x="2" y="72"/>
                </a:lnTo>
                <a:lnTo>
                  <a:pt x="2" y="74"/>
                </a:lnTo>
                <a:lnTo>
                  <a:pt x="4" y="74"/>
                </a:lnTo>
                <a:lnTo>
                  <a:pt x="4" y="77"/>
                </a:lnTo>
                <a:lnTo>
                  <a:pt x="12" y="74"/>
                </a:lnTo>
                <a:lnTo>
                  <a:pt x="7" y="79"/>
                </a:lnTo>
                <a:lnTo>
                  <a:pt x="4" y="79"/>
                </a:lnTo>
                <a:lnTo>
                  <a:pt x="7" y="79"/>
                </a:lnTo>
                <a:lnTo>
                  <a:pt x="12" y="77"/>
                </a:lnTo>
                <a:lnTo>
                  <a:pt x="12" y="79"/>
                </a:lnTo>
                <a:lnTo>
                  <a:pt x="7" y="82"/>
                </a:lnTo>
                <a:lnTo>
                  <a:pt x="9" y="82"/>
                </a:lnTo>
                <a:lnTo>
                  <a:pt x="9" y="82"/>
                </a:lnTo>
                <a:lnTo>
                  <a:pt x="14" y="82"/>
                </a:lnTo>
                <a:lnTo>
                  <a:pt x="14" y="84"/>
                </a:lnTo>
                <a:lnTo>
                  <a:pt x="14" y="8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7" name="Freeform 76"/>
          <p:cNvSpPr>
            <a:spLocks noEditPoints="1"/>
          </p:cNvSpPr>
          <p:nvPr/>
        </p:nvSpPr>
        <p:spPr bwMode="auto">
          <a:xfrm>
            <a:off x="4572990" y="2778165"/>
            <a:ext cx="216918" cy="374793"/>
          </a:xfrm>
          <a:custGeom>
            <a:avLst/>
            <a:gdLst/>
            <a:ahLst/>
            <a:cxnLst>
              <a:cxn ang="0">
                <a:pos x="3" y="140"/>
              </a:cxn>
              <a:cxn ang="0">
                <a:pos x="28" y="130"/>
              </a:cxn>
              <a:cxn ang="0">
                <a:pos x="32" y="150"/>
              </a:cxn>
              <a:cxn ang="0">
                <a:pos x="94" y="2"/>
              </a:cxn>
              <a:cxn ang="0">
                <a:pos x="91" y="5"/>
              </a:cxn>
              <a:cxn ang="0">
                <a:pos x="89" y="12"/>
              </a:cxn>
              <a:cxn ang="0">
                <a:pos x="121" y="212"/>
              </a:cxn>
              <a:cxn ang="0">
                <a:pos x="94" y="231"/>
              </a:cxn>
              <a:cxn ang="0">
                <a:pos x="25" y="111"/>
              </a:cxn>
              <a:cxn ang="0">
                <a:pos x="25" y="96"/>
              </a:cxn>
              <a:cxn ang="0">
                <a:pos x="64" y="47"/>
              </a:cxn>
              <a:cxn ang="0">
                <a:pos x="62" y="49"/>
              </a:cxn>
              <a:cxn ang="0">
                <a:pos x="15" y="66"/>
              </a:cxn>
              <a:cxn ang="0">
                <a:pos x="20" y="71"/>
              </a:cxn>
              <a:cxn ang="0">
                <a:pos x="13" y="79"/>
              </a:cxn>
              <a:cxn ang="0">
                <a:pos x="10" y="91"/>
              </a:cxn>
              <a:cxn ang="0">
                <a:pos x="10" y="89"/>
              </a:cxn>
              <a:cxn ang="0">
                <a:pos x="20" y="79"/>
              </a:cxn>
              <a:cxn ang="0">
                <a:pos x="30" y="91"/>
              </a:cxn>
              <a:cxn ang="0">
                <a:pos x="25" y="106"/>
              </a:cxn>
              <a:cxn ang="0">
                <a:pos x="25" y="116"/>
              </a:cxn>
              <a:cxn ang="0">
                <a:pos x="35" y="121"/>
              </a:cxn>
              <a:cxn ang="0">
                <a:pos x="47" y="150"/>
              </a:cxn>
              <a:cxn ang="0">
                <a:pos x="45" y="236"/>
              </a:cxn>
              <a:cxn ang="0">
                <a:pos x="62" y="234"/>
              </a:cxn>
              <a:cxn ang="0">
                <a:pos x="84" y="229"/>
              </a:cxn>
              <a:cxn ang="0">
                <a:pos x="106" y="224"/>
              </a:cxn>
              <a:cxn ang="0">
                <a:pos x="128" y="216"/>
              </a:cxn>
              <a:cxn ang="0">
                <a:pos x="119" y="209"/>
              </a:cxn>
              <a:cxn ang="0">
                <a:pos x="126" y="202"/>
              </a:cxn>
              <a:cxn ang="0">
                <a:pos x="133" y="187"/>
              </a:cxn>
              <a:cxn ang="0">
                <a:pos x="114" y="175"/>
              </a:cxn>
              <a:cxn ang="0">
                <a:pos x="101" y="162"/>
              </a:cxn>
              <a:cxn ang="0">
                <a:pos x="101" y="150"/>
              </a:cxn>
              <a:cxn ang="0">
                <a:pos x="77" y="116"/>
              </a:cxn>
              <a:cxn ang="0">
                <a:pos x="57" y="113"/>
              </a:cxn>
              <a:cxn ang="0">
                <a:pos x="64" y="103"/>
              </a:cxn>
              <a:cxn ang="0">
                <a:pos x="79" y="81"/>
              </a:cxn>
              <a:cxn ang="0">
                <a:pos x="57" y="79"/>
              </a:cxn>
              <a:cxn ang="0">
                <a:pos x="59" y="66"/>
              </a:cxn>
              <a:cxn ang="0">
                <a:pos x="52" y="59"/>
              </a:cxn>
              <a:cxn ang="0">
                <a:pos x="40" y="62"/>
              </a:cxn>
              <a:cxn ang="0">
                <a:pos x="32" y="71"/>
              </a:cxn>
              <a:cxn ang="0">
                <a:pos x="30" y="79"/>
              </a:cxn>
              <a:cxn ang="0">
                <a:pos x="32" y="89"/>
              </a:cxn>
              <a:cxn ang="0">
                <a:pos x="25" y="98"/>
              </a:cxn>
              <a:cxn ang="0">
                <a:pos x="35" y="103"/>
              </a:cxn>
              <a:cxn ang="0">
                <a:pos x="30" y="128"/>
              </a:cxn>
              <a:cxn ang="0">
                <a:pos x="37" y="116"/>
              </a:cxn>
              <a:cxn ang="0">
                <a:pos x="42" y="121"/>
              </a:cxn>
              <a:cxn ang="0">
                <a:pos x="42" y="138"/>
              </a:cxn>
              <a:cxn ang="0">
                <a:pos x="67" y="135"/>
              </a:cxn>
              <a:cxn ang="0">
                <a:pos x="67" y="160"/>
              </a:cxn>
              <a:cxn ang="0">
                <a:pos x="67" y="172"/>
              </a:cxn>
              <a:cxn ang="0">
                <a:pos x="47" y="182"/>
              </a:cxn>
              <a:cxn ang="0">
                <a:pos x="45" y="197"/>
              </a:cxn>
              <a:cxn ang="0">
                <a:pos x="42" y="207"/>
              </a:cxn>
              <a:cxn ang="0">
                <a:pos x="59" y="214"/>
              </a:cxn>
              <a:cxn ang="0">
                <a:pos x="67" y="219"/>
              </a:cxn>
              <a:cxn ang="0">
                <a:pos x="40" y="231"/>
              </a:cxn>
              <a:cxn ang="0">
                <a:pos x="37" y="244"/>
              </a:cxn>
            </a:cxnLst>
            <a:rect l="0" t="0" r="r" b="b"/>
            <a:pathLst>
              <a:path w="133" h="244">
                <a:moveTo>
                  <a:pt x="25" y="157"/>
                </a:moveTo>
                <a:lnTo>
                  <a:pt x="25" y="157"/>
                </a:lnTo>
                <a:lnTo>
                  <a:pt x="20" y="155"/>
                </a:lnTo>
                <a:lnTo>
                  <a:pt x="20" y="155"/>
                </a:lnTo>
                <a:lnTo>
                  <a:pt x="18" y="155"/>
                </a:lnTo>
                <a:lnTo>
                  <a:pt x="18" y="155"/>
                </a:lnTo>
                <a:lnTo>
                  <a:pt x="15" y="148"/>
                </a:lnTo>
                <a:lnTo>
                  <a:pt x="15" y="148"/>
                </a:lnTo>
                <a:lnTo>
                  <a:pt x="10" y="145"/>
                </a:lnTo>
                <a:lnTo>
                  <a:pt x="10" y="145"/>
                </a:lnTo>
                <a:lnTo>
                  <a:pt x="10" y="148"/>
                </a:lnTo>
                <a:lnTo>
                  <a:pt x="10" y="148"/>
                </a:lnTo>
                <a:lnTo>
                  <a:pt x="8" y="153"/>
                </a:lnTo>
                <a:lnTo>
                  <a:pt x="8" y="153"/>
                </a:lnTo>
                <a:lnTo>
                  <a:pt x="5" y="153"/>
                </a:lnTo>
                <a:lnTo>
                  <a:pt x="5" y="153"/>
                </a:lnTo>
                <a:lnTo>
                  <a:pt x="0" y="145"/>
                </a:lnTo>
                <a:lnTo>
                  <a:pt x="0" y="145"/>
                </a:lnTo>
                <a:lnTo>
                  <a:pt x="3" y="140"/>
                </a:lnTo>
                <a:lnTo>
                  <a:pt x="3" y="140"/>
                </a:lnTo>
                <a:lnTo>
                  <a:pt x="5" y="138"/>
                </a:lnTo>
                <a:lnTo>
                  <a:pt x="5" y="138"/>
                </a:lnTo>
                <a:lnTo>
                  <a:pt x="8" y="135"/>
                </a:lnTo>
                <a:lnTo>
                  <a:pt x="8" y="135"/>
                </a:lnTo>
                <a:lnTo>
                  <a:pt x="10" y="135"/>
                </a:lnTo>
                <a:lnTo>
                  <a:pt x="10" y="135"/>
                </a:lnTo>
                <a:lnTo>
                  <a:pt x="10" y="133"/>
                </a:lnTo>
                <a:lnTo>
                  <a:pt x="10" y="133"/>
                </a:lnTo>
                <a:lnTo>
                  <a:pt x="13" y="133"/>
                </a:lnTo>
                <a:lnTo>
                  <a:pt x="13" y="133"/>
                </a:lnTo>
                <a:lnTo>
                  <a:pt x="15" y="133"/>
                </a:lnTo>
                <a:lnTo>
                  <a:pt x="15" y="133"/>
                </a:lnTo>
                <a:lnTo>
                  <a:pt x="18" y="133"/>
                </a:lnTo>
                <a:lnTo>
                  <a:pt x="18" y="133"/>
                </a:lnTo>
                <a:lnTo>
                  <a:pt x="20" y="130"/>
                </a:lnTo>
                <a:lnTo>
                  <a:pt x="20" y="130"/>
                </a:lnTo>
                <a:lnTo>
                  <a:pt x="25" y="130"/>
                </a:lnTo>
                <a:lnTo>
                  <a:pt x="25" y="130"/>
                </a:lnTo>
                <a:lnTo>
                  <a:pt x="28" y="130"/>
                </a:lnTo>
                <a:lnTo>
                  <a:pt x="28" y="130"/>
                </a:lnTo>
                <a:lnTo>
                  <a:pt x="28" y="135"/>
                </a:lnTo>
                <a:lnTo>
                  <a:pt x="28" y="135"/>
                </a:lnTo>
                <a:lnTo>
                  <a:pt x="30" y="140"/>
                </a:lnTo>
                <a:lnTo>
                  <a:pt x="30" y="140"/>
                </a:lnTo>
                <a:lnTo>
                  <a:pt x="30" y="143"/>
                </a:lnTo>
                <a:lnTo>
                  <a:pt x="30" y="143"/>
                </a:lnTo>
                <a:lnTo>
                  <a:pt x="32" y="143"/>
                </a:lnTo>
                <a:lnTo>
                  <a:pt x="32" y="143"/>
                </a:lnTo>
                <a:lnTo>
                  <a:pt x="35" y="150"/>
                </a:lnTo>
                <a:lnTo>
                  <a:pt x="35" y="150"/>
                </a:lnTo>
                <a:lnTo>
                  <a:pt x="32" y="145"/>
                </a:lnTo>
                <a:lnTo>
                  <a:pt x="32" y="145"/>
                </a:lnTo>
                <a:lnTo>
                  <a:pt x="30" y="145"/>
                </a:lnTo>
                <a:lnTo>
                  <a:pt x="30" y="145"/>
                </a:lnTo>
                <a:lnTo>
                  <a:pt x="32" y="145"/>
                </a:lnTo>
                <a:lnTo>
                  <a:pt x="32" y="145"/>
                </a:lnTo>
                <a:lnTo>
                  <a:pt x="30" y="148"/>
                </a:lnTo>
                <a:lnTo>
                  <a:pt x="30" y="148"/>
                </a:lnTo>
                <a:lnTo>
                  <a:pt x="32" y="150"/>
                </a:lnTo>
                <a:lnTo>
                  <a:pt x="32" y="150"/>
                </a:lnTo>
                <a:lnTo>
                  <a:pt x="32" y="153"/>
                </a:lnTo>
                <a:lnTo>
                  <a:pt x="32" y="153"/>
                </a:lnTo>
                <a:lnTo>
                  <a:pt x="28" y="150"/>
                </a:lnTo>
                <a:lnTo>
                  <a:pt x="28" y="150"/>
                </a:lnTo>
                <a:lnTo>
                  <a:pt x="28" y="153"/>
                </a:lnTo>
                <a:lnTo>
                  <a:pt x="28" y="153"/>
                </a:lnTo>
                <a:lnTo>
                  <a:pt x="25" y="155"/>
                </a:lnTo>
                <a:lnTo>
                  <a:pt x="25" y="155"/>
                </a:lnTo>
                <a:lnTo>
                  <a:pt x="25" y="155"/>
                </a:lnTo>
                <a:lnTo>
                  <a:pt x="25" y="157"/>
                </a:lnTo>
                <a:lnTo>
                  <a:pt x="25" y="157"/>
                </a:lnTo>
                <a:lnTo>
                  <a:pt x="25" y="157"/>
                </a:lnTo>
                <a:close/>
                <a:moveTo>
                  <a:pt x="89" y="22"/>
                </a:moveTo>
                <a:lnTo>
                  <a:pt x="89" y="22"/>
                </a:lnTo>
                <a:lnTo>
                  <a:pt x="91" y="20"/>
                </a:lnTo>
                <a:lnTo>
                  <a:pt x="91" y="20"/>
                </a:lnTo>
                <a:lnTo>
                  <a:pt x="91" y="20"/>
                </a:lnTo>
                <a:lnTo>
                  <a:pt x="89" y="22"/>
                </a:lnTo>
                <a:lnTo>
                  <a:pt x="89" y="22"/>
                </a:lnTo>
                <a:close/>
                <a:moveTo>
                  <a:pt x="94" y="2"/>
                </a:moveTo>
                <a:lnTo>
                  <a:pt x="94" y="2"/>
                </a:lnTo>
                <a:lnTo>
                  <a:pt x="94" y="2"/>
                </a:lnTo>
                <a:lnTo>
                  <a:pt x="96" y="0"/>
                </a:lnTo>
                <a:lnTo>
                  <a:pt x="96" y="0"/>
                </a:lnTo>
                <a:lnTo>
                  <a:pt x="94" y="2"/>
                </a:lnTo>
                <a:lnTo>
                  <a:pt x="94" y="2"/>
                </a:lnTo>
                <a:close/>
                <a:moveTo>
                  <a:pt x="89" y="10"/>
                </a:moveTo>
                <a:lnTo>
                  <a:pt x="89" y="10"/>
                </a:lnTo>
                <a:lnTo>
                  <a:pt x="89" y="7"/>
                </a:lnTo>
                <a:lnTo>
                  <a:pt x="89" y="7"/>
                </a:lnTo>
                <a:lnTo>
                  <a:pt x="87" y="7"/>
                </a:lnTo>
                <a:lnTo>
                  <a:pt x="87" y="7"/>
                </a:lnTo>
                <a:lnTo>
                  <a:pt x="87" y="10"/>
                </a:lnTo>
                <a:lnTo>
                  <a:pt x="89" y="10"/>
                </a:lnTo>
                <a:lnTo>
                  <a:pt x="89" y="10"/>
                </a:lnTo>
                <a:close/>
                <a:moveTo>
                  <a:pt x="91" y="7"/>
                </a:moveTo>
                <a:lnTo>
                  <a:pt x="91" y="7"/>
                </a:lnTo>
                <a:lnTo>
                  <a:pt x="89" y="7"/>
                </a:lnTo>
                <a:lnTo>
                  <a:pt x="89" y="7"/>
                </a:lnTo>
                <a:lnTo>
                  <a:pt x="91" y="5"/>
                </a:lnTo>
                <a:lnTo>
                  <a:pt x="91" y="5"/>
                </a:lnTo>
                <a:lnTo>
                  <a:pt x="91" y="2"/>
                </a:lnTo>
                <a:lnTo>
                  <a:pt x="91" y="2"/>
                </a:lnTo>
                <a:lnTo>
                  <a:pt x="94" y="2"/>
                </a:lnTo>
                <a:lnTo>
                  <a:pt x="94" y="2"/>
                </a:lnTo>
                <a:lnTo>
                  <a:pt x="94" y="7"/>
                </a:lnTo>
                <a:lnTo>
                  <a:pt x="94" y="7"/>
                </a:lnTo>
                <a:lnTo>
                  <a:pt x="91" y="7"/>
                </a:lnTo>
                <a:lnTo>
                  <a:pt x="91" y="7"/>
                </a:lnTo>
                <a:close/>
                <a:moveTo>
                  <a:pt x="91" y="17"/>
                </a:moveTo>
                <a:lnTo>
                  <a:pt x="91" y="17"/>
                </a:lnTo>
                <a:lnTo>
                  <a:pt x="89" y="15"/>
                </a:lnTo>
                <a:lnTo>
                  <a:pt x="89" y="15"/>
                </a:lnTo>
                <a:lnTo>
                  <a:pt x="87" y="15"/>
                </a:lnTo>
                <a:lnTo>
                  <a:pt x="87" y="15"/>
                </a:lnTo>
                <a:lnTo>
                  <a:pt x="84" y="12"/>
                </a:lnTo>
                <a:lnTo>
                  <a:pt x="84" y="12"/>
                </a:lnTo>
                <a:lnTo>
                  <a:pt x="87" y="12"/>
                </a:lnTo>
                <a:lnTo>
                  <a:pt x="87" y="12"/>
                </a:lnTo>
                <a:lnTo>
                  <a:pt x="89" y="12"/>
                </a:lnTo>
                <a:lnTo>
                  <a:pt x="89" y="12"/>
                </a:lnTo>
                <a:lnTo>
                  <a:pt x="89" y="12"/>
                </a:lnTo>
                <a:lnTo>
                  <a:pt x="89" y="10"/>
                </a:lnTo>
                <a:lnTo>
                  <a:pt x="89" y="10"/>
                </a:lnTo>
                <a:lnTo>
                  <a:pt x="89" y="10"/>
                </a:lnTo>
                <a:lnTo>
                  <a:pt x="91" y="10"/>
                </a:lnTo>
                <a:lnTo>
                  <a:pt x="91" y="10"/>
                </a:lnTo>
                <a:lnTo>
                  <a:pt x="94" y="10"/>
                </a:lnTo>
                <a:lnTo>
                  <a:pt x="94" y="10"/>
                </a:lnTo>
                <a:lnTo>
                  <a:pt x="91" y="12"/>
                </a:lnTo>
                <a:lnTo>
                  <a:pt x="91" y="12"/>
                </a:lnTo>
                <a:lnTo>
                  <a:pt x="94" y="15"/>
                </a:lnTo>
                <a:lnTo>
                  <a:pt x="94" y="15"/>
                </a:lnTo>
                <a:lnTo>
                  <a:pt x="91" y="15"/>
                </a:lnTo>
                <a:lnTo>
                  <a:pt x="91" y="15"/>
                </a:lnTo>
                <a:lnTo>
                  <a:pt x="91" y="17"/>
                </a:lnTo>
                <a:lnTo>
                  <a:pt x="91" y="17"/>
                </a:lnTo>
                <a:lnTo>
                  <a:pt x="91" y="17"/>
                </a:lnTo>
                <a:close/>
                <a:moveTo>
                  <a:pt x="121" y="212"/>
                </a:moveTo>
                <a:lnTo>
                  <a:pt x="121" y="212"/>
                </a:lnTo>
                <a:lnTo>
                  <a:pt x="121" y="212"/>
                </a:lnTo>
                <a:lnTo>
                  <a:pt x="123" y="212"/>
                </a:lnTo>
                <a:lnTo>
                  <a:pt x="123" y="212"/>
                </a:lnTo>
                <a:lnTo>
                  <a:pt x="123" y="212"/>
                </a:lnTo>
                <a:lnTo>
                  <a:pt x="121" y="209"/>
                </a:lnTo>
                <a:lnTo>
                  <a:pt x="121" y="209"/>
                </a:lnTo>
                <a:lnTo>
                  <a:pt x="121" y="212"/>
                </a:lnTo>
                <a:lnTo>
                  <a:pt x="121" y="212"/>
                </a:lnTo>
                <a:close/>
                <a:moveTo>
                  <a:pt x="89" y="229"/>
                </a:moveTo>
                <a:lnTo>
                  <a:pt x="89" y="229"/>
                </a:lnTo>
                <a:lnTo>
                  <a:pt x="91" y="226"/>
                </a:lnTo>
                <a:lnTo>
                  <a:pt x="91" y="226"/>
                </a:lnTo>
                <a:lnTo>
                  <a:pt x="94" y="226"/>
                </a:lnTo>
                <a:lnTo>
                  <a:pt x="94" y="226"/>
                </a:lnTo>
                <a:lnTo>
                  <a:pt x="96" y="226"/>
                </a:lnTo>
                <a:lnTo>
                  <a:pt x="96" y="226"/>
                </a:lnTo>
                <a:lnTo>
                  <a:pt x="94" y="229"/>
                </a:lnTo>
                <a:lnTo>
                  <a:pt x="94" y="229"/>
                </a:lnTo>
                <a:lnTo>
                  <a:pt x="94" y="231"/>
                </a:lnTo>
                <a:lnTo>
                  <a:pt x="94" y="231"/>
                </a:lnTo>
                <a:lnTo>
                  <a:pt x="91" y="231"/>
                </a:lnTo>
                <a:lnTo>
                  <a:pt x="91" y="231"/>
                </a:lnTo>
                <a:lnTo>
                  <a:pt x="91" y="229"/>
                </a:lnTo>
                <a:lnTo>
                  <a:pt x="91" y="229"/>
                </a:lnTo>
                <a:lnTo>
                  <a:pt x="89" y="229"/>
                </a:lnTo>
                <a:lnTo>
                  <a:pt x="89" y="229"/>
                </a:lnTo>
                <a:close/>
                <a:moveTo>
                  <a:pt x="40" y="116"/>
                </a:moveTo>
                <a:lnTo>
                  <a:pt x="40" y="116"/>
                </a:lnTo>
                <a:lnTo>
                  <a:pt x="37" y="118"/>
                </a:lnTo>
                <a:lnTo>
                  <a:pt x="37" y="118"/>
                </a:lnTo>
                <a:lnTo>
                  <a:pt x="40" y="121"/>
                </a:lnTo>
                <a:lnTo>
                  <a:pt x="40" y="121"/>
                </a:lnTo>
                <a:lnTo>
                  <a:pt x="40" y="118"/>
                </a:lnTo>
                <a:lnTo>
                  <a:pt x="40" y="118"/>
                </a:lnTo>
                <a:lnTo>
                  <a:pt x="40" y="116"/>
                </a:lnTo>
                <a:lnTo>
                  <a:pt x="40" y="116"/>
                </a:lnTo>
                <a:close/>
                <a:moveTo>
                  <a:pt x="25" y="113"/>
                </a:moveTo>
                <a:lnTo>
                  <a:pt x="25" y="113"/>
                </a:lnTo>
                <a:lnTo>
                  <a:pt x="25" y="111"/>
                </a:lnTo>
                <a:lnTo>
                  <a:pt x="25" y="111"/>
                </a:lnTo>
                <a:lnTo>
                  <a:pt x="25" y="113"/>
                </a:lnTo>
                <a:lnTo>
                  <a:pt x="25" y="113"/>
                </a:lnTo>
                <a:lnTo>
                  <a:pt x="25" y="113"/>
                </a:lnTo>
                <a:close/>
                <a:moveTo>
                  <a:pt x="15" y="103"/>
                </a:moveTo>
                <a:lnTo>
                  <a:pt x="15" y="103"/>
                </a:lnTo>
                <a:lnTo>
                  <a:pt x="15" y="101"/>
                </a:lnTo>
                <a:lnTo>
                  <a:pt x="15" y="101"/>
                </a:lnTo>
                <a:lnTo>
                  <a:pt x="18" y="101"/>
                </a:lnTo>
                <a:lnTo>
                  <a:pt x="18" y="101"/>
                </a:lnTo>
                <a:lnTo>
                  <a:pt x="15" y="103"/>
                </a:lnTo>
                <a:lnTo>
                  <a:pt x="15" y="103"/>
                </a:lnTo>
                <a:close/>
                <a:moveTo>
                  <a:pt x="20" y="101"/>
                </a:moveTo>
                <a:lnTo>
                  <a:pt x="20" y="101"/>
                </a:lnTo>
                <a:lnTo>
                  <a:pt x="23" y="98"/>
                </a:lnTo>
                <a:lnTo>
                  <a:pt x="23" y="98"/>
                </a:lnTo>
                <a:lnTo>
                  <a:pt x="23" y="101"/>
                </a:lnTo>
                <a:lnTo>
                  <a:pt x="23" y="101"/>
                </a:lnTo>
                <a:lnTo>
                  <a:pt x="20" y="101"/>
                </a:lnTo>
                <a:lnTo>
                  <a:pt x="20" y="101"/>
                </a:lnTo>
                <a:close/>
                <a:moveTo>
                  <a:pt x="25" y="96"/>
                </a:moveTo>
                <a:lnTo>
                  <a:pt x="25" y="96"/>
                </a:lnTo>
                <a:lnTo>
                  <a:pt x="28" y="93"/>
                </a:lnTo>
                <a:lnTo>
                  <a:pt x="28" y="93"/>
                </a:lnTo>
                <a:lnTo>
                  <a:pt x="25" y="93"/>
                </a:lnTo>
                <a:lnTo>
                  <a:pt x="25" y="93"/>
                </a:lnTo>
                <a:lnTo>
                  <a:pt x="25" y="96"/>
                </a:lnTo>
                <a:lnTo>
                  <a:pt x="25" y="96"/>
                </a:lnTo>
                <a:close/>
                <a:moveTo>
                  <a:pt x="23" y="91"/>
                </a:moveTo>
                <a:lnTo>
                  <a:pt x="23" y="91"/>
                </a:lnTo>
                <a:lnTo>
                  <a:pt x="25" y="93"/>
                </a:lnTo>
                <a:lnTo>
                  <a:pt x="25" y="93"/>
                </a:lnTo>
                <a:lnTo>
                  <a:pt x="25" y="93"/>
                </a:lnTo>
                <a:lnTo>
                  <a:pt x="25" y="91"/>
                </a:lnTo>
                <a:lnTo>
                  <a:pt x="25" y="91"/>
                </a:lnTo>
                <a:lnTo>
                  <a:pt x="23" y="91"/>
                </a:lnTo>
                <a:lnTo>
                  <a:pt x="23" y="91"/>
                </a:lnTo>
                <a:close/>
                <a:moveTo>
                  <a:pt x="62" y="44"/>
                </a:moveTo>
                <a:lnTo>
                  <a:pt x="62" y="44"/>
                </a:lnTo>
                <a:lnTo>
                  <a:pt x="64" y="47"/>
                </a:lnTo>
                <a:lnTo>
                  <a:pt x="64" y="47"/>
                </a:lnTo>
                <a:lnTo>
                  <a:pt x="64" y="44"/>
                </a:lnTo>
                <a:lnTo>
                  <a:pt x="64" y="44"/>
                </a:lnTo>
                <a:lnTo>
                  <a:pt x="62" y="44"/>
                </a:lnTo>
                <a:lnTo>
                  <a:pt x="62" y="44"/>
                </a:lnTo>
                <a:close/>
                <a:moveTo>
                  <a:pt x="59" y="47"/>
                </a:moveTo>
                <a:lnTo>
                  <a:pt x="59" y="47"/>
                </a:lnTo>
                <a:lnTo>
                  <a:pt x="62" y="47"/>
                </a:lnTo>
                <a:lnTo>
                  <a:pt x="62" y="47"/>
                </a:lnTo>
                <a:lnTo>
                  <a:pt x="64" y="47"/>
                </a:lnTo>
                <a:lnTo>
                  <a:pt x="64" y="47"/>
                </a:lnTo>
                <a:lnTo>
                  <a:pt x="62" y="49"/>
                </a:lnTo>
                <a:lnTo>
                  <a:pt x="62" y="49"/>
                </a:lnTo>
                <a:lnTo>
                  <a:pt x="67" y="49"/>
                </a:lnTo>
                <a:lnTo>
                  <a:pt x="67" y="49"/>
                </a:lnTo>
                <a:lnTo>
                  <a:pt x="67" y="52"/>
                </a:lnTo>
                <a:lnTo>
                  <a:pt x="67" y="52"/>
                </a:lnTo>
                <a:lnTo>
                  <a:pt x="64" y="49"/>
                </a:lnTo>
                <a:lnTo>
                  <a:pt x="64" y="49"/>
                </a:lnTo>
                <a:lnTo>
                  <a:pt x="62" y="49"/>
                </a:lnTo>
                <a:lnTo>
                  <a:pt x="62" y="49"/>
                </a:lnTo>
                <a:lnTo>
                  <a:pt x="62" y="49"/>
                </a:lnTo>
                <a:lnTo>
                  <a:pt x="62" y="49"/>
                </a:lnTo>
                <a:lnTo>
                  <a:pt x="59" y="49"/>
                </a:lnTo>
                <a:lnTo>
                  <a:pt x="59" y="49"/>
                </a:lnTo>
                <a:lnTo>
                  <a:pt x="59" y="47"/>
                </a:lnTo>
                <a:lnTo>
                  <a:pt x="59" y="47"/>
                </a:lnTo>
                <a:close/>
                <a:moveTo>
                  <a:pt x="59" y="52"/>
                </a:moveTo>
                <a:lnTo>
                  <a:pt x="59" y="52"/>
                </a:lnTo>
                <a:lnTo>
                  <a:pt x="62" y="54"/>
                </a:lnTo>
                <a:lnTo>
                  <a:pt x="62" y="54"/>
                </a:lnTo>
                <a:lnTo>
                  <a:pt x="62" y="52"/>
                </a:lnTo>
                <a:lnTo>
                  <a:pt x="62" y="52"/>
                </a:lnTo>
                <a:lnTo>
                  <a:pt x="62" y="52"/>
                </a:lnTo>
                <a:lnTo>
                  <a:pt x="59" y="52"/>
                </a:lnTo>
                <a:lnTo>
                  <a:pt x="59" y="52"/>
                </a:lnTo>
                <a:close/>
                <a:moveTo>
                  <a:pt x="15" y="69"/>
                </a:moveTo>
                <a:lnTo>
                  <a:pt x="15" y="69"/>
                </a:lnTo>
                <a:lnTo>
                  <a:pt x="18" y="69"/>
                </a:lnTo>
                <a:lnTo>
                  <a:pt x="18" y="69"/>
                </a:lnTo>
                <a:lnTo>
                  <a:pt x="15" y="66"/>
                </a:lnTo>
                <a:lnTo>
                  <a:pt x="15" y="66"/>
                </a:lnTo>
                <a:lnTo>
                  <a:pt x="18" y="64"/>
                </a:lnTo>
                <a:lnTo>
                  <a:pt x="18" y="64"/>
                </a:lnTo>
                <a:lnTo>
                  <a:pt x="20" y="66"/>
                </a:lnTo>
                <a:lnTo>
                  <a:pt x="20" y="66"/>
                </a:lnTo>
                <a:lnTo>
                  <a:pt x="20" y="64"/>
                </a:lnTo>
                <a:lnTo>
                  <a:pt x="20" y="64"/>
                </a:lnTo>
                <a:lnTo>
                  <a:pt x="25" y="59"/>
                </a:lnTo>
                <a:lnTo>
                  <a:pt x="25" y="59"/>
                </a:lnTo>
                <a:lnTo>
                  <a:pt x="28" y="64"/>
                </a:lnTo>
                <a:lnTo>
                  <a:pt x="28" y="64"/>
                </a:lnTo>
                <a:lnTo>
                  <a:pt x="25" y="66"/>
                </a:lnTo>
                <a:lnTo>
                  <a:pt x="25" y="66"/>
                </a:lnTo>
                <a:lnTo>
                  <a:pt x="23" y="69"/>
                </a:lnTo>
                <a:lnTo>
                  <a:pt x="23" y="69"/>
                </a:lnTo>
                <a:lnTo>
                  <a:pt x="25" y="69"/>
                </a:lnTo>
                <a:lnTo>
                  <a:pt x="25" y="69"/>
                </a:lnTo>
                <a:lnTo>
                  <a:pt x="23" y="71"/>
                </a:lnTo>
                <a:lnTo>
                  <a:pt x="23" y="71"/>
                </a:lnTo>
                <a:lnTo>
                  <a:pt x="20" y="71"/>
                </a:lnTo>
                <a:lnTo>
                  <a:pt x="20" y="71"/>
                </a:lnTo>
                <a:lnTo>
                  <a:pt x="18" y="71"/>
                </a:lnTo>
                <a:lnTo>
                  <a:pt x="18" y="71"/>
                </a:lnTo>
                <a:lnTo>
                  <a:pt x="15" y="69"/>
                </a:lnTo>
                <a:lnTo>
                  <a:pt x="15" y="69"/>
                </a:lnTo>
                <a:close/>
                <a:moveTo>
                  <a:pt x="15" y="74"/>
                </a:moveTo>
                <a:lnTo>
                  <a:pt x="15" y="74"/>
                </a:lnTo>
                <a:lnTo>
                  <a:pt x="18" y="76"/>
                </a:lnTo>
                <a:lnTo>
                  <a:pt x="18" y="76"/>
                </a:lnTo>
                <a:lnTo>
                  <a:pt x="20" y="74"/>
                </a:lnTo>
                <a:lnTo>
                  <a:pt x="20" y="74"/>
                </a:lnTo>
                <a:lnTo>
                  <a:pt x="18" y="71"/>
                </a:lnTo>
                <a:lnTo>
                  <a:pt x="18" y="71"/>
                </a:lnTo>
                <a:lnTo>
                  <a:pt x="18" y="71"/>
                </a:lnTo>
                <a:lnTo>
                  <a:pt x="15" y="74"/>
                </a:lnTo>
                <a:lnTo>
                  <a:pt x="15" y="74"/>
                </a:lnTo>
                <a:lnTo>
                  <a:pt x="15" y="74"/>
                </a:lnTo>
                <a:close/>
                <a:moveTo>
                  <a:pt x="15" y="79"/>
                </a:moveTo>
                <a:lnTo>
                  <a:pt x="15" y="79"/>
                </a:lnTo>
                <a:lnTo>
                  <a:pt x="13" y="79"/>
                </a:lnTo>
                <a:lnTo>
                  <a:pt x="13" y="79"/>
                </a:lnTo>
                <a:lnTo>
                  <a:pt x="10" y="79"/>
                </a:lnTo>
                <a:lnTo>
                  <a:pt x="10" y="79"/>
                </a:lnTo>
                <a:lnTo>
                  <a:pt x="10" y="76"/>
                </a:lnTo>
                <a:lnTo>
                  <a:pt x="10" y="76"/>
                </a:lnTo>
                <a:lnTo>
                  <a:pt x="15" y="76"/>
                </a:lnTo>
                <a:lnTo>
                  <a:pt x="15" y="76"/>
                </a:lnTo>
                <a:lnTo>
                  <a:pt x="15" y="79"/>
                </a:lnTo>
                <a:lnTo>
                  <a:pt x="15" y="79"/>
                </a:lnTo>
                <a:close/>
                <a:moveTo>
                  <a:pt x="13" y="84"/>
                </a:moveTo>
                <a:lnTo>
                  <a:pt x="13" y="84"/>
                </a:lnTo>
                <a:lnTo>
                  <a:pt x="10" y="81"/>
                </a:lnTo>
                <a:lnTo>
                  <a:pt x="10" y="81"/>
                </a:lnTo>
                <a:lnTo>
                  <a:pt x="10" y="81"/>
                </a:lnTo>
                <a:lnTo>
                  <a:pt x="13" y="81"/>
                </a:lnTo>
                <a:lnTo>
                  <a:pt x="13" y="81"/>
                </a:lnTo>
                <a:lnTo>
                  <a:pt x="13" y="84"/>
                </a:lnTo>
                <a:lnTo>
                  <a:pt x="13" y="84"/>
                </a:lnTo>
                <a:close/>
                <a:moveTo>
                  <a:pt x="10" y="91"/>
                </a:moveTo>
                <a:lnTo>
                  <a:pt x="10" y="91"/>
                </a:lnTo>
                <a:lnTo>
                  <a:pt x="10" y="91"/>
                </a:lnTo>
                <a:lnTo>
                  <a:pt x="8" y="93"/>
                </a:lnTo>
                <a:lnTo>
                  <a:pt x="8" y="93"/>
                </a:lnTo>
                <a:lnTo>
                  <a:pt x="8" y="91"/>
                </a:lnTo>
                <a:lnTo>
                  <a:pt x="8" y="91"/>
                </a:lnTo>
                <a:lnTo>
                  <a:pt x="10" y="91"/>
                </a:lnTo>
                <a:lnTo>
                  <a:pt x="10" y="91"/>
                </a:lnTo>
                <a:close/>
                <a:moveTo>
                  <a:pt x="13" y="89"/>
                </a:moveTo>
                <a:lnTo>
                  <a:pt x="13" y="89"/>
                </a:lnTo>
                <a:lnTo>
                  <a:pt x="13" y="86"/>
                </a:lnTo>
                <a:lnTo>
                  <a:pt x="13" y="86"/>
                </a:lnTo>
                <a:lnTo>
                  <a:pt x="13" y="86"/>
                </a:lnTo>
                <a:lnTo>
                  <a:pt x="13" y="84"/>
                </a:lnTo>
                <a:lnTo>
                  <a:pt x="13" y="84"/>
                </a:lnTo>
                <a:lnTo>
                  <a:pt x="10" y="84"/>
                </a:lnTo>
                <a:lnTo>
                  <a:pt x="10" y="84"/>
                </a:lnTo>
                <a:lnTo>
                  <a:pt x="10" y="84"/>
                </a:lnTo>
                <a:lnTo>
                  <a:pt x="10" y="86"/>
                </a:lnTo>
                <a:lnTo>
                  <a:pt x="10" y="86"/>
                </a:lnTo>
                <a:lnTo>
                  <a:pt x="10" y="89"/>
                </a:lnTo>
                <a:lnTo>
                  <a:pt x="10" y="89"/>
                </a:lnTo>
                <a:lnTo>
                  <a:pt x="13" y="89"/>
                </a:lnTo>
                <a:lnTo>
                  <a:pt x="13" y="89"/>
                </a:lnTo>
                <a:close/>
                <a:moveTo>
                  <a:pt x="28" y="91"/>
                </a:moveTo>
                <a:lnTo>
                  <a:pt x="28" y="91"/>
                </a:lnTo>
                <a:lnTo>
                  <a:pt x="28" y="89"/>
                </a:lnTo>
                <a:lnTo>
                  <a:pt x="28" y="89"/>
                </a:lnTo>
                <a:lnTo>
                  <a:pt x="25" y="89"/>
                </a:lnTo>
                <a:lnTo>
                  <a:pt x="25" y="89"/>
                </a:lnTo>
                <a:lnTo>
                  <a:pt x="23" y="84"/>
                </a:lnTo>
                <a:lnTo>
                  <a:pt x="23" y="84"/>
                </a:lnTo>
                <a:lnTo>
                  <a:pt x="23" y="84"/>
                </a:lnTo>
                <a:lnTo>
                  <a:pt x="23" y="84"/>
                </a:lnTo>
                <a:lnTo>
                  <a:pt x="23" y="84"/>
                </a:lnTo>
                <a:lnTo>
                  <a:pt x="18" y="81"/>
                </a:lnTo>
                <a:lnTo>
                  <a:pt x="18" y="81"/>
                </a:lnTo>
                <a:lnTo>
                  <a:pt x="20" y="81"/>
                </a:lnTo>
                <a:lnTo>
                  <a:pt x="20" y="81"/>
                </a:lnTo>
                <a:lnTo>
                  <a:pt x="20" y="81"/>
                </a:lnTo>
                <a:lnTo>
                  <a:pt x="20" y="79"/>
                </a:lnTo>
                <a:lnTo>
                  <a:pt x="20" y="79"/>
                </a:lnTo>
                <a:lnTo>
                  <a:pt x="25" y="81"/>
                </a:lnTo>
                <a:lnTo>
                  <a:pt x="25" y="81"/>
                </a:lnTo>
                <a:lnTo>
                  <a:pt x="23" y="79"/>
                </a:lnTo>
                <a:lnTo>
                  <a:pt x="23" y="79"/>
                </a:lnTo>
                <a:lnTo>
                  <a:pt x="25" y="76"/>
                </a:lnTo>
                <a:lnTo>
                  <a:pt x="25" y="76"/>
                </a:lnTo>
                <a:lnTo>
                  <a:pt x="28" y="79"/>
                </a:lnTo>
                <a:lnTo>
                  <a:pt x="28" y="79"/>
                </a:lnTo>
                <a:lnTo>
                  <a:pt x="28" y="84"/>
                </a:lnTo>
                <a:lnTo>
                  <a:pt x="28" y="84"/>
                </a:lnTo>
                <a:lnTo>
                  <a:pt x="30" y="86"/>
                </a:lnTo>
                <a:lnTo>
                  <a:pt x="30" y="86"/>
                </a:lnTo>
                <a:lnTo>
                  <a:pt x="30" y="86"/>
                </a:lnTo>
                <a:lnTo>
                  <a:pt x="32" y="86"/>
                </a:lnTo>
                <a:lnTo>
                  <a:pt x="32" y="86"/>
                </a:lnTo>
                <a:lnTo>
                  <a:pt x="30" y="89"/>
                </a:lnTo>
                <a:lnTo>
                  <a:pt x="30" y="89"/>
                </a:lnTo>
                <a:lnTo>
                  <a:pt x="30" y="91"/>
                </a:lnTo>
                <a:lnTo>
                  <a:pt x="30" y="91"/>
                </a:lnTo>
                <a:lnTo>
                  <a:pt x="28" y="91"/>
                </a:lnTo>
                <a:lnTo>
                  <a:pt x="28" y="91"/>
                </a:lnTo>
                <a:close/>
                <a:moveTo>
                  <a:pt x="23" y="108"/>
                </a:moveTo>
                <a:lnTo>
                  <a:pt x="23" y="108"/>
                </a:lnTo>
                <a:lnTo>
                  <a:pt x="30" y="106"/>
                </a:lnTo>
                <a:lnTo>
                  <a:pt x="30" y="106"/>
                </a:lnTo>
                <a:lnTo>
                  <a:pt x="30" y="108"/>
                </a:lnTo>
                <a:lnTo>
                  <a:pt x="30" y="108"/>
                </a:lnTo>
                <a:lnTo>
                  <a:pt x="32" y="106"/>
                </a:lnTo>
                <a:lnTo>
                  <a:pt x="32" y="106"/>
                </a:lnTo>
                <a:lnTo>
                  <a:pt x="30" y="103"/>
                </a:lnTo>
                <a:lnTo>
                  <a:pt x="30" y="103"/>
                </a:lnTo>
                <a:lnTo>
                  <a:pt x="30" y="103"/>
                </a:lnTo>
                <a:lnTo>
                  <a:pt x="28" y="98"/>
                </a:lnTo>
                <a:lnTo>
                  <a:pt x="28" y="98"/>
                </a:lnTo>
                <a:lnTo>
                  <a:pt x="23" y="101"/>
                </a:lnTo>
                <a:lnTo>
                  <a:pt x="23" y="101"/>
                </a:lnTo>
                <a:lnTo>
                  <a:pt x="28" y="103"/>
                </a:lnTo>
                <a:lnTo>
                  <a:pt x="28" y="103"/>
                </a:lnTo>
                <a:lnTo>
                  <a:pt x="25" y="106"/>
                </a:lnTo>
                <a:lnTo>
                  <a:pt x="25" y="106"/>
                </a:lnTo>
                <a:lnTo>
                  <a:pt x="25" y="106"/>
                </a:lnTo>
                <a:lnTo>
                  <a:pt x="23" y="108"/>
                </a:lnTo>
                <a:lnTo>
                  <a:pt x="23" y="108"/>
                </a:lnTo>
                <a:close/>
                <a:moveTo>
                  <a:pt x="28" y="118"/>
                </a:moveTo>
                <a:lnTo>
                  <a:pt x="28" y="118"/>
                </a:lnTo>
                <a:lnTo>
                  <a:pt x="28" y="116"/>
                </a:lnTo>
                <a:lnTo>
                  <a:pt x="28" y="116"/>
                </a:lnTo>
                <a:lnTo>
                  <a:pt x="32" y="111"/>
                </a:lnTo>
                <a:lnTo>
                  <a:pt x="32" y="111"/>
                </a:lnTo>
                <a:lnTo>
                  <a:pt x="30" y="116"/>
                </a:lnTo>
                <a:lnTo>
                  <a:pt x="30" y="116"/>
                </a:lnTo>
                <a:lnTo>
                  <a:pt x="28" y="118"/>
                </a:lnTo>
                <a:lnTo>
                  <a:pt x="28" y="118"/>
                </a:lnTo>
                <a:close/>
                <a:moveTo>
                  <a:pt x="23" y="123"/>
                </a:moveTo>
                <a:lnTo>
                  <a:pt x="23" y="123"/>
                </a:lnTo>
                <a:lnTo>
                  <a:pt x="28" y="121"/>
                </a:lnTo>
                <a:lnTo>
                  <a:pt x="28" y="121"/>
                </a:lnTo>
                <a:lnTo>
                  <a:pt x="25" y="116"/>
                </a:lnTo>
                <a:lnTo>
                  <a:pt x="25" y="116"/>
                </a:lnTo>
                <a:lnTo>
                  <a:pt x="20" y="118"/>
                </a:lnTo>
                <a:lnTo>
                  <a:pt x="20" y="118"/>
                </a:lnTo>
                <a:lnTo>
                  <a:pt x="20" y="121"/>
                </a:lnTo>
                <a:lnTo>
                  <a:pt x="20" y="121"/>
                </a:lnTo>
                <a:lnTo>
                  <a:pt x="25" y="118"/>
                </a:lnTo>
                <a:lnTo>
                  <a:pt x="25" y="118"/>
                </a:lnTo>
                <a:lnTo>
                  <a:pt x="23" y="123"/>
                </a:lnTo>
                <a:lnTo>
                  <a:pt x="23" y="123"/>
                </a:lnTo>
                <a:close/>
                <a:moveTo>
                  <a:pt x="35" y="121"/>
                </a:moveTo>
                <a:lnTo>
                  <a:pt x="35" y="121"/>
                </a:lnTo>
                <a:lnTo>
                  <a:pt x="35" y="125"/>
                </a:lnTo>
                <a:lnTo>
                  <a:pt x="35" y="125"/>
                </a:lnTo>
                <a:lnTo>
                  <a:pt x="40" y="128"/>
                </a:lnTo>
                <a:lnTo>
                  <a:pt x="40" y="128"/>
                </a:lnTo>
                <a:lnTo>
                  <a:pt x="40" y="123"/>
                </a:lnTo>
                <a:lnTo>
                  <a:pt x="40" y="123"/>
                </a:lnTo>
                <a:lnTo>
                  <a:pt x="37" y="121"/>
                </a:lnTo>
                <a:lnTo>
                  <a:pt x="37" y="121"/>
                </a:lnTo>
                <a:lnTo>
                  <a:pt x="35" y="121"/>
                </a:lnTo>
                <a:lnTo>
                  <a:pt x="35" y="121"/>
                </a:lnTo>
                <a:close/>
                <a:moveTo>
                  <a:pt x="45" y="172"/>
                </a:moveTo>
                <a:lnTo>
                  <a:pt x="45" y="172"/>
                </a:lnTo>
                <a:lnTo>
                  <a:pt x="50" y="175"/>
                </a:lnTo>
                <a:lnTo>
                  <a:pt x="50" y="175"/>
                </a:lnTo>
                <a:lnTo>
                  <a:pt x="52" y="172"/>
                </a:lnTo>
                <a:lnTo>
                  <a:pt x="52" y="172"/>
                </a:lnTo>
                <a:lnTo>
                  <a:pt x="50" y="172"/>
                </a:lnTo>
                <a:lnTo>
                  <a:pt x="50" y="172"/>
                </a:lnTo>
                <a:lnTo>
                  <a:pt x="50" y="170"/>
                </a:lnTo>
                <a:lnTo>
                  <a:pt x="50" y="170"/>
                </a:lnTo>
                <a:lnTo>
                  <a:pt x="47" y="170"/>
                </a:lnTo>
                <a:lnTo>
                  <a:pt x="45" y="172"/>
                </a:lnTo>
                <a:lnTo>
                  <a:pt x="45" y="172"/>
                </a:lnTo>
                <a:close/>
                <a:moveTo>
                  <a:pt x="42" y="155"/>
                </a:moveTo>
                <a:lnTo>
                  <a:pt x="42" y="155"/>
                </a:lnTo>
                <a:lnTo>
                  <a:pt x="42" y="153"/>
                </a:lnTo>
                <a:lnTo>
                  <a:pt x="42" y="153"/>
                </a:lnTo>
                <a:lnTo>
                  <a:pt x="50" y="148"/>
                </a:lnTo>
                <a:lnTo>
                  <a:pt x="50" y="148"/>
                </a:lnTo>
                <a:lnTo>
                  <a:pt x="47" y="150"/>
                </a:lnTo>
                <a:lnTo>
                  <a:pt x="47" y="150"/>
                </a:lnTo>
                <a:lnTo>
                  <a:pt x="50" y="153"/>
                </a:lnTo>
                <a:lnTo>
                  <a:pt x="50" y="153"/>
                </a:lnTo>
                <a:lnTo>
                  <a:pt x="45" y="155"/>
                </a:lnTo>
                <a:lnTo>
                  <a:pt x="45" y="155"/>
                </a:lnTo>
                <a:lnTo>
                  <a:pt x="42" y="155"/>
                </a:lnTo>
                <a:lnTo>
                  <a:pt x="42" y="155"/>
                </a:lnTo>
                <a:close/>
                <a:moveTo>
                  <a:pt x="37" y="244"/>
                </a:moveTo>
                <a:lnTo>
                  <a:pt x="37" y="244"/>
                </a:lnTo>
                <a:lnTo>
                  <a:pt x="37" y="241"/>
                </a:lnTo>
                <a:lnTo>
                  <a:pt x="37" y="241"/>
                </a:lnTo>
                <a:lnTo>
                  <a:pt x="37" y="241"/>
                </a:lnTo>
                <a:lnTo>
                  <a:pt x="40" y="239"/>
                </a:lnTo>
                <a:lnTo>
                  <a:pt x="40" y="239"/>
                </a:lnTo>
                <a:lnTo>
                  <a:pt x="40" y="241"/>
                </a:lnTo>
                <a:lnTo>
                  <a:pt x="40" y="241"/>
                </a:lnTo>
                <a:lnTo>
                  <a:pt x="42" y="239"/>
                </a:lnTo>
                <a:lnTo>
                  <a:pt x="42" y="239"/>
                </a:lnTo>
                <a:lnTo>
                  <a:pt x="42" y="239"/>
                </a:lnTo>
                <a:lnTo>
                  <a:pt x="45" y="236"/>
                </a:lnTo>
                <a:lnTo>
                  <a:pt x="45" y="236"/>
                </a:lnTo>
                <a:lnTo>
                  <a:pt x="47" y="236"/>
                </a:lnTo>
                <a:lnTo>
                  <a:pt x="47" y="236"/>
                </a:lnTo>
                <a:lnTo>
                  <a:pt x="50" y="236"/>
                </a:lnTo>
                <a:lnTo>
                  <a:pt x="50" y="236"/>
                </a:lnTo>
                <a:lnTo>
                  <a:pt x="50" y="236"/>
                </a:lnTo>
                <a:lnTo>
                  <a:pt x="52" y="236"/>
                </a:lnTo>
                <a:lnTo>
                  <a:pt x="52" y="236"/>
                </a:lnTo>
                <a:lnTo>
                  <a:pt x="52" y="236"/>
                </a:lnTo>
                <a:lnTo>
                  <a:pt x="55" y="236"/>
                </a:lnTo>
                <a:lnTo>
                  <a:pt x="55" y="236"/>
                </a:lnTo>
                <a:lnTo>
                  <a:pt x="57" y="239"/>
                </a:lnTo>
                <a:lnTo>
                  <a:pt x="57" y="239"/>
                </a:lnTo>
                <a:lnTo>
                  <a:pt x="59" y="239"/>
                </a:lnTo>
                <a:lnTo>
                  <a:pt x="59" y="239"/>
                </a:lnTo>
                <a:lnTo>
                  <a:pt x="59" y="236"/>
                </a:lnTo>
                <a:lnTo>
                  <a:pt x="59" y="236"/>
                </a:lnTo>
                <a:lnTo>
                  <a:pt x="62" y="236"/>
                </a:lnTo>
                <a:lnTo>
                  <a:pt x="62" y="236"/>
                </a:lnTo>
                <a:lnTo>
                  <a:pt x="62" y="234"/>
                </a:lnTo>
                <a:lnTo>
                  <a:pt x="62" y="234"/>
                </a:lnTo>
                <a:lnTo>
                  <a:pt x="62" y="231"/>
                </a:lnTo>
                <a:lnTo>
                  <a:pt x="62" y="231"/>
                </a:lnTo>
                <a:lnTo>
                  <a:pt x="62" y="231"/>
                </a:lnTo>
                <a:lnTo>
                  <a:pt x="64" y="229"/>
                </a:lnTo>
                <a:lnTo>
                  <a:pt x="64" y="229"/>
                </a:lnTo>
                <a:lnTo>
                  <a:pt x="64" y="229"/>
                </a:lnTo>
                <a:lnTo>
                  <a:pt x="69" y="229"/>
                </a:lnTo>
                <a:lnTo>
                  <a:pt x="69" y="229"/>
                </a:lnTo>
                <a:lnTo>
                  <a:pt x="72" y="229"/>
                </a:lnTo>
                <a:lnTo>
                  <a:pt x="72" y="229"/>
                </a:lnTo>
                <a:lnTo>
                  <a:pt x="77" y="231"/>
                </a:lnTo>
                <a:lnTo>
                  <a:pt x="77" y="231"/>
                </a:lnTo>
                <a:lnTo>
                  <a:pt x="77" y="229"/>
                </a:lnTo>
                <a:lnTo>
                  <a:pt x="77" y="229"/>
                </a:lnTo>
                <a:lnTo>
                  <a:pt x="82" y="229"/>
                </a:lnTo>
                <a:lnTo>
                  <a:pt x="82" y="229"/>
                </a:lnTo>
                <a:lnTo>
                  <a:pt x="84" y="231"/>
                </a:lnTo>
                <a:lnTo>
                  <a:pt x="84" y="231"/>
                </a:lnTo>
                <a:lnTo>
                  <a:pt x="84" y="229"/>
                </a:lnTo>
                <a:lnTo>
                  <a:pt x="84" y="229"/>
                </a:lnTo>
                <a:lnTo>
                  <a:pt x="87" y="226"/>
                </a:lnTo>
                <a:lnTo>
                  <a:pt x="87" y="226"/>
                </a:lnTo>
                <a:lnTo>
                  <a:pt x="89" y="226"/>
                </a:lnTo>
                <a:lnTo>
                  <a:pt x="89" y="226"/>
                </a:lnTo>
                <a:lnTo>
                  <a:pt x="91" y="224"/>
                </a:lnTo>
                <a:lnTo>
                  <a:pt x="91" y="224"/>
                </a:lnTo>
                <a:lnTo>
                  <a:pt x="94" y="226"/>
                </a:lnTo>
                <a:lnTo>
                  <a:pt x="94" y="226"/>
                </a:lnTo>
                <a:lnTo>
                  <a:pt x="96" y="226"/>
                </a:lnTo>
                <a:lnTo>
                  <a:pt x="96" y="226"/>
                </a:lnTo>
                <a:lnTo>
                  <a:pt x="99" y="224"/>
                </a:lnTo>
                <a:lnTo>
                  <a:pt x="99" y="224"/>
                </a:lnTo>
                <a:lnTo>
                  <a:pt x="99" y="226"/>
                </a:lnTo>
                <a:lnTo>
                  <a:pt x="99" y="226"/>
                </a:lnTo>
                <a:lnTo>
                  <a:pt x="99" y="226"/>
                </a:lnTo>
                <a:lnTo>
                  <a:pt x="101" y="224"/>
                </a:lnTo>
                <a:lnTo>
                  <a:pt x="101" y="224"/>
                </a:lnTo>
                <a:lnTo>
                  <a:pt x="106" y="224"/>
                </a:lnTo>
                <a:lnTo>
                  <a:pt x="106" y="224"/>
                </a:lnTo>
                <a:lnTo>
                  <a:pt x="111" y="224"/>
                </a:lnTo>
                <a:lnTo>
                  <a:pt x="111" y="224"/>
                </a:lnTo>
                <a:lnTo>
                  <a:pt x="114" y="226"/>
                </a:lnTo>
                <a:lnTo>
                  <a:pt x="114" y="226"/>
                </a:lnTo>
                <a:lnTo>
                  <a:pt x="116" y="226"/>
                </a:lnTo>
                <a:lnTo>
                  <a:pt x="116" y="226"/>
                </a:lnTo>
                <a:lnTo>
                  <a:pt x="116" y="224"/>
                </a:lnTo>
                <a:lnTo>
                  <a:pt x="116" y="224"/>
                </a:lnTo>
                <a:lnTo>
                  <a:pt x="121" y="224"/>
                </a:lnTo>
                <a:lnTo>
                  <a:pt x="121" y="224"/>
                </a:lnTo>
                <a:lnTo>
                  <a:pt x="121" y="221"/>
                </a:lnTo>
                <a:lnTo>
                  <a:pt x="121" y="221"/>
                </a:lnTo>
                <a:lnTo>
                  <a:pt x="123" y="221"/>
                </a:lnTo>
                <a:lnTo>
                  <a:pt x="123" y="221"/>
                </a:lnTo>
                <a:lnTo>
                  <a:pt x="126" y="221"/>
                </a:lnTo>
                <a:lnTo>
                  <a:pt x="126" y="221"/>
                </a:lnTo>
                <a:lnTo>
                  <a:pt x="126" y="219"/>
                </a:lnTo>
                <a:lnTo>
                  <a:pt x="126" y="219"/>
                </a:lnTo>
                <a:lnTo>
                  <a:pt x="128" y="216"/>
                </a:lnTo>
                <a:lnTo>
                  <a:pt x="128" y="216"/>
                </a:lnTo>
                <a:lnTo>
                  <a:pt x="131" y="216"/>
                </a:lnTo>
                <a:lnTo>
                  <a:pt x="131" y="216"/>
                </a:lnTo>
                <a:lnTo>
                  <a:pt x="131" y="214"/>
                </a:lnTo>
                <a:lnTo>
                  <a:pt x="131" y="214"/>
                </a:lnTo>
                <a:lnTo>
                  <a:pt x="131" y="214"/>
                </a:lnTo>
                <a:lnTo>
                  <a:pt x="131" y="212"/>
                </a:lnTo>
                <a:lnTo>
                  <a:pt x="131" y="212"/>
                </a:lnTo>
                <a:lnTo>
                  <a:pt x="126" y="212"/>
                </a:lnTo>
                <a:lnTo>
                  <a:pt x="126" y="212"/>
                </a:lnTo>
                <a:lnTo>
                  <a:pt x="123" y="212"/>
                </a:lnTo>
                <a:lnTo>
                  <a:pt x="123" y="212"/>
                </a:lnTo>
                <a:lnTo>
                  <a:pt x="123" y="212"/>
                </a:lnTo>
                <a:lnTo>
                  <a:pt x="119" y="212"/>
                </a:lnTo>
                <a:lnTo>
                  <a:pt x="119" y="212"/>
                </a:lnTo>
                <a:lnTo>
                  <a:pt x="119" y="212"/>
                </a:lnTo>
                <a:lnTo>
                  <a:pt x="119" y="212"/>
                </a:lnTo>
                <a:lnTo>
                  <a:pt x="121" y="209"/>
                </a:lnTo>
                <a:lnTo>
                  <a:pt x="121" y="209"/>
                </a:lnTo>
                <a:lnTo>
                  <a:pt x="121" y="209"/>
                </a:lnTo>
                <a:lnTo>
                  <a:pt x="119" y="209"/>
                </a:lnTo>
                <a:lnTo>
                  <a:pt x="119" y="209"/>
                </a:lnTo>
                <a:lnTo>
                  <a:pt x="116" y="209"/>
                </a:lnTo>
                <a:lnTo>
                  <a:pt x="116" y="209"/>
                </a:lnTo>
                <a:lnTo>
                  <a:pt x="119" y="207"/>
                </a:lnTo>
                <a:lnTo>
                  <a:pt x="119" y="207"/>
                </a:lnTo>
                <a:lnTo>
                  <a:pt x="121" y="209"/>
                </a:lnTo>
                <a:lnTo>
                  <a:pt x="121" y="209"/>
                </a:lnTo>
                <a:lnTo>
                  <a:pt x="123" y="207"/>
                </a:lnTo>
                <a:lnTo>
                  <a:pt x="123" y="207"/>
                </a:lnTo>
                <a:lnTo>
                  <a:pt x="123" y="204"/>
                </a:lnTo>
                <a:lnTo>
                  <a:pt x="123" y="204"/>
                </a:lnTo>
                <a:lnTo>
                  <a:pt x="121" y="204"/>
                </a:lnTo>
                <a:lnTo>
                  <a:pt x="121" y="204"/>
                </a:lnTo>
                <a:lnTo>
                  <a:pt x="121" y="204"/>
                </a:lnTo>
                <a:lnTo>
                  <a:pt x="123" y="202"/>
                </a:lnTo>
                <a:lnTo>
                  <a:pt x="123" y="202"/>
                </a:lnTo>
                <a:lnTo>
                  <a:pt x="126" y="204"/>
                </a:lnTo>
                <a:lnTo>
                  <a:pt x="126" y="204"/>
                </a:lnTo>
                <a:lnTo>
                  <a:pt x="126" y="202"/>
                </a:lnTo>
                <a:lnTo>
                  <a:pt x="126" y="202"/>
                </a:lnTo>
                <a:lnTo>
                  <a:pt x="128" y="199"/>
                </a:lnTo>
                <a:lnTo>
                  <a:pt x="128" y="199"/>
                </a:lnTo>
                <a:lnTo>
                  <a:pt x="126" y="199"/>
                </a:lnTo>
                <a:lnTo>
                  <a:pt x="126" y="199"/>
                </a:lnTo>
                <a:lnTo>
                  <a:pt x="128" y="199"/>
                </a:lnTo>
                <a:lnTo>
                  <a:pt x="128" y="199"/>
                </a:lnTo>
                <a:lnTo>
                  <a:pt x="126" y="199"/>
                </a:lnTo>
                <a:lnTo>
                  <a:pt x="126" y="199"/>
                </a:lnTo>
                <a:lnTo>
                  <a:pt x="126" y="197"/>
                </a:lnTo>
                <a:lnTo>
                  <a:pt x="126" y="197"/>
                </a:lnTo>
                <a:lnTo>
                  <a:pt x="128" y="197"/>
                </a:lnTo>
                <a:lnTo>
                  <a:pt x="128" y="197"/>
                </a:lnTo>
                <a:lnTo>
                  <a:pt x="128" y="199"/>
                </a:lnTo>
                <a:lnTo>
                  <a:pt x="128" y="199"/>
                </a:lnTo>
                <a:lnTo>
                  <a:pt x="131" y="197"/>
                </a:lnTo>
                <a:lnTo>
                  <a:pt x="131" y="197"/>
                </a:lnTo>
                <a:lnTo>
                  <a:pt x="131" y="197"/>
                </a:lnTo>
                <a:lnTo>
                  <a:pt x="131" y="192"/>
                </a:lnTo>
                <a:lnTo>
                  <a:pt x="131" y="192"/>
                </a:lnTo>
                <a:lnTo>
                  <a:pt x="133" y="187"/>
                </a:lnTo>
                <a:lnTo>
                  <a:pt x="133" y="187"/>
                </a:lnTo>
                <a:lnTo>
                  <a:pt x="133" y="184"/>
                </a:lnTo>
                <a:lnTo>
                  <a:pt x="133" y="184"/>
                </a:lnTo>
                <a:lnTo>
                  <a:pt x="131" y="182"/>
                </a:lnTo>
                <a:lnTo>
                  <a:pt x="131" y="182"/>
                </a:lnTo>
                <a:lnTo>
                  <a:pt x="126" y="177"/>
                </a:lnTo>
                <a:lnTo>
                  <a:pt x="126" y="177"/>
                </a:lnTo>
                <a:lnTo>
                  <a:pt x="119" y="177"/>
                </a:lnTo>
                <a:lnTo>
                  <a:pt x="119" y="177"/>
                </a:lnTo>
                <a:lnTo>
                  <a:pt x="114" y="177"/>
                </a:lnTo>
                <a:lnTo>
                  <a:pt x="114" y="177"/>
                </a:lnTo>
                <a:lnTo>
                  <a:pt x="114" y="180"/>
                </a:lnTo>
                <a:lnTo>
                  <a:pt x="114" y="180"/>
                </a:lnTo>
                <a:lnTo>
                  <a:pt x="114" y="182"/>
                </a:lnTo>
                <a:lnTo>
                  <a:pt x="114" y="182"/>
                </a:lnTo>
                <a:lnTo>
                  <a:pt x="111" y="180"/>
                </a:lnTo>
                <a:lnTo>
                  <a:pt x="111" y="180"/>
                </a:lnTo>
                <a:lnTo>
                  <a:pt x="109" y="180"/>
                </a:lnTo>
                <a:lnTo>
                  <a:pt x="109" y="180"/>
                </a:lnTo>
                <a:lnTo>
                  <a:pt x="114" y="175"/>
                </a:lnTo>
                <a:lnTo>
                  <a:pt x="114" y="175"/>
                </a:lnTo>
                <a:lnTo>
                  <a:pt x="114" y="172"/>
                </a:lnTo>
                <a:lnTo>
                  <a:pt x="114" y="172"/>
                </a:lnTo>
                <a:lnTo>
                  <a:pt x="109" y="167"/>
                </a:lnTo>
                <a:lnTo>
                  <a:pt x="109" y="167"/>
                </a:lnTo>
                <a:lnTo>
                  <a:pt x="109" y="167"/>
                </a:lnTo>
                <a:lnTo>
                  <a:pt x="104" y="165"/>
                </a:lnTo>
                <a:lnTo>
                  <a:pt x="104" y="165"/>
                </a:lnTo>
                <a:lnTo>
                  <a:pt x="104" y="162"/>
                </a:lnTo>
                <a:lnTo>
                  <a:pt x="104" y="162"/>
                </a:lnTo>
                <a:lnTo>
                  <a:pt x="101" y="162"/>
                </a:lnTo>
                <a:lnTo>
                  <a:pt x="101" y="162"/>
                </a:lnTo>
                <a:lnTo>
                  <a:pt x="101" y="162"/>
                </a:lnTo>
                <a:lnTo>
                  <a:pt x="99" y="162"/>
                </a:lnTo>
                <a:lnTo>
                  <a:pt x="99" y="162"/>
                </a:lnTo>
                <a:lnTo>
                  <a:pt x="96" y="162"/>
                </a:lnTo>
                <a:lnTo>
                  <a:pt x="96" y="162"/>
                </a:lnTo>
                <a:lnTo>
                  <a:pt x="99" y="162"/>
                </a:lnTo>
                <a:lnTo>
                  <a:pt x="99" y="162"/>
                </a:lnTo>
                <a:lnTo>
                  <a:pt x="101" y="162"/>
                </a:lnTo>
                <a:lnTo>
                  <a:pt x="101" y="162"/>
                </a:lnTo>
                <a:lnTo>
                  <a:pt x="104" y="162"/>
                </a:lnTo>
                <a:lnTo>
                  <a:pt x="104" y="162"/>
                </a:lnTo>
                <a:lnTo>
                  <a:pt x="104" y="162"/>
                </a:lnTo>
                <a:lnTo>
                  <a:pt x="106" y="162"/>
                </a:lnTo>
                <a:lnTo>
                  <a:pt x="106" y="162"/>
                </a:lnTo>
                <a:lnTo>
                  <a:pt x="106" y="162"/>
                </a:lnTo>
                <a:lnTo>
                  <a:pt x="109" y="162"/>
                </a:lnTo>
                <a:lnTo>
                  <a:pt x="109" y="162"/>
                </a:lnTo>
                <a:lnTo>
                  <a:pt x="104" y="157"/>
                </a:lnTo>
                <a:lnTo>
                  <a:pt x="104" y="157"/>
                </a:lnTo>
                <a:lnTo>
                  <a:pt x="104" y="155"/>
                </a:lnTo>
                <a:lnTo>
                  <a:pt x="104" y="155"/>
                </a:lnTo>
                <a:lnTo>
                  <a:pt x="104" y="155"/>
                </a:lnTo>
                <a:lnTo>
                  <a:pt x="106" y="153"/>
                </a:lnTo>
                <a:lnTo>
                  <a:pt x="106" y="153"/>
                </a:lnTo>
                <a:lnTo>
                  <a:pt x="104" y="153"/>
                </a:lnTo>
                <a:lnTo>
                  <a:pt x="104" y="153"/>
                </a:lnTo>
                <a:lnTo>
                  <a:pt x="101" y="150"/>
                </a:lnTo>
                <a:lnTo>
                  <a:pt x="101" y="150"/>
                </a:lnTo>
                <a:lnTo>
                  <a:pt x="101" y="150"/>
                </a:lnTo>
                <a:lnTo>
                  <a:pt x="99" y="145"/>
                </a:lnTo>
                <a:lnTo>
                  <a:pt x="99" y="145"/>
                </a:lnTo>
                <a:lnTo>
                  <a:pt x="96" y="145"/>
                </a:lnTo>
                <a:lnTo>
                  <a:pt x="96" y="145"/>
                </a:lnTo>
                <a:lnTo>
                  <a:pt x="89" y="143"/>
                </a:lnTo>
                <a:lnTo>
                  <a:pt x="89" y="143"/>
                </a:lnTo>
                <a:lnTo>
                  <a:pt x="89" y="140"/>
                </a:lnTo>
                <a:lnTo>
                  <a:pt x="89" y="140"/>
                </a:lnTo>
                <a:lnTo>
                  <a:pt x="89" y="140"/>
                </a:lnTo>
                <a:lnTo>
                  <a:pt x="87" y="135"/>
                </a:lnTo>
                <a:lnTo>
                  <a:pt x="87" y="135"/>
                </a:lnTo>
                <a:lnTo>
                  <a:pt x="84" y="133"/>
                </a:lnTo>
                <a:lnTo>
                  <a:pt x="84" y="133"/>
                </a:lnTo>
                <a:lnTo>
                  <a:pt x="84" y="125"/>
                </a:lnTo>
                <a:lnTo>
                  <a:pt x="84" y="125"/>
                </a:lnTo>
                <a:lnTo>
                  <a:pt x="82" y="123"/>
                </a:lnTo>
                <a:lnTo>
                  <a:pt x="82" y="123"/>
                </a:lnTo>
                <a:lnTo>
                  <a:pt x="82" y="123"/>
                </a:lnTo>
                <a:lnTo>
                  <a:pt x="77" y="116"/>
                </a:lnTo>
                <a:lnTo>
                  <a:pt x="77" y="116"/>
                </a:lnTo>
                <a:lnTo>
                  <a:pt x="74" y="116"/>
                </a:lnTo>
                <a:lnTo>
                  <a:pt x="74" y="116"/>
                </a:lnTo>
                <a:lnTo>
                  <a:pt x="72" y="113"/>
                </a:lnTo>
                <a:lnTo>
                  <a:pt x="72" y="113"/>
                </a:lnTo>
                <a:lnTo>
                  <a:pt x="69" y="113"/>
                </a:lnTo>
                <a:lnTo>
                  <a:pt x="69" y="113"/>
                </a:lnTo>
                <a:lnTo>
                  <a:pt x="67" y="113"/>
                </a:lnTo>
                <a:lnTo>
                  <a:pt x="67" y="113"/>
                </a:lnTo>
                <a:lnTo>
                  <a:pt x="64" y="116"/>
                </a:lnTo>
                <a:lnTo>
                  <a:pt x="64" y="116"/>
                </a:lnTo>
                <a:lnTo>
                  <a:pt x="62" y="113"/>
                </a:lnTo>
                <a:lnTo>
                  <a:pt x="62" y="113"/>
                </a:lnTo>
                <a:lnTo>
                  <a:pt x="59" y="113"/>
                </a:lnTo>
                <a:lnTo>
                  <a:pt x="59" y="113"/>
                </a:lnTo>
                <a:lnTo>
                  <a:pt x="57" y="113"/>
                </a:lnTo>
                <a:lnTo>
                  <a:pt x="57" y="113"/>
                </a:lnTo>
                <a:lnTo>
                  <a:pt x="57" y="111"/>
                </a:lnTo>
                <a:lnTo>
                  <a:pt x="57" y="111"/>
                </a:lnTo>
                <a:lnTo>
                  <a:pt x="57" y="113"/>
                </a:lnTo>
                <a:lnTo>
                  <a:pt x="57" y="113"/>
                </a:lnTo>
                <a:lnTo>
                  <a:pt x="62" y="113"/>
                </a:lnTo>
                <a:lnTo>
                  <a:pt x="62" y="113"/>
                </a:lnTo>
                <a:lnTo>
                  <a:pt x="64" y="111"/>
                </a:lnTo>
                <a:lnTo>
                  <a:pt x="64" y="111"/>
                </a:lnTo>
                <a:lnTo>
                  <a:pt x="64" y="111"/>
                </a:lnTo>
                <a:lnTo>
                  <a:pt x="67" y="111"/>
                </a:lnTo>
                <a:lnTo>
                  <a:pt x="67" y="111"/>
                </a:lnTo>
                <a:lnTo>
                  <a:pt x="69" y="108"/>
                </a:lnTo>
                <a:lnTo>
                  <a:pt x="69" y="108"/>
                </a:lnTo>
                <a:lnTo>
                  <a:pt x="67" y="106"/>
                </a:lnTo>
                <a:lnTo>
                  <a:pt x="67" y="106"/>
                </a:lnTo>
                <a:lnTo>
                  <a:pt x="67" y="106"/>
                </a:lnTo>
                <a:lnTo>
                  <a:pt x="67" y="103"/>
                </a:lnTo>
                <a:lnTo>
                  <a:pt x="67" y="103"/>
                </a:lnTo>
                <a:lnTo>
                  <a:pt x="62" y="106"/>
                </a:lnTo>
                <a:lnTo>
                  <a:pt x="62" y="106"/>
                </a:lnTo>
                <a:lnTo>
                  <a:pt x="62" y="106"/>
                </a:lnTo>
                <a:lnTo>
                  <a:pt x="64" y="103"/>
                </a:lnTo>
                <a:lnTo>
                  <a:pt x="64" y="103"/>
                </a:lnTo>
                <a:lnTo>
                  <a:pt x="69" y="103"/>
                </a:lnTo>
                <a:lnTo>
                  <a:pt x="69" y="103"/>
                </a:lnTo>
                <a:lnTo>
                  <a:pt x="69" y="101"/>
                </a:lnTo>
                <a:lnTo>
                  <a:pt x="69" y="101"/>
                </a:lnTo>
                <a:lnTo>
                  <a:pt x="72" y="101"/>
                </a:lnTo>
                <a:lnTo>
                  <a:pt x="72" y="101"/>
                </a:lnTo>
                <a:lnTo>
                  <a:pt x="72" y="98"/>
                </a:lnTo>
                <a:lnTo>
                  <a:pt x="72" y="98"/>
                </a:lnTo>
                <a:lnTo>
                  <a:pt x="74" y="96"/>
                </a:lnTo>
                <a:lnTo>
                  <a:pt x="74" y="96"/>
                </a:lnTo>
                <a:lnTo>
                  <a:pt x="77" y="93"/>
                </a:lnTo>
                <a:lnTo>
                  <a:pt x="77" y="93"/>
                </a:lnTo>
                <a:lnTo>
                  <a:pt x="74" y="91"/>
                </a:lnTo>
                <a:lnTo>
                  <a:pt x="74" y="91"/>
                </a:lnTo>
                <a:lnTo>
                  <a:pt x="77" y="89"/>
                </a:lnTo>
                <a:lnTo>
                  <a:pt x="77" y="89"/>
                </a:lnTo>
                <a:lnTo>
                  <a:pt x="77" y="89"/>
                </a:lnTo>
                <a:lnTo>
                  <a:pt x="77" y="84"/>
                </a:lnTo>
                <a:lnTo>
                  <a:pt x="77" y="84"/>
                </a:lnTo>
                <a:lnTo>
                  <a:pt x="79" y="81"/>
                </a:lnTo>
                <a:lnTo>
                  <a:pt x="79" y="81"/>
                </a:lnTo>
                <a:lnTo>
                  <a:pt x="79" y="81"/>
                </a:lnTo>
                <a:lnTo>
                  <a:pt x="77" y="76"/>
                </a:lnTo>
                <a:lnTo>
                  <a:pt x="77" y="76"/>
                </a:lnTo>
                <a:lnTo>
                  <a:pt x="77" y="76"/>
                </a:lnTo>
                <a:lnTo>
                  <a:pt x="69" y="76"/>
                </a:lnTo>
                <a:lnTo>
                  <a:pt x="69" y="76"/>
                </a:lnTo>
                <a:lnTo>
                  <a:pt x="67" y="76"/>
                </a:lnTo>
                <a:lnTo>
                  <a:pt x="67" y="76"/>
                </a:lnTo>
                <a:lnTo>
                  <a:pt x="64" y="79"/>
                </a:lnTo>
                <a:lnTo>
                  <a:pt x="64" y="79"/>
                </a:lnTo>
                <a:lnTo>
                  <a:pt x="62" y="79"/>
                </a:lnTo>
                <a:lnTo>
                  <a:pt x="62" y="79"/>
                </a:lnTo>
                <a:lnTo>
                  <a:pt x="59" y="76"/>
                </a:lnTo>
                <a:lnTo>
                  <a:pt x="59" y="76"/>
                </a:lnTo>
                <a:lnTo>
                  <a:pt x="59" y="76"/>
                </a:lnTo>
                <a:lnTo>
                  <a:pt x="59" y="79"/>
                </a:lnTo>
                <a:lnTo>
                  <a:pt x="59" y="79"/>
                </a:lnTo>
                <a:lnTo>
                  <a:pt x="57" y="79"/>
                </a:lnTo>
                <a:lnTo>
                  <a:pt x="57" y="79"/>
                </a:lnTo>
                <a:lnTo>
                  <a:pt x="55" y="79"/>
                </a:lnTo>
                <a:lnTo>
                  <a:pt x="55" y="79"/>
                </a:lnTo>
                <a:lnTo>
                  <a:pt x="52" y="79"/>
                </a:lnTo>
                <a:lnTo>
                  <a:pt x="52" y="79"/>
                </a:lnTo>
                <a:lnTo>
                  <a:pt x="52" y="81"/>
                </a:lnTo>
                <a:lnTo>
                  <a:pt x="52" y="81"/>
                </a:lnTo>
                <a:lnTo>
                  <a:pt x="50" y="81"/>
                </a:lnTo>
                <a:lnTo>
                  <a:pt x="50" y="81"/>
                </a:lnTo>
                <a:lnTo>
                  <a:pt x="52" y="79"/>
                </a:lnTo>
                <a:lnTo>
                  <a:pt x="52" y="79"/>
                </a:lnTo>
                <a:lnTo>
                  <a:pt x="55" y="74"/>
                </a:lnTo>
                <a:lnTo>
                  <a:pt x="55" y="74"/>
                </a:lnTo>
                <a:lnTo>
                  <a:pt x="55" y="74"/>
                </a:lnTo>
                <a:lnTo>
                  <a:pt x="52" y="74"/>
                </a:lnTo>
                <a:lnTo>
                  <a:pt x="52" y="74"/>
                </a:lnTo>
                <a:lnTo>
                  <a:pt x="52" y="74"/>
                </a:lnTo>
                <a:lnTo>
                  <a:pt x="52" y="71"/>
                </a:lnTo>
                <a:lnTo>
                  <a:pt x="52" y="71"/>
                </a:lnTo>
                <a:lnTo>
                  <a:pt x="59" y="66"/>
                </a:lnTo>
                <a:lnTo>
                  <a:pt x="59" y="66"/>
                </a:lnTo>
                <a:lnTo>
                  <a:pt x="62" y="64"/>
                </a:lnTo>
                <a:lnTo>
                  <a:pt x="62" y="64"/>
                </a:lnTo>
                <a:lnTo>
                  <a:pt x="62" y="64"/>
                </a:lnTo>
                <a:lnTo>
                  <a:pt x="64" y="62"/>
                </a:lnTo>
                <a:lnTo>
                  <a:pt x="64" y="62"/>
                </a:lnTo>
                <a:lnTo>
                  <a:pt x="62" y="59"/>
                </a:lnTo>
                <a:lnTo>
                  <a:pt x="62" y="59"/>
                </a:lnTo>
                <a:lnTo>
                  <a:pt x="64" y="57"/>
                </a:lnTo>
                <a:lnTo>
                  <a:pt x="64" y="57"/>
                </a:lnTo>
                <a:lnTo>
                  <a:pt x="64" y="57"/>
                </a:lnTo>
                <a:lnTo>
                  <a:pt x="62" y="57"/>
                </a:lnTo>
                <a:lnTo>
                  <a:pt x="62" y="57"/>
                </a:lnTo>
                <a:lnTo>
                  <a:pt x="59" y="57"/>
                </a:lnTo>
                <a:lnTo>
                  <a:pt x="59" y="57"/>
                </a:lnTo>
                <a:lnTo>
                  <a:pt x="57" y="57"/>
                </a:lnTo>
                <a:lnTo>
                  <a:pt x="57" y="57"/>
                </a:lnTo>
                <a:lnTo>
                  <a:pt x="55" y="59"/>
                </a:lnTo>
                <a:lnTo>
                  <a:pt x="55" y="59"/>
                </a:lnTo>
                <a:lnTo>
                  <a:pt x="52" y="59"/>
                </a:lnTo>
                <a:lnTo>
                  <a:pt x="52" y="59"/>
                </a:lnTo>
                <a:lnTo>
                  <a:pt x="50" y="59"/>
                </a:lnTo>
                <a:lnTo>
                  <a:pt x="50" y="59"/>
                </a:lnTo>
                <a:lnTo>
                  <a:pt x="50" y="59"/>
                </a:lnTo>
                <a:lnTo>
                  <a:pt x="47" y="62"/>
                </a:lnTo>
                <a:lnTo>
                  <a:pt x="47" y="62"/>
                </a:lnTo>
                <a:lnTo>
                  <a:pt x="47" y="59"/>
                </a:lnTo>
                <a:lnTo>
                  <a:pt x="47" y="59"/>
                </a:lnTo>
                <a:lnTo>
                  <a:pt x="47" y="59"/>
                </a:lnTo>
                <a:lnTo>
                  <a:pt x="45" y="62"/>
                </a:lnTo>
                <a:lnTo>
                  <a:pt x="45" y="62"/>
                </a:lnTo>
                <a:lnTo>
                  <a:pt x="45" y="59"/>
                </a:lnTo>
                <a:lnTo>
                  <a:pt x="45" y="59"/>
                </a:lnTo>
                <a:lnTo>
                  <a:pt x="40" y="57"/>
                </a:lnTo>
                <a:lnTo>
                  <a:pt x="40" y="57"/>
                </a:lnTo>
                <a:lnTo>
                  <a:pt x="40" y="59"/>
                </a:lnTo>
                <a:lnTo>
                  <a:pt x="40" y="59"/>
                </a:lnTo>
                <a:lnTo>
                  <a:pt x="40" y="59"/>
                </a:lnTo>
                <a:lnTo>
                  <a:pt x="40" y="62"/>
                </a:lnTo>
                <a:lnTo>
                  <a:pt x="40" y="62"/>
                </a:lnTo>
                <a:lnTo>
                  <a:pt x="40" y="62"/>
                </a:lnTo>
                <a:lnTo>
                  <a:pt x="40" y="64"/>
                </a:lnTo>
                <a:lnTo>
                  <a:pt x="40" y="64"/>
                </a:lnTo>
                <a:lnTo>
                  <a:pt x="37" y="64"/>
                </a:lnTo>
                <a:lnTo>
                  <a:pt x="37" y="64"/>
                </a:lnTo>
                <a:lnTo>
                  <a:pt x="37" y="66"/>
                </a:lnTo>
                <a:lnTo>
                  <a:pt x="37" y="66"/>
                </a:lnTo>
                <a:lnTo>
                  <a:pt x="37" y="69"/>
                </a:lnTo>
                <a:lnTo>
                  <a:pt x="37" y="69"/>
                </a:lnTo>
                <a:lnTo>
                  <a:pt x="35" y="69"/>
                </a:lnTo>
                <a:lnTo>
                  <a:pt x="35" y="69"/>
                </a:lnTo>
                <a:lnTo>
                  <a:pt x="37" y="71"/>
                </a:lnTo>
                <a:lnTo>
                  <a:pt x="37" y="71"/>
                </a:lnTo>
                <a:lnTo>
                  <a:pt x="40" y="74"/>
                </a:lnTo>
                <a:lnTo>
                  <a:pt x="40" y="74"/>
                </a:lnTo>
                <a:lnTo>
                  <a:pt x="37" y="71"/>
                </a:lnTo>
                <a:lnTo>
                  <a:pt x="37" y="71"/>
                </a:lnTo>
                <a:lnTo>
                  <a:pt x="35" y="74"/>
                </a:lnTo>
                <a:lnTo>
                  <a:pt x="35" y="74"/>
                </a:lnTo>
                <a:lnTo>
                  <a:pt x="32" y="71"/>
                </a:lnTo>
                <a:lnTo>
                  <a:pt x="32" y="71"/>
                </a:lnTo>
                <a:lnTo>
                  <a:pt x="32" y="74"/>
                </a:lnTo>
                <a:lnTo>
                  <a:pt x="32" y="74"/>
                </a:lnTo>
                <a:lnTo>
                  <a:pt x="32" y="74"/>
                </a:lnTo>
                <a:lnTo>
                  <a:pt x="32" y="76"/>
                </a:lnTo>
                <a:lnTo>
                  <a:pt x="32" y="76"/>
                </a:lnTo>
                <a:lnTo>
                  <a:pt x="32" y="74"/>
                </a:lnTo>
                <a:lnTo>
                  <a:pt x="32" y="74"/>
                </a:lnTo>
                <a:lnTo>
                  <a:pt x="30" y="76"/>
                </a:lnTo>
                <a:lnTo>
                  <a:pt x="30" y="76"/>
                </a:lnTo>
                <a:lnTo>
                  <a:pt x="32" y="76"/>
                </a:lnTo>
                <a:lnTo>
                  <a:pt x="32" y="76"/>
                </a:lnTo>
                <a:lnTo>
                  <a:pt x="30" y="79"/>
                </a:lnTo>
                <a:lnTo>
                  <a:pt x="30" y="79"/>
                </a:lnTo>
                <a:lnTo>
                  <a:pt x="32" y="81"/>
                </a:lnTo>
                <a:lnTo>
                  <a:pt x="32" y="81"/>
                </a:lnTo>
                <a:lnTo>
                  <a:pt x="35" y="81"/>
                </a:lnTo>
                <a:lnTo>
                  <a:pt x="35" y="81"/>
                </a:lnTo>
                <a:lnTo>
                  <a:pt x="32" y="81"/>
                </a:lnTo>
                <a:lnTo>
                  <a:pt x="32" y="81"/>
                </a:lnTo>
                <a:lnTo>
                  <a:pt x="30" y="79"/>
                </a:lnTo>
                <a:lnTo>
                  <a:pt x="30" y="79"/>
                </a:lnTo>
                <a:lnTo>
                  <a:pt x="30" y="84"/>
                </a:lnTo>
                <a:lnTo>
                  <a:pt x="30" y="84"/>
                </a:lnTo>
                <a:lnTo>
                  <a:pt x="30" y="84"/>
                </a:lnTo>
                <a:lnTo>
                  <a:pt x="35" y="84"/>
                </a:lnTo>
                <a:lnTo>
                  <a:pt x="35" y="84"/>
                </a:lnTo>
                <a:lnTo>
                  <a:pt x="32" y="86"/>
                </a:lnTo>
                <a:lnTo>
                  <a:pt x="32" y="86"/>
                </a:lnTo>
                <a:lnTo>
                  <a:pt x="32" y="86"/>
                </a:lnTo>
                <a:lnTo>
                  <a:pt x="32" y="86"/>
                </a:lnTo>
                <a:lnTo>
                  <a:pt x="35" y="86"/>
                </a:lnTo>
                <a:lnTo>
                  <a:pt x="35" y="86"/>
                </a:lnTo>
                <a:lnTo>
                  <a:pt x="35" y="86"/>
                </a:lnTo>
                <a:lnTo>
                  <a:pt x="35" y="86"/>
                </a:lnTo>
                <a:lnTo>
                  <a:pt x="32" y="86"/>
                </a:lnTo>
                <a:lnTo>
                  <a:pt x="32" y="86"/>
                </a:lnTo>
                <a:lnTo>
                  <a:pt x="32" y="86"/>
                </a:lnTo>
                <a:lnTo>
                  <a:pt x="32" y="89"/>
                </a:lnTo>
                <a:lnTo>
                  <a:pt x="32" y="89"/>
                </a:lnTo>
                <a:lnTo>
                  <a:pt x="32" y="89"/>
                </a:lnTo>
                <a:lnTo>
                  <a:pt x="32" y="89"/>
                </a:lnTo>
                <a:lnTo>
                  <a:pt x="30" y="91"/>
                </a:lnTo>
                <a:lnTo>
                  <a:pt x="30" y="91"/>
                </a:lnTo>
                <a:lnTo>
                  <a:pt x="32" y="91"/>
                </a:lnTo>
                <a:lnTo>
                  <a:pt x="32" y="91"/>
                </a:lnTo>
                <a:lnTo>
                  <a:pt x="32" y="93"/>
                </a:lnTo>
                <a:lnTo>
                  <a:pt x="32" y="93"/>
                </a:lnTo>
                <a:lnTo>
                  <a:pt x="30" y="91"/>
                </a:lnTo>
                <a:lnTo>
                  <a:pt x="30" y="91"/>
                </a:lnTo>
                <a:lnTo>
                  <a:pt x="30" y="93"/>
                </a:lnTo>
                <a:lnTo>
                  <a:pt x="30" y="93"/>
                </a:lnTo>
                <a:lnTo>
                  <a:pt x="30" y="93"/>
                </a:lnTo>
                <a:lnTo>
                  <a:pt x="30" y="96"/>
                </a:lnTo>
                <a:lnTo>
                  <a:pt x="30" y="96"/>
                </a:lnTo>
                <a:lnTo>
                  <a:pt x="30" y="96"/>
                </a:lnTo>
                <a:lnTo>
                  <a:pt x="25" y="96"/>
                </a:lnTo>
                <a:lnTo>
                  <a:pt x="25" y="96"/>
                </a:lnTo>
                <a:lnTo>
                  <a:pt x="25" y="98"/>
                </a:lnTo>
                <a:lnTo>
                  <a:pt x="25" y="98"/>
                </a:lnTo>
                <a:lnTo>
                  <a:pt x="25" y="98"/>
                </a:lnTo>
                <a:lnTo>
                  <a:pt x="28" y="98"/>
                </a:lnTo>
                <a:lnTo>
                  <a:pt x="28" y="98"/>
                </a:lnTo>
                <a:lnTo>
                  <a:pt x="30" y="98"/>
                </a:lnTo>
                <a:lnTo>
                  <a:pt x="30" y="98"/>
                </a:lnTo>
                <a:lnTo>
                  <a:pt x="30" y="98"/>
                </a:lnTo>
                <a:lnTo>
                  <a:pt x="28" y="98"/>
                </a:lnTo>
                <a:lnTo>
                  <a:pt x="28" y="98"/>
                </a:lnTo>
                <a:lnTo>
                  <a:pt x="30" y="101"/>
                </a:lnTo>
                <a:lnTo>
                  <a:pt x="30" y="101"/>
                </a:lnTo>
                <a:lnTo>
                  <a:pt x="30" y="101"/>
                </a:lnTo>
                <a:lnTo>
                  <a:pt x="32" y="103"/>
                </a:lnTo>
                <a:lnTo>
                  <a:pt x="32" y="103"/>
                </a:lnTo>
                <a:lnTo>
                  <a:pt x="37" y="96"/>
                </a:lnTo>
                <a:lnTo>
                  <a:pt x="37" y="96"/>
                </a:lnTo>
                <a:lnTo>
                  <a:pt x="37" y="98"/>
                </a:lnTo>
                <a:lnTo>
                  <a:pt x="37" y="98"/>
                </a:lnTo>
                <a:lnTo>
                  <a:pt x="37" y="98"/>
                </a:lnTo>
                <a:lnTo>
                  <a:pt x="37" y="98"/>
                </a:lnTo>
                <a:lnTo>
                  <a:pt x="35" y="103"/>
                </a:lnTo>
                <a:lnTo>
                  <a:pt x="35" y="103"/>
                </a:lnTo>
                <a:lnTo>
                  <a:pt x="35" y="103"/>
                </a:lnTo>
                <a:lnTo>
                  <a:pt x="32" y="108"/>
                </a:lnTo>
                <a:lnTo>
                  <a:pt x="32" y="108"/>
                </a:lnTo>
                <a:lnTo>
                  <a:pt x="35" y="108"/>
                </a:lnTo>
                <a:lnTo>
                  <a:pt x="35" y="108"/>
                </a:lnTo>
                <a:lnTo>
                  <a:pt x="32" y="113"/>
                </a:lnTo>
                <a:lnTo>
                  <a:pt x="32" y="113"/>
                </a:lnTo>
                <a:lnTo>
                  <a:pt x="32" y="116"/>
                </a:lnTo>
                <a:lnTo>
                  <a:pt x="32" y="116"/>
                </a:lnTo>
                <a:lnTo>
                  <a:pt x="32" y="118"/>
                </a:lnTo>
                <a:lnTo>
                  <a:pt x="32" y="118"/>
                </a:lnTo>
                <a:lnTo>
                  <a:pt x="32" y="118"/>
                </a:lnTo>
                <a:lnTo>
                  <a:pt x="32" y="118"/>
                </a:lnTo>
                <a:lnTo>
                  <a:pt x="32" y="121"/>
                </a:lnTo>
                <a:lnTo>
                  <a:pt x="32" y="121"/>
                </a:lnTo>
                <a:lnTo>
                  <a:pt x="32" y="125"/>
                </a:lnTo>
                <a:lnTo>
                  <a:pt x="32" y="125"/>
                </a:lnTo>
                <a:lnTo>
                  <a:pt x="30" y="128"/>
                </a:lnTo>
                <a:lnTo>
                  <a:pt x="30" y="128"/>
                </a:lnTo>
                <a:lnTo>
                  <a:pt x="30" y="128"/>
                </a:lnTo>
                <a:lnTo>
                  <a:pt x="32" y="128"/>
                </a:lnTo>
                <a:lnTo>
                  <a:pt x="32" y="128"/>
                </a:lnTo>
                <a:lnTo>
                  <a:pt x="32" y="125"/>
                </a:lnTo>
                <a:lnTo>
                  <a:pt x="32" y="125"/>
                </a:lnTo>
                <a:lnTo>
                  <a:pt x="35" y="123"/>
                </a:lnTo>
                <a:lnTo>
                  <a:pt x="35" y="123"/>
                </a:lnTo>
                <a:lnTo>
                  <a:pt x="35" y="121"/>
                </a:lnTo>
                <a:lnTo>
                  <a:pt x="35" y="121"/>
                </a:lnTo>
                <a:lnTo>
                  <a:pt x="35" y="118"/>
                </a:lnTo>
                <a:lnTo>
                  <a:pt x="35" y="118"/>
                </a:lnTo>
                <a:lnTo>
                  <a:pt x="35" y="113"/>
                </a:lnTo>
                <a:lnTo>
                  <a:pt x="35" y="113"/>
                </a:lnTo>
                <a:lnTo>
                  <a:pt x="35" y="113"/>
                </a:lnTo>
                <a:lnTo>
                  <a:pt x="40" y="108"/>
                </a:lnTo>
                <a:lnTo>
                  <a:pt x="40" y="108"/>
                </a:lnTo>
                <a:lnTo>
                  <a:pt x="37" y="113"/>
                </a:lnTo>
                <a:lnTo>
                  <a:pt x="37" y="113"/>
                </a:lnTo>
                <a:lnTo>
                  <a:pt x="37" y="116"/>
                </a:lnTo>
                <a:lnTo>
                  <a:pt x="37" y="116"/>
                </a:lnTo>
                <a:lnTo>
                  <a:pt x="37" y="116"/>
                </a:lnTo>
                <a:lnTo>
                  <a:pt x="37" y="116"/>
                </a:lnTo>
                <a:lnTo>
                  <a:pt x="40" y="113"/>
                </a:lnTo>
                <a:lnTo>
                  <a:pt x="40" y="113"/>
                </a:lnTo>
                <a:lnTo>
                  <a:pt x="40" y="116"/>
                </a:lnTo>
                <a:lnTo>
                  <a:pt x="40" y="116"/>
                </a:lnTo>
                <a:lnTo>
                  <a:pt x="42" y="113"/>
                </a:lnTo>
                <a:lnTo>
                  <a:pt x="42" y="113"/>
                </a:lnTo>
                <a:lnTo>
                  <a:pt x="42" y="111"/>
                </a:lnTo>
                <a:lnTo>
                  <a:pt x="42" y="111"/>
                </a:lnTo>
                <a:lnTo>
                  <a:pt x="42" y="108"/>
                </a:lnTo>
                <a:lnTo>
                  <a:pt x="42" y="108"/>
                </a:lnTo>
                <a:lnTo>
                  <a:pt x="42" y="113"/>
                </a:lnTo>
                <a:lnTo>
                  <a:pt x="42" y="113"/>
                </a:lnTo>
                <a:lnTo>
                  <a:pt x="45" y="116"/>
                </a:lnTo>
                <a:lnTo>
                  <a:pt x="45" y="116"/>
                </a:lnTo>
                <a:lnTo>
                  <a:pt x="42" y="113"/>
                </a:lnTo>
                <a:lnTo>
                  <a:pt x="42" y="113"/>
                </a:lnTo>
                <a:lnTo>
                  <a:pt x="42" y="118"/>
                </a:lnTo>
                <a:lnTo>
                  <a:pt x="42" y="118"/>
                </a:lnTo>
                <a:lnTo>
                  <a:pt x="42" y="121"/>
                </a:lnTo>
                <a:lnTo>
                  <a:pt x="42" y="121"/>
                </a:lnTo>
                <a:lnTo>
                  <a:pt x="45" y="123"/>
                </a:lnTo>
                <a:lnTo>
                  <a:pt x="45" y="123"/>
                </a:lnTo>
                <a:lnTo>
                  <a:pt x="45" y="125"/>
                </a:lnTo>
                <a:lnTo>
                  <a:pt x="45" y="125"/>
                </a:lnTo>
                <a:lnTo>
                  <a:pt x="42" y="128"/>
                </a:lnTo>
                <a:lnTo>
                  <a:pt x="42" y="128"/>
                </a:lnTo>
                <a:lnTo>
                  <a:pt x="40" y="133"/>
                </a:lnTo>
                <a:lnTo>
                  <a:pt x="40" y="133"/>
                </a:lnTo>
                <a:lnTo>
                  <a:pt x="40" y="138"/>
                </a:lnTo>
                <a:lnTo>
                  <a:pt x="40" y="138"/>
                </a:lnTo>
                <a:lnTo>
                  <a:pt x="37" y="135"/>
                </a:lnTo>
                <a:lnTo>
                  <a:pt x="37" y="135"/>
                </a:lnTo>
                <a:lnTo>
                  <a:pt x="40" y="138"/>
                </a:lnTo>
                <a:lnTo>
                  <a:pt x="40" y="138"/>
                </a:lnTo>
                <a:lnTo>
                  <a:pt x="42" y="143"/>
                </a:lnTo>
                <a:lnTo>
                  <a:pt x="42" y="143"/>
                </a:lnTo>
                <a:lnTo>
                  <a:pt x="40" y="138"/>
                </a:lnTo>
                <a:lnTo>
                  <a:pt x="40" y="138"/>
                </a:lnTo>
                <a:lnTo>
                  <a:pt x="42" y="138"/>
                </a:lnTo>
                <a:lnTo>
                  <a:pt x="42" y="138"/>
                </a:lnTo>
                <a:lnTo>
                  <a:pt x="47" y="143"/>
                </a:lnTo>
                <a:lnTo>
                  <a:pt x="47" y="143"/>
                </a:lnTo>
                <a:lnTo>
                  <a:pt x="47" y="140"/>
                </a:lnTo>
                <a:lnTo>
                  <a:pt x="47" y="140"/>
                </a:lnTo>
                <a:lnTo>
                  <a:pt x="47" y="138"/>
                </a:lnTo>
                <a:lnTo>
                  <a:pt x="47" y="138"/>
                </a:lnTo>
                <a:lnTo>
                  <a:pt x="47" y="138"/>
                </a:lnTo>
                <a:lnTo>
                  <a:pt x="52" y="140"/>
                </a:lnTo>
                <a:lnTo>
                  <a:pt x="52" y="140"/>
                </a:lnTo>
                <a:lnTo>
                  <a:pt x="55" y="140"/>
                </a:lnTo>
                <a:lnTo>
                  <a:pt x="55" y="140"/>
                </a:lnTo>
                <a:lnTo>
                  <a:pt x="55" y="138"/>
                </a:lnTo>
                <a:lnTo>
                  <a:pt x="55" y="138"/>
                </a:lnTo>
                <a:lnTo>
                  <a:pt x="57" y="138"/>
                </a:lnTo>
                <a:lnTo>
                  <a:pt x="57" y="138"/>
                </a:lnTo>
                <a:lnTo>
                  <a:pt x="59" y="135"/>
                </a:lnTo>
                <a:lnTo>
                  <a:pt x="59" y="135"/>
                </a:lnTo>
                <a:lnTo>
                  <a:pt x="67" y="135"/>
                </a:lnTo>
                <a:lnTo>
                  <a:pt x="67" y="135"/>
                </a:lnTo>
                <a:lnTo>
                  <a:pt x="62" y="138"/>
                </a:lnTo>
                <a:lnTo>
                  <a:pt x="62" y="138"/>
                </a:lnTo>
                <a:lnTo>
                  <a:pt x="57" y="145"/>
                </a:lnTo>
                <a:lnTo>
                  <a:pt x="57" y="145"/>
                </a:lnTo>
                <a:lnTo>
                  <a:pt x="62" y="153"/>
                </a:lnTo>
                <a:lnTo>
                  <a:pt x="62" y="153"/>
                </a:lnTo>
                <a:lnTo>
                  <a:pt x="64" y="153"/>
                </a:lnTo>
                <a:lnTo>
                  <a:pt x="64" y="153"/>
                </a:lnTo>
                <a:lnTo>
                  <a:pt x="64" y="155"/>
                </a:lnTo>
                <a:lnTo>
                  <a:pt x="64" y="155"/>
                </a:lnTo>
                <a:lnTo>
                  <a:pt x="67" y="153"/>
                </a:lnTo>
                <a:lnTo>
                  <a:pt x="67" y="153"/>
                </a:lnTo>
                <a:lnTo>
                  <a:pt x="69" y="153"/>
                </a:lnTo>
                <a:lnTo>
                  <a:pt x="69" y="153"/>
                </a:lnTo>
                <a:lnTo>
                  <a:pt x="69" y="155"/>
                </a:lnTo>
                <a:lnTo>
                  <a:pt x="69" y="155"/>
                </a:lnTo>
                <a:lnTo>
                  <a:pt x="69" y="157"/>
                </a:lnTo>
                <a:lnTo>
                  <a:pt x="69" y="157"/>
                </a:lnTo>
                <a:lnTo>
                  <a:pt x="67" y="160"/>
                </a:lnTo>
                <a:lnTo>
                  <a:pt x="67" y="160"/>
                </a:lnTo>
                <a:lnTo>
                  <a:pt x="67" y="162"/>
                </a:lnTo>
                <a:lnTo>
                  <a:pt x="67" y="162"/>
                </a:lnTo>
                <a:lnTo>
                  <a:pt x="64" y="167"/>
                </a:lnTo>
                <a:lnTo>
                  <a:pt x="64" y="167"/>
                </a:lnTo>
                <a:lnTo>
                  <a:pt x="67" y="170"/>
                </a:lnTo>
                <a:lnTo>
                  <a:pt x="67" y="170"/>
                </a:lnTo>
                <a:lnTo>
                  <a:pt x="69" y="170"/>
                </a:lnTo>
                <a:lnTo>
                  <a:pt x="69" y="170"/>
                </a:lnTo>
                <a:lnTo>
                  <a:pt x="72" y="172"/>
                </a:lnTo>
                <a:lnTo>
                  <a:pt x="72" y="172"/>
                </a:lnTo>
                <a:lnTo>
                  <a:pt x="69" y="172"/>
                </a:lnTo>
                <a:lnTo>
                  <a:pt x="69" y="172"/>
                </a:lnTo>
                <a:lnTo>
                  <a:pt x="67" y="172"/>
                </a:lnTo>
                <a:lnTo>
                  <a:pt x="67" y="172"/>
                </a:lnTo>
                <a:lnTo>
                  <a:pt x="67" y="170"/>
                </a:lnTo>
                <a:lnTo>
                  <a:pt x="67" y="170"/>
                </a:lnTo>
                <a:lnTo>
                  <a:pt x="64" y="170"/>
                </a:lnTo>
                <a:lnTo>
                  <a:pt x="64" y="170"/>
                </a:lnTo>
                <a:lnTo>
                  <a:pt x="67" y="172"/>
                </a:lnTo>
                <a:lnTo>
                  <a:pt x="67" y="172"/>
                </a:lnTo>
                <a:lnTo>
                  <a:pt x="67" y="175"/>
                </a:lnTo>
                <a:lnTo>
                  <a:pt x="67" y="175"/>
                </a:lnTo>
                <a:lnTo>
                  <a:pt x="64" y="172"/>
                </a:lnTo>
                <a:lnTo>
                  <a:pt x="64" y="172"/>
                </a:lnTo>
                <a:lnTo>
                  <a:pt x="62" y="172"/>
                </a:lnTo>
                <a:lnTo>
                  <a:pt x="62" y="172"/>
                </a:lnTo>
                <a:lnTo>
                  <a:pt x="57" y="172"/>
                </a:lnTo>
                <a:lnTo>
                  <a:pt x="57" y="172"/>
                </a:lnTo>
                <a:lnTo>
                  <a:pt x="57" y="172"/>
                </a:lnTo>
                <a:lnTo>
                  <a:pt x="52" y="175"/>
                </a:lnTo>
                <a:lnTo>
                  <a:pt x="52" y="175"/>
                </a:lnTo>
                <a:lnTo>
                  <a:pt x="47" y="180"/>
                </a:lnTo>
                <a:lnTo>
                  <a:pt x="47" y="180"/>
                </a:lnTo>
                <a:lnTo>
                  <a:pt x="45" y="182"/>
                </a:lnTo>
                <a:lnTo>
                  <a:pt x="45" y="182"/>
                </a:lnTo>
                <a:lnTo>
                  <a:pt x="42" y="182"/>
                </a:lnTo>
                <a:lnTo>
                  <a:pt x="42" y="182"/>
                </a:lnTo>
                <a:lnTo>
                  <a:pt x="45" y="182"/>
                </a:lnTo>
                <a:lnTo>
                  <a:pt x="45" y="182"/>
                </a:lnTo>
                <a:lnTo>
                  <a:pt x="47" y="182"/>
                </a:lnTo>
                <a:lnTo>
                  <a:pt x="47" y="182"/>
                </a:lnTo>
                <a:lnTo>
                  <a:pt x="47" y="182"/>
                </a:lnTo>
                <a:lnTo>
                  <a:pt x="52" y="180"/>
                </a:lnTo>
                <a:lnTo>
                  <a:pt x="52" y="180"/>
                </a:lnTo>
                <a:lnTo>
                  <a:pt x="52" y="182"/>
                </a:lnTo>
                <a:lnTo>
                  <a:pt x="52" y="182"/>
                </a:lnTo>
                <a:lnTo>
                  <a:pt x="55" y="184"/>
                </a:lnTo>
                <a:lnTo>
                  <a:pt x="55" y="184"/>
                </a:lnTo>
                <a:lnTo>
                  <a:pt x="52" y="187"/>
                </a:lnTo>
                <a:lnTo>
                  <a:pt x="52" y="187"/>
                </a:lnTo>
                <a:lnTo>
                  <a:pt x="52" y="189"/>
                </a:lnTo>
                <a:lnTo>
                  <a:pt x="52" y="189"/>
                </a:lnTo>
                <a:lnTo>
                  <a:pt x="55" y="189"/>
                </a:lnTo>
                <a:lnTo>
                  <a:pt x="55" y="189"/>
                </a:lnTo>
                <a:lnTo>
                  <a:pt x="50" y="194"/>
                </a:lnTo>
                <a:lnTo>
                  <a:pt x="50" y="194"/>
                </a:lnTo>
                <a:lnTo>
                  <a:pt x="47" y="197"/>
                </a:lnTo>
                <a:lnTo>
                  <a:pt x="47" y="197"/>
                </a:lnTo>
                <a:lnTo>
                  <a:pt x="45" y="197"/>
                </a:lnTo>
                <a:lnTo>
                  <a:pt x="45" y="197"/>
                </a:lnTo>
                <a:lnTo>
                  <a:pt x="45" y="197"/>
                </a:lnTo>
                <a:lnTo>
                  <a:pt x="42" y="199"/>
                </a:lnTo>
                <a:lnTo>
                  <a:pt x="42" y="199"/>
                </a:lnTo>
                <a:lnTo>
                  <a:pt x="40" y="199"/>
                </a:lnTo>
                <a:lnTo>
                  <a:pt x="40" y="199"/>
                </a:lnTo>
                <a:lnTo>
                  <a:pt x="35" y="202"/>
                </a:lnTo>
                <a:lnTo>
                  <a:pt x="35" y="202"/>
                </a:lnTo>
                <a:lnTo>
                  <a:pt x="37" y="202"/>
                </a:lnTo>
                <a:lnTo>
                  <a:pt x="37" y="202"/>
                </a:lnTo>
                <a:lnTo>
                  <a:pt x="37" y="204"/>
                </a:lnTo>
                <a:lnTo>
                  <a:pt x="37" y="204"/>
                </a:lnTo>
                <a:lnTo>
                  <a:pt x="37" y="207"/>
                </a:lnTo>
                <a:lnTo>
                  <a:pt x="37" y="207"/>
                </a:lnTo>
                <a:lnTo>
                  <a:pt x="40" y="207"/>
                </a:lnTo>
                <a:lnTo>
                  <a:pt x="40" y="207"/>
                </a:lnTo>
                <a:lnTo>
                  <a:pt x="40" y="207"/>
                </a:lnTo>
                <a:lnTo>
                  <a:pt x="40" y="209"/>
                </a:lnTo>
                <a:lnTo>
                  <a:pt x="40" y="209"/>
                </a:lnTo>
                <a:lnTo>
                  <a:pt x="42" y="207"/>
                </a:lnTo>
                <a:lnTo>
                  <a:pt x="42" y="207"/>
                </a:lnTo>
                <a:lnTo>
                  <a:pt x="45" y="207"/>
                </a:lnTo>
                <a:lnTo>
                  <a:pt x="45" y="207"/>
                </a:lnTo>
                <a:lnTo>
                  <a:pt x="50" y="204"/>
                </a:lnTo>
                <a:lnTo>
                  <a:pt x="50" y="204"/>
                </a:lnTo>
                <a:lnTo>
                  <a:pt x="50" y="207"/>
                </a:lnTo>
                <a:lnTo>
                  <a:pt x="50" y="207"/>
                </a:lnTo>
                <a:lnTo>
                  <a:pt x="52" y="207"/>
                </a:lnTo>
                <a:lnTo>
                  <a:pt x="52" y="207"/>
                </a:lnTo>
                <a:lnTo>
                  <a:pt x="50" y="209"/>
                </a:lnTo>
                <a:lnTo>
                  <a:pt x="50" y="209"/>
                </a:lnTo>
                <a:lnTo>
                  <a:pt x="50" y="209"/>
                </a:lnTo>
                <a:lnTo>
                  <a:pt x="55" y="209"/>
                </a:lnTo>
                <a:lnTo>
                  <a:pt x="55" y="209"/>
                </a:lnTo>
                <a:lnTo>
                  <a:pt x="55" y="209"/>
                </a:lnTo>
                <a:lnTo>
                  <a:pt x="57" y="209"/>
                </a:lnTo>
                <a:lnTo>
                  <a:pt x="57" y="209"/>
                </a:lnTo>
                <a:lnTo>
                  <a:pt x="59" y="212"/>
                </a:lnTo>
                <a:lnTo>
                  <a:pt x="59" y="212"/>
                </a:lnTo>
                <a:lnTo>
                  <a:pt x="59" y="214"/>
                </a:lnTo>
                <a:lnTo>
                  <a:pt x="59" y="214"/>
                </a:lnTo>
                <a:lnTo>
                  <a:pt x="64" y="214"/>
                </a:lnTo>
                <a:lnTo>
                  <a:pt x="64" y="214"/>
                </a:lnTo>
                <a:lnTo>
                  <a:pt x="67" y="212"/>
                </a:lnTo>
                <a:lnTo>
                  <a:pt x="67" y="212"/>
                </a:lnTo>
                <a:lnTo>
                  <a:pt x="69" y="209"/>
                </a:lnTo>
                <a:lnTo>
                  <a:pt x="69" y="209"/>
                </a:lnTo>
                <a:lnTo>
                  <a:pt x="72" y="209"/>
                </a:lnTo>
                <a:lnTo>
                  <a:pt x="72" y="209"/>
                </a:lnTo>
                <a:lnTo>
                  <a:pt x="74" y="207"/>
                </a:lnTo>
                <a:lnTo>
                  <a:pt x="74" y="207"/>
                </a:lnTo>
                <a:lnTo>
                  <a:pt x="77" y="207"/>
                </a:lnTo>
                <a:lnTo>
                  <a:pt x="77" y="207"/>
                </a:lnTo>
                <a:lnTo>
                  <a:pt x="72" y="209"/>
                </a:lnTo>
                <a:lnTo>
                  <a:pt x="72" y="209"/>
                </a:lnTo>
                <a:lnTo>
                  <a:pt x="69" y="214"/>
                </a:lnTo>
                <a:lnTo>
                  <a:pt x="69" y="214"/>
                </a:lnTo>
                <a:lnTo>
                  <a:pt x="69" y="219"/>
                </a:lnTo>
                <a:lnTo>
                  <a:pt x="69" y="219"/>
                </a:lnTo>
                <a:lnTo>
                  <a:pt x="67" y="219"/>
                </a:lnTo>
                <a:lnTo>
                  <a:pt x="67" y="219"/>
                </a:lnTo>
                <a:lnTo>
                  <a:pt x="64" y="219"/>
                </a:lnTo>
                <a:lnTo>
                  <a:pt x="64" y="219"/>
                </a:lnTo>
                <a:lnTo>
                  <a:pt x="62" y="216"/>
                </a:lnTo>
                <a:lnTo>
                  <a:pt x="62" y="216"/>
                </a:lnTo>
                <a:lnTo>
                  <a:pt x="55" y="216"/>
                </a:lnTo>
                <a:lnTo>
                  <a:pt x="55" y="216"/>
                </a:lnTo>
                <a:lnTo>
                  <a:pt x="50" y="219"/>
                </a:lnTo>
                <a:lnTo>
                  <a:pt x="50" y="219"/>
                </a:lnTo>
                <a:lnTo>
                  <a:pt x="50" y="219"/>
                </a:lnTo>
                <a:lnTo>
                  <a:pt x="50" y="221"/>
                </a:lnTo>
                <a:lnTo>
                  <a:pt x="50" y="221"/>
                </a:lnTo>
                <a:lnTo>
                  <a:pt x="47" y="221"/>
                </a:lnTo>
                <a:lnTo>
                  <a:pt x="47" y="221"/>
                </a:lnTo>
                <a:lnTo>
                  <a:pt x="45" y="226"/>
                </a:lnTo>
                <a:lnTo>
                  <a:pt x="45" y="226"/>
                </a:lnTo>
                <a:lnTo>
                  <a:pt x="42" y="229"/>
                </a:lnTo>
                <a:lnTo>
                  <a:pt x="42" y="229"/>
                </a:lnTo>
                <a:lnTo>
                  <a:pt x="42" y="231"/>
                </a:lnTo>
                <a:lnTo>
                  <a:pt x="42" y="231"/>
                </a:lnTo>
                <a:lnTo>
                  <a:pt x="40" y="231"/>
                </a:lnTo>
                <a:lnTo>
                  <a:pt x="40" y="231"/>
                </a:lnTo>
                <a:lnTo>
                  <a:pt x="40" y="234"/>
                </a:lnTo>
                <a:lnTo>
                  <a:pt x="40" y="234"/>
                </a:lnTo>
                <a:lnTo>
                  <a:pt x="37" y="234"/>
                </a:lnTo>
                <a:lnTo>
                  <a:pt x="37" y="234"/>
                </a:lnTo>
                <a:lnTo>
                  <a:pt x="37" y="236"/>
                </a:lnTo>
                <a:lnTo>
                  <a:pt x="37" y="236"/>
                </a:lnTo>
                <a:lnTo>
                  <a:pt x="32" y="239"/>
                </a:lnTo>
                <a:lnTo>
                  <a:pt x="32" y="239"/>
                </a:lnTo>
                <a:lnTo>
                  <a:pt x="32" y="239"/>
                </a:lnTo>
                <a:lnTo>
                  <a:pt x="30" y="241"/>
                </a:lnTo>
                <a:lnTo>
                  <a:pt x="30" y="241"/>
                </a:lnTo>
                <a:lnTo>
                  <a:pt x="30" y="244"/>
                </a:lnTo>
                <a:lnTo>
                  <a:pt x="30" y="244"/>
                </a:lnTo>
                <a:lnTo>
                  <a:pt x="32" y="244"/>
                </a:lnTo>
                <a:lnTo>
                  <a:pt x="32" y="244"/>
                </a:lnTo>
                <a:lnTo>
                  <a:pt x="32" y="241"/>
                </a:lnTo>
                <a:lnTo>
                  <a:pt x="32" y="241"/>
                </a:lnTo>
                <a:lnTo>
                  <a:pt x="35" y="241"/>
                </a:lnTo>
                <a:lnTo>
                  <a:pt x="37" y="244"/>
                </a:lnTo>
                <a:close/>
              </a:path>
            </a:pathLst>
          </a:custGeom>
          <a:blipFill>
            <a:blip r:embed="rId8"/>
            <a:stretch>
              <a:fillRect/>
            </a:stretch>
          </a:blipFill>
          <a:ln w="9525">
            <a:solidFill>
              <a:schemeClr val="bg1"/>
            </a:solidFill>
            <a:round/>
            <a:headEnd/>
            <a:tailEnd/>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8" name="Freeform 77"/>
          <p:cNvSpPr>
            <a:spLocks noEditPoints="1"/>
          </p:cNvSpPr>
          <p:nvPr/>
        </p:nvSpPr>
        <p:spPr bwMode="auto">
          <a:xfrm>
            <a:off x="4641490" y="3114558"/>
            <a:ext cx="329454" cy="287240"/>
          </a:xfrm>
          <a:custGeom>
            <a:avLst/>
            <a:gdLst/>
            <a:ahLst/>
            <a:cxnLst>
              <a:cxn ang="0">
                <a:pos x="160" y="91"/>
              </a:cxn>
              <a:cxn ang="0">
                <a:pos x="148" y="98"/>
              </a:cxn>
              <a:cxn ang="0">
                <a:pos x="150" y="86"/>
              </a:cxn>
              <a:cxn ang="0">
                <a:pos x="163" y="71"/>
              </a:cxn>
              <a:cxn ang="0">
                <a:pos x="168" y="69"/>
              </a:cxn>
              <a:cxn ang="0">
                <a:pos x="170" y="54"/>
              </a:cxn>
              <a:cxn ang="0">
                <a:pos x="175" y="39"/>
              </a:cxn>
              <a:cxn ang="0">
                <a:pos x="160" y="37"/>
              </a:cxn>
              <a:cxn ang="0">
                <a:pos x="150" y="32"/>
              </a:cxn>
              <a:cxn ang="0">
                <a:pos x="138" y="27"/>
              </a:cxn>
              <a:cxn ang="0">
                <a:pos x="126" y="22"/>
              </a:cxn>
              <a:cxn ang="0">
                <a:pos x="116" y="15"/>
              </a:cxn>
              <a:cxn ang="0">
                <a:pos x="106" y="0"/>
              </a:cxn>
              <a:cxn ang="0">
                <a:pos x="94" y="5"/>
              </a:cxn>
              <a:cxn ang="0">
                <a:pos x="86" y="22"/>
              </a:cxn>
              <a:cxn ang="0">
                <a:pos x="69" y="29"/>
              </a:cxn>
              <a:cxn ang="0">
                <a:pos x="59" y="34"/>
              </a:cxn>
              <a:cxn ang="0">
                <a:pos x="52" y="27"/>
              </a:cxn>
              <a:cxn ang="0">
                <a:pos x="42" y="29"/>
              </a:cxn>
              <a:cxn ang="0">
                <a:pos x="47" y="44"/>
              </a:cxn>
              <a:cxn ang="0">
                <a:pos x="40" y="47"/>
              </a:cxn>
              <a:cxn ang="0">
                <a:pos x="25" y="44"/>
              </a:cxn>
              <a:cxn ang="0">
                <a:pos x="13" y="47"/>
              </a:cxn>
              <a:cxn ang="0">
                <a:pos x="3" y="54"/>
              </a:cxn>
              <a:cxn ang="0">
                <a:pos x="5" y="54"/>
              </a:cxn>
              <a:cxn ang="0">
                <a:pos x="8" y="59"/>
              </a:cxn>
              <a:cxn ang="0">
                <a:pos x="8" y="66"/>
              </a:cxn>
              <a:cxn ang="0">
                <a:pos x="20" y="66"/>
              </a:cxn>
              <a:cxn ang="0">
                <a:pos x="30" y="69"/>
              </a:cxn>
              <a:cxn ang="0">
                <a:pos x="35" y="76"/>
              </a:cxn>
              <a:cxn ang="0">
                <a:pos x="42" y="76"/>
              </a:cxn>
              <a:cxn ang="0">
                <a:pos x="37" y="84"/>
              </a:cxn>
              <a:cxn ang="0">
                <a:pos x="52" y="93"/>
              </a:cxn>
              <a:cxn ang="0">
                <a:pos x="52" y="106"/>
              </a:cxn>
              <a:cxn ang="0">
                <a:pos x="57" y="111"/>
              </a:cxn>
              <a:cxn ang="0">
                <a:pos x="54" y="125"/>
              </a:cxn>
              <a:cxn ang="0">
                <a:pos x="47" y="150"/>
              </a:cxn>
              <a:cxn ang="0">
                <a:pos x="54" y="155"/>
              </a:cxn>
              <a:cxn ang="0">
                <a:pos x="74" y="162"/>
              </a:cxn>
              <a:cxn ang="0">
                <a:pos x="91" y="162"/>
              </a:cxn>
              <a:cxn ang="0">
                <a:pos x="111" y="167"/>
              </a:cxn>
              <a:cxn ang="0">
                <a:pos x="121" y="145"/>
              </a:cxn>
              <a:cxn ang="0">
                <a:pos x="133" y="150"/>
              </a:cxn>
              <a:cxn ang="0">
                <a:pos x="158" y="155"/>
              </a:cxn>
              <a:cxn ang="0">
                <a:pos x="172" y="140"/>
              </a:cxn>
              <a:cxn ang="0">
                <a:pos x="163" y="120"/>
              </a:cxn>
              <a:cxn ang="0">
                <a:pos x="163" y="106"/>
              </a:cxn>
              <a:cxn ang="0">
                <a:pos x="165" y="101"/>
              </a:cxn>
              <a:cxn ang="0">
                <a:pos x="192" y="182"/>
              </a:cxn>
              <a:cxn ang="0">
                <a:pos x="187" y="175"/>
              </a:cxn>
              <a:cxn ang="0">
                <a:pos x="187" y="170"/>
              </a:cxn>
              <a:cxn ang="0">
                <a:pos x="195" y="160"/>
              </a:cxn>
              <a:cxn ang="0">
                <a:pos x="200" y="155"/>
              </a:cxn>
              <a:cxn ang="0">
                <a:pos x="200" y="177"/>
              </a:cxn>
            </a:cxnLst>
            <a:rect l="0" t="0" r="r" b="b"/>
            <a:pathLst>
              <a:path w="202" h="187">
                <a:moveTo>
                  <a:pt x="165" y="101"/>
                </a:moveTo>
                <a:lnTo>
                  <a:pt x="163" y="98"/>
                </a:lnTo>
                <a:lnTo>
                  <a:pt x="163" y="98"/>
                </a:lnTo>
                <a:lnTo>
                  <a:pt x="160" y="93"/>
                </a:lnTo>
                <a:lnTo>
                  <a:pt x="160" y="91"/>
                </a:lnTo>
                <a:lnTo>
                  <a:pt x="155" y="91"/>
                </a:lnTo>
                <a:lnTo>
                  <a:pt x="153" y="93"/>
                </a:lnTo>
                <a:lnTo>
                  <a:pt x="153" y="96"/>
                </a:lnTo>
                <a:lnTo>
                  <a:pt x="150" y="98"/>
                </a:lnTo>
                <a:lnTo>
                  <a:pt x="148" y="98"/>
                </a:lnTo>
                <a:lnTo>
                  <a:pt x="145" y="96"/>
                </a:lnTo>
                <a:lnTo>
                  <a:pt x="148" y="93"/>
                </a:lnTo>
                <a:lnTo>
                  <a:pt x="150" y="93"/>
                </a:lnTo>
                <a:lnTo>
                  <a:pt x="150" y="91"/>
                </a:lnTo>
                <a:lnTo>
                  <a:pt x="150" y="86"/>
                </a:lnTo>
                <a:lnTo>
                  <a:pt x="155" y="81"/>
                </a:lnTo>
                <a:lnTo>
                  <a:pt x="158" y="79"/>
                </a:lnTo>
                <a:lnTo>
                  <a:pt x="160" y="76"/>
                </a:lnTo>
                <a:lnTo>
                  <a:pt x="163" y="74"/>
                </a:lnTo>
                <a:lnTo>
                  <a:pt x="163" y="71"/>
                </a:lnTo>
                <a:lnTo>
                  <a:pt x="160" y="69"/>
                </a:lnTo>
                <a:lnTo>
                  <a:pt x="160" y="66"/>
                </a:lnTo>
                <a:lnTo>
                  <a:pt x="165" y="66"/>
                </a:lnTo>
                <a:lnTo>
                  <a:pt x="165" y="69"/>
                </a:lnTo>
                <a:lnTo>
                  <a:pt x="168" y="69"/>
                </a:lnTo>
                <a:lnTo>
                  <a:pt x="172" y="69"/>
                </a:lnTo>
                <a:lnTo>
                  <a:pt x="172" y="64"/>
                </a:lnTo>
                <a:lnTo>
                  <a:pt x="170" y="64"/>
                </a:lnTo>
                <a:lnTo>
                  <a:pt x="170" y="59"/>
                </a:lnTo>
                <a:lnTo>
                  <a:pt x="170" y="54"/>
                </a:lnTo>
                <a:lnTo>
                  <a:pt x="172" y="52"/>
                </a:lnTo>
                <a:lnTo>
                  <a:pt x="172" y="49"/>
                </a:lnTo>
                <a:lnTo>
                  <a:pt x="175" y="44"/>
                </a:lnTo>
                <a:lnTo>
                  <a:pt x="177" y="42"/>
                </a:lnTo>
                <a:lnTo>
                  <a:pt x="175" y="39"/>
                </a:lnTo>
                <a:lnTo>
                  <a:pt x="172" y="39"/>
                </a:lnTo>
                <a:lnTo>
                  <a:pt x="168" y="37"/>
                </a:lnTo>
                <a:lnTo>
                  <a:pt x="165" y="37"/>
                </a:lnTo>
                <a:lnTo>
                  <a:pt x="163" y="37"/>
                </a:lnTo>
                <a:lnTo>
                  <a:pt x="160" y="37"/>
                </a:lnTo>
                <a:lnTo>
                  <a:pt x="158" y="39"/>
                </a:lnTo>
                <a:lnTo>
                  <a:pt x="155" y="37"/>
                </a:lnTo>
                <a:lnTo>
                  <a:pt x="155" y="34"/>
                </a:lnTo>
                <a:lnTo>
                  <a:pt x="153" y="32"/>
                </a:lnTo>
                <a:lnTo>
                  <a:pt x="150" y="32"/>
                </a:lnTo>
                <a:lnTo>
                  <a:pt x="145" y="32"/>
                </a:lnTo>
                <a:lnTo>
                  <a:pt x="145" y="29"/>
                </a:lnTo>
                <a:lnTo>
                  <a:pt x="143" y="29"/>
                </a:lnTo>
                <a:lnTo>
                  <a:pt x="140" y="29"/>
                </a:lnTo>
                <a:lnTo>
                  <a:pt x="138" y="27"/>
                </a:lnTo>
                <a:lnTo>
                  <a:pt x="136" y="27"/>
                </a:lnTo>
                <a:lnTo>
                  <a:pt x="131" y="22"/>
                </a:lnTo>
                <a:lnTo>
                  <a:pt x="128" y="22"/>
                </a:lnTo>
                <a:lnTo>
                  <a:pt x="128" y="22"/>
                </a:lnTo>
                <a:lnTo>
                  <a:pt x="126" y="22"/>
                </a:lnTo>
                <a:lnTo>
                  <a:pt x="123" y="22"/>
                </a:lnTo>
                <a:lnTo>
                  <a:pt x="121" y="20"/>
                </a:lnTo>
                <a:lnTo>
                  <a:pt x="121" y="17"/>
                </a:lnTo>
                <a:lnTo>
                  <a:pt x="118" y="15"/>
                </a:lnTo>
                <a:lnTo>
                  <a:pt x="116" y="15"/>
                </a:lnTo>
                <a:lnTo>
                  <a:pt x="116" y="15"/>
                </a:lnTo>
                <a:lnTo>
                  <a:pt x="111" y="10"/>
                </a:lnTo>
                <a:lnTo>
                  <a:pt x="111" y="7"/>
                </a:lnTo>
                <a:lnTo>
                  <a:pt x="106" y="7"/>
                </a:lnTo>
                <a:lnTo>
                  <a:pt x="106" y="0"/>
                </a:lnTo>
                <a:lnTo>
                  <a:pt x="104" y="0"/>
                </a:lnTo>
                <a:lnTo>
                  <a:pt x="104" y="0"/>
                </a:lnTo>
                <a:lnTo>
                  <a:pt x="99" y="2"/>
                </a:lnTo>
                <a:lnTo>
                  <a:pt x="96" y="2"/>
                </a:lnTo>
                <a:lnTo>
                  <a:pt x="94" y="5"/>
                </a:lnTo>
                <a:lnTo>
                  <a:pt x="91" y="7"/>
                </a:lnTo>
                <a:lnTo>
                  <a:pt x="91" y="10"/>
                </a:lnTo>
                <a:lnTo>
                  <a:pt x="91" y="17"/>
                </a:lnTo>
                <a:lnTo>
                  <a:pt x="86" y="20"/>
                </a:lnTo>
                <a:lnTo>
                  <a:pt x="86" y="22"/>
                </a:lnTo>
                <a:lnTo>
                  <a:pt x="81" y="25"/>
                </a:lnTo>
                <a:lnTo>
                  <a:pt x="79" y="25"/>
                </a:lnTo>
                <a:lnTo>
                  <a:pt x="77" y="22"/>
                </a:lnTo>
                <a:lnTo>
                  <a:pt x="72" y="27"/>
                </a:lnTo>
                <a:lnTo>
                  <a:pt x="69" y="29"/>
                </a:lnTo>
                <a:lnTo>
                  <a:pt x="69" y="29"/>
                </a:lnTo>
                <a:lnTo>
                  <a:pt x="74" y="32"/>
                </a:lnTo>
                <a:lnTo>
                  <a:pt x="69" y="34"/>
                </a:lnTo>
                <a:lnTo>
                  <a:pt x="64" y="34"/>
                </a:lnTo>
                <a:lnTo>
                  <a:pt x="59" y="34"/>
                </a:lnTo>
                <a:lnTo>
                  <a:pt x="57" y="32"/>
                </a:lnTo>
                <a:lnTo>
                  <a:pt x="54" y="34"/>
                </a:lnTo>
                <a:lnTo>
                  <a:pt x="52" y="32"/>
                </a:lnTo>
                <a:lnTo>
                  <a:pt x="52" y="29"/>
                </a:lnTo>
                <a:lnTo>
                  <a:pt x="52" y="27"/>
                </a:lnTo>
                <a:lnTo>
                  <a:pt x="49" y="27"/>
                </a:lnTo>
                <a:lnTo>
                  <a:pt x="47" y="27"/>
                </a:lnTo>
                <a:lnTo>
                  <a:pt x="45" y="27"/>
                </a:lnTo>
                <a:lnTo>
                  <a:pt x="42" y="27"/>
                </a:lnTo>
                <a:lnTo>
                  <a:pt x="42" y="29"/>
                </a:lnTo>
                <a:lnTo>
                  <a:pt x="42" y="32"/>
                </a:lnTo>
                <a:lnTo>
                  <a:pt x="47" y="37"/>
                </a:lnTo>
                <a:lnTo>
                  <a:pt x="47" y="39"/>
                </a:lnTo>
                <a:lnTo>
                  <a:pt x="47" y="42"/>
                </a:lnTo>
                <a:lnTo>
                  <a:pt x="47" y="44"/>
                </a:lnTo>
                <a:lnTo>
                  <a:pt x="47" y="44"/>
                </a:lnTo>
                <a:lnTo>
                  <a:pt x="49" y="47"/>
                </a:lnTo>
                <a:lnTo>
                  <a:pt x="42" y="47"/>
                </a:lnTo>
                <a:lnTo>
                  <a:pt x="40" y="49"/>
                </a:lnTo>
                <a:lnTo>
                  <a:pt x="40" y="47"/>
                </a:lnTo>
                <a:lnTo>
                  <a:pt x="35" y="49"/>
                </a:lnTo>
                <a:lnTo>
                  <a:pt x="35" y="47"/>
                </a:lnTo>
                <a:lnTo>
                  <a:pt x="32" y="49"/>
                </a:lnTo>
                <a:lnTo>
                  <a:pt x="27" y="44"/>
                </a:lnTo>
                <a:lnTo>
                  <a:pt x="25" y="44"/>
                </a:lnTo>
                <a:lnTo>
                  <a:pt x="20" y="44"/>
                </a:lnTo>
                <a:lnTo>
                  <a:pt x="17" y="47"/>
                </a:lnTo>
                <a:lnTo>
                  <a:pt x="17" y="47"/>
                </a:lnTo>
                <a:lnTo>
                  <a:pt x="15" y="47"/>
                </a:lnTo>
                <a:lnTo>
                  <a:pt x="13" y="47"/>
                </a:lnTo>
                <a:lnTo>
                  <a:pt x="10" y="47"/>
                </a:lnTo>
                <a:lnTo>
                  <a:pt x="8" y="49"/>
                </a:lnTo>
                <a:lnTo>
                  <a:pt x="3" y="49"/>
                </a:lnTo>
                <a:lnTo>
                  <a:pt x="0" y="52"/>
                </a:lnTo>
                <a:lnTo>
                  <a:pt x="3" y="54"/>
                </a:lnTo>
                <a:lnTo>
                  <a:pt x="5" y="52"/>
                </a:lnTo>
                <a:lnTo>
                  <a:pt x="8" y="54"/>
                </a:lnTo>
                <a:lnTo>
                  <a:pt x="8" y="54"/>
                </a:lnTo>
                <a:lnTo>
                  <a:pt x="5" y="54"/>
                </a:lnTo>
                <a:lnTo>
                  <a:pt x="5" y="54"/>
                </a:lnTo>
                <a:lnTo>
                  <a:pt x="5" y="56"/>
                </a:lnTo>
                <a:lnTo>
                  <a:pt x="5" y="54"/>
                </a:lnTo>
                <a:lnTo>
                  <a:pt x="8" y="56"/>
                </a:lnTo>
                <a:lnTo>
                  <a:pt x="8" y="56"/>
                </a:lnTo>
                <a:lnTo>
                  <a:pt x="8" y="59"/>
                </a:lnTo>
                <a:lnTo>
                  <a:pt x="3" y="59"/>
                </a:lnTo>
                <a:lnTo>
                  <a:pt x="3" y="59"/>
                </a:lnTo>
                <a:lnTo>
                  <a:pt x="8" y="59"/>
                </a:lnTo>
                <a:lnTo>
                  <a:pt x="8" y="64"/>
                </a:lnTo>
                <a:lnTo>
                  <a:pt x="8" y="66"/>
                </a:lnTo>
                <a:lnTo>
                  <a:pt x="10" y="64"/>
                </a:lnTo>
                <a:lnTo>
                  <a:pt x="13" y="64"/>
                </a:lnTo>
                <a:lnTo>
                  <a:pt x="15" y="64"/>
                </a:lnTo>
                <a:lnTo>
                  <a:pt x="20" y="66"/>
                </a:lnTo>
                <a:lnTo>
                  <a:pt x="20" y="66"/>
                </a:lnTo>
                <a:lnTo>
                  <a:pt x="22" y="66"/>
                </a:lnTo>
                <a:lnTo>
                  <a:pt x="25" y="69"/>
                </a:lnTo>
                <a:lnTo>
                  <a:pt x="27" y="66"/>
                </a:lnTo>
                <a:lnTo>
                  <a:pt x="30" y="66"/>
                </a:lnTo>
                <a:lnTo>
                  <a:pt x="30" y="69"/>
                </a:lnTo>
                <a:lnTo>
                  <a:pt x="30" y="71"/>
                </a:lnTo>
                <a:lnTo>
                  <a:pt x="32" y="69"/>
                </a:lnTo>
                <a:lnTo>
                  <a:pt x="35" y="71"/>
                </a:lnTo>
                <a:lnTo>
                  <a:pt x="32" y="74"/>
                </a:lnTo>
                <a:lnTo>
                  <a:pt x="35" y="76"/>
                </a:lnTo>
                <a:lnTo>
                  <a:pt x="37" y="76"/>
                </a:lnTo>
                <a:lnTo>
                  <a:pt x="40" y="74"/>
                </a:lnTo>
                <a:lnTo>
                  <a:pt x="42" y="74"/>
                </a:lnTo>
                <a:lnTo>
                  <a:pt x="45" y="76"/>
                </a:lnTo>
                <a:lnTo>
                  <a:pt x="42" y="76"/>
                </a:lnTo>
                <a:lnTo>
                  <a:pt x="40" y="76"/>
                </a:lnTo>
                <a:lnTo>
                  <a:pt x="37" y="79"/>
                </a:lnTo>
                <a:lnTo>
                  <a:pt x="40" y="79"/>
                </a:lnTo>
                <a:lnTo>
                  <a:pt x="40" y="81"/>
                </a:lnTo>
                <a:lnTo>
                  <a:pt x="37" y="84"/>
                </a:lnTo>
                <a:lnTo>
                  <a:pt x="40" y="86"/>
                </a:lnTo>
                <a:lnTo>
                  <a:pt x="42" y="86"/>
                </a:lnTo>
                <a:lnTo>
                  <a:pt x="45" y="91"/>
                </a:lnTo>
                <a:lnTo>
                  <a:pt x="49" y="91"/>
                </a:lnTo>
                <a:lnTo>
                  <a:pt x="52" y="93"/>
                </a:lnTo>
                <a:lnTo>
                  <a:pt x="52" y="96"/>
                </a:lnTo>
                <a:lnTo>
                  <a:pt x="54" y="98"/>
                </a:lnTo>
                <a:lnTo>
                  <a:pt x="52" y="103"/>
                </a:lnTo>
                <a:lnTo>
                  <a:pt x="52" y="103"/>
                </a:lnTo>
                <a:lnTo>
                  <a:pt x="52" y="106"/>
                </a:lnTo>
                <a:lnTo>
                  <a:pt x="54" y="106"/>
                </a:lnTo>
                <a:lnTo>
                  <a:pt x="59" y="108"/>
                </a:lnTo>
                <a:lnTo>
                  <a:pt x="62" y="118"/>
                </a:lnTo>
                <a:lnTo>
                  <a:pt x="59" y="113"/>
                </a:lnTo>
                <a:lnTo>
                  <a:pt x="57" y="111"/>
                </a:lnTo>
                <a:lnTo>
                  <a:pt x="54" y="108"/>
                </a:lnTo>
                <a:lnTo>
                  <a:pt x="52" y="111"/>
                </a:lnTo>
                <a:lnTo>
                  <a:pt x="52" y="118"/>
                </a:lnTo>
                <a:lnTo>
                  <a:pt x="52" y="123"/>
                </a:lnTo>
                <a:lnTo>
                  <a:pt x="54" y="125"/>
                </a:lnTo>
                <a:lnTo>
                  <a:pt x="52" y="125"/>
                </a:lnTo>
                <a:lnTo>
                  <a:pt x="49" y="138"/>
                </a:lnTo>
                <a:lnTo>
                  <a:pt x="47" y="145"/>
                </a:lnTo>
                <a:lnTo>
                  <a:pt x="45" y="147"/>
                </a:lnTo>
                <a:lnTo>
                  <a:pt x="47" y="150"/>
                </a:lnTo>
                <a:lnTo>
                  <a:pt x="47" y="150"/>
                </a:lnTo>
                <a:lnTo>
                  <a:pt x="49" y="150"/>
                </a:lnTo>
                <a:lnTo>
                  <a:pt x="49" y="155"/>
                </a:lnTo>
                <a:lnTo>
                  <a:pt x="49" y="157"/>
                </a:lnTo>
                <a:lnTo>
                  <a:pt x="54" y="155"/>
                </a:lnTo>
                <a:lnTo>
                  <a:pt x="59" y="157"/>
                </a:lnTo>
                <a:lnTo>
                  <a:pt x="62" y="162"/>
                </a:lnTo>
                <a:lnTo>
                  <a:pt x="67" y="160"/>
                </a:lnTo>
                <a:lnTo>
                  <a:pt x="69" y="165"/>
                </a:lnTo>
                <a:lnTo>
                  <a:pt x="74" y="162"/>
                </a:lnTo>
                <a:lnTo>
                  <a:pt x="77" y="165"/>
                </a:lnTo>
                <a:lnTo>
                  <a:pt x="79" y="162"/>
                </a:lnTo>
                <a:lnTo>
                  <a:pt x="86" y="162"/>
                </a:lnTo>
                <a:lnTo>
                  <a:pt x="89" y="162"/>
                </a:lnTo>
                <a:lnTo>
                  <a:pt x="91" y="162"/>
                </a:lnTo>
                <a:lnTo>
                  <a:pt x="96" y="165"/>
                </a:lnTo>
                <a:lnTo>
                  <a:pt x="104" y="165"/>
                </a:lnTo>
                <a:lnTo>
                  <a:pt x="109" y="167"/>
                </a:lnTo>
                <a:lnTo>
                  <a:pt x="111" y="167"/>
                </a:lnTo>
                <a:lnTo>
                  <a:pt x="111" y="167"/>
                </a:lnTo>
                <a:lnTo>
                  <a:pt x="111" y="162"/>
                </a:lnTo>
                <a:lnTo>
                  <a:pt x="111" y="157"/>
                </a:lnTo>
                <a:lnTo>
                  <a:pt x="111" y="155"/>
                </a:lnTo>
                <a:lnTo>
                  <a:pt x="116" y="150"/>
                </a:lnTo>
                <a:lnTo>
                  <a:pt x="121" y="145"/>
                </a:lnTo>
                <a:lnTo>
                  <a:pt x="121" y="145"/>
                </a:lnTo>
                <a:lnTo>
                  <a:pt x="123" y="147"/>
                </a:lnTo>
                <a:lnTo>
                  <a:pt x="128" y="147"/>
                </a:lnTo>
                <a:lnTo>
                  <a:pt x="131" y="150"/>
                </a:lnTo>
                <a:lnTo>
                  <a:pt x="133" y="150"/>
                </a:lnTo>
                <a:lnTo>
                  <a:pt x="136" y="147"/>
                </a:lnTo>
                <a:lnTo>
                  <a:pt x="138" y="147"/>
                </a:lnTo>
                <a:lnTo>
                  <a:pt x="148" y="152"/>
                </a:lnTo>
                <a:lnTo>
                  <a:pt x="150" y="155"/>
                </a:lnTo>
                <a:lnTo>
                  <a:pt x="158" y="155"/>
                </a:lnTo>
                <a:lnTo>
                  <a:pt x="160" y="152"/>
                </a:lnTo>
                <a:lnTo>
                  <a:pt x="160" y="152"/>
                </a:lnTo>
                <a:lnTo>
                  <a:pt x="163" y="147"/>
                </a:lnTo>
                <a:lnTo>
                  <a:pt x="172" y="140"/>
                </a:lnTo>
                <a:lnTo>
                  <a:pt x="172" y="140"/>
                </a:lnTo>
                <a:lnTo>
                  <a:pt x="170" y="138"/>
                </a:lnTo>
                <a:lnTo>
                  <a:pt x="172" y="133"/>
                </a:lnTo>
                <a:lnTo>
                  <a:pt x="168" y="133"/>
                </a:lnTo>
                <a:lnTo>
                  <a:pt x="163" y="130"/>
                </a:lnTo>
                <a:lnTo>
                  <a:pt x="163" y="120"/>
                </a:lnTo>
                <a:lnTo>
                  <a:pt x="160" y="118"/>
                </a:lnTo>
                <a:lnTo>
                  <a:pt x="160" y="116"/>
                </a:lnTo>
                <a:lnTo>
                  <a:pt x="165" y="116"/>
                </a:lnTo>
                <a:lnTo>
                  <a:pt x="165" y="111"/>
                </a:lnTo>
                <a:lnTo>
                  <a:pt x="163" y="106"/>
                </a:lnTo>
                <a:lnTo>
                  <a:pt x="163" y="103"/>
                </a:lnTo>
                <a:lnTo>
                  <a:pt x="163" y="101"/>
                </a:lnTo>
                <a:lnTo>
                  <a:pt x="165" y="101"/>
                </a:lnTo>
                <a:lnTo>
                  <a:pt x="165" y="101"/>
                </a:lnTo>
                <a:lnTo>
                  <a:pt x="165" y="101"/>
                </a:lnTo>
                <a:close/>
                <a:moveTo>
                  <a:pt x="197" y="187"/>
                </a:moveTo>
                <a:lnTo>
                  <a:pt x="192" y="184"/>
                </a:lnTo>
                <a:lnTo>
                  <a:pt x="190" y="182"/>
                </a:lnTo>
                <a:lnTo>
                  <a:pt x="192" y="182"/>
                </a:lnTo>
                <a:lnTo>
                  <a:pt x="192" y="182"/>
                </a:lnTo>
                <a:lnTo>
                  <a:pt x="192" y="179"/>
                </a:lnTo>
                <a:lnTo>
                  <a:pt x="192" y="179"/>
                </a:lnTo>
                <a:lnTo>
                  <a:pt x="192" y="177"/>
                </a:lnTo>
                <a:lnTo>
                  <a:pt x="190" y="177"/>
                </a:lnTo>
                <a:lnTo>
                  <a:pt x="187" y="175"/>
                </a:lnTo>
                <a:lnTo>
                  <a:pt x="190" y="175"/>
                </a:lnTo>
                <a:lnTo>
                  <a:pt x="190" y="175"/>
                </a:lnTo>
                <a:lnTo>
                  <a:pt x="187" y="172"/>
                </a:lnTo>
                <a:lnTo>
                  <a:pt x="187" y="170"/>
                </a:lnTo>
                <a:lnTo>
                  <a:pt x="187" y="170"/>
                </a:lnTo>
                <a:lnTo>
                  <a:pt x="190" y="170"/>
                </a:lnTo>
                <a:lnTo>
                  <a:pt x="187" y="167"/>
                </a:lnTo>
                <a:lnTo>
                  <a:pt x="190" y="162"/>
                </a:lnTo>
                <a:lnTo>
                  <a:pt x="195" y="162"/>
                </a:lnTo>
                <a:lnTo>
                  <a:pt x="195" y="160"/>
                </a:lnTo>
                <a:lnTo>
                  <a:pt x="197" y="162"/>
                </a:lnTo>
                <a:lnTo>
                  <a:pt x="200" y="162"/>
                </a:lnTo>
                <a:lnTo>
                  <a:pt x="200" y="160"/>
                </a:lnTo>
                <a:lnTo>
                  <a:pt x="200" y="157"/>
                </a:lnTo>
                <a:lnTo>
                  <a:pt x="200" y="155"/>
                </a:lnTo>
                <a:lnTo>
                  <a:pt x="200" y="155"/>
                </a:lnTo>
                <a:lnTo>
                  <a:pt x="202" y="160"/>
                </a:lnTo>
                <a:lnTo>
                  <a:pt x="202" y="162"/>
                </a:lnTo>
                <a:lnTo>
                  <a:pt x="202" y="170"/>
                </a:lnTo>
                <a:lnTo>
                  <a:pt x="200" y="177"/>
                </a:lnTo>
                <a:lnTo>
                  <a:pt x="202" y="179"/>
                </a:lnTo>
                <a:lnTo>
                  <a:pt x="200" y="184"/>
                </a:lnTo>
                <a:lnTo>
                  <a:pt x="197" y="187"/>
                </a:lnTo>
                <a:lnTo>
                  <a:pt x="197" y="18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9" name="Freeform 78"/>
          <p:cNvSpPr>
            <a:spLocks/>
          </p:cNvSpPr>
          <p:nvPr/>
        </p:nvSpPr>
        <p:spPr bwMode="auto">
          <a:xfrm>
            <a:off x="5094897" y="3556937"/>
            <a:ext cx="8155" cy="7681"/>
          </a:xfrm>
          <a:custGeom>
            <a:avLst/>
            <a:gdLst/>
            <a:ahLst/>
            <a:cxnLst>
              <a:cxn ang="0">
                <a:pos x="0" y="0"/>
              </a:cxn>
              <a:cxn ang="0">
                <a:pos x="0" y="2"/>
              </a:cxn>
              <a:cxn ang="0">
                <a:pos x="3" y="5"/>
              </a:cxn>
              <a:cxn ang="0">
                <a:pos x="5" y="2"/>
              </a:cxn>
              <a:cxn ang="0">
                <a:pos x="5" y="0"/>
              </a:cxn>
              <a:cxn ang="0">
                <a:pos x="0" y="0"/>
              </a:cxn>
              <a:cxn ang="0">
                <a:pos x="0" y="0"/>
              </a:cxn>
            </a:cxnLst>
            <a:rect l="0" t="0" r="r" b="b"/>
            <a:pathLst>
              <a:path w="5" h="5">
                <a:moveTo>
                  <a:pt x="0" y="0"/>
                </a:moveTo>
                <a:lnTo>
                  <a:pt x="0" y="2"/>
                </a:lnTo>
                <a:lnTo>
                  <a:pt x="3" y="5"/>
                </a:lnTo>
                <a:lnTo>
                  <a:pt x="5" y="2"/>
                </a:lnTo>
                <a:lnTo>
                  <a:pt x="5" y="0"/>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0" name="Freeform 79"/>
          <p:cNvSpPr>
            <a:spLocks noEditPoints="1"/>
          </p:cNvSpPr>
          <p:nvPr/>
        </p:nvSpPr>
        <p:spPr bwMode="auto">
          <a:xfrm>
            <a:off x="4902443" y="3235905"/>
            <a:ext cx="285418" cy="301063"/>
          </a:xfrm>
          <a:custGeom>
            <a:avLst/>
            <a:gdLst/>
            <a:ahLst/>
            <a:cxnLst>
              <a:cxn ang="0">
                <a:pos x="3" y="51"/>
              </a:cxn>
              <a:cxn ang="0">
                <a:pos x="5" y="32"/>
              </a:cxn>
              <a:cxn ang="0">
                <a:pos x="12" y="19"/>
              </a:cxn>
              <a:cxn ang="0">
                <a:pos x="32" y="19"/>
              </a:cxn>
              <a:cxn ang="0">
                <a:pos x="44" y="14"/>
              </a:cxn>
              <a:cxn ang="0">
                <a:pos x="57" y="2"/>
              </a:cxn>
              <a:cxn ang="0">
                <a:pos x="76" y="2"/>
              </a:cxn>
              <a:cxn ang="0">
                <a:pos x="99" y="14"/>
              </a:cxn>
              <a:cxn ang="0">
                <a:pos x="91" y="27"/>
              </a:cxn>
              <a:cxn ang="0">
                <a:pos x="79" y="34"/>
              </a:cxn>
              <a:cxn ang="0">
                <a:pos x="81" y="49"/>
              </a:cxn>
              <a:cxn ang="0">
                <a:pos x="96" y="64"/>
              </a:cxn>
              <a:cxn ang="0">
                <a:pos x="108" y="83"/>
              </a:cxn>
              <a:cxn ang="0">
                <a:pos x="123" y="96"/>
              </a:cxn>
              <a:cxn ang="0">
                <a:pos x="140" y="98"/>
              </a:cxn>
              <a:cxn ang="0">
                <a:pos x="140" y="108"/>
              </a:cxn>
              <a:cxn ang="0">
                <a:pos x="172" y="123"/>
              </a:cxn>
              <a:cxn ang="0">
                <a:pos x="175" y="135"/>
              </a:cxn>
              <a:cxn ang="0">
                <a:pos x="167" y="130"/>
              </a:cxn>
              <a:cxn ang="0">
                <a:pos x="155" y="125"/>
              </a:cxn>
              <a:cxn ang="0">
                <a:pos x="150" y="132"/>
              </a:cxn>
              <a:cxn ang="0">
                <a:pos x="150" y="140"/>
              </a:cxn>
              <a:cxn ang="0">
                <a:pos x="155" y="155"/>
              </a:cxn>
              <a:cxn ang="0">
                <a:pos x="145" y="172"/>
              </a:cxn>
              <a:cxn ang="0">
                <a:pos x="135" y="167"/>
              </a:cxn>
              <a:cxn ang="0">
                <a:pos x="140" y="157"/>
              </a:cxn>
              <a:cxn ang="0">
                <a:pos x="140" y="145"/>
              </a:cxn>
              <a:cxn ang="0">
                <a:pos x="133" y="132"/>
              </a:cxn>
              <a:cxn ang="0">
                <a:pos x="123" y="128"/>
              </a:cxn>
              <a:cxn ang="0">
                <a:pos x="116" y="118"/>
              </a:cxn>
              <a:cxn ang="0">
                <a:pos x="103" y="110"/>
              </a:cxn>
              <a:cxn ang="0">
                <a:pos x="94" y="108"/>
              </a:cxn>
              <a:cxn ang="0">
                <a:pos x="74" y="91"/>
              </a:cxn>
              <a:cxn ang="0">
                <a:pos x="59" y="78"/>
              </a:cxn>
              <a:cxn ang="0">
                <a:pos x="52" y="64"/>
              </a:cxn>
              <a:cxn ang="0">
                <a:pos x="40" y="54"/>
              </a:cxn>
              <a:cxn ang="0">
                <a:pos x="12" y="61"/>
              </a:cxn>
              <a:cxn ang="0">
                <a:pos x="25" y="113"/>
              </a:cxn>
              <a:cxn ang="0">
                <a:pos x="22" y="113"/>
              </a:cxn>
              <a:cxn ang="0">
                <a:pos x="64" y="88"/>
              </a:cxn>
              <a:cxn ang="0">
                <a:pos x="49" y="81"/>
              </a:cxn>
              <a:cxn ang="0">
                <a:pos x="54" y="78"/>
              </a:cxn>
              <a:cxn ang="0">
                <a:pos x="32" y="155"/>
              </a:cxn>
              <a:cxn ang="0">
                <a:pos x="37" y="150"/>
              </a:cxn>
              <a:cxn ang="0">
                <a:pos x="44" y="142"/>
              </a:cxn>
              <a:cxn ang="0">
                <a:pos x="47" y="125"/>
              </a:cxn>
              <a:cxn ang="0">
                <a:pos x="40" y="113"/>
              </a:cxn>
              <a:cxn ang="0">
                <a:pos x="22" y="115"/>
              </a:cxn>
              <a:cxn ang="0">
                <a:pos x="27" y="128"/>
              </a:cxn>
              <a:cxn ang="0">
                <a:pos x="30" y="137"/>
              </a:cxn>
              <a:cxn ang="0">
                <a:pos x="32" y="155"/>
              </a:cxn>
              <a:cxn ang="0">
                <a:pos x="131" y="191"/>
              </a:cxn>
              <a:cxn ang="0">
                <a:pos x="133" y="169"/>
              </a:cxn>
              <a:cxn ang="0">
                <a:pos x="118" y="172"/>
              </a:cxn>
              <a:cxn ang="0">
                <a:pos x="96" y="169"/>
              </a:cxn>
              <a:cxn ang="0">
                <a:pos x="91" y="179"/>
              </a:cxn>
              <a:cxn ang="0">
                <a:pos x="113" y="189"/>
              </a:cxn>
              <a:cxn ang="0">
                <a:pos x="128" y="196"/>
              </a:cxn>
            </a:cxnLst>
            <a:rect l="0" t="0" r="r" b="b"/>
            <a:pathLst>
              <a:path w="175" h="196">
                <a:moveTo>
                  <a:pt x="12" y="61"/>
                </a:moveTo>
                <a:lnTo>
                  <a:pt x="10" y="59"/>
                </a:lnTo>
                <a:lnTo>
                  <a:pt x="12" y="54"/>
                </a:lnTo>
                <a:lnTo>
                  <a:pt x="8" y="54"/>
                </a:lnTo>
                <a:lnTo>
                  <a:pt x="3" y="51"/>
                </a:lnTo>
                <a:lnTo>
                  <a:pt x="3" y="41"/>
                </a:lnTo>
                <a:lnTo>
                  <a:pt x="0" y="39"/>
                </a:lnTo>
                <a:lnTo>
                  <a:pt x="0" y="37"/>
                </a:lnTo>
                <a:lnTo>
                  <a:pt x="5" y="37"/>
                </a:lnTo>
                <a:lnTo>
                  <a:pt x="5" y="32"/>
                </a:lnTo>
                <a:lnTo>
                  <a:pt x="3" y="27"/>
                </a:lnTo>
                <a:lnTo>
                  <a:pt x="3" y="24"/>
                </a:lnTo>
                <a:lnTo>
                  <a:pt x="3" y="22"/>
                </a:lnTo>
                <a:lnTo>
                  <a:pt x="8" y="24"/>
                </a:lnTo>
                <a:lnTo>
                  <a:pt x="12" y="19"/>
                </a:lnTo>
                <a:lnTo>
                  <a:pt x="17" y="22"/>
                </a:lnTo>
                <a:lnTo>
                  <a:pt x="22" y="12"/>
                </a:lnTo>
                <a:lnTo>
                  <a:pt x="27" y="14"/>
                </a:lnTo>
                <a:lnTo>
                  <a:pt x="27" y="17"/>
                </a:lnTo>
                <a:lnTo>
                  <a:pt x="32" y="19"/>
                </a:lnTo>
                <a:lnTo>
                  <a:pt x="32" y="22"/>
                </a:lnTo>
                <a:lnTo>
                  <a:pt x="35" y="17"/>
                </a:lnTo>
                <a:lnTo>
                  <a:pt x="35" y="12"/>
                </a:lnTo>
                <a:lnTo>
                  <a:pt x="42" y="14"/>
                </a:lnTo>
                <a:lnTo>
                  <a:pt x="44" y="14"/>
                </a:lnTo>
                <a:lnTo>
                  <a:pt x="47" y="17"/>
                </a:lnTo>
                <a:lnTo>
                  <a:pt x="49" y="12"/>
                </a:lnTo>
                <a:lnTo>
                  <a:pt x="54" y="9"/>
                </a:lnTo>
                <a:lnTo>
                  <a:pt x="52" y="5"/>
                </a:lnTo>
                <a:lnTo>
                  <a:pt x="57" y="2"/>
                </a:lnTo>
                <a:lnTo>
                  <a:pt x="62" y="2"/>
                </a:lnTo>
                <a:lnTo>
                  <a:pt x="69" y="0"/>
                </a:lnTo>
                <a:lnTo>
                  <a:pt x="72" y="0"/>
                </a:lnTo>
                <a:lnTo>
                  <a:pt x="79" y="0"/>
                </a:lnTo>
                <a:lnTo>
                  <a:pt x="76" y="2"/>
                </a:lnTo>
                <a:lnTo>
                  <a:pt x="84" y="7"/>
                </a:lnTo>
                <a:lnTo>
                  <a:pt x="94" y="9"/>
                </a:lnTo>
                <a:lnTo>
                  <a:pt x="99" y="7"/>
                </a:lnTo>
                <a:lnTo>
                  <a:pt x="101" y="9"/>
                </a:lnTo>
                <a:lnTo>
                  <a:pt x="99" y="14"/>
                </a:lnTo>
                <a:lnTo>
                  <a:pt x="99" y="17"/>
                </a:lnTo>
                <a:lnTo>
                  <a:pt x="96" y="22"/>
                </a:lnTo>
                <a:lnTo>
                  <a:pt x="99" y="27"/>
                </a:lnTo>
                <a:lnTo>
                  <a:pt x="94" y="24"/>
                </a:lnTo>
                <a:lnTo>
                  <a:pt x="91" y="27"/>
                </a:lnTo>
                <a:lnTo>
                  <a:pt x="91" y="29"/>
                </a:lnTo>
                <a:lnTo>
                  <a:pt x="86" y="29"/>
                </a:lnTo>
                <a:lnTo>
                  <a:pt x="84" y="32"/>
                </a:lnTo>
                <a:lnTo>
                  <a:pt x="81" y="32"/>
                </a:lnTo>
                <a:lnTo>
                  <a:pt x="79" y="34"/>
                </a:lnTo>
                <a:lnTo>
                  <a:pt x="81" y="37"/>
                </a:lnTo>
                <a:lnTo>
                  <a:pt x="84" y="39"/>
                </a:lnTo>
                <a:lnTo>
                  <a:pt x="81" y="44"/>
                </a:lnTo>
                <a:lnTo>
                  <a:pt x="79" y="44"/>
                </a:lnTo>
                <a:lnTo>
                  <a:pt x="81" y="49"/>
                </a:lnTo>
                <a:lnTo>
                  <a:pt x="81" y="54"/>
                </a:lnTo>
                <a:lnTo>
                  <a:pt x="84" y="56"/>
                </a:lnTo>
                <a:lnTo>
                  <a:pt x="89" y="59"/>
                </a:lnTo>
                <a:lnTo>
                  <a:pt x="94" y="61"/>
                </a:lnTo>
                <a:lnTo>
                  <a:pt x="96" y="64"/>
                </a:lnTo>
                <a:lnTo>
                  <a:pt x="106" y="73"/>
                </a:lnTo>
                <a:lnTo>
                  <a:pt x="106" y="76"/>
                </a:lnTo>
                <a:lnTo>
                  <a:pt x="106" y="76"/>
                </a:lnTo>
                <a:lnTo>
                  <a:pt x="106" y="81"/>
                </a:lnTo>
                <a:lnTo>
                  <a:pt x="108" y="83"/>
                </a:lnTo>
                <a:lnTo>
                  <a:pt x="111" y="86"/>
                </a:lnTo>
                <a:lnTo>
                  <a:pt x="113" y="91"/>
                </a:lnTo>
                <a:lnTo>
                  <a:pt x="118" y="93"/>
                </a:lnTo>
                <a:lnTo>
                  <a:pt x="121" y="96"/>
                </a:lnTo>
                <a:lnTo>
                  <a:pt x="123" y="96"/>
                </a:lnTo>
                <a:lnTo>
                  <a:pt x="126" y="98"/>
                </a:lnTo>
                <a:lnTo>
                  <a:pt x="131" y="98"/>
                </a:lnTo>
                <a:lnTo>
                  <a:pt x="133" y="98"/>
                </a:lnTo>
                <a:lnTo>
                  <a:pt x="138" y="98"/>
                </a:lnTo>
                <a:lnTo>
                  <a:pt x="140" y="98"/>
                </a:lnTo>
                <a:lnTo>
                  <a:pt x="140" y="100"/>
                </a:lnTo>
                <a:lnTo>
                  <a:pt x="135" y="103"/>
                </a:lnTo>
                <a:lnTo>
                  <a:pt x="135" y="105"/>
                </a:lnTo>
                <a:lnTo>
                  <a:pt x="138" y="108"/>
                </a:lnTo>
                <a:lnTo>
                  <a:pt x="140" y="108"/>
                </a:lnTo>
                <a:lnTo>
                  <a:pt x="145" y="108"/>
                </a:lnTo>
                <a:lnTo>
                  <a:pt x="158" y="115"/>
                </a:lnTo>
                <a:lnTo>
                  <a:pt x="163" y="118"/>
                </a:lnTo>
                <a:lnTo>
                  <a:pt x="167" y="123"/>
                </a:lnTo>
                <a:lnTo>
                  <a:pt x="172" y="123"/>
                </a:lnTo>
                <a:lnTo>
                  <a:pt x="175" y="125"/>
                </a:lnTo>
                <a:lnTo>
                  <a:pt x="175" y="128"/>
                </a:lnTo>
                <a:lnTo>
                  <a:pt x="175" y="130"/>
                </a:lnTo>
                <a:lnTo>
                  <a:pt x="172" y="132"/>
                </a:lnTo>
                <a:lnTo>
                  <a:pt x="175" y="135"/>
                </a:lnTo>
                <a:lnTo>
                  <a:pt x="172" y="135"/>
                </a:lnTo>
                <a:lnTo>
                  <a:pt x="172" y="137"/>
                </a:lnTo>
                <a:lnTo>
                  <a:pt x="170" y="135"/>
                </a:lnTo>
                <a:lnTo>
                  <a:pt x="167" y="132"/>
                </a:lnTo>
                <a:lnTo>
                  <a:pt x="167" y="130"/>
                </a:lnTo>
                <a:lnTo>
                  <a:pt x="167" y="128"/>
                </a:lnTo>
                <a:lnTo>
                  <a:pt x="165" y="128"/>
                </a:lnTo>
                <a:lnTo>
                  <a:pt x="160" y="128"/>
                </a:lnTo>
                <a:lnTo>
                  <a:pt x="160" y="125"/>
                </a:lnTo>
                <a:lnTo>
                  <a:pt x="155" y="125"/>
                </a:lnTo>
                <a:lnTo>
                  <a:pt x="155" y="125"/>
                </a:lnTo>
                <a:lnTo>
                  <a:pt x="153" y="125"/>
                </a:lnTo>
                <a:lnTo>
                  <a:pt x="153" y="130"/>
                </a:lnTo>
                <a:lnTo>
                  <a:pt x="150" y="130"/>
                </a:lnTo>
                <a:lnTo>
                  <a:pt x="150" y="132"/>
                </a:lnTo>
                <a:lnTo>
                  <a:pt x="150" y="135"/>
                </a:lnTo>
                <a:lnTo>
                  <a:pt x="148" y="137"/>
                </a:lnTo>
                <a:lnTo>
                  <a:pt x="148" y="140"/>
                </a:lnTo>
                <a:lnTo>
                  <a:pt x="148" y="140"/>
                </a:lnTo>
                <a:lnTo>
                  <a:pt x="150" y="140"/>
                </a:lnTo>
                <a:lnTo>
                  <a:pt x="155" y="145"/>
                </a:lnTo>
                <a:lnTo>
                  <a:pt x="155" y="147"/>
                </a:lnTo>
                <a:lnTo>
                  <a:pt x="155" y="150"/>
                </a:lnTo>
                <a:lnTo>
                  <a:pt x="158" y="152"/>
                </a:lnTo>
                <a:lnTo>
                  <a:pt x="155" y="155"/>
                </a:lnTo>
                <a:lnTo>
                  <a:pt x="153" y="155"/>
                </a:lnTo>
                <a:lnTo>
                  <a:pt x="150" y="157"/>
                </a:lnTo>
                <a:lnTo>
                  <a:pt x="150" y="164"/>
                </a:lnTo>
                <a:lnTo>
                  <a:pt x="145" y="167"/>
                </a:lnTo>
                <a:lnTo>
                  <a:pt x="145" y="172"/>
                </a:lnTo>
                <a:lnTo>
                  <a:pt x="143" y="174"/>
                </a:lnTo>
                <a:lnTo>
                  <a:pt x="138" y="174"/>
                </a:lnTo>
                <a:lnTo>
                  <a:pt x="135" y="172"/>
                </a:lnTo>
                <a:lnTo>
                  <a:pt x="135" y="169"/>
                </a:lnTo>
                <a:lnTo>
                  <a:pt x="135" y="167"/>
                </a:lnTo>
                <a:lnTo>
                  <a:pt x="138" y="167"/>
                </a:lnTo>
                <a:lnTo>
                  <a:pt x="140" y="164"/>
                </a:lnTo>
                <a:lnTo>
                  <a:pt x="140" y="162"/>
                </a:lnTo>
                <a:lnTo>
                  <a:pt x="140" y="159"/>
                </a:lnTo>
                <a:lnTo>
                  <a:pt x="140" y="157"/>
                </a:lnTo>
                <a:lnTo>
                  <a:pt x="140" y="157"/>
                </a:lnTo>
                <a:lnTo>
                  <a:pt x="143" y="157"/>
                </a:lnTo>
                <a:lnTo>
                  <a:pt x="143" y="152"/>
                </a:lnTo>
                <a:lnTo>
                  <a:pt x="140" y="150"/>
                </a:lnTo>
                <a:lnTo>
                  <a:pt x="140" y="145"/>
                </a:lnTo>
                <a:lnTo>
                  <a:pt x="138" y="142"/>
                </a:lnTo>
                <a:lnTo>
                  <a:pt x="138" y="137"/>
                </a:lnTo>
                <a:lnTo>
                  <a:pt x="135" y="132"/>
                </a:lnTo>
                <a:lnTo>
                  <a:pt x="133" y="132"/>
                </a:lnTo>
                <a:lnTo>
                  <a:pt x="133" y="132"/>
                </a:lnTo>
                <a:lnTo>
                  <a:pt x="128" y="132"/>
                </a:lnTo>
                <a:lnTo>
                  <a:pt x="128" y="130"/>
                </a:lnTo>
                <a:lnTo>
                  <a:pt x="123" y="130"/>
                </a:lnTo>
                <a:lnTo>
                  <a:pt x="123" y="128"/>
                </a:lnTo>
                <a:lnTo>
                  <a:pt x="123" y="128"/>
                </a:lnTo>
                <a:lnTo>
                  <a:pt x="123" y="123"/>
                </a:lnTo>
                <a:lnTo>
                  <a:pt x="121" y="120"/>
                </a:lnTo>
                <a:lnTo>
                  <a:pt x="118" y="120"/>
                </a:lnTo>
                <a:lnTo>
                  <a:pt x="116" y="120"/>
                </a:lnTo>
                <a:lnTo>
                  <a:pt x="116" y="118"/>
                </a:lnTo>
                <a:lnTo>
                  <a:pt x="113" y="118"/>
                </a:lnTo>
                <a:lnTo>
                  <a:pt x="111" y="118"/>
                </a:lnTo>
                <a:lnTo>
                  <a:pt x="111" y="118"/>
                </a:lnTo>
                <a:lnTo>
                  <a:pt x="106" y="110"/>
                </a:lnTo>
                <a:lnTo>
                  <a:pt x="103" y="110"/>
                </a:lnTo>
                <a:lnTo>
                  <a:pt x="101" y="110"/>
                </a:lnTo>
                <a:lnTo>
                  <a:pt x="99" y="113"/>
                </a:lnTo>
                <a:lnTo>
                  <a:pt x="96" y="113"/>
                </a:lnTo>
                <a:lnTo>
                  <a:pt x="96" y="108"/>
                </a:lnTo>
                <a:lnTo>
                  <a:pt x="94" y="108"/>
                </a:lnTo>
                <a:lnTo>
                  <a:pt x="89" y="108"/>
                </a:lnTo>
                <a:lnTo>
                  <a:pt x="84" y="103"/>
                </a:lnTo>
                <a:lnTo>
                  <a:pt x="76" y="93"/>
                </a:lnTo>
                <a:lnTo>
                  <a:pt x="76" y="93"/>
                </a:lnTo>
                <a:lnTo>
                  <a:pt x="74" y="91"/>
                </a:lnTo>
                <a:lnTo>
                  <a:pt x="72" y="88"/>
                </a:lnTo>
                <a:lnTo>
                  <a:pt x="67" y="88"/>
                </a:lnTo>
                <a:lnTo>
                  <a:pt x="67" y="83"/>
                </a:lnTo>
                <a:lnTo>
                  <a:pt x="62" y="81"/>
                </a:lnTo>
                <a:lnTo>
                  <a:pt x="59" y="78"/>
                </a:lnTo>
                <a:lnTo>
                  <a:pt x="57" y="76"/>
                </a:lnTo>
                <a:lnTo>
                  <a:pt x="57" y="71"/>
                </a:lnTo>
                <a:lnTo>
                  <a:pt x="54" y="71"/>
                </a:lnTo>
                <a:lnTo>
                  <a:pt x="54" y="66"/>
                </a:lnTo>
                <a:lnTo>
                  <a:pt x="52" y="64"/>
                </a:lnTo>
                <a:lnTo>
                  <a:pt x="49" y="61"/>
                </a:lnTo>
                <a:lnTo>
                  <a:pt x="49" y="59"/>
                </a:lnTo>
                <a:lnTo>
                  <a:pt x="49" y="56"/>
                </a:lnTo>
                <a:lnTo>
                  <a:pt x="44" y="54"/>
                </a:lnTo>
                <a:lnTo>
                  <a:pt x="40" y="54"/>
                </a:lnTo>
                <a:lnTo>
                  <a:pt x="30" y="51"/>
                </a:lnTo>
                <a:lnTo>
                  <a:pt x="22" y="54"/>
                </a:lnTo>
                <a:lnTo>
                  <a:pt x="22" y="56"/>
                </a:lnTo>
                <a:lnTo>
                  <a:pt x="20" y="61"/>
                </a:lnTo>
                <a:lnTo>
                  <a:pt x="12" y="61"/>
                </a:lnTo>
                <a:lnTo>
                  <a:pt x="12" y="61"/>
                </a:lnTo>
                <a:lnTo>
                  <a:pt x="12" y="61"/>
                </a:lnTo>
                <a:close/>
                <a:moveTo>
                  <a:pt x="22" y="113"/>
                </a:moveTo>
                <a:lnTo>
                  <a:pt x="25" y="113"/>
                </a:lnTo>
                <a:lnTo>
                  <a:pt x="25" y="113"/>
                </a:lnTo>
                <a:lnTo>
                  <a:pt x="27" y="110"/>
                </a:lnTo>
                <a:lnTo>
                  <a:pt x="25" y="110"/>
                </a:lnTo>
                <a:lnTo>
                  <a:pt x="25" y="110"/>
                </a:lnTo>
                <a:lnTo>
                  <a:pt x="22" y="113"/>
                </a:lnTo>
                <a:lnTo>
                  <a:pt x="22" y="113"/>
                </a:lnTo>
                <a:lnTo>
                  <a:pt x="22" y="113"/>
                </a:lnTo>
                <a:lnTo>
                  <a:pt x="22" y="113"/>
                </a:lnTo>
                <a:close/>
                <a:moveTo>
                  <a:pt x="62" y="88"/>
                </a:moveTo>
                <a:lnTo>
                  <a:pt x="64" y="91"/>
                </a:lnTo>
                <a:lnTo>
                  <a:pt x="64" y="88"/>
                </a:lnTo>
                <a:lnTo>
                  <a:pt x="62" y="88"/>
                </a:lnTo>
                <a:lnTo>
                  <a:pt x="62" y="88"/>
                </a:lnTo>
                <a:lnTo>
                  <a:pt x="62" y="88"/>
                </a:lnTo>
                <a:close/>
                <a:moveTo>
                  <a:pt x="49" y="81"/>
                </a:moveTo>
                <a:lnTo>
                  <a:pt x="49" y="81"/>
                </a:lnTo>
                <a:lnTo>
                  <a:pt x="52" y="83"/>
                </a:lnTo>
                <a:lnTo>
                  <a:pt x="54" y="81"/>
                </a:lnTo>
                <a:lnTo>
                  <a:pt x="57" y="81"/>
                </a:lnTo>
                <a:lnTo>
                  <a:pt x="57" y="78"/>
                </a:lnTo>
                <a:lnTo>
                  <a:pt x="54" y="78"/>
                </a:lnTo>
                <a:lnTo>
                  <a:pt x="54" y="78"/>
                </a:lnTo>
                <a:lnTo>
                  <a:pt x="49" y="81"/>
                </a:lnTo>
                <a:lnTo>
                  <a:pt x="49" y="81"/>
                </a:lnTo>
                <a:lnTo>
                  <a:pt x="49" y="81"/>
                </a:lnTo>
                <a:close/>
                <a:moveTo>
                  <a:pt x="32" y="155"/>
                </a:moveTo>
                <a:lnTo>
                  <a:pt x="32" y="155"/>
                </a:lnTo>
                <a:lnTo>
                  <a:pt x="35" y="155"/>
                </a:lnTo>
                <a:lnTo>
                  <a:pt x="37" y="155"/>
                </a:lnTo>
                <a:lnTo>
                  <a:pt x="37" y="152"/>
                </a:lnTo>
                <a:lnTo>
                  <a:pt x="37" y="150"/>
                </a:lnTo>
                <a:lnTo>
                  <a:pt x="40" y="150"/>
                </a:lnTo>
                <a:lnTo>
                  <a:pt x="42" y="152"/>
                </a:lnTo>
                <a:lnTo>
                  <a:pt x="44" y="152"/>
                </a:lnTo>
                <a:lnTo>
                  <a:pt x="44" y="150"/>
                </a:lnTo>
                <a:lnTo>
                  <a:pt x="44" y="142"/>
                </a:lnTo>
                <a:lnTo>
                  <a:pt x="47" y="142"/>
                </a:lnTo>
                <a:lnTo>
                  <a:pt x="44" y="135"/>
                </a:lnTo>
                <a:lnTo>
                  <a:pt x="47" y="130"/>
                </a:lnTo>
                <a:lnTo>
                  <a:pt x="42" y="125"/>
                </a:lnTo>
                <a:lnTo>
                  <a:pt x="47" y="125"/>
                </a:lnTo>
                <a:lnTo>
                  <a:pt x="47" y="123"/>
                </a:lnTo>
                <a:lnTo>
                  <a:pt x="44" y="118"/>
                </a:lnTo>
                <a:lnTo>
                  <a:pt x="44" y="115"/>
                </a:lnTo>
                <a:lnTo>
                  <a:pt x="42" y="113"/>
                </a:lnTo>
                <a:lnTo>
                  <a:pt x="40" y="113"/>
                </a:lnTo>
                <a:lnTo>
                  <a:pt x="37" y="110"/>
                </a:lnTo>
                <a:lnTo>
                  <a:pt x="35" y="110"/>
                </a:lnTo>
                <a:lnTo>
                  <a:pt x="30" y="118"/>
                </a:lnTo>
                <a:lnTo>
                  <a:pt x="27" y="118"/>
                </a:lnTo>
                <a:lnTo>
                  <a:pt x="22" y="115"/>
                </a:lnTo>
                <a:lnTo>
                  <a:pt x="22" y="120"/>
                </a:lnTo>
                <a:lnTo>
                  <a:pt x="22" y="120"/>
                </a:lnTo>
                <a:lnTo>
                  <a:pt x="25" y="123"/>
                </a:lnTo>
                <a:lnTo>
                  <a:pt x="25" y="125"/>
                </a:lnTo>
                <a:lnTo>
                  <a:pt x="27" y="128"/>
                </a:lnTo>
                <a:lnTo>
                  <a:pt x="27" y="132"/>
                </a:lnTo>
                <a:lnTo>
                  <a:pt x="25" y="135"/>
                </a:lnTo>
                <a:lnTo>
                  <a:pt x="27" y="135"/>
                </a:lnTo>
                <a:lnTo>
                  <a:pt x="30" y="135"/>
                </a:lnTo>
                <a:lnTo>
                  <a:pt x="30" y="137"/>
                </a:lnTo>
                <a:lnTo>
                  <a:pt x="27" y="140"/>
                </a:lnTo>
                <a:lnTo>
                  <a:pt x="27" y="145"/>
                </a:lnTo>
                <a:lnTo>
                  <a:pt x="27" y="147"/>
                </a:lnTo>
                <a:lnTo>
                  <a:pt x="30" y="152"/>
                </a:lnTo>
                <a:lnTo>
                  <a:pt x="32" y="155"/>
                </a:lnTo>
                <a:lnTo>
                  <a:pt x="32" y="155"/>
                </a:lnTo>
                <a:lnTo>
                  <a:pt x="32" y="155"/>
                </a:lnTo>
                <a:close/>
                <a:moveTo>
                  <a:pt x="128" y="196"/>
                </a:moveTo>
                <a:lnTo>
                  <a:pt x="128" y="191"/>
                </a:lnTo>
                <a:lnTo>
                  <a:pt x="131" y="191"/>
                </a:lnTo>
                <a:lnTo>
                  <a:pt x="131" y="187"/>
                </a:lnTo>
                <a:lnTo>
                  <a:pt x="128" y="184"/>
                </a:lnTo>
                <a:lnTo>
                  <a:pt x="131" y="177"/>
                </a:lnTo>
                <a:lnTo>
                  <a:pt x="133" y="174"/>
                </a:lnTo>
                <a:lnTo>
                  <a:pt x="133" y="169"/>
                </a:lnTo>
                <a:lnTo>
                  <a:pt x="131" y="167"/>
                </a:lnTo>
                <a:lnTo>
                  <a:pt x="128" y="169"/>
                </a:lnTo>
                <a:lnTo>
                  <a:pt x="126" y="169"/>
                </a:lnTo>
                <a:lnTo>
                  <a:pt x="123" y="167"/>
                </a:lnTo>
                <a:lnTo>
                  <a:pt x="118" y="172"/>
                </a:lnTo>
                <a:lnTo>
                  <a:pt x="111" y="172"/>
                </a:lnTo>
                <a:lnTo>
                  <a:pt x="106" y="172"/>
                </a:lnTo>
                <a:lnTo>
                  <a:pt x="101" y="172"/>
                </a:lnTo>
                <a:lnTo>
                  <a:pt x="99" y="169"/>
                </a:lnTo>
                <a:lnTo>
                  <a:pt x="96" y="169"/>
                </a:lnTo>
                <a:lnTo>
                  <a:pt x="94" y="172"/>
                </a:lnTo>
                <a:lnTo>
                  <a:pt x="94" y="169"/>
                </a:lnTo>
                <a:lnTo>
                  <a:pt x="89" y="172"/>
                </a:lnTo>
                <a:lnTo>
                  <a:pt x="89" y="177"/>
                </a:lnTo>
                <a:lnTo>
                  <a:pt x="91" y="179"/>
                </a:lnTo>
                <a:lnTo>
                  <a:pt x="96" y="179"/>
                </a:lnTo>
                <a:lnTo>
                  <a:pt x="101" y="184"/>
                </a:lnTo>
                <a:lnTo>
                  <a:pt x="103" y="184"/>
                </a:lnTo>
                <a:lnTo>
                  <a:pt x="108" y="187"/>
                </a:lnTo>
                <a:lnTo>
                  <a:pt x="113" y="189"/>
                </a:lnTo>
                <a:lnTo>
                  <a:pt x="116" y="189"/>
                </a:lnTo>
                <a:lnTo>
                  <a:pt x="118" y="191"/>
                </a:lnTo>
                <a:lnTo>
                  <a:pt x="118" y="194"/>
                </a:lnTo>
                <a:lnTo>
                  <a:pt x="126" y="196"/>
                </a:lnTo>
                <a:lnTo>
                  <a:pt x="128" y="196"/>
                </a:lnTo>
                <a:lnTo>
                  <a:pt x="128" y="19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1" name="Freeform 80"/>
          <p:cNvSpPr>
            <a:spLocks noEditPoints="1"/>
          </p:cNvSpPr>
          <p:nvPr/>
        </p:nvSpPr>
        <p:spPr bwMode="auto">
          <a:xfrm>
            <a:off x="4537110" y="3329604"/>
            <a:ext cx="313144" cy="222726"/>
          </a:xfrm>
          <a:custGeom>
            <a:avLst/>
            <a:gdLst/>
            <a:ahLst/>
            <a:cxnLst>
              <a:cxn ang="0">
                <a:pos x="113" y="10"/>
              </a:cxn>
              <a:cxn ang="0">
                <a:pos x="118" y="15"/>
              </a:cxn>
              <a:cxn ang="0">
                <a:pos x="131" y="20"/>
              </a:cxn>
              <a:cxn ang="0">
                <a:pos x="141" y="25"/>
              </a:cxn>
              <a:cxn ang="0">
                <a:pos x="153" y="22"/>
              </a:cxn>
              <a:cxn ang="0">
                <a:pos x="168" y="25"/>
              </a:cxn>
              <a:cxn ang="0">
                <a:pos x="175" y="30"/>
              </a:cxn>
              <a:cxn ang="0">
                <a:pos x="173" y="39"/>
              </a:cxn>
              <a:cxn ang="0">
                <a:pos x="158" y="52"/>
              </a:cxn>
              <a:cxn ang="0">
                <a:pos x="145" y="57"/>
              </a:cxn>
              <a:cxn ang="0">
                <a:pos x="143" y="62"/>
              </a:cxn>
              <a:cxn ang="0">
                <a:pos x="138" y="69"/>
              </a:cxn>
              <a:cxn ang="0">
                <a:pos x="128" y="81"/>
              </a:cxn>
              <a:cxn ang="0">
                <a:pos x="133" y="91"/>
              </a:cxn>
              <a:cxn ang="0">
                <a:pos x="128" y="101"/>
              </a:cxn>
              <a:cxn ang="0">
                <a:pos x="123" y="116"/>
              </a:cxn>
              <a:cxn ang="0">
                <a:pos x="109" y="123"/>
              </a:cxn>
              <a:cxn ang="0">
                <a:pos x="101" y="130"/>
              </a:cxn>
              <a:cxn ang="0">
                <a:pos x="94" y="133"/>
              </a:cxn>
              <a:cxn ang="0">
                <a:pos x="89" y="133"/>
              </a:cxn>
              <a:cxn ang="0">
                <a:pos x="74" y="133"/>
              </a:cxn>
              <a:cxn ang="0">
                <a:pos x="59" y="138"/>
              </a:cxn>
              <a:cxn ang="0">
                <a:pos x="52" y="145"/>
              </a:cxn>
              <a:cxn ang="0">
                <a:pos x="40" y="133"/>
              </a:cxn>
              <a:cxn ang="0">
                <a:pos x="30" y="126"/>
              </a:cxn>
              <a:cxn ang="0">
                <a:pos x="25" y="116"/>
              </a:cxn>
              <a:cxn ang="0">
                <a:pos x="32" y="103"/>
              </a:cxn>
              <a:cxn ang="0">
                <a:pos x="30" y="94"/>
              </a:cxn>
              <a:cxn ang="0">
                <a:pos x="22" y="79"/>
              </a:cxn>
              <a:cxn ang="0">
                <a:pos x="35" y="71"/>
              </a:cxn>
              <a:cxn ang="0">
                <a:pos x="35" y="57"/>
              </a:cxn>
              <a:cxn ang="0">
                <a:pos x="42" y="47"/>
              </a:cxn>
              <a:cxn ang="0">
                <a:pos x="40" y="35"/>
              </a:cxn>
              <a:cxn ang="0">
                <a:pos x="20" y="35"/>
              </a:cxn>
              <a:cxn ang="0">
                <a:pos x="15" y="32"/>
              </a:cxn>
              <a:cxn ang="0">
                <a:pos x="5" y="32"/>
              </a:cxn>
              <a:cxn ang="0">
                <a:pos x="8" y="27"/>
              </a:cxn>
              <a:cxn ang="0">
                <a:pos x="5" y="25"/>
              </a:cxn>
              <a:cxn ang="0">
                <a:pos x="3" y="20"/>
              </a:cxn>
              <a:cxn ang="0">
                <a:pos x="0" y="15"/>
              </a:cxn>
              <a:cxn ang="0">
                <a:pos x="10" y="10"/>
              </a:cxn>
              <a:cxn ang="0">
                <a:pos x="15" y="7"/>
              </a:cxn>
              <a:cxn ang="0">
                <a:pos x="22" y="0"/>
              </a:cxn>
              <a:cxn ang="0">
                <a:pos x="32" y="3"/>
              </a:cxn>
              <a:cxn ang="0">
                <a:pos x="45" y="3"/>
              </a:cxn>
              <a:cxn ang="0">
                <a:pos x="54" y="5"/>
              </a:cxn>
              <a:cxn ang="0">
                <a:pos x="77" y="5"/>
              </a:cxn>
              <a:cxn ang="0">
                <a:pos x="89" y="10"/>
              </a:cxn>
              <a:cxn ang="0">
                <a:pos x="104" y="12"/>
              </a:cxn>
              <a:cxn ang="0">
                <a:pos x="109" y="7"/>
              </a:cxn>
              <a:cxn ang="0">
                <a:pos x="190" y="76"/>
              </a:cxn>
              <a:cxn ang="0">
                <a:pos x="182" y="74"/>
              </a:cxn>
              <a:cxn ang="0">
                <a:pos x="175" y="81"/>
              </a:cxn>
              <a:cxn ang="0">
                <a:pos x="173" y="79"/>
              </a:cxn>
              <a:cxn ang="0">
                <a:pos x="173" y="84"/>
              </a:cxn>
              <a:cxn ang="0">
                <a:pos x="158" y="94"/>
              </a:cxn>
              <a:cxn ang="0">
                <a:pos x="153" y="94"/>
              </a:cxn>
            </a:cxnLst>
            <a:rect l="0" t="0" r="r" b="b"/>
            <a:pathLst>
              <a:path w="192" h="145">
                <a:moveTo>
                  <a:pt x="109" y="7"/>
                </a:moveTo>
                <a:lnTo>
                  <a:pt x="109" y="7"/>
                </a:lnTo>
                <a:lnTo>
                  <a:pt x="111" y="10"/>
                </a:lnTo>
                <a:lnTo>
                  <a:pt x="111" y="10"/>
                </a:lnTo>
                <a:lnTo>
                  <a:pt x="111" y="10"/>
                </a:lnTo>
                <a:lnTo>
                  <a:pt x="113" y="10"/>
                </a:lnTo>
                <a:lnTo>
                  <a:pt x="113" y="10"/>
                </a:lnTo>
                <a:lnTo>
                  <a:pt x="113" y="15"/>
                </a:lnTo>
                <a:lnTo>
                  <a:pt x="113" y="15"/>
                </a:lnTo>
                <a:lnTo>
                  <a:pt x="113" y="17"/>
                </a:lnTo>
                <a:lnTo>
                  <a:pt x="113" y="17"/>
                </a:lnTo>
                <a:lnTo>
                  <a:pt x="118" y="15"/>
                </a:lnTo>
                <a:lnTo>
                  <a:pt x="118" y="15"/>
                </a:lnTo>
                <a:lnTo>
                  <a:pt x="123" y="17"/>
                </a:lnTo>
                <a:lnTo>
                  <a:pt x="123" y="17"/>
                </a:lnTo>
                <a:lnTo>
                  <a:pt x="126" y="22"/>
                </a:lnTo>
                <a:lnTo>
                  <a:pt x="126" y="22"/>
                </a:lnTo>
                <a:lnTo>
                  <a:pt x="131" y="20"/>
                </a:lnTo>
                <a:lnTo>
                  <a:pt x="131" y="20"/>
                </a:lnTo>
                <a:lnTo>
                  <a:pt x="133" y="25"/>
                </a:lnTo>
                <a:lnTo>
                  <a:pt x="133" y="25"/>
                </a:lnTo>
                <a:lnTo>
                  <a:pt x="138" y="22"/>
                </a:lnTo>
                <a:lnTo>
                  <a:pt x="138" y="22"/>
                </a:lnTo>
                <a:lnTo>
                  <a:pt x="141" y="25"/>
                </a:lnTo>
                <a:lnTo>
                  <a:pt x="141" y="25"/>
                </a:lnTo>
                <a:lnTo>
                  <a:pt x="143" y="22"/>
                </a:lnTo>
                <a:lnTo>
                  <a:pt x="143" y="22"/>
                </a:lnTo>
                <a:lnTo>
                  <a:pt x="150" y="22"/>
                </a:lnTo>
                <a:lnTo>
                  <a:pt x="150" y="22"/>
                </a:lnTo>
                <a:lnTo>
                  <a:pt x="153" y="22"/>
                </a:lnTo>
                <a:lnTo>
                  <a:pt x="153" y="22"/>
                </a:lnTo>
                <a:lnTo>
                  <a:pt x="155" y="22"/>
                </a:lnTo>
                <a:lnTo>
                  <a:pt x="155" y="22"/>
                </a:lnTo>
                <a:lnTo>
                  <a:pt x="160" y="25"/>
                </a:lnTo>
                <a:lnTo>
                  <a:pt x="160" y="25"/>
                </a:lnTo>
                <a:lnTo>
                  <a:pt x="168" y="25"/>
                </a:lnTo>
                <a:lnTo>
                  <a:pt x="168" y="25"/>
                </a:lnTo>
                <a:lnTo>
                  <a:pt x="173" y="27"/>
                </a:lnTo>
                <a:lnTo>
                  <a:pt x="173" y="27"/>
                </a:lnTo>
                <a:lnTo>
                  <a:pt x="175" y="27"/>
                </a:lnTo>
                <a:lnTo>
                  <a:pt x="175" y="27"/>
                </a:lnTo>
                <a:lnTo>
                  <a:pt x="175" y="30"/>
                </a:lnTo>
                <a:lnTo>
                  <a:pt x="175" y="30"/>
                </a:lnTo>
                <a:lnTo>
                  <a:pt x="173" y="32"/>
                </a:lnTo>
                <a:lnTo>
                  <a:pt x="173" y="32"/>
                </a:lnTo>
                <a:lnTo>
                  <a:pt x="173" y="37"/>
                </a:lnTo>
                <a:lnTo>
                  <a:pt x="173" y="37"/>
                </a:lnTo>
                <a:lnTo>
                  <a:pt x="173" y="39"/>
                </a:lnTo>
                <a:lnTo>
                  <a:pt x="173" y="39"/>
                </a:lnTo>
                <a:lnTo>
                  <a:pt x="173" y="42"/>
                </a:lnTo>
                <a:lnTo>
                  <a:pt x="173" y="42"/>
                </a:lnTo>
                <a:lnTo>
                  <a:pt x="165" y="47"/>
                </a:lnTo>
                <a:lnTo>
                  <a:pt x="163" y="49"/>
                </a:lnTo>
                <a:lnTo>
                  <a:pt x="158" y="52"/>
                </a:lnTo>
                <a:lnTo>
                  <a:pt x="158" y="52"/>
                </a:lnTo>
                <a:lnTo>
                  <a:pt x="153" y="52"/>
                </a:lnTo>
                <a:lnTo>
                  <a:pt x="153" y="52"/>
                </a:lnTo>
                <a:lnTo>
                  <a:pt x="148" y="54"/>
                </a:lnTo>
                <a:lnTo>
                  <a:pt x="148" y="54"/>
                </a:lnTo>
                <a:lnTo>
                  <a:pt x="145" y="57"/>
                </a:lnTo>
                <a:lnTo>
                  <a:pt x="145" y="57"/>
                </a:lnTo>
                <a:lnTo>
                  <a:pt x="148" y="57"/>
                </a:lnTo>
                <a:lnTo>
                  <a:pt x="148" y="57"/>
                </a:lnTo>
                <a:lnTo>
                  <a:pt x="145" y="62"/>
                </a:lnTo>
                <a:lnTo>
                  <a:pt x="145" y="62"/>
                </a:lnTo>
                <a:lnTo>
                  <a:pt x="143" y="62"/>
                </a:lnTo>
                <a:lnTo>
                  <a:pt x="143" y="62"/>
                </a:lnTo>
                <a:lnTo>
                  <a:pt x="143" y="62"/>
                </a:lnTo>
                <a:lnTo>
                  <a:pt x="143" y="62"/>
                </a:lnTo>
                <a:lnTo>
                  <a:pt x="143" y="62"/>
                </a:lnTo>
                <a:lnTo>
                  <a:pt x="138" y="69"/>
                </a:lnTo>
                <a:lnTo>
                  <a:pt x="138" y="69"/>
                </a:lnTo>
                <a:lnTo>
                  <a:pt x="136" y="69"/>
                </a:lnTo>
                <a:lnTo>
                  <a:pt x="136" y="69"/>
                </a:lnTo>
                <a:lnTo>
                  <a:pt x="128" y="79"/>
                </a:lnTo>
                <a:lnTo>
                  <a:pt x="128" y="79"/>
                </a:lnTo>
                <a:lnTo>
                  <a:pt x="128" y="81"/>
                </a:lnTo>
                <a:lnTo>
                  <a:pt x="128" y="81"/>
                </a:lnTo>
                <a:lnTo>
                  <a:pt x="131" y="86"/>
                </a:lnTo>
                <a:lnTo>
                  <a:pt x="131" y="86"/>
                </a:lnTo>
                <a:lnTo>
                  <a:pt x="131" y="89"/>
                </a:lnTo>
                <a:lnTo>
                  <a:pt x="131" y="89"/>
                </a:lnTo>
                <a:lnTo>
                  <a:pt x="133" y="91"/>
                </a:lnTo>
                <a:lnTo>
                  <a:pt x="133" y="91"/>
                </a:lnTo>
                <a:lnTo>
                  <a:pt x="136" y="96"/>
                </a:lnTo>
                <a:lnTo>
                  <a:pt x="136" y="96"/>
                </a:lnTo>
                <a:lnTo>
                  <a:pt x="133" y="98"/>
                </a:lnTo>
                <a:lnTo>
                  <a:pt x="133" y="98"/>
                </a:lnTo>
                <a:lnTo>
                  <a:pt x="128" y="101"/>
                </a:lnTo>
                <a:lnTo>
                  <a:pt x="128" y="101"/>
                </a:lnTo>
                <a:lnTo>
                  <a:pt x="128" y="103"/>
                </a:lnTo>
                <a:lnTo>
                  <a:pt x="128" y="103"/>
                </a:lnTo>
                <a:lnTo>
                  <a:pt x="123" y="111"/>
                </a:lnTo>
                <a:lnTo>
                  <a:pt x="123" y="111"/>
                </a:lnTo>
                <a:lnTo>
                  <a:pt x="123" y="116"/>
                </a:lnTo>
                <a:lnTo>
                  <a:pt x="123" y="116"/>
                </a:lnTo>
                <a:lnTo>
                  <a:pt x="123" y="118"/>
                </a:lnTo>
                <a:lnTo>
                  <a:pt x="123" y="118"/>
                </a:lnTo>
                <a:lnTo>
                  <a:pt x="123" y="118"/>
                </a:lnTo>
                <a:lnTo>
                  <a:pt x="118" y="121"/>
                </a:lnTo>
                <a:lnTo>
                  <a:pt x="118" y="121"/>
                </a:lnTo>
                <a:lnTo>
                  <a:pt x="109" y="123"/>
                </a:lnTo>
                <a:lnTo>
                  <a:pt x="109" y="123"/>
                </a:lnTo>
                <a:lnTo>
                  <a:pt x="109" y="128"/>
                </a:lnTo>
                <a:lnTo>
                  <a:pt x="109" y="128"/>
                </a:lnTo>
                <a:lnTo>
                  <a:pt x="104" y="133"/>
                </a:lnTo>
                <a:lnTo>
                  <a:pt x="104" y="133"/>
                </a:lnTo>
                <a:lnTo>
                  <a:pt x="101" y="130"/>
                </a:lnTo>
                <a:lnTo>
                  <a:pt x="101" y="130"/>
                </a:lnTo>
                <a:lnTo>
                  <a:pt x="99" y="128"/>
                </a:lnTo>
                <a:lnTo>
                  <a:pt x="99" y="128"/>
                </a:lnTo>
                <a:lnTo>
                  <a:pt x="96" y="130"/>
                </a:lnTo>
                <a:lnTo>
                  <a:pt x="96" y="130"/>
                </a:lnTo>
                <a:lnTo>
                  <a:pt x="94" y="133"/>
                </a:lnTo>
                <a:lnTo>
                  <a:pt x="94" y="133"/>
                </a:lnTo>
                <a:lnTo>
                  <a:pt x="91" y="130"/>
                </a:lnTo>
                <a:lnTo>
                  <a:pt x="91" y="130"/>
                </a:lnTo>
                <a:lnTo>
                  <a:pt x="89" y="130"/>
                </a:lnTo>
                <a:lnTo>
                  <a:pt x="89" y="130"/>
                </a:lnTo>
                <a:lnTo>
                  <a:pt x="89" y="133"/>
                </a:lnTo>
                <a:lnTo>
                  <a:pt x="89" y="133"/>
                </a:lnTo>
                <a:lnTo>
                  <a:pt x="84" y="133"/>
                </a:lnTo>
                <a:lnTo>
                  <a:pt x="84" y="133"/>
                </a:lnTo>
                <a:lnTo>
                  <a:pt x="77" y="130"/>
                </a:lnTo>
                <a:lnTo>
                  <a:pt x="77" y="130"/>
                </a:lnTo>
                <a:lnTo>
                  <a:pt x="74" y="133"/>
                </a:lnTo>
                <a:lnTo>
                  <a:pt x="74" y="133"/>
                </a:lnTo>
                <a:lnTo>
                  <a:pt x="69" y="133"/>
                </a:lnTo>
                <a:lnTo>
                  <a:pt x="69" y="133"/>
                </a:lnTo>
                <a:lnTo>
                  <a:pt x="64" y="138"/>
                </a:lnTo>
                <a:lnTo>
                  <a:pt x="64" y="138"/>
                </a:lnTo>
                <a:lnTo>
                  <a:pt x="59" y="138"/>
                </a:lnTo>
                <a:lnTo>
                  <a:pt x="59" y="138"/>
                </a:lnTo>
                <a:lnTo>
                  <a:pt x="57" y="140"/>
                </a:lnTo>
                <a:lnTo>
                  <a:pt x="57" y="140"/>
                </a:lnTo>
                <a:lnTo>
                  <a:pt x="57" y="143"/>
                </a:lnTo>
                <a:lnTo>
                  <a:pt x="57" y="143"/>
                </a:lnTo>
                <a:lnTo>
                  <a:pt x="52" y="145"/>
                </a:lnTo>
                <a:lnTo>
                  <a:pt x="52" y="145"/>
                </a:lnTo>
                <a:lnTo>
                  <a:pt x="47" y="145"/>
                </a:lnTo>
                <a:lnTo>
                  <a:pt x="47" y="145"/>
                </a:lnTo>
                <a:lnTo>
                  <a:pt x="42" y="140"/>
                </a:lnTo>
                <a:lnTo>
                  <a:pt x="42" y="140"/>
                </a:lnTo>
                <a:lnTo>
                  <a:pt x="40" y="133"/>
                </a:lnTo>
                <a:lnTo>
                  <a:pt x="40" y="133"/>
                </a:lnTo>
                <a:lnTo>
                  <a:pt x="40" y="130"/>
                </a:lnTo>
                <a:lnTo>
                  <a:pt x="40" y="130"/>
                </a:lnTo>
                <a:lnTo>
                  <a:pt x="32" y="126"/>
                </a:lnTo>
                <a:lnTo>
                  <a:pt x="32" y="126"/>
                </a:lnTo>
                <a:lnTo>
                  <a:pt x="30" y="126"/>
                </a:lnTo>
                <a:lnTo>
                  <a:pt x="30" y="126"/>
                </a:lnTo>
                <a:lnTo>
                  <a:pt x="27" y="123"/>
                </a:lnTo>
                <a:lnTo>
                  <a:pt x="27" y="123"/>
                </a:lnTo>
                <a:lnTo>
                  <a:pt x="25" y="121"/>
                </a:lnTo>
                <a:lnTo>
                  <a:pt x="25" y="121"/>
                </a:lnTo>
                <a:lnTo>
                  <a:pt x="25" y="116"/>
                </a:lnTo>
                <a:lnTo>
                  <a:pt x="25" y="116"/>
                </a:lnTo>
                <a:lnTo>
                  <a:pt x="27" y="111"/>
                </a:lnTo>
                <a:lnTo>
                  <a:pt x="27" y="111"/>
                </a:lnTo>
                <a:lnTo>
                  <a:pt x="32" y="106"/>
                </a:lnTo>
                <a:lnTo>
                  <a:pt x="32" y="106"/>
                </a:lnTo>
                <a:lnTo>
                  <a:pt x="32" y="103"/>
                </a:lnTo>
                <a:lnTo>
                  <a:pt x="32" y="103"/>
                </a:lnTo>
                <a:lnTo>
                  <a:pt x="27" y="103"/>
                </a:lnTo>
                <a:lnTo>
                  <a:pt x="27" y="103"/>
                </a:lnTo>
                <a:lnTo>
                  <a:pt x="25" y="98"/>
                </a:lnTo>
                <a:lnTo>
                  <a:pt x="25" y="98"/>
                </a:lnTo>
                <a:lnTo>
                  <a:pt x="30" y="94"/>
                </a:lnTo>
                <a:lnTo>
                  <a:pt x="30" y="94"/>
                </a:lnTo>
                <a:lnTo>
                  <a:pt x="30" y="89"/>
                </a:lnTo>
                <a:lnTo>
                  <a:pt x="30" y="89"/>
                </a:lnTo>
                <a:lnTo>
                  <a:pt x="27" y="86"/>
                </a:lnTo>
                <a:lnTo>
                  <a:pt x="27" y="86"/>
                </a:lnTo>
                <a:lnTo>
                  <a:pt x="22" y="79"/>
                </a:lnTo>
                <a:lnTo>
                  <a:pt x="22" y="79"/>
                </a:lnTo>
                <a:lnTo>
                  <a:pt x="27" y="76"/>
                </a:lnTo>
                <a:lnTo>
                  <a:pt x="27" y="76"/>
                </a:lnTo>
                <a:lnTo>
                  <a:pt x="30" y="79"/>
                </a:lnTo>
                <a:lnTo>
                  <a:pt x="30" y="79"/>
                </a:lnTo>
                <a:lnTo>
                  <a:pt x="35" y="71"/>
                </a:lnTo>
                <a:lnTo>
                  <a:pt x="35" y="71"/>
                </a:lnTo>
                <a:lnTo>
                  <a:pt x="30" y="69"/>
                </a:lnTo>
                <a:lnTo>
                  <a:pt x="30" y="69"/>
                </a:lnTo>
                <a:lnTo>
                  <a:pt x="35" y="67"/>
                </a:lnTo>
                <a:lnTo>
                  <a:pt x="35" y="67"/>
                </a:lnTo>
                <a:lnTo>
                  <a:pt x="35" y="57"/>
                </a:lnTo>
                <a:lnTo>
                  <a:pt x="35" y="57"/>
                </a:lnTo>
                <a:lnTo>
                  <a:pt x="35" y="52"/>
                </a:lnTo>
                <a:lnTo>
                  <a:pt x="35" y="52"/>
                </a:lnTo>
                <a:lnTo>
                  <a:pt x="40" y="47"/>
                </a:lnTo>
                <a:lnTo>
                  <a:pt x="40" y="47"/>
                </a:lnTo>
                <a:lnTo>
                  <a:pt x="42" y="47"/>
                </a:lnTo>
                <a:lnTo>
                  <a:pt x="42" y="47"/>
                </a:lnTo>
                <a:lnTo>
                  <a:pt x="42" y="44"/>
                </a:lnTo>
                <a:lnTo>
                  <a:pt x="42" y="44"/>
                </a:lnTo>
                <a:lnTo>
                  <a:pt x="40" y="39"/>
                </a:lnTo>
                <a:lnTo>
                  <a:pt x="40" y="39"/>
                </a:lnTo>
                <a:lnTo>
                  <a:pt x="40" y="35"/>
                </a:lnTo>
                <a:lnTo>
                  <a:pt x="40" y="35"/>
                </a:lnTo>
                <a:lnTo>
                  <a:pt x="32" y="35"/>
                </a:lnTo>
                <a:lnTo>
                  <a:pt x="32" y="35"/>
                </a:lnTo>
                <a:lnTo>
                  <a:pt x="30" y="37"/>
                </a:lnTo>
                <a:lnTo>
                  <a:pt x="30" y="37"/>
                </a:lnTo>
                <a:lnTo>
                  <a:pt x="20" y="35"/>
                </a:lnTo>
                <a:lnTo>
                  <a:pt x="20" y="35"/>
                </a:lnTo>
                <a:lnTo>
                  <a:pt x="15" y="39"/>
                </a:lnTo>
                <a:lnTo>
                  <a:pt x="15" y="39"/>
                </a:lnTo>
                <a:lnTo>
                  <a:pt x="15" y="37"/>
                </a:lnTo>
                <a:lnTo>
                  <a:pt x="15" y="37"/>
                </a:lnTo>
                <a:lnTo>
                  <a:pt x="15" y="32"/>
                </a:lnTo>
                <a:lnTo>
                  <a:pt x="15" y="32"/>
                </a:lnTo>
                <a:lnTo>
                  <a:pt x="13" y="32"/>
                </a:lnTo>
                <a:lnTo>
                  <a:pt x="13" y="32"/>
                </a:lnTo>
                <a:lnTo>
                  <a:pt x="5" y="32"/>
                </a:lnTo>
                <a:lnTo>
                  <a:pt x="5" y="32"/>
                </a:lnTo>
                <a:lnTo>
                  <a:pt x="5" y="32"/>
                </a:lnTo>
                <a:lnTo>
                  <a:pt x="8" y="30"/>
                </a:lnTo>
                <a:lnTo>
                  <a:pt x="8" y="30"/>
                </a:lnTo>
                <a:lnTo>
                  <a:pt x="5" y="30"/>
                </a:lnTo>
                <a:lnTo>
                  <a:pt x="5" y="30"/>
                </a:lnTo>
                <a:lnTo>
                  <a:pt x="8" y="27"/>
                </a:lnTo>
                <a:lnTo>
                  <a:pt x="8" y="27"/>
                </a:lnTo>
                <a:lnTo>
                  <a:pt x="8" y="25"/>
                </a:lnTo>
                <a:lnTo>
                  <a:pt x="8" y="25"/>
                </a:lnTo>
                <a:lnTo>
                  <a:pt x="8" y="22"/>
                </a:lnTo>
                <a:lnTo>
                  <a:pt x="8" y="22"/>
                </a:lnTo>
                <a:lnTo>
                  <a:pt x="5" y="25"/>
                </a:lnTo>
                <a:lnTo>
                  <a:pt x="5" y="25"/>
                </a:lnTo>
                <a:lnTo>
                  <a:pt x="3" y="25"/>
                </a:lnTo>
                <a:lnTo>
                  <a:pt x="3" y="25"/>
                </a:lnTo>
                <a:lnTo>
                  <a:pt x="5" y="20"/>
                </a:lnTo>
                <a:lnTo>
                  <a:pt x="5" y="20"/>
                </a:lnTo>
                <a:lnTo>
                  <a:pt x="3" y="20"/>
                </a:lnTo>
                <a:lnTo>
                  <a:pt x="3" y="20"/>
                </a:lnTo>
                <a:lnTo>
                  <a:pt x="3" y="17"/>
                </a:lnTo>
                <a:lnTo>
                  <a:pt x="3" y="17"/>
                </a:lnTo>
                <a:lnTo>
                  <a:pt x="0" y="17"/>
                </a:lnTo>
                <a:lnTo>
                  <a:pt x="0" y="17"/>
                </a:lnTo>
                <a:lnTo>
                  <a:pt x="0" y="15"/>
                </a:lnTo>
                <a:lnTo>
                  <a:pt x="0" y="15"/>
                </a:lnTo>
                <a:lnTo>
                  <a:pt x="3" y="12"/>
                </a:lnTo>
                <a:lnTo>
                  <a:pt x="3" y="12"/>
                </a:lnTo>
                <a:lnTo>
                  <a:pt x="8" y="10"/>
                </a:lnTo>
                <a:lnTo>
                  <a:pt x="8" y="10"/>
                </a:lnTo>
                <a:lnTo>
                  <a:pt x="10" y="10"/>
                </a:lnTo>
                <a:lnTo>
                  <a:pt x="10" y="10"/>
                </a:lnTo>
                <a:lnTo>
                  <a:pt x="15" y="10"/>
                </a:lnTo>
                <a:lnTo>
                  <a:pt x="15" y="10"/>
                </a:lnTo>
                <a:lnTo>
                  <a:pt x="18" y="7"/>
                </a:lnTo>
                <a:lnTo>
                  <a:pt x="18" y="7"/>
                </a:lnTo>
                <a:lnTo>
                  <a:pt x="15" y="7"/>
                </a:lnTo>
                <a:lnTo>
                  <a:pt x="15" y="7"/>
                </a:lnTo>
                <a:lnTo>
                  <a:pt x="15" y="5"/>
                </a:lnTo>
                <a:lnTo>
                  <a:pt x="15" y="5"/>
                </a:lnTo>
                <a:lnTo>
                  <a:pt x="20" y="3"/>
                </a:lnTo>
                <a:lnTo>
                  <a:pt x="20" y="3"/>
                </a:lnTo>
                <a:lnTo>
                  <a:pt x="20" y="3"/>
                </a:lnTo>
                <a:lnTo>
                  <a:pt x="22" y="0"/>
                </a:lnTo>
                <a:lnTo>
                  <a:pt x="22" y="0"/>
                </a:lnTo>
                <a:lnTo>
                  <a:pt x="27" y="3"/>
                </a:lnTo>
                <a:lnTo>
                  <a:pt x="27" y="3"/>
                </a:lnTo>
                <a:lnTo>
                  <a:pt x="30" y="5"/>
                </a:lnTo>
                <a:lnTo>
                  <a:pt x="30" y="5"/>
                </a:lnTo>
                <a:lnTo>
                  <a:pt x="32" y="3"/>
                </a:lnTo>
                <a:lnTo>
                  <a:pt x="32" y="3"/>
                </a:lnTo>
                <a:lnTo>
                  <a:pt x="37" y="3"/>
                </a:lnTo>
                <a:lnTo>
                  <a:pt x="37" y="3"/>
                </a:lnTo>
                <a:lnTo>
                  <a:pt x="40" y="5"/>
                </a:lnTo>
                <a:lnTo>
                  <a:pt x="40" y="5"/>
                </a:lnTo>
                <a:lnTo>
                  <a:pt x="45" y="3"/>
                </a:lnTo>
                <a:lnTo>
                  <a:pt x="45" y="3"/>
                </a:lnTo>
                <a:lnTo>
                  <a:pt x="50" y="3"/>
                </a:lnTo>
                <a:lnTo>
                  <a:pt x="50" y="3"/>
                </a:lnTo>
                <a:lnTo>
                  <a:pt x="50" y="3"/>
                </a:lnTo>
                <a:lnTo>
                  <a:pt x="54" y="5"/>
                </a:lnTo>
                <a:lnTo>
                  <a:pt x="54" y="5"/>
                </a:lnTo>
                <a:lnTo>
                  <a:pt x="64" y="7"/>
                </a:lnTo>
                <a:lnTo>
                  <a:pt x="64" y="7"/>
                </a:lnTo>
                <a:lnTo>
                  <a:pt x="69" y="7"/>
                </a:lnTo>
                <a:lnTo>
                  <a:pt x="69" y="7"/>
                </a:lnTo>
                <a:lnTo>
                  <a:pt x="77" y="5"/>
                </a:lnTo>
                <a:lnTo>
                  <a:pt x="77" y="5"/>
                </a:lnTo>
                <a:lnTo>
                  <a:pt x="84" y="5"/>
                </a:lnTo>
                <a:lnTo>
                  <a:pt x="84" y="5"/>
                </a:lnTo>
                <a:lnTo>
                  <a:pt x="84" y="7"/>
                </a:lnTo>
                <a:lnTo>
                  <a:pt x="84" y="7"/>
                </a:lnTo>
                <a:lnTo>
                  <a:pt x="89" y="10"/>
                </a:lnTo>
                <a:lnTo>
                  <a:pt x="89" y="10"/>
                </a:lnTo>
                <a:lnTo>
                  <a:pt x="91" y="7"/>
                </a:lnTo>
                <a:lnTo>
                  <a:pt x="91" y="7"/>
                </a:lnTo>
                <a:lnTo>
                  <a:pt x="96" y="7"/>
                </a:lnTo>
                <a:lnTo>
                  <a:pt x="96" y="7"/>
                </a:lnTo>
                <a:lnTo>
                  <a:pt x="104" y="12"/>
                </a:lnTo>
                <a:lnTo>
                  <a:pt x="104" y="12"/>
                </a:lnTo>
                <a:lnTo>
                  <a:pt x="104" y="10"/>
                </a:lnTo>
                <a:lnTo>
                  <a:pt x="104" y="10"/>
                </a:lnTo>
                <a:lnTo>
                  <a:pt x="106" y="10"/>
                </a:lnTo>
                <a:lnTo>
                  <a:pt x="106" y="10"/>
                </a:lnTo>
                <a:lnTo>
                  <a:pt x="109" y="7"/>
                </a:lnTo>
                <a:lnTo>
                  <a:pt x="109" y="7"/>
                </a:lnTo>
                <a:close/>
                <a:moveTo>
                  <a:pt x="182" y="76"/>
                </a:moveTo>
                <a:lnTo>
                  <a:pt x="182" y="76"/>
                </a:lnTo>
                <a:lnTo>
                  <a:pt x="187" y="76"/>
                </a:lnTo>
                <a:lnTo>
                  <a:pt x="187" y="76"/>
                </a:lnTo>
                <a:lnTo>
                  <a:pt x="190" y="76"/>
                </a:lnTo>
                <a:lnTo>
                  <a:pt x="190" y="76"/>
                </a:lnTo>
                <a:lnTo>
                  <a:pt x="192" y="76"/>
                </a:lnTo>
                <a:lnTo>
                  <a:pt x="192" y="76"/>
                </a:lnTo>
                <a:lnTo>
                  <a:pt x="187" y="74"/>
                </a:lnTo>
                <a:lnTo>
                  <a:pt x="187" y="74"/>
                </a:lnTo>
                <a:lnTo>
                  <a:pt x="182" y="74"/>
                </a:lnTo>
                <a:lnTo>
                  <a:pt x="182" y="74"/>
                </a:lnTo>
                <a:lnTo>
                  <a:pt x="182" y="76"/>
                </a:lnTo>
                <a:lnTo>
                  <a:pt x="182" y="76"/>
                </a:lnTo>
                <a:close/>
                <a:moveTo>
                  <a:pt x="175" y="86"/>
                </a:moveTo>
                <a:lnTo>
                  <a:pt x="175" y="86"/>
                </a:lnTo>
                <a:lnTo>
                  <a:pt x="175" y="81"/>
                </a:lnTo>
                <a:lnTo>
                  <a:pt x="175" y="81"/>
                </a:lnTo>
                <a:lnTo>
                  <a:pt x="180" y="79"/>
                </a:lnTo>
                <a:lnTo>
                  <a:pt x="180" y="79"/>
                </a:lnTo>
                <a:lnTo>
                  <a:pt x="175" y="79"/>
                </a:lnTo>
                <a:lnTo>
                  <a:pt x="175" y="79"/>
                </a:lnTo>
                <a:lnTo>
                  <a:pt x="173" y="79"/>
                </a:lnTo>
                <a:lnTo>
                  <a:pt x="173" y="79"/>
                </a:lnTo>
                <a:lnTo>
                  <a:pt x="170" y="81"/>
                </a:lnTo>
                <a:lnTo>
                  <a:pt x="170" y="81"/>
                </a:lnTo>
                <a:lnTo>
                  <a:pt x="168" y="84"/>
                </a:lnTo>
                <a:lnTo>
                  <a:pt x="168" y="84"/>
                </a:lnTo>
                <a:lnTo>
                  <a:pt x="173" y="84"/>
                </a:lnTo>
                <a:lnTo>
                  <a:pt x="173" y="84"/>
                </a:lnTo>
                <a:lnTo>
                  <a:pt x="175" y="86"/>
                </a:lnTo>
                <a:lnTo>
                  <a:pt x="175" y="86"/>
                </a:lnTo>
                <a:close/>
                <a:moveTo>
                  <a:pt x="155" y="96"/>
                </a:moveTo>
                <a:lnTo>
                  <a:pt x="155" y="96"/>
                </a:lnTo>
                <a:lnTo>
                  <a:pt x="158" y="94"/>
                </a:lnTo>
                <a:lnTo>
                  <a:pt x="158" y="94"/>
                </a:lnTo>
                <a:lnTo>
                  <a:pt x="158" y="91"/>
                </a:lnTo>
                <a:lnTo>
                  <a:pt x="158" y="91"/>
                </a:lnTo>
                <a:lnTo>
                  <a:pt x="158" y="91"/>
                </a:lnTo>
                <a:lnTo>
                  <a:pt x="153" y="91"/>
                </a:lnTo>
                <a:lnTo>
                  <a:pt x="153" y="91"/>
                </a:lnTo>
                <a:lnTo>
                  <a:pt x="153" y="94"/>
                </a:lnTo>
                <a:lnTo>
                  <a:pt x="155" y="9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2" name="Freeform 81"/>
          <p:cNvSpPr>
            <a:spLocks/>
          </p:cNvSpPr>
          <p:nvPr/>
        </p:nvSpPr>
        <p:spPr bwMode="auto">
          <a:xfrm>
            <a:off x="4528953" y="3378757"/>
            <a:ext cx="76655" cy="147460"/>
          </a:xfrm>
          <a:custGeom>
            <a:avLst/>
            <a:gdLst/>
            <a:ahLst/>
            <a:cxnLst>
              <a:cxn ang="0">
                <a:pos x="30" y="89"/>
              </a:cxn>
              <a:cxn ang="0">
                <a:pos x="32" y="79"/>
              </a:cxn>
              <a:cxn ang="0">
                <a:pos x="37" y="71"/>
              </a:cxn>
              <a:cxn ang="0">
                <a:pos x="30" y="66"/>
              </a:cxn>
              <a:cxn ang="0">
                <a:pos x="35" y="57"/>
              </a:cxn>
              <a:cxn ang="0">
                <a:pos x="27" y="47"/>
              </a:cxn>
              <a:cxn ang="0">
                <a:pos x="35" y="47"/>
              </a:cxn>
              <a:cxn ang="0">
                <a:pos x="35" y="37"/>
              </a:cxn>
              <a:cxn ang="0">
                <a:pos x="40" y="25"/>
              </a:cxn>
              <a:cxn ang="0">
                <a:pos x="45" y="15"/>
              </a:cxn>
              <a:cxn ang="0">
                <a:pos x="47" y="12"/>
              </a:cxn>
              <a:cxn ang="0">
                <a:pos x="45" y="3"/>
              </a:cxn>
              <a:cxn ang="0">
                <a:pos x="35" y="5"/>
              </a:cxn>
              <a:cxn ang="0">
                <a:pos x="20" y="7"/>
              </a:cxn>
              <a:cxn ang="0">
                <a:pos x="20" y="0"/>
              </a:cxn>
              <a:cxn ang="0">
                <a:pos x="10" y="0"/>
              </a:cxn>
              <a:cxn ang="0">
                <a:pos x="13" y="10"/>
              </a:cxn>
              <a:cxn ang="0">
                <a:pos x="13" y="20"/>
              </a:cxn>
              <a:cxn ang="0">
                <a:pos x="13" y="27"/>
              </a:cxn>
              <a:cxn ang="0">
                <a:pos x="10" y="35"/>
              </a:cxn>
              <a:cxn ang="0">
                <a:pos x="5" y="44"/>
              </a:cxn>
              <a:cxn ang="0">
                <a:pos x="3" y="52"/>
              </a:cxn>
              <a:cxn ang="0">
                <a:pos x="0" y="64"/>
              </a:cxn>
              <a:cxn ang="0">
                <a:pos x="5" y="62"/>
              </a:cxn>
              <a:cxn ang="0">
                <a:pos x="8" y="62"/>
              </a:cxn>
              <a:cxn ang="0">
                <a:pos x="3" y="66"/>
              </a:cxn>
              <a:cxn ang="0">
                <a:pos x="5" y="71"/>
              </a:cxn>
              <a:cxn ang="0">
                <a:pos x="10" y="69"/>
              </a:cxn>
              <a:cxn ang="0">
                <a:pos x="10" y="74"/>
              </a:cxn>
              <a:cxn ang="0">
                <a:pos x="10" y="86"/>
              </a:cxn>
              <a:cxn ang="0">
                <a:pos x="8" y="94"/>
              </a:cxn>
              <a:cxn ang="0">
                <a:pos x="13" y="91"/>
              </a:cxn>
              <a:cxn ang="0">
                <a:pos x="23" y="96"/>
              </a:cxn>
              <a:cxn ang="0">
                <a:pos x="30" y="94"/>
              </a:cxn>
              <a:cxn ang="0">
                <a:pos x="32" y="91"/>
              </a:cxn>
            </a:cxnLst>
            <a:rect l="0" t="0" r="r" b="b"/>
            <a:pathLst>
              <a:path w="47" h="96">
                <a:moveTo>
                  <a:pt x="32" y="91"/>
                </a:moveTo>
                <a:lnTo>
                  <a:pt x="30" y="89"/>
                </a:lnTo>
                <a:lnTo>
                  <a:pt x="30" y="84"/>
                </a:lnTo>
                <a:lnTo>
                  <a:pt x="32" y="79"/>
                </a:lnTo>
                <a:lnTo>
                  <a:pt x="37" y="74"/>
                </a:lnTo>
                <a:lnTo>
                  <a:pt x="37" y="71"/>
                </a:lnTo>
                <a:lnTo>
                  <a:pt x="32" y="71"/>
                </a:lnTo>
                <a:lnTo>
                  <a:pt x="30" y="66"/>
                </a:lnTo>
                <a:lnTo>
                  <a:pt x="35" y="62"/>
                </a:lnTo>
                <a:lnTo>
                  <a:pt x="35" y="57"/>
                </a:lnTo>
                <a:lnTo>
                  <a:pt x="32" y="54"/>
                </a:lnTo>
                <a:lnTo>
                  <a:pt x="27" y="47"/>
                </a:lnTo>
                <a:lnTo>
                  <a:pt x="32" y="44"/>
                </a:lnTo>
                <a:lnTo>
                  <a:pt x="35" y="47"/>
                </a:lnTo>
                <a:lnTo>
                  <a:pt x="40" y="39"/>
                </a:lnTo>
                <a:lnTo>
                  <a:pt x="35" y="37"/>
                </a:lnTo>
                <a:lnTo>
                  <a:pt x="40" y="35"/>
                </a:lnTo>
                <a:lnTo>
                  <a:pt x="40" y="25"/>
                </a:lnTo>
                <a:lnTo>
                  <a:pt x="40" y="20"/>
                </a:lnTo>
                <a:lnTo>
                  <a:pt x="45" y="15"/>
                </a:lnTo>
                <a:lnTo>
                  <a:pt x="47" y="15"/>
                </a:lnTo>
                <a:lnTo>
                  <a:pt x="47" y="12"/>
                </a:lnTo>
                <a:lnTo>
                  <a:pt x="45" y="7"/>
                </a:lnTo>
                <a:lnTo>
                  <a:pt x="45" y="3"/>
                </a:lnTo>
                <a:lnTo>
                  <a:pt x="37" y="3"/>
                </a:lnTo>
                <a:lnTo>
                  <a:pt x="35" y="5"/>
                </a:lnTo>
                <a:lnTo>
                  <a:pt x="25" y="3"/>
                </a:lnTo>
                <a:lnTo>
                  <a:pt x="20" y="7"/>
                </a:lnTo>
                <a:lnTo>
                  <a:pt x="20" y="5"/>
                </a:lnTo>
                <a:lnTo>
                  <a:pt x="20" y="0"/>
                </a:lnTo>
                <a:lnTo>
                  <a:pt x="18" y="0"/>
                </a:lnTo>
                <a:lnTo>
                  <a:pt x="10" y="0"/>
                </a:lnTo>
                <a:lnTo>
                  <a:pt x="10" y="5"/>
                </a:lnTo>
                <a:lnTo>
                  <a:pt x="13" y="10"/>
                </a:lnTo>
                <a:lnTo>
                  <a:pt x="13" y="20"/>
                </a:lnTo>
                <a:lnTo>
                  <a:pt x="13" y="20"/>
                </a:lnTo>
                <a:lnTo>
                  <a:pt x="10" y="25"/>
                </a:lnTo>
                <a:lnTo>
                  <a:pt x="13" y="27"/>
                </a:lnTo>
                <a:lnTo>
                  <a:pt x="13" y="30"/>
                </a:lnTo>
                <a:lnTo>
                  <a:pt x="10" y="35"/>
                </a:lnTo>
                <a:lnTo>
                  <a:pt x="10" y="39"/>
                </a:lnTo>
                <a:lnTo>
                  <a:pt x="5" y="44"/>
                </a:lnTo>
                <a:lnTo>
                  <a:pt x="5" y="47"/>
                </a:lnTo>
                <a:lnTo>
                  <a:pt x="3" y="52"/>
                </a:lnTo>
                <a:lnTo>
                  <a:pt x="0" y="62"/>
                </a:lnTo>
                <a:lnTo>
                  <a:pt x="0" y="64"/>
                </a:lnTo>
                <a:lnTo>
                  <a:pt x="3" y="64"/>
                </a:lnTo>
                <a:lnTo>
                  <a:pt x="5" y="62"/>
                </a:lnTo>
                <a:lnTo>
                  <a:pt x="8" y="59"/>
                </a:lnTo>
                <a:lnTo>
                  <a:pt x="8" y="62"/>
                </a:lnTo>
                <a:lnTo>
                  <a:pt x="8" y="64"/>
                </a:lnTo>
                <a:lnTo>
                  <a:pt x="3" y="66"/>
                </a:lnTo>
                <a:lnTo>
                  <a:pt x="3" y="69"/>
                </a:lnTo>
                <a:lnTo>
                  <a:pt x="5" y="71"/>
                </a:lnTo>
                <a:lnTo>
                  <a:pt x="8" y="69"/>
                </a:lnTo>
                <a:lnTo>
                  <a:pt x="10" y="69"/>
                </a:lnTo>
                <a:lnTo>
                  <a:pt x="10" y="71"/>
                </a:lnTo>
                <a:lnTo>
                  <a:pt x="10" y="74"/>
                </a:lnTo>
                <a:lnTo>
                  <a:pt x="10" y="79"/>
                </a:lnTo>
                <a:lnTo>
                  <a:pt x="10" y="86"/>
                </a:lnTo>
                <a:lnTo>
                  <a:pt x="8" y="91"/>
                </a:lnTo>
                <a:lnTo>
                  <a:pt x="8" y="94"/>
                </a:lnTo>
                <a:lnTo>
                  <a:pt x="8" y="94"/>
                </a:lnTo>
                <a:lnTo>
                  <a:pt x="13" y="91"/>
                </a:lnTo>
                <a:lnTo>
                  <a:pt x="18" y="94"/>
                </a:lnTo>
                <a:lnTo>
                  <a:pt x="23" y="96"/>
                </a:lnTo>
                <a:lnTo>
                  <a:pt x="27" y="94"/>
                </a:lnTo>
                <a:lnTo>
                  <a:pt x="30" y="94"/>
                </a:lnTo>
                <a:lnTo>
                  <a:pt x="30" y="91"/>
                </a:lnTo>
                <a:lnTo>
                  <a:pt x="32" y="91"/>
                </a:lnTo>
                <a:lnTo>
                  <a:pt x="32" y="9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3" name="Freeform 82"/>
          <p:cNvSpPr>
            <a:spLocks noEditPoints="1"/>
          </p:cNvSpPr>
          <p:nvPr/>
        </p:nvSpPr>
        <p:spPr bwMode="auto">
          <a:xfrm>
            <a:off x="5215587" y="3383365"/>
            <a:ext cx="216918" cy="199685"/>
          </a:xfrm>
          <a:custGeom>
            <a:avLst/>
            <a:gdLst/>
            <a:ahLst/>
            <a:cxnLst>
              <a:cxn ang="0">
                <a:pos x="84" y="12"/>
              </a:cxn>
              <a:cxn ang="0">
                <a:pos x="62" y="12"/>
              </a:cxn>
              <a:cxn ang="0">
                <a:pos x="32" y="17"/>
              </a:cxn>
              <a:cxn ang="0">
                <a:pos x="10" y="44"/>
              </a:cxn>
              <a:cxn ang="0">
                <a:pos x="25" y="68"/>
              </a:cxn>
              <a:cxn ang="0">
                <a:pos x="44" y="71"/>
              </a:cxn>
              <a:cxn ang="0">
                <a:pos x="44" y="76"/>
              </a:cxn>
              <a:cxn ang="0">
                <a:pos x="27" y="81"/>
              </a:cxn>
              <a:cxn ang="0">
                <a:pos x="39" y="95"/>
              </a:cxn>
              <a:cxn ang="0">
                <a:pos x="49" y="95"/>
              </a:cxn>
              <a:cxn ang="0">
                <a:pos x="49" y="86"/>
              </a:cxn>
              <a:cxn ang="0">
                <a:pos x="59" y="86"/>
              </a:cxn>
              <a:cxn ang="0">
                <a:pos x="64" y="78"/>
              </a:cxn>
              <a:cxn ang="0">
                <a:pos x="57" y="66"/>
              </a:cxn>
              <a:cxn ang="0">
                <a:pos x="49" y="54"/>
              </a:cxn>
              <a:cxn ang="0">
                <a:pos x="54" y="56"/>
              </a:cxn>
              <a:cxn ang="0">
                <a:pos x="42" y="29"/>
              </a:cxn>
              <a:cxn ang="0">
                <a:pos x="59" y="39"/>
              </a:cxn>
              <a:cxn ang="0">
                <a:pos x="64" y="34"/>
              </a:cxn>
              <a:cxn ang="0">
                <a:pos x="62" y="24"/>
              </a:cxn>
              <a:cxn ang="0">
                <a:pos x="79" y="17"/>
              </a:cxn>
              <a:cxn ang="0">
                <a:pos x="103" y="9"/>
              </a:cxn>
              <a:cxn ang="0">
                <a:pos x="64" y="125"/>
              </a:cxn>
              <a:cxn ang="0">
                <a:pos x="86" y="130"/>
              </a:cxn>
              <a:cxn ang="0">
                <a:pos x="106" y="120"/>
              </a:cxn>
              <a:cxn ang="0">
                <a:pos x="91" y="120"/>
              </a:cxn>
              <a:cxn ang="0">
                <a:pos x="74" y="120"/>
              </a:cxn>
              <a:cxn ang="0">
                <a:pos x="66" y="118"/>
              </a:cxn>
              <a:cxn ang="0">
                <a:pos x="3" y="46"/>
              </a:cxn>
              <a:cxn ang="0">
                <a:pos x="20" y="63"/>
              </a:cxn>
              <a:cxn ang="0">
                <a:pos x="17" y="71"/>
              </a:cxn>
              <a:cxn ang="0">
                <a:pos x="15" y="73"/>
              </a:cxn>
              <a:cxn ang="0">
                <a:pos x="20" y="83"/>
              </a:cxn>
              <a:cxn ang="0">
                <a:pos x="118" y="115"/>
              </a:cxn>
              <a:cxn ang="0">
                <a:pos x="126" y="113"/>
              </a:cxn>
              <a:cxn ang="0">
                <a:pos x="133" y="105"/>
              </a:cxn>
              <a:cxn ang="0">
                <a:pos x="103" y="103"/>
              </a:cxn>
              <a:cxn ang="0">
                <a:pos x="111" y="81"/>
              </a:cxn>
              <a:cxn ang="0">
                <a:pos x="103" y="81"/>
              </a:cxn>
              <a:cxn ang="0">
                <a:pos x="94" y="66"/>
              </a:cxn>
              <a:cxn ang="0">
                <a:pos x="98" y="51"/>
              </a:cxn>
              <a:cxn ang="0">
                <a:pos x="98" y="56"/>
              </a:cxn>
              <a:cxn ang="0">
                <a:pos x="86" y="27"/>
              </a:cxn>
              <a:cxn ang="0">
                <a:pos x="86" y="34"/>
              </a:cxn>
              <a:cxn ang="0">
                <a:pos x="81" y="36"/>
              </a:cxn>
              <a:cxn ang="0">
                <a:pos x="74" y="22"/>
              </a:cxn>
              <a:cxn ang="0">
                <a:pos x="57" y="54"/>
              </a:cxn>
              <a:cxn ang="0">
                <a:pos x="76" y="59"/>
              </a:cxn>
              <a:cxn ang="0">
                <a:pos x="74" y="100"/>
              </a:cxn>
              <a:cxn ang="0">
                <a:pos x="74" y="91"/>
              </a:cxn>
              <a:cxn ang="0">
                <a:pos x="86" y="95"/>
              </a:cxn>
              <a:cxn ang="0">
                <a:pos x="91" y="91"/>
              </a:cxn>
              <a:cxn ang="0">
                <a:pos x="84" y="83"/>
              </a:cxn>
              <a:cxn ang="0">
                <a:pos x="84" y="81"/>
              </a:cxn>
              <a:cxn ang="0">
                <a:pos x="54" y="56"/>
              </a:cxn>
              <a:cxn ang="0">
                <a:pos x="71" y="68"/>
              </a:cxn>
              <a:cxn ang="0">
                <a:pos x="74" y="78"/>
              </a:cxn>
              <a:cxn ang="0">
                <a:pos x="59" y="63"/>
              </a:cxn>
              <a:cxn ang="0">
                <a:pos x="54" y="103"/>
              </a:cxn>
              <a:cxn ang="0">
                <a:pos x="54" y="103"/>
              </a:cxn>
            </a:cxnLst>
            <a:rect l="0" t="0" r="r" b="b"/>
            <a:pathLst>
              <a:path w="133" h="130">
                <a:moveTo>
                  <a:pt x="101" y="0"/>
                </a:moveTo>
                <a:lnTo>
                  <a:pt x="101" y="0"/>
                </a:lnTo>
                <a:lnTo>
                  <a:pt x="98" y="0"/>
                </a:lnTo>
                <a:lnTo>
                  <a:pt x="98" y="0"/>
                </a:lnTo>
                <a:lnTo>
                  <a:pt x="94" y="4"/>
                </a:lnTo>
                <a:lnTo>
                  <a:pt x="94" y="4"/>
                </a:lnTo>
                <a:lnTo>
                  <a:pt x="94" y="7"/>
                </a:lnTo>
                <a:lnTo>
                  <a:pt x="94" y="7"/>
                </a:lnTo>
                <a:lnTo>
                  <a:pt x="96" y="9"/>
                </a:lnTo>
                <a:lnTo>
                  <a:pt x="96" y="9"/>
                </a:lnTo>
                <a:lnTo>
                  <a:pt x="94" y="12"/>
                </a:lnTo>
                <a:lnTo>
                  <a:pt x="94" y="12"/>
                </a:lnTo>
                <a:lnTo>
                  <a:pt x="86" y="12"/>
                </a:lnTo>
                <a:lnTo>
                  <a:pt x="86" y="12"/>
                </a:lnTo>
                <a:lnTo>
                  <a:pt x="84" y="12"/>
                </a:lnTo>
                <a:lnTo>
                  <a:pt x="84" y="12"/>
                </a:lnTo>
                <a:lnTo>
                  <a:pt x="81" y="12"/>
                </a:lnTo>
                <a:lnTo>
                  <a:pt x="81" y="12"/>
                </a:lnTo>
                <a:lnTo>
                  <a:pt x="79" y="12"/>
                </a:lnTo>
                <a:lnTo>
                  <a:pt x="79" y="12"/>
                </a:lnTo>
                <a:lnTo>
                  <a:pt x="76" y="12"/>
                </a:lnTo>
                <a:lnTo>
                  <a:pt x="76" y="12"/>
                </a:lnTo>
                <a:lnTo>
                  <a:pt x="74" y="12"/>
                </a:lnTo>
                <a:lnTo>
                  <a:pt x="74" y="12"/>
                </a:lnTo>
                <a:lnTo>
                  <a:pt x="74" y="9"/>
                </a:lnTo>
                <a:lnTo>
                  <a:pt x="74" y="9"/>
                </a:lnTo>
                <a:lnTo>
                  <a:pt x="69" y="9"/>
                </a:lnTo>
                <a:lnTo>
                  <a:pt x="69" y="9"/>
                </a:lnTo>
                <a:lnTo>
                  <a:pt x="64" y="9"/>
                </a:lnTo>
                <a:lnTo>
                  <a:pt x="64" y="9"/>
                </a:lnTo>
                <a:lnTo>
                  <a:pt x="62" y="12"/>
                </a:lnTo>
                <a:lnTo>
                  <a:pt x="62" y="12"/>
                </a:lnTo>
                <a:lnTo>
                  <a:pt x="59" y="12"/>
                </a:lnTo>
                <a:lnTo>
                  <a:pt x="59" y="12"/>
                </a:lnTo>
                <a:lnTo>
                  <a:pt x="54" y="12"/>
                </a:lnTo>
                <a:lnTo>
                  <a:pt x="54" y="12"/>
                </a:lnTo>
                <a:lnTo>
                  <a:pt x="52" y="12"/>
                </a:lnTo>
                <a:lnTo>
                  <a:pt x="52" y="12"/>
                </a:lnTo>
                <a:lnTo>
                  <a:pt x="49" y="14"/>
                </a:lnTo>
                <a:lnTo>
                  <a:pt x="49" y="14"/>
                </a:lnTo>
                <a:lnTo>
                  <a:pt x="47" y="14"/>
                </a:lnTo>
                <a:lnTo>
                  <a:pt x="47" y="14"/>
                </a:lnTo>
                <a:lnTo>
                  <a:pt x="44" y="17"/>
                </a:lnTo>
                <a:lnTo>
                  <a:pt x="44" y="17"/>
                </a:lnTo>
                <a:lnTo>
                  <a:pt x="37" y="17"/>
                </a:lnTo>
                <a:lnTo>
                  <a:pt x="37" y="17"/>
                </a:lnTo>
                <a:lnTo>
                  <a:pt x="32" y="17"/>
                </a:lnTo>
                <a:lnTo>
                  <a:pt x="32" y="17"/>
                </a:lnTo>
                <a:lnTo>
                  <a:pt x="32" y="19"/>
                </a:lnTo>
                <a:lnTo>
                  <a:pt x="32" y="19"/>
                </a:lnTo>
                <a:lnTo>
                  <a:pt x="27" y="19"/>
                </a:lnTo>
                <a:lnTo>
                  <a:pt x="27" y="19"/>
                </a:lnTo>
                <a:lnTo>
                  <a:pt x="22" y="24"/>
                </a:lnTo>
                <a:lnTo>
                  <a:pt x="22" y="24"/>
                </a:lnTo>
                <a:lnTo>
                  <a:pt x="22" y="29"/>
                </a:lnTo>
                <a:lnTo>
                  <a:pt x="22" y="29"/>
                </a:lnTo>
                <a:lnTo>
                  <a:pt x="20" y="34"/>
                </a:lnTo>
                <a:lnTo>
                  <a:pt x="20" y="34"/>
                </a:lnTo>
                <a:lnTo>
                  <a:pt x="12" y="34"/>
                </a:lnTo>
                <a:lnTo>
                  <a:pt x="12" y="34"/>
                </a:lnTo>
                <a:lnTo>
                  <a:pt x="12" y="39"/>
                </a:lnTo>
                <a:lnTo>
                  <a:pt x="12" y="39"/>
                </a:lnTo>
                <a:lnTo>
                  <a:pt x="10" y="44"/>
                </a:lnTo>
                <a:lnTo>
                  <a:pt x="10" y="44"/>
                </a:lnTo>
                <a:lnTo>
                  <a:pt x="7" y="44"/>
                </a:lnTo>
                <a:lnTo>
                  <a:pt x="7" y="44"/>
                </a:lnTo>
                <a:lnTo>
                  <a:pt x="10" y="44"/>
                </a:lnTo>
                <a:lnTo>
                  <a:pt x="10" y="44"/>
                </a:lnTo>
                <a:lnTo>
                  <a:pt x="10" y="49"/>
                </a:lnTo>
                <a:lnTo>
                  <a:pt x="10" y="49"/>
                </a:lnTo>
                <a:lnTo>
                  <a:pt x="15" y="54"/>
                </a:lnTo>
                <a:lnTo>
                  <a:pt x="15" y="54"/>
                </a:lnTo>
                <a:lnTo>
                  <a:pt x="17" y="59"/>
                </a:lnTo>
                <a:lnTo>
                  <a:pt x="17" y="59"/>
                </a:lnTo>
                <a:lnTo>
                  <a:pt x="20" y="59"/>
                </a:lnTo>
                <a:lnTo>
                  <a:pt x="20" y="59"/>
                </a:lnTo>
                <a:lnTo>
                  <a:pt x="20" y="59"/>
                </a:lnTo>
                <a:lnTo>
                  <a:pt x="22" y="66"/>
                </a:lnTo>
                <a:lnTo>
                  <a:pt x="22" y="66"/>
                </a:lnTo>
                <a:lnTo>
                  <a:pt x="25" y="68"/>
                </a:lnTo>
                <a:lnTo>
                  <a:pt x="25" y="68"/>
                </a:lnTo>
                <a:lnTo>
                  <a:pt x="27" y="71"/>
                </a:lnTo>
                <a:lnTo>
                  <a:pt x="27" y="71"/>
                </a:lnTo>
                <a:lnTo>
                  <a:pt x="30" y="66"/>
                </a:lnTo>
                <a:lnTo>
                  <a:pt x="30" y="66"/>
                </a:lnTo>
                <a:lnTo>
                  <a:pt x="32" y="71"/>
                </a:lnTo>
                <a:lnTo>
                  <a:pt x="32" y="71"/>
                </a:lnTo>
                <a:lnTo>
                  <a:pt x="34" y="71"/>
                </a:lnTo>
                <a:lnTo>
                  <a:pt x="34" y="71"/>
                </a:lnTo>
                <a:lnTo>
                  <a:pt x="37" y="68"/>
                </a:lnTo>
                <a:lnTo>
                  <a:pt x="37" y="68"/>
                </a:lnTo>
                <a:lnTo>
                  <a:pt x="39" y="68"/>
                </a:lnTo>
                <a:lnTo>
                  <a:pt x="39" y="68"/>
                </a:lnTo>
                <a:lnTo>
                  <a:pt x="42" y="71"/>
                </a:lnTo>
                <a:lnTo>
                  <a:pt x="42" y="71"/>
                </a:lnTo>
                <a:lnTo>
                  <a:pt x="44" y="71"/>
                </a:lnTo>
                <a:lnTo>
                  <a:pt x="44" y="71"/>
                </a:lnTo>
                <a:lnTo>
                  <a:pt x="47" y="71"/>
                </a:lnTo>
                <a:lnTo>
                  <a:pt x="47" y="71"/>
                </a:lnTo>
                <a:lnTo>
                  <a:pt x="47" y="71"/>
                </a:lnTo>
                <a:lnTo>
                  <a:pt x="49" y="73"/>
                </a:lnTo>
                <a:lnTo>
                  <a:pt x="49" y="73"/>
                </a:lnTo>
                <a:lnTo>
                  <a:pt x="52" y="73"/>
                </a:lnTo>
                <a:lnTo>
                  <a:pt x="52" y="73"/>
                </a:lnTo>
                <a:lnTo>
                  <a:pt x="49" y="76"/>
                </a:lnTo>
                <a:lnTo>
                  <a:pt x="49" y="76"/>
                </a:lnTo>
                <a:lnTo>
                  <a:pt x="49" y="78"/>
                </a:lnTo>
                <a:lnTo>
                  <a:pt x="49" y="78"/>
                </a:lnTo>
                <a:lnTo>
                  <a:pt x="47" y="76"/>
                </a:lnTo>
                <a:lnTo>
                  <a:pt x="47" y="76"/>
                </a:lnTo>
                <a:lnTo>
                  <a:pt x="44" y="76"/>
                </a:lnTo>
                <a:lnTo>
                  <a:pt x="44" y="76"/>
                </a:lnTo>
                <a:lnTo>
                  <a:pt x="37" y="71"/>
                </a:lnTo>
                <a:lnTo>
                  <a:pt x="37" y="71"/>
                </a:lnTo>
                <a:lnTo>
                  <a:pt x="34" y="71"/>
                </a:lnTo>
                <a:lnTo>
                  <a:pt x="34" y="71"/>
                </a:lnTo>
                <a:lnTo>
                  <a:pt x="32" y="73"/>
                </a:lnTo>
                <a:lnTo>
                  <a:pt x="32" y="73"/>
                </a:lnTo>
                <a:lnTo>
                  <a:pt x="30" y="71"/>
                </a:lnTo>
                <a:lnTo>
                  <a:pt x="30" y="71"/>
                </a:lnTo>
                <a:lnTo>
                  <a:pt x="27" y="76"/>
                </a:lnTo>
                <a:lnTo>
                  <a:pt x="27" y="76"/>
                </a:lnTo>
                <a:lnTo>
                  <a:pt x="25" y="76"/>
                </a:lnTo>
                <a:lnTo>
                  <a:pt x="25" y="76"/>
                </a:lnTo>
                <a:lnTo>
                  <a:pt x="25" y="78"/>
                </a:lnTo>
                <a:lnTo>
                  <a:pt x="25" y="78"/>
                </a:lnTo>
                <a:lnTo>
                  <a:pt x="27" y="81"/>
                </a:lnTo>
                <a:lnTo>
                  <a:pt x="27" y="81"/>
                </a:lnTo>
                <a:lnTo>
                  <a:pt x="32" y="83"/>
                </a:lnTo>
                <a:lnTo>
                  <a:pt x="32" y="83"/>
                </a:lnTo>
                <a:lnTo>
                  <a:pt x="34" y="86"/>
                </a:lnTo>
                <a:lnTo>
                  <a:pt x="34" y="86"/>
                </a:lnTo>
                <a:lnTo>
                  <a:pt x="34" y="88"/>
                </a:lnTo>
                <a:lnTo>
                  <a:pt x="34" y="88"/>
                </a:lnTo>
                <a:lnTo>
                  <a:pt x="34" y="91"/>
                </a:lnTo>
                <a:lnTo>
                  <a:pt x="34" y="91"/>
                </a:lnTo>
                <a:lnTo>
                  <a:pt x="34" y="93"/>
                </a:lnTo>
                <a:lnTo>
                  <a:pt x="34" y="93"/>
                </a:lnTo>
                <a:lnTo>
                  <a:pt x="37" y="95"/>
                </a:lnTo>
                <a:lnTo>
                  <a:pt x="37" y="95"/>
                </a:lnTo>
                <a:lnTo>
                  <a:pt x="39" y="98"/>
                </a:lnTo>
                <a:lnTo>
                  <a:pt x="39" y="98"/>
                </a:lnTo>
                <a:lnTo>
                  <a:pt x="39" y="95"/>
                </a:lnTo>
                <a:lnTo>
                  <a:pt x="39" y="95"/>
                </a:lnTo>
                <a:lnTo>
                  <a:pt x="39" y="95"/>
                </a:lnTo>
                <a:lnTo>
                  <a:pt x="39" y="93"/>
                </a:lnTo>
                <a:lnTo>
                  <a:pt x="39" y="93"/>
                </a:lnTo>
                <a:lnTo>
                  <a:pt x="42" y="95"/>
                </a:lnTo>
                <a:lnTo>
                  <a:pt x="42" y="95"/>
                </a:lnTo>
                <a:lnTo>
                  <a:pt x="44" y="98"/>
                </a:lnTo>
                <a:lnTo>
                  <a:pt x="44" y="98"/>
                </a:lnTo>
                <a:lnTo>
                  <a:pt x="47" y="100"/>
                </a:lnTo>
                <a:lnTo>
                  <a:pt x="47" y="100"/>
                </a:lnTo>
                <a:lnTo>
                  <a:pt x="44" y="103"/>
                </a:lnTo>
                <a:lnTo>
                  <a:pt x="44" y="103"/>
                </a:lnTo>
                <a:lnTo>
                  <a:pt x="47" y="105"/>
                </a:lnTo>
                <a:lnTo>
                  <a:pt x="47" y="105"/>
                </a:lnTo>
                <a:lnTo>
                  <a:pt x="47" y="100"/>
                </a:lnTo>
                <a:lnTo>
                  <a:pt x="47" y="100"/>
                </a:lnTo>
                <a:lnTo>
                  <a:pt x="49" y="95"/>
                </a:lnTo>
                <a:lnTo>
                  <a:pt x="49" y="95"/>
                </a:lnTo>
                <a:lnTo>
                  <a:pt x="52" y="95"/>
                </a:lnTo>
                <a:lnTo>
                  <a:pt x="52" y="95"/>
                </a:lnTo>
                <a:lnTo>
                  <a:pt x="52" y="100"/>
                </a:lnTo>
                <a:lnTo>
                  <a:pt x="52" y="100"/>
                </a:lnTo>
                <a:lnTo>
                  <a:pt x="57" y="103"/>
                </a:lnTo>
                <a:lnTo>
                  <a:pt x="57" y="103"/>
                </a:lnTo>
                <a:lnTo>
                  <a:pt x="54" y="100"/>
                </a:lnTo>
                <a:lnTo>
                  <a:pt x="54" y="100"/>
                </a:lnTo>
                <a:lnTo>
                  <a:pt x="54" y="98"/>
                </a:lnTo>
                <a:lnTo>
                  <a:pt x="54" y="98"/>
                </a:lnTo>
                <a:lnTo>
                  <a:pt x="54" y="93"/>
                </a:lnTo>
                <a:lnTo>
                  <a:pt x="54" y="93"/>
                </a:lnTo>
                <a:lnTo>
                  <a:pt x="52" y="88"/>
                </a:lnTo>
                <a:lnTo>
                  <a:pt x="52" y="88"/>
                </a:lnTo>
                <a:lnTo>
                  <a:pt x="49" y="86"/>
                </a:lnTo>
                <a:lnTo>
                  <a:pt x="49" y="86"/>
                </a:lnTo>
                <a:lnTo>
                  <a:pt x="49" y="86"/>
                </a:lnTo>
                <a:lnTo>
                  <a:pt x="52" y="86"/>
                </a:lnTo>
                <a:lnTo>
                  <a:pt x="52" y="86"/>
                </a:lnTo>
                <a:lnTo>
                  <a:pt x="54" y="86"/>
                </a:lnTo>
                <a:lnTo>
                  <a:pt x="54" y="86"/>
                </a:lnTo>
                <a:lnTo>
                  <a:pt x="54" y="88"/>
                </a:lnTo>
                <a:lnTo>
                  <a:pt x="54" y="88"/>
                </a:lnTo>
                <a:lnTo>
                  <a:pt x="54" y="88"/>
                </a:lnTo>
                <a:lnTo>
                  <a:pt x="57" y="88"/>
                </a:lnTo>
                <a:lnTo>
                  <a:pt x="57" y="88"/>
                </a:lnTo>
                <a:lnTo>
                  <a:pt x="62" y="88"/>
                </a:lnTo>
                <a:lnTo>
                  <a:pt x="62" y="88"/>
                </a:lnTo>
                <a:lnTo>
                  <a:pt x="62" y="88"/>
                </a:lnTo>
                <a:lnTo>
                  <a:pt x="59" y="86"/>
                </a:lnTo>
                <a:lnTo>
                  <a:pt x="59" y="86"/>
                </a:lnTo>
                <a:lnTo>
                  <a:pt x="59" y="86"/>
                </a:lnTo>
                <a:lnTo>
                  <a:pt x="57" y="86"/>
                </a:lnTo>
                <a:lnTo>
                  <a:pt x="57" y="86"/>
                </a:lnTo>
                <a:lnTo>
                  <a:pt x="54" y="83"/>
                </a:lnTo>
                <a:lnTo>
                  <a:pt x="54" y="83"/>
                </a:lnTo>
                <a:lnTo>
                  <a:pt x="54" y="81"/>
                </a:lnTo>
                <a:lnTo>
                  <a:pt x="54" y="81"/>
                </a:lnTo>
                <a:lnTo>
                  <a:pt x="52" y="78"/>
                </a:lnTo>
                <a:lnTo>
                  <a:pt x="52" y="78"/>
                </a:lnTo>
                <a:lnTo>
                  <a:pt x="54" y="78"/>
                </a:lnTo>
                <a:lnTo>
                  <a:pt x="54" y="78"/>
                </a:lnTo>
                <a:lnTo>
                  <a:pt x="57" y="78"/>
                </a:lnTo>
                <a:lnTo>
                  <a:pt x="57" y="78"/>
                </a:lnTo>
                <a:lnTo>
                  <a:pt x="59" y="76"/>
                </a:lnTo>
                <a:lnTo>
                  <a:pt x="59" y="76"/>
                </a:lnTo>
                <a:lnTo>
                  <a:pt x="64" y="78"/>
                </a:lnTo>
                <a:lnTo>
                  <a:pt x="64" y="78"/>
                </a:lnTo>
                <a:lnTo>
                  <a:pt x="64" y="81"/>
                </a:lnTo>
                <a:lnTo>
                  <a:pt x="64" y="81"/>
                </a:lnTo>
                <a:lnTo>
                  <a:pt x="66" y="81"/>
                </a:lnTo>
                <a:lnTo>
                  <a:pt x="66" y="81"/>
                </a:lnTo>
                <a:lnTo>
                  <a:pt x="69" y="78"/>
                </a:lnTo>
                <a:lnTo>
                  <a:pt x="69" y="78"/>
                </a:lnTo>
                <a:lnTo>
                  <a:pt x="66" y="76"/>
                </a:lnTo>
                <a:lnTo>
                  <a:pt x="66" y="76"/>
                </a:lnTo>
                <a:lnTo>
                  <a:pt x="66" y="71"/>
                </a:lnTo>
                <a:lnTo>
                  <a:pt x="66" y="71"/>
                </a:lnTo>
                <a:lnTo>
                  <a:pt x="64" y="71"/>
                </a:lnTo>
                <a:lnTo>
                  <a:pt x="64" y="71"/>
                </a:lnTo>
                <a:lnTo>
                  <a:pt x="57" y="66"/>
                </a:lnTo>
                <a:lnTo>
                  <a:pt x="57" y="66"/>
                </a:lnTo>
                <a:lnTo>
                  <a:pt x="57" y="66"/>
                </a:lnTo>
                <a:lnTo>
                  <a:pt x="54" y="63"/>
                </a:lnTo>
                <a:lnTo>
                  <a:pt x="54" y="63"/>
                </a:lnTo>
                <a:lnTo>
                  <a:pt x="52" y="63"/>
                </a:lnTo>
                <a:lnTo>
                  <a:pt x="52" y="63"/>
                </a:lnTo>
                <a:lnTo>
                  <a:pt x="52" y="61"/>
                </a:lnTo>
                <a:lnTo>
                  <a:pt x="52" y="61"/>
                </a:lnTo>
                <a:lnTo>
                  <a:pt x="49" y="61"/>
                </a:lnTo>
                <a:lnTo>
                  <a:pt x="49" y="61"/>
                </a:lnTo>
                <a:lnTo>
                  <a:pt x="44" y="59"/>
                </a:lnTo>
                <a:lnTo>
                  <a:pt x="44" y="59"/>
                </a:lnTo>
                <a:lnTo>
                  <a:pt x="49" y="59"/>
                </a:lnTo>
                <a:lnTo>
                  <a:pt x="49" y="59"/>
                </a:lnTo>
                <a:lnTo>
                  <a:pt x="49" y="56"/>
                </a:lnTo>
                <a:lnTo>
                  <a:pt x="49" y="56"/>
                </a:lnTo>
                <a:lnTo>
                  <a:pt x="49" y="54"/>
                </a:lnTo>
                <a:lnTo>
                  <a:pt x="49" y="54"/>
                </a:lnTo>
                <a:lnTo>
                  <a:pt x="47" y="54"/>
                </a:lnTo>
                <a:lnTo>
                  <a:pt x="47" y="54"/>
                </a:lnTo>
                <a:lnTo>
                  <a:pt x="49" y="51"/>
                </a:lnTo>
                <a:lnTo>
                  <a:pt x="49" y="51"/>
                </a:lnTo>
                <a:lnTo>
                  <a:pt x="49" y="49"/>
                </a:lnTo>
                <a:lnTo>
                  <a:pt x="49" y="49"/>
                </a:lnTo>
                <a:lnTo>
                  <a:pt x="52" y="51"/>
                </a:lnTo>
                <a:lnTo>
                  <a:pt x="52" y="51"/>
                </a:lnTo>
                <a:lnTo>
                  <a:pt x="54" y="51"/>
                </a:lnTo>
                <a:lnTo>
                  <a:pt x="54" y="51"/>
                </a:lnTo>
                <a:lnTo>
                  <a:pt x="52" y="54"/>
                </a:lnTo>
                <a:lnTo>
                  <a:pt x="52" y="54"/>
                </a:lnTo>
                <a:lnTo>
                  <a:pt x="52" y="56"/>
                </a:lnTo>
                <a:lnTo>
                  <a:pt x="52" y="56"/>
                </a:lnTo>
                <a:lnTo>
                  <a:pt x="54" y="56"/>
                </a:lnTo>
                <a:lnTo>
                  <a:pt x="54" y="56"/>
                </a:lnTo>
                <a:lnTo>
                  <a:pt x="54" y="51"/>
                </a:lnTo>
                <a:lnTo>
                  <a:pt x="54" y="51"/>
                </a:lnTo>
                <a:lnTo>
                  <a:pt x="54" y="49"/>
                </a:lnTo>
                <a:lnTo>
                  <a:pt x="54" y="49"/>
                </a:lnTo>
                <a:lnTo>
                  <a:pt x="49" y="44"/>
                </a:lnTo>
                <a:lnTo>
                  <a:pt x="49" y="44"/>
                </a:lnTo>
                <a:lnTo>
                  <a:pt x="47" y="41"/>
                </a:lnTo>
                <a:lnTo>
                  <a:pt x="47" y="41"/>
                </a:lnTo>
                <a:lnTo>
                  <a:pt x="47" y="39"/>
                </a:lnTo>
                <a:lnTo>
                  <a:pt x="47" y="39"/>
                </a:lnTo>
                <a:lnTo>
                  <a:pt x="42" y="36"/>
                </a:lnTo>
                <a:lnTo>
                  <a:pt x="42" y="36"/>
                </a:lnTo>
                <a:lnTo>
                  <a:pt x="44" y="34"/>
                </a:lnTo>
                <a:lnTo>
                  <a:pt x="44" y="34"/>
                </a:lnTo>
                <a:lnTo>
                  <a:pt x="42" y="29"/>
                </a:lnTo>
                <a:lnTo>
                  <a:pt x="42" y="29"/>
                </a:lnTo>
                <a:lnTo>
                  <a:pt x="44" y="27"/>
                </a:lnTo>
                <a:lnTo>
                  <a:pt x="44" y="27"/>
                </a:lnTo>
                <a:lnTo>
                  <a:pt x="49" y="24"/>
                </a:lnTo>
                <a:lnTo>
                  <a:pt x="49" y="24"/>
                </a:lnTo>
                <a:lnTo>
                  <a:pt x="49" y="29"/>
                </a:lnTo>
                <a:lnTo>
                  <a:pt x="49" y="29"/>
                </a:lnTo>
                <a:lnTo>
                  <a:pt x="47" y="29"/>
                </a:lnTo>
                <a:lnTo>
                  <a:pt x="47" y="29"/>
                </a:lnTo>
                <a:lnTo>
                  <a:pt x="47" y="29"/>
                </a:lnTo>
                <a:lnTo>
                  <a:pt x="52" y="32"/>
                </a:lnTo>
                <a:lnTo>
                  <a:pt x="52" y="32"/>
                </a:lnTo>
                <a:lnTo>
                  <a:pt x="54" y="36"/>
                </a:lnTo>
                <a:lnTo>
                  <a:pt x="54" y="36"/>
                </a:lnTo>
                <a:lnTo>
                  <a:pt x="57" y="39"/>
                </a:lnTo>
                <a:lnTo>
                  <a:pt x="57" y="39"/>
                </a:lnTo>
                <a:lnTo>
                  <a:pt x="59" y="39"/>
                </a:lnTo>
                <a:lnTo>
                  <a:pt x="59" y="39"/>
                </a:lnTo>
                <a:lnTo>
                  <a:pt x="57" y="36"/>
                </a:lnTo>
                <a:lnTo>
                  <a:pt x="57" y="36"/>
                </a:lnTo>
                <a:lnTo>
                  <a:pt x="57" y="34"/>
                </a:lnTo>
                <a:lnTo>
                  <a:pt x="57" y="34"/>
                </a:lnTo>
                <a:lnTo>
                  <a:pt x="57" y="32"/>
                </a:lnTo>
                <a:lnTo>
                  <a:pt x="57" y="32"/>
                </a:lnTo>
                <a:lnTo>
                  <a:pt x="59" y="34"/>
                </a:lnTo>
                <a:lnTo>
                  <a:pt x="59" y="34"/>
                </a:lnTo>
                <a:lnTo>
                  <a:pt x="62" y="36"/>
                </a:lnTo>
                <a:lnTo>
                  <a:pt x="62" y="36"/>
                </a:lnTo>
                <a:lnTo>
                  <a:pt x="64" y="36"/>
                </a:lnTo>
                <a:lnTo>
                  <a:pt x="64" y="36"/>
                </a:lnTo>
                <a:lnTo>
                  <a:pt x="64" y="34"/>
                </a:lnTo>
                <a:lnTo>
                  <a:pt x="64" y="34"/>
                </a:lnTo>
                <a:lnTo>
                  <a:pt x="64" y="34"/>
                </a:lnTo>
                <a:lnTo>
                  <a:pt x="62" y="32"/>
                </a:lnTo>
                <a:lnTo>
                  <a:pt x="62" y="32"/>
                </a:lnTo>
                <a:lnTo>
                  <a:pt x="62" y="32"/>
                </a:lnTo>
                <a:lnTo>
                  <a:pt x="66" y="32"/>
                </a:lnTo>
                <a:lnTo>
                  <a:pt x="66" y="32"/>
                </a:lnTo>
                <a:lnTo>
                  <a:pt x="69" y="34"/>
                </a:lnTo>
                <a:lnTo>
                  <a:pt x="69" y="34"/>
                </a:lnTo>
                <a:lnTo>
                  <a:pt x="69" y="32"/>
                </a:lnTo>
                <a:lnTo>
                  <a:pt x="69" y="32"/>
                </a:lnTo>
                <a:lnTo>
                  <a:pt x="66" y="29"/>
                </a:lnTo>
                <a:lnTo>
                  <a:pt x="66" y="29"/>
                </a:lnTo>
                <a:lnTo>
                  <a:pt x="64" y="29"/>
                </a:lnTo>
                <a:lnTo>
                  <a:pt x="64" y="29"/>
                </a:lnTo>
                <a:lnTo>
                  <a:pt x="59" y="24"/>
                </a:lnTo>
                <a:lnTo>
                  <a:pt x="59" y="24"/>
                </a:lnTo>
                <a:lnTo>
                  <a:pt x="62" y="24"/>
                </a:lnTo>
                <a:lnTo>
                  <a:pt x="62" y="24"/>
                </a:lnTo>
                <a:lnTo>
                  <a:pt x="64" y="24"/>
                </a:lnTo>
                <a:lnTo>
                  <a:pt x="64" y="24"/>
                </a:lnTo>
                <a:lnTo>
                  <a:pt x="66" y="22"/>
                </a:lnTo>
                <a:lnTo>
                  <a:pt x="66" y="22"/>
                </a:lnTo>
                <a:lnTo>
                  <a:pt x="69" y="19"/>
                </a:lnTo>
                <a:lnTo>
                  <a:pt x="69" y="19"/>
                </a:lnTo>
                <a:lnTo>
                  <a:pt x="71" y="17"/>
                </a:lnTo>
                <a:lnTo>
                  <a:pt x="71" y="17"/>
                </a:lnTo>
                <a:lnTo>
                  <a:pt x="74" y="22"/>
                </a:lnTo>
                <a:lnTo>
                  <a:pt x="74" y="22"/>
                </a:lnTo>
                <a:lnTo>
                  <a:pt x="76" y="22"/>
                </a:lnTo>
                <a:lnTo>
                  <a:pt x="76" y="22"/>
                </a:lnTo>
                <a:lnTo>
                  <a:pt x="79" y="17"/>
                </a:lnTo>
                <a:lnTo>
                  <a:pt x="79" y="17"/>
                </a:lnTo>
                <a:lnTo>
                  <a:pt x="79" y="17"/>
                </a:lnTo>
                <a:lnTo>
                  <a:pt x="81" y="17"/>
                </a:lnTo>
                <a:lnTo>
                  <a:pt x="81" y="17"/>
                </a:lnTo>
                <a:lnTo>
                  <a:pt x="84" y="19"/>
                </a:lnTo>
                <a:lnTo>
                  <a:pt x="84" y="19"/>
                </a:lnTo>
                <a:lnTo>
                  <a:pt x="89" y="19"/>
                </a:lnTo>
                <a:lnTo>
                  <a:pt x="89" y="19"/>
                </a:lnTo>
                <a:lnTo>
                  <a:pt x="94" y="19"/>
                </a:lnTo>
                <a:lnTo>
                  <a:pt x="94" y="19"/>
                </a:lnTo>
                <a:lnTo>
                  <a:pt x="98" y="19"/>
                </a:lnTo>
                <a:lnTo>
                  <a:pt x="98" y="19"/>
                </a:lnTo>
                <a:lnTo>
                  <a:pt x="98" y="17"/>
                </a:lnTo>
                <a:lnTo>
                  <a:pt x="98" y="17"/>
                </a:lnTo>
                <a:lnTo>
                  <a:pt x="98" y="12"/>
                </a:lnTo>
                <a:lnTo>
                  <a:pt x="98" y="12"/>
                </a:lnTo>
                <a:lnTo>
                  <a:pt x="103" y="9"/>
                </a:lnTo>
                <a:lnTo>
                  <a:pt x="103" y="9"/>
                </a:lnTo>
                <a:lnTo>
                  <a:pt x="103" y="7"/>
                </a:lnTo>
                <a:lnTo>
                  <a:pt x="103" y="7"/>
                </a:lnTo>
                <a:lnTo>
                  <a:pt x="98" y="4"/>
                </a:lnTo>
                <a:lnTo>
                  <a:pt x="98" y="4"/>
                </a:lnTo>
                <a:lnTo>
                  <a:pt x="101" y="0"/>
                </a:lnTo>
                <a:lnTo>
                  <a:pt x="101" y="0"/>
                </a:lnTo>
                <a:close/>
                <a:moveTo>
                  <a:pt x="66" y="120"/>
                </a:moveTo>
                <a:lnTo>
                  <a:pt x="66" y="120"/>
                </a:lnTo>
                <a:lnTo>
                  <a:pt x="64" y="118"/>
                </a:lnTo>
                <a:lnTo>
                  <a:pt x="64" y="118"/>
                </a:lnTo>
                <a:lnTo>
                  <a:pt x="64" y="120"/>
                </a:lnTo>
                <a:lnTo>
                  <a:pt x="64" y="120"/>
                </a:lnTo>
                <a:lnTo>
                  <a:pt x="64" y="123"/>
                </a:lnTo>
                <a:lnTo>
                  <a:pt x="64" y="123"/>
                </a:lnTo>
                <a:lnTo>
                  <a:pt x="64" y="125"/>
                </a:lnTo>
                <a:lnTo>
                  <a:pt x="64" y="125"/>
                </a:lnTo>
                <a:lnTo>
                  <a:pt x="66" y="125"/>
                </a:lnTo>
                <a:lnTo>
                  <a:pt x="66" y="125"/>
                </a:lnTo>
                <a:lnTo>
                  <a:pt x="71" y="125"/>
                </a:lnTo>
                <a:lnTo>
                  <a:pt x="71" y="125"/>
                </a:lnTo>
                <a:lnTo>
                  <a:pt x="74" y="125"/>
                </a:lnTo>
                <a:lnTo>
                  <a:pt x="74" y="125"/>
                </a:lnTo>
                <a:lnTo>
                  <a:pt x="76" y="125"/>
                </a:lnTo>
                <a:lnTo>
                  <a:pt x="76" y="125"/>
                </a:lnTo>
                <a:lnTo>
                  <a:pt x="79" y="125"/>
                </a:lnTo>
                <a:lnTo>
                  <a:pt x="79" y="125"/>
                </a:lnTo>
                <a:lnTo>
                  <a:pt x="81" y="127"/>
                </a:lnTo>
                <a:lnTo>
                  <a:pt x="81" y="127"/>
                </a:lnTo>
                <a:lnTo>
                  <a:pt x="81" y="130"/>
                </a:lnTo>
                <a:lnTo>
                  <a:pt x="81" y="130"/>
                </a:lnTo>
                <a:lnTo>
                  <a:pt x="86" y="130"/>
                </a:lnTo>
                <a:lnTo>
                  <a:pt x="86" y="130"/>
                </a:lnTo>
                <a:lnTo>
                  <a:pt x="89" y="127"/>
                </a:lnTo>
                <a:lnTo>
                  <a:pt x="89" y="127"/>
                </a:lnTo>
                <a:lnTo>
                  <a:pt x="94" y="127"/>
                </a:lnTo>
                <a:lnTo>
                  <a:pt x="94" y="127"/>
                </a:lnTo>
                <a:lnTo>
                  <a:pt x="98" y="127"/>
                </a:lnTo>
                <a:lnTo>
                  <a:pt x="98" y="127"/>
                </a:lnTo>
                <a:lnTo>
                  <a:pt x="103" y="127"/>
                </a:lnTo>
                <a:lnTo>
                  <a:pt x="103" y="127"/>
                </a:lnTo>
                <a:lnTo>
                  <a:pt x="106" y="127"/>
                </a:lnTo>
                <a:lnTo>
                  <a:pt x="106" y="127"/>
                </a:lnTo>
                <a:lnTo>
                  <a:pt x="106" y="125"/>
                </a:lnTo>
                <a:lnTo>
                  <a:pt x="106" y="125"/>
                </a:lnTo>
                <a:lnTo>
                  <a:pt x="106" y="123"/>
                </a:lnTo>
                <a:lnTo>
                  <a:pt x="106" y="123"/>
                </a:lnTo>
                <a:lnTo>
                  <a:pt x="106" y="120"/>
                </a:lnTo>
                <a:lnTo>
                  <a:pt x="106" y="120"/>
                </a:lnTo>
                <a:lnTo>
                  <a:pt x="103" y="123"/>
                </a:lnTo>
                <a:lnTo>
                  <a:pt x="103" y="123"/>
                </a:lnTo>
                <a:lnTo>
                  <a:pt x="103" y="125"/>
                </a:lnTo>
                <a:lnTo>
                  <a:pt x="103" y="125"/>
                </a:lnTo>
                <a:lnTo>
                  <a:pt x="103" y="125"/>
                </a:lnTo>
                <a:lnTo>
                  <a:pt x="101" y="125"/>
                </a:lnTo>
                <a:lnTo>
                  <a:pt x="101" y="125"/>
                </a:lnTo>
                <a:lnTo>
                  <a:pt x="98" y="125"/>
                </a:lnTo>
                <a:lnTo>
                  <a:pt x="98" y="125"/>
                </a:lnTo>
                <a:lnTo>
                  <a:pt x="98" y="125"/>
                </a:lnTo>
                <a:lnTo>
                  <a:pt x="98" y="123"/>
                </a:lnTo>
                <a:lnTo>
                  <a:pt x="98" y="123"/>
                </a:lnTo>
                <a:lnTo>
                  <a:pt x="96" y="120"/>
                </a:lnTo>
                <a:lnTo>
                  <a:pt x="96" y="120"/>
                </a:lnTo>
                <a:lnTo>
                  <a:pt x="96" y="120"/>
                </a:lnTo>
                <a:lnTo>
                  <a:pt x="91" y="120"/>
                </a:lnTo>
                <a:lnTo>
                  <a:pt x="91" y="120"/>
                </a:lnTo>
                <a:lnTo>
                  <a:pt x="89" y="120"/>
                </a:lnTo>
                <a:lnTo>
                  <a:pt x="89" y="120"/>
                </a:lnTo>
                <a:lnTo>
                  <a:pt x="84" y="120"/>
                </a:lnTo>
                <a:lnTo>
                  <a:pt x="84" y="120"/>
                </a:lnTo>
                <a:lnTo>
                  <a:pt x="81" y="123"/>
                </a:lnTo>
                <a:lnTo>
                  <a:pt x="81" y="123"/>
                </a:lnTo>
                <a:lnTo>
                  <a:pt x="76" y="123"/>
                </a:lnTo>
                <a:lnTo>
                  <a:pt x="76" y="123"/>
                </a:lnTo>
                <a:lnTo>
                  <a:pt x="76" y="120"/>
                </a:lnTo>
                <a:lnTo>
                  <a:pt x="76" y="120"/>
                </a:lnTo>
                <a:lnTo>
                  <a:pt x="74" y="120"/>
                </a:lnTo>
                <a:lnTo>
                  <a:pt x="74" y="120"/>
                </a:lnTo>
                <a:lnTo>
                  <a:pt x="71" y="120"/>
                </a:lnTo>
                <a:lnTo>
                  <a:pt x="71" y="120"/>
                </a:lnTo>
                <a:lnTo>
                  <a:pt x="74" y="120"/>
                </a:lnTo>
                <a:lnTo>
                  <a:pt x="74" y="120"/>
                </a:lnTo>
                <a:lnTo>
                  <a:pt x="71" y="118"/>
                </a:lnTo>
                <a:lnTo>
                  <a:pt x="71" y="118"/>
                </a:lnTo>
                <a:lnTo>
                  <a:pt x="69" y="118"/>
                </a:lnTo>
                <a:lnTo>
                  <a:pt x="69" y="118"/>
                </a:lnTo>
                <a:lnTo>
                  <a:pt x="71" y="118"/>
                </a:lnTo>
                <a:lnTo>
                  <a:pt x="71" y="118"/>
                </a:lnTo>
                <a:lnTo>
                  <a:pt x="71" y="118"/>
                </a:lnTo>
                <a:lnTo>
                  <a:pt x="71" y="120"/>
                </a:lnTo>
                <a:lnTo>
                  <a:pt x="71" y="120"/>
                </a:lnTo>
                <a:lnTo>
                  <a:pt x="69" y="120"/>
                </a:lnTo>
                <a:lnTo>
                  <a:pt x="69" y="120"/>
                </a:lnTo>
                <a:lnTo>
                  <a:pt x="66" y="118"/>
                </a:lnTo>
                <a:lnTo>
                  <a:pt x="66" y="118"/>
                </a:lnTo>
                <a:lnTo>
                  <a:pt x="66" y="118"/>
                </a:lnTo>
                <a:lnTo>
                  <a:pt x="66" y="118"/>
                </a:lnTo>
                <a:lnTo>
                  <a:pt x="66" y="120"/>
                </a:lnTo>
                <a:lnTo>
                  <a:pt x="66" y="120"/>
                </a:lnTo>
                <a:lnTo>
                  <a:pt x="66" y="120"/>
                </a:lnTo>
                <a:close/>
                <a:moveTo>
                  <a:pt x="5" y="41"/>
                </a:moveTo>
                <a:lnTo>
                  <a:pt x="5" y="41"/>
                </a:lnTo>
                <a:lnTo>
                  <a:pt x="5" y="46"/>
                </a:lnTo>
                <a:lnTo>
                  <a:pt x="5" y="46"/>
                </a:lnTo>
                <a:lnTo>
                  <a:pt x="5" y="46"/>
                </a:lnTo>
                <a:lnTo>
                  <a:pt x="7" y="49"/>
                </a:lnTo>
                <a:lnTo>
                  <a:pt x="7" y="49"/>
                </a:lnTo>
                <a:lnTo>
                  <a:pt x="7" y="49"/>
                </a:lnTo>
                <a:lnTo>
                  <a:pt x="7" y="49"/>
                </a:lnTo>
                <a:lnTo>
                  <a:pt x="5" y="49"/>
                </a:lnTo>
                <a:lnTo>
                  <a:pt x="5" y="49"/>
                </a:lnTo>
                <a:lnTo>
                  <a:pt x="3" y="46"/>
                </a:lnTo>
                <a:lnTo>
                  <a:pt x="3" y="46"/>
                </a:lnTo>
                <a:lnTo>
                  <a:pt x="3" y="44"/>
                </a:lnTo>
                <a:lnTo>
                  <a:pt x="3" y="44"/>
                </a:lnTo>
                <a:lnTo>
                  <a:pt x="0" y="44"/>
                </a:lnTo>
                <a:lnTo>
                  <a:pt x="0" y="44"/>
                </a:lnTo>
                <a:lnTo>
                  <a:pt x="0" y="44"/>
                </a:lnTo>
                <a:lnTo>
                  <a:pt x="3" y="41"/>
                </a:lnTo>
                <a:lnTo>
                  <a:pt x="3" y="41"/>
                </a:lnTo>
                <a:lnTo>
                  <a:pt x="5" y="41"/>
                </a:lnTo>
                <a:lnTo>
                  <a:pt x="5" y="41"/>
                </a:lnTo>
                <a:close/>
                <a:moveTo>
                  <a:pt x="15" y="63"/>
                </a:moveTo>
                <a:lnTo>
                  <a:pt x="15" y="63"/>
                </a:lnTo>
                <a:lnTo>
                  <a:pt x="15" y="63"/>
                </a:lnTo>
                <a:lnTo>
                  <a:pt x="17" y="61"/>
                </a:lnTo>
                <a:lnTo>
                  <a:pt x="17" y="61"/>
                </a:lnTo>
                <a:lnTo>
                  <a:pt x="17" y="61"/>
                </a:lnTo>
                <a:lnTo>
                  <a:pt x="20" y="63"/>
                </a:lnTo>
                <a:lnTo>
                  <a:pt x="20" y="63"/>
                </a:lnTo>
                <a:lnTo>
                  <a:pt x="17" y="63"/>
                </a:lnTo>
                <a:lnTo>
                  <a:pt x="17" y="63"/>
                </a:lnTo>
                <a:lnTo>
                  <a:pt x="17" y="66"/>
                </a:lnTo>
                <a:lnTo>
                  <a:pt x="17" y="66"/>
                </a:lnTo>
                <a:lnTo>
                  <a:pt x="15" y="63"/>
                </a:lnTo>
                <a:lnTo>
                  <a:pt x="15" y="63"/>
                </a:lnTo>
                <a:close/>
                <a:moveTo>
                  <a:pt x="17" y="68"/>
                </a:moveTo>
                <a:lnTo>
                  <a:pt x="17" y="68"/>
                </a:lnTo>
                <a:lnTo>
                  <a:pt x="17" y="66"/>
                </a:lnTo>
                <a:lnTo>
                  <a:pt x="17" y="66"/>
                </a:lnTo>
                <a:lnTo>
                  <a:pt x="17" y="66"/>
                </a:lnTo>
                <a:lnTo>
                  <a:pt x="20" y="68"/>
                </a:lnTo>
                <a:lnTo>
                  <a:pt x="20" y="68"/>
                </a:lnTo>
                <a:lnTo>
                  <a:pt x="17" y="71"/>
                </a:lnTo>
                <a:lnTo>
                  <a:pt x="17" y="71"/>
                </a:lnTo>
                <a:lnTo>
                  <a:pt x="20" y="71"/>
                </a:lnTo>
                <a:lnTo>
                  <a:pt x="20" y="71"/>
                </a:lnTo>
                <a:lnTo>
                  <a:pt x="20" y="73"/>
                </a:lnTo>
                <a:lnTo>
                  <a:pt x="20" y="73"/>
                </a:lnTo>
                <a:lnTo>
                  <a:pt x="20" y="73"/>
                </a:lnTo>
                <a:lnTo>
                  <a:pt x="20" y="76"/>
                </a:lnTo>
                <a:lnTo>
                  <a:pt x="20" y="76"/>
                </a:lnTo>
                <a:lnTo>
                  <a:pt x="17" y="76"/>
                </a:lnTo>
                <a:lnTo>
                  <a:pt x="17" y="76"/>
                </a:lnTo>
                <a:lnTo>
                  <a:pt x="15" y="73"/>
                </a:lnTo>
                <a:lnTo>
                  <a:pt x="15" y="73"/>
                </a:lnTo>
                <a:lnTo>
                  <a:pt x="15" y="73"/>
                </a:lnTo>
                <a:lnTo>
                  <a:pt x="15" y="71"/>
                </a:lnTo>
                <a:lnTo>
                  <a:pt x="15" y="71"/>
                </a:lnTo>
                <a:lnTo>
                  <a:pt x="15" y="73"/>
                </a:lnTo>
                <a:lnTo>
                  <a:pt x="15" y="73"/>
                </a:lnTo>
                <a:lnTo>
                  <a:pt x="15" y="73"/>
                </a:lnTo>
                <a:lnTo>
                  <a:pt x="12" y="73"/>
                </a:lnTo>
                <a:lnTo>
                  <a:pt x="12" y="73"/>
                </a:lnTo>
                <a:lnTo>
                  <a:pt x="12" y="71"/>
                </a:lnTo>
                <a:lnTo>
                  <a:pt x="12" y="71"/>
                </a:lnTo>
                <a:lnTo>
                  <a:pt x="15" y="68"/>
                </a:lnTo>
                <a:lnTo>
                  <a:pt x="15" y="68"/>
                </a:lnTo>
                <a:lnTo>
                  <a:pt x="17" y="68"/>
                </a:lnTo>
                <a:lnTo>
                  <a:pt x="17" y="68"/>
                </a:lnTo>
                <a:close/>
                <a:moveTo>
                  <a:pt x="22" y="81"/>
                </a:moveTo>
                <a:lnTo>
                  <a:pt x="22" y="81"/>
                </a:lnTo>
                <a:lnTo>
                  <a:pt x="22" y="81"/>
                </a:lnTo>
                <a:lnTo>
                  <a:pt x="22" y="81"/>
                </a:lnTo>
                <a:lnTo>
                  <a:pt x="20" y="83"/>
                </a:lnTo>
                <a:lnTo>
                  <a:pt x="20" y="83"/>
                </a:lnTo>
                <a:lnTo>
                  <a:pt x="20" y="83"/>
                </a:lnTo>
                <a:lnTo>
                  <a:pt x="17" y="81"/>
                </a:lnTo>
                <a:lnTo>
                  <a:pt x="17" y="81"/>
                </a:lnTo>
                <a:lnTo>
                  <a:pt x="17" y="78"/>
                </a:lnTo>
                <a:lnTo>
                  <a:pt x="17" y="78"/>
                </a:lnTo>
                <a:lnTo>
                  <a:pt x="17" y="78"/>
                </a:lnTo>
                <a:lnTo>
                  <a:pt x="20" y="78"/>
                </a:lnTo>
                <a:lnTo>
                  <a:pt x="20" y="78"/>
                </a:lnTo>
                <a:lnTo>
                  <a:pt x="22" y="81"/>
                </a:lnTo>
                <a:lnTo>
                  <a:pt x="22" y="81"/>
                </a:lnTo>
                <a:close/>
                <a:moveTo>
                  <a:pt x="118" y="115"/>
                </a:moveTo>
                <a:lnTo>
                  <a:pt x="118" y="115"/>
                </a:lnTo>
                <a:lnTo>
                  <a:pt x="118" y="113"/>
                </a:lnTo>
                <a:lnTo>
                  <a:pt x="118" y="113"/>
                </a:lnTo>
                <a:lnTo>
                  <a:pt x="118" y="113"/>
                </a:lnTo>
                <a:lnTo>
                  <a:pt x="118" y="113"/>
                </a:lnTo>
                <a:lnTo>
                  <a:pt x="118" y="115"/>
                </a:lnTo>
                <a:lnTo>
                  <a:pt x="118" y="115"/>
                </a:lnTo>
                <a:close/>
                <a:moveTo>
                  <a:pt x="118" y="123"/>
                </a:moveTo>
                <a:lnTo>
                  <a:pt x="118" y="123"/>
                </a:lnTo>
                <a:lnTo>
                  <a:pt x="116" y="120"/>
                </a:lnTo>
                <a:lnTo>
                  <a:pt x="116" y="120"/>
                </a:lnTo>
                <a:lnTo>
                  <a:pt x="116" y="118"/>
                </a:lnTo>
                <a:lnTo>
                  <a:pt x="116" y="118"/>
                </a:lnTo>
                <a:lnTo>
                  <a:pt x="118" y="115"/>
                </a:lnTo>
                <a:lnTo>
                  <a:pt x="118" y="115"/>
                </a:lnTo>
                <a:lnTo>
                  <a:pt x="118" y="118"/>
                </a:lnTo>
                <a:lnTo>
                  <a:pt x="118" y="118"/>
                </a:lnTo>
                <a:lnTo>
                  <a:pt x="118" y="118"/>
                </a:lnTo>
                <a:lnTo>
                  <a:pt x="118" y="123"/>
                </a:lnTo>
                <a:lnTo>
                  <a:pt x="118" y="123"/>
                </a:lnTo>
                <a:lnTo>
                  <a:pt x="118" y="123"/>
                </a:lnTo>
                <a:close/>
                <a:moveTo>
                  <a:pt x="126" y="113"/>
                </a:moveTo>
                <a:lnTo>
                  <a:pt x="126" y="113"/>
                </a:lnTo>
                <a:lnTo>
                  <a:pt x="123" y="113"/>
                </a:lnTo>
                <a:lnTo>
                  <a:pt x="123" y="113"/>
                </a:lnTo>
                <a:lnTo>
                  <a:pt x="126" y="110"/>
                </a:lnTo>
                <a:lnTo>
                  <a:pt x="126" y="110"/>
                </a:lnTo>
                <a:lnTo>
                  <a:pt x="126" y="110"/>
                </a:lnTo>
                <a:lnTo>
                  <a:pt x="126" y="108"/>
                </a:lnTo>
                <a:lnTo>
                  <a:pt x="126" y="108"/>
                </a:lnTo>
                <a:lnTo>
                  <a:pt x="128" y="105"/>
                </a:lnTo>
                <a:lnTo>
                  <a:pt x="128" y="105"/>
                </a:lnTo>
                <a:lnTo>
                  <a:pt x="130" y="103"/>
                </a:lnTo>
                <a:lnTo>
                  <a:pt x="130" y="103"/>
                </a:lnTo>
                <a:lnTo>
                  <a:pt x="133" y="103"/>
                </a:lnTo>
                <a:lnTo>
                  <a:pt x="133" y="103"/>
                </a:lnTo>
                <a:lnTo>
                  <a:pt x="133" y="105"/>
                </a:lnTo>
                <a:lnTo>
                  <a:pt x="133" y="105"/>
                </a:lnTo>
                <a:lnTo>
                  <a:pt x="133" y="105"/>
                </a:lnTo>
                <a:lnTo>
                  <a:pt x="133" y="108"/>
                </a:lnTo>
                <a:lnTo>
                  <a:pt x="133" y="108"/>
                </a:lnTo>
                <a:lnTo>
                  <a:pt x="130" y="108"/>
                </a:lnTo>
                <a:lnTo>
                  <a:pt x="130" y="108"/>
                </a:lnTo>
                <a:lnTo>
                  <a:pt x="130" y="110"/>
                </a:lnTo>
                <a:lnTo>
                  <a:pt x="130" y="110"/>
                </a:lnTo>
                <a:lnTo>
                  <a:pt x="130" y="110"/>
                </a:lnTo>
                <a:lnTo>
                  <a:pt x="128" y="110"/>
                </a:lnTo>
                <a:lnTo>
                  <a:pt x="128" y="110"/>
                </a:lnTo>
                <a:lnTo>
                  <a:pt x="126" y="113"/>
                </a:lnTo>
                <a:lnTo>
                  <a:pt x="126" y="113"/>
                </a:lnTo>
                <a:lnTo>
                  <a:pt x="126" y="113"/>
                </a:lnTo>
                <a:close/>
                <a:moveTo>
                  <a:pt x="103" y="103"/>
                </a:moveTo>
                <a:lnTo>
                  <a:pt x="103" y="103"/>
                </a:lnTo>
                <a:lnTo>
                  <a:pt x="103" y="103"/>
                </a:lnTo>
                <a:lnTo>
                  <a:pt x="103" y="100"/>
                </a:lnTo>
                <a:lnTo>
                  <a:pt x="103" y="100"/>
                </a:lnTo>
                <a:lnTo>
                  <a:pt x="106" y="100"/>
                </a:lnTo>
                <a:lnTo>
                  <a:pt x="106" y="100"/>
                </a:lnTo>
                <a:lnTo>
                  <a:pt x="108" y="100"/>
                </a:lnTo>
                <a:lnTo>
                  <a:pt x="108" y="100"/>
                </a:lnTo>
                <a:lnTo>
                  <a:pt x="106" y="103"/>
                </a:lnTo>
                <a:lnTo>
                  <a:pt x="103" y="103"/>
                </a:lnTo>
                <a:lnTo>
                  <a:pt x="103" y="103"/>
                </a:lnTo>
                <a:close/>
                <a:moveTo>
                  <a:pt x="103" y="81"/>
                </a:moveTo>
                <a:lnTo>
                  <a:pt x="103" y="81"/>
                </a:lnTo>
                <a:lnTo>
                  <a:pt x="106" y="78"/>
                </a:lnTo>
                <a:lnTo>
                  <a:pt x="106" y="78"/>
                </a:lnTo>
                <a:lnTo>
                  <a:pt x="108" y="78"/>
                </a:lnTo>
                <a:lnTo>
                  <a:pt x="108" y="78"/>
                </a:lnTo>
                <a:lnTo>
                  <a:pt x="111" y="81"/>
                </a:lnTo>
                <a:lnTo>
                  <a:pt x="111" y="81"/>
                </a:lnTo>
                <a:lnTo>
                  <a:pt x="111" y="81"/>
                </a:lnTo>
                <a:lnTo>
                  <a:pt x="111" y="81"/>
                </a:lnTo>
                <a:lnTo>
                  <a:pt x="113" y="81"/>
                </a:lnTo>
                <a:lnTo>
                  <a:pt x="113" y="81"/>
                </a:lnTo>
                <a:lnTo>
                  <a:pt x="111" y="83"/>
                </a:lnTo>
                <a:lnTo>
                  <a:pt x="111" y="83"/>
                </a:lnTo>
                <a:lnTo>
                  <a:pt x="111" y="83"/>
                </a:lnTo>
                <a:lnTo>
                  <a:pt x="108" y="83"/>
                </a:lnTo>
                <a:lnTo>
                  <a:pt x="108" y="83"/>
                </a:lnTo>
                <a:lnTo>
                  <a:pt x="106" y="81"/>
                </a:lnTo>
                <a:lnTo>
                  <a:pt x="106" y="81"/>
                </a:lnTo>
                <a:lnTo>
                  <a:pt x="106" y="81"/>
                </a:lnTo>
                <a:lnTo>
                  <a:pt x="103" y="83"/>
                </a:lnTo>
                <a:lnTo>
                  <a:pt x="103" y="83"/>
                </a:lnTo>
                <a:lnTo>
                  <a:pt x="103" y="81"/>
                </a:lnTo>
                <a:lnTo>
                  <a:pt x="103" y="81"/>
                </a:lnTo>
                <a:close/>
                <a:moveTo>
                  <a:pt x="98" y="63"/>
                </a:moveTo>
                <a:lnTo>
                  <a:pt x="98" y="63"/>
                </a:lnTo>
                <a:lnTo>
                  <a:pt x="98" y="68"/>
                </a:lnTo>
                <a:lnTo>
                  <a:pt x="98" y="68"/>
                </a:lnTo>
                <a:lnTo>
                  <a:pt x="98" y="71"/>
                </a:lnTo>
                <a:lnTo>
                  <a:pt x="98" y="71"/>
                </a:lnTo>
                <a:lnTo>
                  <a:pt x="96" y="71"/>
                </a:lnTo>
                <a:lnTo>
                  <a:pt x="96" y="71"/>
                </a:lnTo>
                <a:lnTo>
                  <a:pt x="96" y="71"/>
                </a:lnTo>
                <a:lnTo>
                  <a:pt x="96" y="68"/>
                </a:lnTo>
                <a:lnTo>
                  <a:pt x="96" y="68"/>
                </a:lnTo>
                <a:lnTo>
                  <a:pt x="96" y="68"/>
                </a:lnTo>
                <a:lnTo>
                  <a:pt x="96" y="66"/>
                </a:lnTo>
                <a:lnTo>
                  <a:pt x="96" y="66"/>
                </a:lnTo>
                <a:lnTo>
                  <a:pt x="94" y="66"/>
                </a:lnTo>
                <a:lnTo>
                  <a:pt x="94" y="66"/>
                </a:lnTo>
                <a:lnTo>
                  <a:pt x="94" y="63"/>
                </a:lnTo>
                <a:lnTo>
                  <a:pt x="94" y="63"/>
                </a:lnTo>
                <a:lnTo>
                  <a:pt x="96" y="63"/>
                </a:lnTo>
                <a:lnTo>
                  <a:pt x="96" y="63"/>
                </a:lnTo>
                <a:lnTo>
                  <a:pt x="98" y="63"/>
                </a:lnTo>
                <a:lnTo>
                  <a:pt x="98" y="63"/>
                </a:lnTo>
                <a:lnTo>
                  <a:pt x="98" y="63"/>
                </a:lnTo>
                <a:close/>
                <a:moveTo>
                  <a:pt x="96" y="56"/>
                </a:moveTo>
                <a:lnTo>
                  <a:pt x="96" y="56"/>
                </a:lnTo>
                <a:lnTo>
                  <a:pt x="94" y="54"/>
                </a:lnTo>
                <a:lnTo>
                  <a:pt x="94" y="54"/>
                </a:lnTo>
                <a:lnTo>
                  <a:pt x="94" y="51"/>
                </a:lnTo>
                <a:lnTo>
                  <a:pt x="94" y="51"/>
                </a:lnTo>
                <a:lnTo>
                  <a:pt x="98" y="51"/>
                </a:lnTo>
                <a:lnTo>
                  <a:pt x="98" y="51"/>
                </a:lnTo>
                <a:lnTo>
                  <a:pt x="98" y="49"/>
                </a:lnTo>
                <a:lnTo>
                  <a:pt x="98" y="49"/>
                </a:lnTo>
                <a:lnTo>
                  <a:pt x="103" y="49"/>
                </a:lnTo>
                <a:lnTo>
                  <a:pt x="103" y="49"/>
                </a:lnTo>
                <a:lnTo>
                  <a:pt x="103" y="49"/>
                </a:lnTo>
                <a:lnTo>
                  <a:pt x="103" y="51"/>
                </a:lnTo>
                <a:lnTo>
                  <a:pt x="103" y="51"/>
                </a:lnTo>
                <a:lnTo>
                  <a:pt x="103" y="51"/>
                </a:lnTo>
                <a:lnTo>
                  <a:pt x="103" y="54"/>
                </a:lnTo>
                <a:lnTo>
                  <a:pt x="103" y="54"/>
                </a:lnTo>
                <a:lnTo>
                  <a:pt x="103" y="56"/>
                </a:lnTo>
                <a:lnTo>
                  <a:pt x="103" y="56"/>
                </a:lnTo>
                <a:lnTo>
                  <a:pt x="101" y="56"/>
                </a:lnTo>
                <a:lnTo>
                  <a:pt x="101" y="56"/>
                </a:lnTo>
                <a:lnTo>
                  <a:pt x="98" y="56"/>
                </a:lnTo>
                <a:lnTo>
                  <a:pt x="98" y="56"/>
                </a:lnTo>
                <a:lnTo>
                  <a:pt x="98" y="54"/>
                </a:lnTo>
                <a:lnTo>
                  <a:pt x="98" y="54"/>
                </a:lnTo>
                <a:lnTo>
                  <a:pt x="101" y="54"/>
                </a:lnTo>
                <a:lnTo>
                  <a:pt x="101" y="54"/>
                </a:lnTo>
                <a:lnTo>
                  <a:pt x="101" y="51"/>
                </a:lnTo>
                <a:lnTo>
                  <a:pt x="101" y="51"/>
                </a:lnTo>
                <a:lnTo>
                  <a:pt x="98" y="51"/>
                </a:lnTo>
                <a:lnTo>
                  <a:pt x="98" y="51"/>
                </a:lnTo>
                <a:lnTo>
                  <a:pt x="98" y="54"/>
                </a:lnTo>
                <a:lnTo>
                  <a:pt x="98" y="54"/>
                </a:lnTo>
                <a:lnTo>
                  <a:pt x="96" y="56"/>
                </a:lnTo>
                <a:lnTo>
                  <a:pt x="96" y="56"/>
                </a:lnTo>
                <a:lnTo>
                  <a:pt x="96" y="56"/>
                </a:lnTo>
                <a:lnTo>
                  <a:pt x="96" y="56"/>
                </a:lnTo>
                <a:close/>
                <a:moveTo>
                  <a:pt x="86" y="27"/>
                </a:moveTo>
                <a:lnTo>
                  <a:pt x="86" y="27"/>
                </a:lnTo>
                <a:lnTo>
                  <a:pt x="89" y="27"/>
                </a:lnTo>
                <a:lnTo>
                  <a:pt x="89" y="27"/>
                </a:lnTo>
                <a:lnTo>
                  <a:pt x="89" y="27"/>
                </a:lnTo>
                <a:lnTo>
                  <a:pt x="91" y="27"/>
                </a:lnTo>
                <a:lnTo>
                  <a:pt x="91" y="27"/>
                </a:lnTo>
                <a:lnTo>
                  <a:pt x="91" y="29"/>
                </a:lnTo>
                <a:lnTo>
                  <a:pt x="91" y="29"/>
                </a:lnTo>
                <a:lnTo>
                  <a:pt x="91" y="29"/>
                </a:lnTo>
                <a:lnTo>
                  <a:pt x="86" y="27"/>
                </a:lnTo>
                <a:lnTo>
                  <a:pt x="86" y="27"/>
                </a:lnTo>
                <a:close/>
                <a:moveTo>
                  <a:pt x="81" y="36"/>
                </a:moveTo>
                <a:lnTo>
                  <a:pt x="81" y="36"/>
                </a:lnTo>
                <a:lnTo>
                  <a:pt x="84" y="36"/>
                </a:lnTo>
                <a:lnTo>
                  <a:pt x="84" y="36"/>
                </a:lnTo>
                <a:lnTo>
                  <a:pt x="84" y="36"/>
                </a:lnTo>
                <a:lnTo>
                  <a:pt x="86" y="34"/>
                </a:lnTo>
                <a:lnTo>
                  <a:pt x="86" y="34"/>
                </a:lnTo>
                <a:lnTo>
                  <a:pt x="86" y="36"/>
                </a:lnTo>
                <a:lnTo>
                  <a:pt x="86" y="36"/>
                </a:lnTo>
                <a:lnTo>
                  <a:pt x="86" y="39"/>
                </a:lnTo>
                <a:lnTo>
                  <a:pt x="86" y="39"/>
                </a:lnTo>
                <a:lnTo>
                  <a:pt x="84" y="41"/>
                </a:lnTo>
                <a:lnTo>
                  <a:pt x="84" y="41"/>
                </a:lnTo>
                <a:lnTo>
                  <a:pt x="84" y="39"/>
                </a:lnTo>
                <a:lnTo>
                  <a:pt x="84" y="39"/>
                </a:lnTo>
                <a:lnTo>
                  <a:pt x="81" y="41"/>
                </a:lnTo>
                <a:lnTo>
                  <a:pt x="81" y="41"/>
                </a:lnTo>
                <a:lnTo>
                  <a:pt x="81" y="39"/>
                </a:lnTo>
                <a:lnTo>
                  <a:pt x="81" y="39"/>
                </a:lnTo>
                <a:lnTo>
                  <a:pt x="79" y="36"/>
                </a:lnTo>
                <a:lnTo>
                  <a:pt x="79" y="36"/>
                </a:lnTo>
                <a:lnTo>
                  <a:pt x="81" y="36"/>
                </a:lnTo>
                <a:lnTo>
                  <a:pt x="81" y="36"/>
                </a:lnTo>
                <a:close/>
                <a:moveTo>
                  <a:pt x="74" y="22"/>
                </a:moveTo>
                <a:lnTo>
                  <a:pt x="74" y="22"/>
                </a:lnTo>
                <a:lnTo>
                  <a:pt x="74" y="22"/>
                </a:lnTo>
                <a:lnTo>
                  <a:pt x="76" y="22"/>
                </a:lnTo>
                <a:lnTo>
                  <a:pt x="76" y="22"/>
                </a:lnTo>
                <a:lnTo>
                  <a:pt x="76" y="24"/>
                </a:lnTo>
                <a:lnTo>
                  <a:pt x="76" y="24"/>
                </a:lnTo>
                <a:lnTo>
                  <a:pt x="74" y="27"/>
                </a:lnTo>
                <a:lnTo>
                  <a:pt x="74" y="27"/>
                </a:lnTo>
                <a:lnTo>
                  <a:pt x="74" y="24"/>
                </a:lnTo>
                <a:lnTo>
                  <a:pt x="74" y="24"/>
                </a:lnTo>
                <a:lnTo>
                  <a:pt x="71" y="24"/>
                </a:lnTo>
                <a:lnTo>
                  <a:pt x="71" y="24"/>
                </a:lnTo>
                <a:lnTo>
                  <a:pt x="74" y="22"/>
                </a:lnTo>
                <a:lnTo>
                  <a:pt x="74" y="22"/>
                </a:lnTo>
                <a:close/>
                <a:moveTo>
                  <a:pt x="59" y="54"/>
                </a:moveTo>
                <a:lnTo>
                  <a:pt x="59" y="54"/>
                </a:lnTo>
                <a:lnTo>
                  <a:pt x="59" y="54"/>
                </a:lnTo>
                <a:lnTo>
                  <a:pt x="62" y="54"/>
                </a:lnTo>
                <a:lnTo>
                  <a:pt x="62" y="54"/>
                </a:lnTo>
                <a:lnTo>
                  <a:pt x="62" y="56"/>
                </a:lnTo>
                <a:lnTo>
                  <a:pt x="62" y="56"/>
                </a:lnTo>
                <a:lnTo>
                  <a:pt x="62" y="56"/>
                </a:lnTo>
                <a:lnTo>
                  <a:pt x="59" y="54"/>
                </a:lnTo>
                <a:lnTo>
                  <a:pt x="59" y="54"/>
                </a:lnTo>
                <a:close/>
                <a:moveTo>
                  <a:pt x="57" y="54"/>
                </a:moveTo>
                <a:lnTo>
                  <a:pt x="57" y="54"/>
                </a:lnTo>
                <a:lnTo>
                  <a:pt x="57" y="54"/>
                </a:lnTo>
                <a:lnTo>
                  <a:pt x="59" y="54"/>
                </a:lnTo>
                <a:lnTo>
                  <a:pt x="59" y="54"/>
                </a:lnTo>
                <a:lnTo>
                  <a:pt x="57" y="54"/>
                </a:lnTo>
                <a:lnTo>
                  <a:pt x="57" y="54"/>
                </a:lnTo>
                <a:lnTo>
                  <a:pt x="57" y="54"/>
                </a:lnTo>
                <a:close/>
                <a:moveTo>
                  <a:pt x="74" y="56"/>
                </a:moveTo>
                <a:lnTo>
                  <a:pt x="74" y="56"/>
                </a:lnTo>
                <a:lnTo>
                  <a:pt x="74" y="56"/>
                </a:lnTo>
                <a:lnTo>
                  <a:pt x="76" y="59"/>
                </a:lnTo>
                <a:lnTo>
                  <a:pt x="76" y="59"/>
                </a:lnTo>
                <a:lnTo>
                  <a:pt x="79" y="59"/>
                </a:lnTo>
                <a:lnTo>
                  <a:pt x="79" y="59"/>
                </a:lnTo>
                <a:lnTo>
                  <a:pt x="79" y="61"/>
                </a:lnTo>
                <a:lnTo>
                  <a:pt x="79" y="61"/>
                </a:lnTo>
                <a:lnTo>
                  <a:pt x="76" y="61"/>
                </a:lnTo>
                <a:lnTo>
                  <a:pt x="76" y="61"/>
                </a:lnTo>
                <a:lnTo>
                  <a:pt x="76" y="59"/>
                </a:lnTo>
                <a:lnTo>
                  <a:pt x="76" y="59"/>
                </a:lnTo>
                <a:lnTo>
                  <a:pt x="76" y="59"/>
                </a:lnTo>
                <a:lnTo>
                  <a:pt x="74" y="56"/>
                </a:lnTo>
                <a:lnTo>
                  <a:pt x="74" y="56"/>
                </a:lnTo>
                <a:close/>
                <a:moveTo>
                  <a:pt x="98" y="86"/>
                </a:moveTo>
                <a:lnTo>
                  <a:pt x="98" y="86"/>
                </a:lnTo>
                <a:lnTo>
                  <a:pt x="98" y="86"/>
                </a:lnTo>
                <a:lnTo>
                  <a:pt x="98" y="83"/>
                </a:lnTo>
                <a:lnTo>
                  <a:pt x="98" y="83"/>
                </a:lnTo>
                <a:lnTo>
                  <a:pt x="101" y="83"/>
                </a:lnTo>
                <a:lnTo>
                  <a:pt x="101" y="83"/>
                </a:lnTo>
                <a:lnTo>
                  <a:pt x="101" y="83"/>
                </a:lnTo>
                <a:lnTo>
                  <a:pt x="98" y="86"/>
                </a:lnTo>
                <a:lnTo>
                  <a:pt x="98" y="86"/>
                </a:lnTo>
                <a:close/>
                <a:moveTo>
                  <a:pt x="74" y="103"/>
                </a:moveTo>
                <a:lnTo>
                  <a:pt x="74" y="103"/>
                </a:lnTo>
                <a:lnTo>
                  <a:pt x="74" y="100"/>
                </a:lnTo>
                <a:lnTo>
                  <a:pt x="74" y="100"/>
                </a:lnTo>
                <a:lnTo>
                  <a:pt x="76" y="100"/>
                </a:lnTo>
                <a:lnTo>
                  <a:pt x="76" y="100"/>
                </a:lnTo>
                <a:lnTo>
                  <a:pt x="76" y="100"/>
                </a:lnTo>
                <a:lnTo>
                  <a:pt x="74" y="103"/>
                </a:lnTo>
                <a:lnTo>
                  <a:pt x="74" y="103"/>
                </a:lnTo>
                <a:lnTo>
                  <a:pt x="74" y="103"/>
                </a:lnTo>
                <a:close/>
                <a:moveTo>
                  <a:pt x="74" y="93"/>
                </a:moveTo>
                <a:lnTo>
                  <a:pt x="74" y="93"/>
                </a:lnTo>
                <a:lnTo>
                  <a:pt x="76" y="91"/>
                </a:lnTo>
                <a:lnTo>
                  <a:pt x="76" y="91"/>
                </a:lnTo>
                <a:lnTo>
                  <a:pt x="76" y="93"/>
                </a:lnTo>
                <a:lnTo>
                  <a:pt x="76" y="93"/>
                </a:lnTo>
                <a:lnTo>
                  <a:pt x="74" y="93"/>
                </a:lnTo>
                <a:lnTo>
                  <a:pt x="74" y="93"/>
                </a:lnTo>
                <a:close/>
                <a:moveTo>
                  <a:pt x="74" y="91"/>
                </a:moveTo>
                <a:lnTo>
                  <a:pt x="74" y="91"/>
                </a:lnTo>
                <a:lnTo>
                  <a:pt x="74" y="88"/>
                </a:lnTo>
                <a:lnTo>
                  <a:pt x="74" y="88"/>
                </a:lnTo>
                <a:lnTo>
                  <a:pt x="76" y="88"/>
                </a:lnTo>
                <a:lnTo>
                  <a:pt x="76" y="88"/>
                </a:lnTo>
                <a:lnTo>
                  <a:pt x="74" y="91"/>
                </a:lnTo>
                <a:lnTo>
                  <a:pt x="74" y="91"/>
                </a:lnTo>
                <a:close/>
                <a:moveTo>
                  <a:pt x="71" y="86"/>
                </a:moveTo>
                <a:lnTo>
                  <a:pt x="71" y="86"/>
                </a:lnTo>
                <a:lnTo>
                  <a:pt x="71" y="86"/>
                </a:lnTo>
                <a:lnTo>
                  <a:pt x="74" y="83"/>
                </a:lnTo>
                <a:lnTo>
                  <a:pt x="74" y="83"/>
                </a:lnTo>
                <a:lnTo>
                  <a:pt x="74" y="86"/>
                </a:lnTo>
                <a:lnTo>
                  <a:pt x="74" y="86"/>
                </a:lnTo>
                <a:lnTo>
                  <a:pt x="71" y="86"/>
                </a:lnTo>
                <a:lnTo>
                  <a:pt x="71" y="86"/>
                </a:lnTo>
                <a:close/>
                <a:moveTo>
                  <a:pt x="86" y="95"/>
                </a:moveTo>
                <a:lnTo>
                  <a:pt x="86" y="95"/>
                </a:lnTo>
                <a:lnTo>
                  <a:pt x="86" y="93"/>
                </a:lnTo>
                <a:lnTo>
                  <a:pt x="86" y="93"/>
                </a:lnTo>
                <a:lnTo>
                  <a:pt x="86" y="91"/>
                </a:lnTo>
                <a:lnTo>
                  <a:pt x="86" y="91"/>
                </a:lnTo>
                <a:lnTo>
                  <a:pt x="86" y="91"/>
                </a:lnTo>
                <a:lnTo>
                  <a:pt x="89" y="93"/>
                </a:lnTo>
                <a:lnTo>
                  <a:pt x="89" y="93"/>
                </a:lnTo>
                <a:lnTo>
                  <a:pt x="86" y="95"/>
                </a:lnTo>
                <a:lnTo>
                  <a:pt x="86" y="95"/>
                </a:lnTo>
                <a:close/>
                <a:moveTo>
                  <a:pt x="91" y="95"/>
                </a:moveTo>
                <a:lnTo>
                  <a:pt x="91" y="95"/>
                </a:lnTo>
                <a:lnTo>
                  <a:pt x="89" y="93"/>
                </a:lnTo>
                <a:lnTo>
                  <a:pt x="89" y="93"/>
                </a:lnTo>
                <a:lnTo>
                  <a:pt x="91" y="91"/>
                </a:lnTo>
                <a:lnTo>
                  <a:pt x="91" y="91"/>
                </a:lnTo>
                <a:lnTo>
                  <a:pt x="94" y="91"/>
                </a:lnTo>
                <a:lnTo>
                  <a:pt x="94" y="91"/>
                </a:lnTo>
                <a:lnTo>
                  <a:pt x="94" y="93"/>
                </a:lnTo>
                <a:lnTo>
                  <a:pt x="94" y="93"/>
                </a:lnTo>
                <a:lnTo>
                  <a:pt x="91" y="95"/>
                </a:lnTo>
                <a:lnTo>
                  <a:pt x="91" y="95"/>
                </a:lnTo>
                <a:lnTo>
                  <a:pt x="91" y="95"/>
                </a:lnTo>
                <a:close/>
                <a:moveTo>
                  <a:pt x="89" y="88"/>
                </a:moveTo>
                <a:lnTo>
                  <a:pt x="89" y="88"/>
                </a:lnTo>
                <a:lnTo>
                  <a:pt x="89" y="86"/>
                </a:lnTo>
                <a:lnTo>
                  <a:pt x="89" y="86"/>
                </a:lnTo>
                <a:lnTo>
                  <a:pt x="91" y="86"/>
                </a:lnTo>
                <a:lnTo>
                  <a:pt x="91" y="86"/>
                </a:lnTo>
                <a:lnTo>
                  <a:pt x="89" y="88"/>
                </a:lnTo>
                <a:lnTo>
                  <a:pt x="89" y="88"/>
                </a:lnTo>
                <a:close/>
                <a:moveTo>
                  <a:pt x="84" y="83"/>
                </a:moveTo>
                <a:lnTo>
                  <a:pt x="84" y="83"/>
                </a:lnTo>
                <a:lnTo>
                  <a:pt x="86" y="83"/>
                </a:lnTo>
                <a:lnTo>
                  <a:pt x="86" y="83"/>
                </a:lnTo>
                <a:lnTo>
                  <a:pt x="89" y="86"/>
                </a:lnTo>
                <a:lnTo>
                  <a:pt x="89" y="86"/>
                </a:lnTo>
                <a:lnTo>
                  <a:pt x="89" y="86"/>
                </a:lnTo>
                <a:lnTo>
                  <a:pt x="86" y="86"/>
                </a:lnTo>
                <a:lnTo>
                  <a:pt x="86" y="86"/>
                </a:lnTo>
                <a:lnTo>
                  <a:pt x="84" y="83"/>
                </a:lnTo>
                <a:lnTo>
                  <a:pt x="84" y="83"/>
                </a:lnTo>
                <a:close/>
                <a:moveTo>
                  <a:pt x="79" y="78"/>
                </a:moveTo>
                <a:lnTo>
                  <a:pt x="79" y="78"/>
                </a:lnTo>
                <a:lnTo>
                  <a:pt x="79" y="78"/>
                </a:lnTo>
                <a:lnTo>
                  <a:pt x="81" y="78"/>
                </a:lnTo>
                <a:lnTo>
                  <a:pt x="81" y="78"/>
                </a:lnTo>
                <a:lnTo>
                  <a:pt x="84" y="81"/>
                </a:lnTo>
                <a:lnTo>
                  <a:pt x="84" y="81"/>
                </a:lnTo>
                <a:lnTo>
                  <a:pt x="84" y="83"/>
                </a:lnTo>
                <a:lnTo>
                  <a:pt x="84" y="83"/>
                </a:lnTo>
                <a:lnTo>
                  <a:pt x="81" y="83"/>
                </a:lnTo>
                <a:lnTo>
                  <a:pt x="81" y="83"/>
                </a:lnTo>
                <a:lnTo>
                  <a:pt x="79" y="81"/>
                </a:lnTo>
                <a:lnTo>
                  <a:pt x="79" y="81"/>
                </a:lnTo>
                <a:lnTo>
                  <a:pt x="76" y="78"/>
                </a:lnTo>
                <a:lnTo>
                  <a:pt x="76" y="78"/>
                </a:lnTo>
                <a:lnTo>
                  <a:pt x="79" y="78"/>
                </a:lnTo>
                <a:lnTo>
                  <a:pt x="79" y="78"/>
                </a:lnTo>
                <a:close/>
                <a:moveTo>
                  <a:pt x="49" y="59"/>
                </a:moveTo>
                <a:lnTo>
                  <a:pt x="49" y="59"/>
                </a:lnTo>
                <a:lnTo>
                  <a:pt x="52" y="56"/>
                </a:lnTo>
                <a:lnTo>
                  <a:pt x="52" y="56"/>
                </a:lnTo>
                <a:lnTo>
                  <a:pt x="54" y="56"/>
                </a:lnTo>
                <a:lnTo>
                  <a:pt x="54" y="56"/>
                </a:lnTo>
                <a:lnTo>
                  <a:pt x="57" y="59"/>
                </a:lnTo>
                <a:lnTo>
                  <a:pt x="57" y="59"/>
                </a:lnTo>
                <a:lnTo>
                  <a:pt x="62" y="61"/>
                </a:lnTo>
                <a:lnTo>
                  <a:pt x="62" y="61"/>
                </a:lnTo>
                <a:lnTo>
                  <a:pt x="64" y="61"/>
                </a:lnTo>
                <a:lnTo>
                  <a:pt x="64" y="61"/>
                </a:lnTo>
                <a:lnTo>
                  <a:pt x="64" y="61"/>
                </a:lnTo>
                <a:lnTo>
                  <a:pt x="66" y="61"/>
                </a:lnTo>
                <a:lnTo>
                  <a:pt x="66" y="61"/>
                </a:lnTo>
                <a:lnTo>
                  <a:pt x="66" y="61"/>
                </a:lnTo>
                <a:lnTo>
                  <a:pt x="69" y="66"/>
                </a:lnTo>
                <a:lnTo>
                  <a:pt x="69" y="66"/>
                </a:lnTo>
                <a:lnTo>
                  <a:pt x="71" y="68"/>
                </a:lnTo>
                <a:lnTo>
                  <a:pt x="71" y="68"/>
                </a:lnTo>
                <a:lnTo>
                  <a:pt x="71" y="68"/>
                </a:lnTo>
                <a:lnTo>
                  <a:pt x="71" y="71"/>
                </a:lnTo>
                <a:lnTo>
                  <a:pt x="71" y="71"/>
                </a:lnTo>
                <a:lnTo>
                  <a:pt x="71" y="73"/>
                </a:lnTo>
                <a:lnTo>
                  <a:pt x="71" y="73"/>
                </a:lnTo>
                <a:lnTo>
                  <a:pt x="74" y="76"/>
                </a:lnTo>
                <a:lnTo>
                  <a:pt x="74" y="76"/>
                </a:lnTo>
                <a:lnTo>
                  <a:pt x="74" y="73"/>
                </a:lnTo>
                <a:lnTo>
                  <a:pt x="74" y="73"/>
                </a:lnTo>
                <a:lnTo>
                  <a:pt x="76" y="73"/>
                </a:lnTo>
                <a:lnTo>
                  <a:pt x="76" y="73"/>
                </a:lnTo>
                <a:lnTo>
                  <a:pt x="76" y="78"/>
                </a:lnTo>
                <a:lnTo>
                  <a:pt x="76" y="78"/>
                </a:lnTo>
                <a:lnTo>
                  <a:pt x="74" y="76"/>
                </a:lnTo>
                <a:lnTo>
                  <a:pt x="74" y="76"/>
                </a:lnTo>
                <a:lnTo>
                  <a:pt x="74" y="78"/>
                </a:lnTo>
                <a:lnTo>
                  <a:pt x="74" y="78"/>
                </a:lnTo>
                <a:lnTo>
                  <a:pt x="71" y="76"/>
                </a:lnTo>
                <a:lnTo>
                  <a:pt x="71" y="76"/>
                </a:lnTo>
                <a:lnTo>
                  <a:pt x="69" y="73"/>
                </a:lnTo>
                <a:lnTo>
                  <a:pt x="69" y="73"/>
                </a:lnTo>
                <a:lnTo>
                  <a:pt x="69" y="73"/>
                </a:lnTo>
                <a:lnTo>
                  <a:pt x="69" y="71"/>
                </a:lnTo>
                <a:lnTo>
                  <a:pt x="69" y="71"/>
                </a:lnTo>
                <a:lnTo>
                  <a:pt x="66" y="68"/>
                </a:lnTo>
                <a:lnTo>
                  <a:pt x="66" y="68"/>
                </a:lnTo>
                <a:lnTo>
                  <a:pt x="66" y="68"/>
                </a:lnTo>
                <a:lnTo>
                  <a:pt x="64" y="68"/>
                </a:lnTo>
                <a:lnTo>
                  <a:pt x="64" y="68"/>
                </a:lnTo>
                <a:lnTo>
                  <a:pt x="62" y="66"/>
                </a:lnTo>
                <a:lnTo>
                  <a:pt x="62" y="66"/>
                </a:lnTo>
                <a:lnTo>
                  <a:pt x="59" y="63"/>
                </a:lnTo>
                <a:lnTo>
                  <a:pt x="59" y="63"/>
                </a:lnTo>
                <a:lnTo>
                  <a:pt x="59" y="63"/>
                </a:lnTo>
                <a:lnTo>
                  <a:pt x="57" y="61"/>
                </a:lnTo>
                <a:lnTo>
                  <a:pt x="57" y="61"/>
                </a:lnTo>
                <a:lnTo>
                  <a:pt x="54" y="61"/>
                </a:lnTo>
                <a:lnTo>
                  <a:pt x="54" y="61"/>
                </a:lnTo>
                <a:lnTo>
                  <a:pt x="54" y="61"/>
                </a:lnTo>
                <a:lnTo>
                  <a:pt x="54" y="59"/>
                </a:lnTo>
                <a:lnTo>
                  <a:pt x="54" y="59"/>
                </a:lnTo>
                <a:lnTo>
                  <a:pt x="52" y="59"/>
                </a:lnTo>
                <a:lnTo>
                  <a:pt x="52" y="59"/>
                </a:lnTo>
                <a:lnTo>
                  <a:pt x="49" y="59"/>
                </a:lnTo>
                <a:lnTo>
                  <a:pt x="49" y="59"/>
                </a:lnTo>
                <a:close/>
                <a:moveTo>
                  <a:pt x="54" y="105"/>
                </a:moveTo>
                <a:lnTo>
                  <a:pt x="54" y="105"/>
                </a:lnTo>
                <a:lnTo>
                  <a:pt x="54" y="103"/>
                </a:lnTo>
                <a:lnTo>
                  <a:pt x="54" y="103"/>
                </a:lnTo>
                <a:lnTo>
                  <a:pt x="54" y="105"/>
                </a:lnTo>
                <a:lnTo>
                  <a:pt x="54" y="105"/>
                </a:lnTo>
                <a:lnTo>
                  <a:pt x="57" y="108"/>
                </a:lnTo>
                <a:lnTo>
                  <a:pt x="57" y="108"/>
                </a:lnTo>
                <a:lnTo>
                  <a:pt x="54" y="110"/>
                </a:lnTo>
                <a:lnTo>
                  <a:pt x="54" y="110"/>
                </a:lnTo>
                <a:lnTo>
                  <a:pt x="54" y="110"/>
                </a:lnTo>
                <a:lnTo>
                  <a:pt x="54" y="108"/>
                </a:lnTo>
                <a:lnTo>
                  <a:pt x="54" y="108"/>
                </a:lnTo>
                <a:lnTo>
                  <a:pt x="52" y="105"/>
                </a:lnTo>
                <a:lnTo>
                  <a:pt x="52" y="105"/>
                </a:lnTo>
                <a:lnTo>
                  <a:pt x="54" y="105"/>
                </a:lnTo>
                <a:lnTo>
                  <a:pt x="54" y="105"/>
                </a:lnTo>
                <a:close/>
                <a:moveTo>
                  <a:pt x="54" y="103"/>
                </a:moveTo>
                <a:lnTo>
                  <a:pt x="54" y="103"/>
                </a:lnTo>
                <a:lnTo>
                  <a:pt x="54" y="103"/>
                </a:lnTo>
                <a:lnTo>
                  <a:pt x="54" y="10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4" name="Freeform 83"/>
          <p:cNvSpPr>
            <a:spLocks noEditPoints="1"/>
          </p:cNvSpPr>
          <p:nvPr/>
        </p:nvSpPr>
        <p:spPr bwMode="auto">
          <a:xfrm>
            <a:off x="5817411" y="3371076"/>
            <a:ext cx="137000" cy="109059"/>
          </a:xfrm>
          <a:custGeom>
            <a:avLst/>
            <a:gdLst/>
            <a:ahLst/>
            <a:cxnLst>
              <a:cxn ang="0">
                <a:pos x="0" y="12"/>
              </a:cxn>
              <a:cxn ang="0">
                <a:pos x="15" y="15"/>
              </a:cxn>
              <a:cxn ang="0">
                <a:pos x="27" y="17"/>
              </a:cxn>
              <a:cxn ang="0">
                <a:pos x="25" y="10"/>
              </a:cxn>
              <a:cxn ang="0">
                <a:pos x="22" y="3"/>
              </a:cxn>
              <a:cxn ang="0">
                <a:pos x="35" y="8"/>
              </a:cxn>
              <a:cxn ang="0">
                <a:pos x="44" y="12"/>
              </a:cxn>
              <a:cxn ang="0">
                <a:pos x="49" y="8"/>
              </a:cxn>
              <a:cxn ang="0">
                <a:pos x="59" y="3"/>
              </a:cxn>
              <a:cxn ang="0">
                <a:pos x="64" y="12"/>
              </a:cxn>
              <a:cxn ang="0">
                <a:pos x="71" y="20"/>
              </a:cxn>
              <a:cxn ang="0">
                <a:pos x="74" y="25"/>
              </a:cxn>
              <a:cxn ang="0">
                <a:pos x="81" y="27"/>
              </a:cxn>
              <a:cxn ang="0">
                <a:pos x="81" y="30"/>
              </a:cxn>
              <a:cxn ang="0">
                <a:pos x="76" y="32"/>
              </a:cxn>
              <a:cxn ang="0">
                <a:pos x="71" y="40"/>
              </a:cxn>
              <a:cxn ang="0">
                <a:pos x="71" y="44"/>
              </a:cxn>
              <a:cxn ang="0">
                <a:pos x="71" y="49"/>
              </a:cxn>
              <a:cxn ang="0">
                <a:pos x="69" y="52"/>
              </a:cxn>
              <a:cxn ang="0">
                <a:pos x="69" y="59"/>
              </a:cxn>
              <a:cxn ang="0">
                <a:pos x="69" y="54"/>
              </a:cxn>
              <a:cxn ang="0">
                <a:pos x="66" y="54"/>
              </a:cxn>
              <a:cxn ang="0">
                <a:pos x="66" y="59"/>
              </a:cxn>
              <a:cxn ang="0">
                <a:pos x="66" y="64"/>
              </a:cxn>
              <a:cxn ang="0">
                <a:pos x="64" y="71"/>
              </a:cxn>
              <a:cxn ang="0">
                <a:pos x="62" y="69"/>
              </a:cxn>
              <a:cxn ang="0">
                <a:pos x="54" y="62"/>
              </a:cxn>
              <a:cxn ang="0">
                <a:pos x="54" y="57"/>
              </a:cxn>
              <a:cxn ang="0">
                <a:pos x="57" y="52"/>
              </a:cxn>
              <a:cxn ang="0">
                <a:pos x="52" y="49"/>
              </a:cxn>
              <a:cxn ang="0">
                <a:pos x="52" y="47"/>
              </a:cxn>
              <a:cxn ang="0">
                <a:pos x="47" y="49"/>
              </a:cxn>
              <a:cxn ang="0">
                <a:pos x="42" y="52"/>
              </a:cxn>
              <a:cxn ang="0">
                <a:pos x="37" y="57"/>
              </a:cxn>
              <a:cxn ang="0">
                <a:pos x="35" y="59"/>
              </a:cxn>
              <a:cxn ang="0">
                <a:pos x="32" y="62"/>
              </a:cxn>
              <a:cxn ang="0">
                <a:pos x="30" y="59"/>
              </a:cxn>
              <a:cxn ang="0">
                <a:pos x="32" y="57"/>
              </a:cxn>
              <a:cxn ang="0">
                <a:pos x="32" y="52"/>
              </a:cxn>
              <a:cxn ang="0">
                <a:pos x="25" y="47"/>
              </a:cxn>
              <a:cxn ang="0">
                <a:pos x="15" y="40"/>
              </a:cxn>
              <a:cxn ang="0">
                <a:pos x="17" y="35"/>
              </a:cxn>
              <a:cxn ang="0">
                <a:pos x="12" y="25"/>
              </a:cxn>
              <a:cxn ang="0">
                <a:pos x="10" y="17"/>
              </a:cxn>
              <a:cxn ang="0">
                <a:pos x="0" y="15"/>
              </a:cxn>
              <a:cxn ang="0">
                <a:pos x="0" y="15"/>
              </a:cxn>
              <a:cxn ang="0">
                <a:pos x="20" y="49"/>
              </a:cxn>
              <a:cxn ang="0">
                <a:pos x="12" y="44"/>
              </a:cxn>
              <a:cxn ang="0">
                <a:pos x="10" y="47"/>
              </a:cxn>
              <a:cxn ang="0">
                <a:pos x="3" y="44"/>
              </a:cxn>
              <a:cxn ang="0">
                <a:pos x="0" y="44"/>
              </a:cxn>
              <a:cxn ang="0">
                <a:pos x="3" y="47"/>
              </a:cxn>
              <a:cxn ang="0">
                <a:pos x="7" y="49"/>
              </a:cxn>
              <a:cxn ang="0">
                <a:pos x="12" y="57"/>
              </a:cxn>
              <a:cxn ang="0">
                <a:pos x="17" y="62"/>
              </a:cxn>
              <a:cxn ang="0">
                <a:pos x="25" y="64"/>
              </a:cxn>
              <a:cxn ang="0">
                <a:pos x="27" y="62"/>
              </a:cxn>
            </a:cxnLst>
            <a:rect l="0" t="0" r="r" b="b"/>
            <a:pathLst>
              <a:path w="84" h="71">
                <a:moveTo>
                  <a:pt x="0" y="15"/>
                </a:moveTo>
                <a:lnTo>
                  <a:pt x="0" y="12"/>
                </a:lnTo>
                <a:lnTo>
                  <a:pt x="7" y="10"/>
                </a:lnTo>
                <a:lnTo>
                  <a:pt x="15" y="15"/>
                </a:lnTo>
                <a:lnTo>
                  <a:pt x="22" y="15"/>
                </a:lnTo>
                <a:lnTo>
                  <a:pt x="27" y="17"/>
                </a:lnTo>
                <a:lnTo>
                  <a:pt x="27" y="12"/>
                </a:lnTo>
                <a:lnTo>
                  <a:pt x="25" y="10"/>
                </a:lnTo>
                <a:lnTo>
                  <a:pt x="22" y="8"/>
                </a:lnTo>
                <a:lnTo>
                  <a:pt x="22" y="3"/>
                </a:lnTo>
                <a:lnTo>
                  <a:pt x="27" y="3"/>
                </a:lnTo>
                <a:lnTo>
                  <a:pt x="35" y="8"/>
                </a:lnTo>
                <a:lnTo>
                  <a:pt x="37" y="12"/>
                </a:lnTo>
                <a:lnTo>
                  <a:pt x="44" y="12"/>
                </a:lnTo>
                <a:lnTo>
                  <a:pt x="44" y="10"/>
                </a:lnTo>
                <a:lnTo>
                  <a:pt x="49" y="8"/>
                </a:lnTo>
                <a:lnTo>
                  <a:pt x="54" y="0"/>
                </a:lnTo>
                <a:lnTo>
                  <a:pt x="59" y="3"/>
                </a:lnTo>
                <a:lnTo>
                  <a:pt x="64" y="10"/>
                </a:lnTo>
                <a:lnTo>
                  <a:pt x="64" y="12"/>
                </a:lnTo>
                <a:lnTo>
                  <a:pt x="64" y="17"/>
                </a:lnTo>
                <a:lnTo>
                  <a:pt x="71" y="20"/>
                </a:lnTo>
                <a:lnTo>
                  <a:pt x="71" y="22"/>
                </a:lnTo>
                <a:lnTo>
                  <a:pt x="74" y="25"/>
                </a:lnTo>
                <a:lnTo>
                  <a:pt x="79" y="25"/>
                </a:lnTo>
                <a:lnTo>
                  <a:pt x="81" y="27"/>
                </a:lnTo>
                <a:lnTo>
                  <a:pt x="84" y="30"/>
                </a:lnTo>
                <a:lnTo>
                  <a:pt x="81" y="30"/>
                </a:lnTo>
                <a:lnTo>
                  <a:pt x="81" y="32"/>
                </a:lnTo>
                <a:lnTo>
                  <a:pt x="76" y="32"/>
                </a:lnTo>
                <a:lnTo>
                  <a:pt x="71" y="35"/>
                </a:lnTo>
                <a:lnTo>
                  <a:pt x="71" y="40"/>
                </a:lnTo>
                <a:lnTo>
                  <a:pt x="71" y="42"/>
                </a:lnTo>
                <a:lnTo>
                  <a:pt x="71" y="44"/>
                </a:lnTo>
                <a:lnTo>
                  <a:pt x="71" y="47"/>
                </a:lnTo>
                <a:lnTo>
                  <a:pt x="71" y="49"/>
                </a:lnTo>
                <a:lnTo>
                  <a:pt x="71" y="52"/>
                </a:lnTo>
                <a:lnTo>
                  <a:pt x="69" y="52"/>
                </a:lnTo>
                <a:lnTo>
                  <a:pt x="69" y="57"/>
                </a:lnTo>
                <a:lnTo>
                  <a:pt x="69" y="59"/>
                </a:lnTo>
                <a:lnTo>
                  <a:pt x="69" y="59"/>
                </a:lnTo>
                <a:lnTo>
                  <a:pt x="69" y="54"/>
                </a:lnTo>
                <a:lnTo>
                  <a:pt x="66" y="52"/>
                </a:lnTo>
                <a:lnTo>
                  <a:pt x="66" y="54"/>
                </a:lnTo>
                <a:lnTo>
                  <a:pt x="64" y="57"/>
                </a:lnTo>
                <a:lnTo>
                  <a:pt x="66" y="59"/>
                </a:lnTo>
                <a:lnTo>
                  <a:pt x="66" y="62"/>
                </a:lnTo>
                <a:lnTo>
                  <a:pt x="66" y="64"/>
                </a:lnTo>
                <a:lnTo>
                  <a:pt x="66" y="69"/>
                </a:lnTo>
                <a:lnTo>
                  <a:pt x="64" y="71"/>
                </a:lnTo>
                <a:lnTo>
                  <a:pt x="62" y="69"/>
                </a:lnTo>
                <a:lnTo>
                  <a:pt x="62" y="69"/>
                </a:lnTo>
                <a:lnTo>
                  <a:pt x="59" y="67"/>
                </a:lnTo>
                <a:lnTo>
                  <a:pt x="54" y="62"/>
                </a:lnTo>
                <a:lnTo>
                  <a:pt x="59" y="57"/>
                </a:lnTo>
                <a:lnTo>
                  <a:pt x="54" y="57"/>
                </a:lnTo>
                <a:lnTo>
                  <a:pt x="54" y="54"/>
                </a:lnTo>
                <a:lnTo>
                  <a:pt x="57" y="52"/>
                </a:lnTo>
                <a:lnTo>
                  <a:pt x="54" y="49"/>
                </a:lnTo>
                <a:lnTo>
                  <a:pt x="52" y="49"/>
                </a:lnTo>
                <a:lnTo>
                  <a:pt x="52" y="47"/>
                </a:lnTo>
                <a:lnTo>
                  <a:pt x="52" y="47"/>
                </a:lnTo>
                <a:lnTo>
                  <a:pt x="49" y="47"/>
                </a:lnTo>
                <a:lnTo>
                  <a:pt x="47" y="49"/>
                </a:lnTo>
                <a:lnTo>
                  <a:pt x="44" y="49"/>
                </a:lnTo>
                <a:lnTo>
                  <a:pt x="42" y="52"/>
                </a:lnTo>
                <a:lnTo>
                  <a:pt x="42" y="52"/>
                </a:lnTo>
                <a:lnTo>
                  <a:pt x="37" y="57"/>
                </a:lnTo>
                <a:lnTo>
                  <a:pt x="37" y="57"/>
                </a:lnTo>
                <a:lnTo>
                  <a:pt x="35" y="59"/>
                </a:lnTo>
                <a:lnTo>
                  <a:pt x="35" y="59"/>
                </a:lnTo>
                <a:lnTo>
                  <a:pt x="32" y="62"/>
                </a:lnTo>
                <a:lnTo>
                  <a:pt x="30" y="59"/>
                </a:lnTo>
                <a:lnTo>
                  <a:pt x="30" y="59"/>
                </a:lnTo>
                <a:lnTo>
                  <a:pt x="30" y="57"/>
                </a:lnTo>
                <a:lnTo>
                  <a:pt x="32" y="57"/>
                </a:lnTo>
                <a:lnTo>
                  <a:pt x="30" y="52"/>
                </a:lnTo>
                <a:lnTo>
                  <a:pt x="32" y="52"/>
                </a:lnTo>
                <a:lnTo>
                  <a:pt x="30" y="47"/>
                </a:lnTo>
                <a:lnTo>
                  <a:pt x="25" y="47"/>
                </a:lnTo>
                <a:lnTo>
                  <a:pt x="17" y="44"/>
                </a:lnTo>
                <a:lnTo>
                  <a:pt x="15" y="40"/>
                </a:lnTo>
                <a:lnTo>
                  <a:pt x="17" y="37"/>
                </a:lnTo>
                <a:lnTo>
                  <a:pt x="17" y="35"/>
                </a:lnTo>
                <a:lnTo>
                  <a:pt x="12" y="27"/>
                </a:lnTo>
                <a:lnTo>
                  <a:pt x="12" y="25"/>
                </a:lnTo>
                <a:lnTo>
                  <a:pt x="12" y="22"/>
                </a:lnTo>
                <a:lnTo>
                  <a:pt x="10" y="17"/>
                </a:lnTo>
                <a:lnTo>
                  <a:pt x="3" y="17"/>
                </a:lnTo>
                <a:lnTo>
                  <a:pt x="0" y="15"/>
                </a:lnTo>
                <a:lnTo>
                  <a:pt x="0" y="15"/>
                </a:lnTo>
                <a:lnTo>
                  <a:pt x="0" y="15"/>
                </a:lnTo>
                <a:close/>
                <a:moveTo>
                  <a:pt x="27" y="62"/>
                </a:moveTo>
                <a:lnTo>
                  <a:pt x="20" y="49"/>
                </a:lnTo>
                <a:lnTo>
                  <a:pt x="15" y="49"/>
                </a:lnTo>
                <a:lnTo>
                  <a:pt x="12" y="44"/>
                </a:lnTo>
                <a:lnTo>
                  <a:pt x="10" y="44"/>
                </a:lnTo>
                <a:lnTo>
                  <a:pt x="10" y="47"/>
                </a:lnTo>
                <a:lnTo>
                  <a:pt x="5" y="42"/>
                </a:lnTo>
                <a:lnTo>
                  <a:pt x="3" y="44"/>
                </a:lnTo>
                <a:lnTo>
                  <a:pt x="0" y="44"/>
                </a:lnTo>
                <a:lnTo>
                  <a:pt x="0" y="44"/>
                </a:lnTo>
                <a:lnTo>
                  <a:pt x="0" y="44"/>
                </a:lnTo>
                <a:lnTo>
                  <a:pt x="3" y="47"/>
                </a:lnTo>
                <a:lnTo>
                  <a:pt x="5" y="47"/>
                </a:lnTo>
                <a:lnTo>
                  <a:pt x="7" y="49"/>
                </a:lnTo>
                <a:lnTo>
                  <a:pt x="5" y="52"/>
                </a:lnTo>
                <a:lnTo>
                  <a:pt x="12" y="57"/>
                </a:lnTo>
                <a:lnTo>
                  <a:pt x="12" y="59"/>
                </a:lnTo>
                <a:lnTo>
                  <a:pt x="17" y="62"/>
                </a:lnTo>
                <a:lnTo>
                  <a:pt x="22" y="62"/>
                </a:lnTo>
                <a:lnTo>
                  <a:pt x="25" y="64"/>
                </a:lnTo>
                <a:lnTo>
                  <a:pt x="27" y="62"/>
                </a:lnTo>
                <a:lnTo>
                  <a:pt x="27" y="6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5" name="Freeform 84"/>
          <p:cNvSpPr>
            <a:spLocks/>
          </p:cNvSpPr>
          <p:nvPr/>
        </p:nvSpPr>
        <p:spPr bwMode="auto">
          <a:xfrm>
            <a:off x="5805994" y="3438662"/>
            <a:ext cx="517014" cy="393226"/>
          </a:xfrm>
          <a:custGeom>
            <a:avLst/>
            <a:gdLst/>
            <a:ahLst/>
            <a:cxnLst>
              <a:cxn ang="0">
                <a:pos x="14" y="5"/>
              </a:cxn>
              <a:cxn ang="0">
                <a:pos x="29" y="18"/>
              </a:cxn>
              <a:cxn ang="0">
                <a:pos x="39" y="18"/>
              </a:cxn>
              <a:cxn ang="0">
                <a:pos x="49" y="8"/>
              </a:cxn>
              <a:cxn ang="0">
                <a:pos x="59" y="3"/>
              </a:cxn>
              <a:cxn ang="0">
                <a:pos x="61" y="10"/>
              </a:cxn>
              <a:cxn ang="0">
                <a:pos x="69" y="25"/>
              </a:cxn>
              <a:cxn ang="0">
                <a:pos x="76" y="30"/>
              </a:cxn>
              <a:cxn ang="0">
                <a:pos x="81" y="42"/>
              </a:cxn>
              <a:cxn ang="0">
                <a:pos x="98" y="45"/>
              </a:cxn>
              <a:cxn ang="0">
                <a:pos x="120" y="57"/>
              </a:cxn>
              <a:cxn ang="0">
                <a:pos x="157" y="55"/>
              </a:cxn>
              <a:cxn ang="0">
                <a:pos x="165" y="40"/>
              </a:cxn>
              <a:cxn ang="0">
                <a:pos x="184" y="27"/>
              </a:cxn>
              <a:cxn ang="0">
                <a:pos x="199" y="25"/>
              </a:cxn>
              <a:cxn ang="0">
                <a:pos x="224" y="35"/>
              </a:cxn>
              <a:cxn ang="0">
                <a:pos x="238" y="42"/>
              </a:cxn>
              <a:cxn ang="0">
                <a:pos x="263" y="59"/>
              </a:cxn>
              <a:cxn ang="0">
                <a:pos x="265" y="74"/>
              </a:cxn>
              <a:cxn ang="0">
                <a:pos x="265" y="84"/>
              </a:cxn>
              <a:cxn ang="0">
                <a:pos x="260" y="96"/>
              </a:cxn>
              <a:cxn ang="0">
                <a:pos x="268" y="106"/>
              </a:cxn>
              <a:cxn ang="0">
                <a:pos x="268" y="133"/>
              </a:cxn>
              <a:cxn ang="0">
                <a:pos x="285" y="153"/>
              </a:cxn>
              <a:cxn ang="0">
                <a:pos x="285" y="190"/>
              </a:cxn>
              <a:cxn ang="0">
                <a:pos x="302" y="200"/>
              </a:cxn>
              <a:cxn ang="0">
                <a:pos x="307" y="214"/>
              </a:cxn>
              <a:cxn ang="0">
                <a:pos x="315" y="229"/>
              </a:cxn>
              <a:cxn ang="0">
                <a:pos x="295" y="234"/>
              </a:cxn>
              <a:cxn ang="0">
                <a:pos x="295" y="254"/>
              </a:cxn>
              <a:cxn ang="0">
                <a:pos x="280" y="251"/>
              </a:cxn>
              <a:cxn ang="0">
                <a:pos x="273" y="251"/>
              </a:cxn>
              <a:cxn ang="0">
                <a:pos x="251" y="249"/>
              </a:cxn>
              <a:cxn ang="0">
                <a:pos x="233" y="246"/>
              </a:cxn>
              <a:cxn ang="0">
                <a:pos x="221" y="234"/>
              </a:cxn>
              <a:cxn ang="0">
                <a:pos x="214" y="222"/>
              </a:cxn>
              <a:cxn ang="0">
                <a:pos x="199" y="222"/>
              </a:cxn>
              <a:cxn ang="0">
                <a:pos x="174" y="227"/>
              </a:cxn>
              <a:cxn ang="0">
                <a:pos x="160" y="222"/>
              </a:cxn>
              <a:cxn ang="0">
                <a:pos x="150" y="214"/>
              </a:cxn>
              <a:cxn ang="0">
                <a:pos x="133" y="209"/>
              </a:cxn>
              <a:cxn ang="0">
                <a:pos x="120" y="192"/>
              </a:cxn>
              <a:cxn ang="0">
                <a:pos x="120" y="190"/>
              </a:cxn>
              <a:cxn ang="0">
                <a:pos x="108" y="170"/>
              </a:cxn>
              <a:cxn ang="0">
                <a:pos x="98" y="170"/>
              </a:cxn>
              <a:cxn ang="0">
                <a:pos x="91" y="168"/>
              </a:cxn>
              <a:cxn ang="0">
                <a:pos x="88" y="173"/>
              </a:cxn>
              <a:cxn ang="0">
                <a:pos x="81" y="168"/>
              </a:cxn>
              <a:cxn ang="0">
                <a:pos x="71" y="148"/>
              </a:cxn>
              <a:cxn ang="0">
                <a:pos x="64" y="128"/>
              </a:cxn>
              <a:cxn ang="0">
                <a:pos x="42" y="121"/>
              </a:cxn>
              <a:cxn ang="0">
                <a:pos x="39" y="111"/>
              </a:cxn>
              <a:cxn ang="0">
                <a:pos x="34" y="104"/>
              </a:cxn>
              <a:cxn ang="0">
                <a:pos x="37" y="89"/>
              </a:cxn>
              <a:cxn ang="0">
                <a:pos x="39" y="77"/>
              </a:cxn>
              <a:cxn ang="0">
                <a:pos x="42" y="72"/>
              </a:cxn>
              <a:cxn ang="0">
                <a:pos x="24" y="67"/>
              </a:cxn>
              <a:cxn ang="0">
                <a:pos x="17" y="55"/>
              </a:cxn>
              <a:cxn ang="0">
                <a:pos x="12" y="45"/>
              </a:cxn>
              <a:cxn ang="0">
                <a:pos x="7" y="27"/>
              </a:cxn>
              <a:cxn ang="0">
                <a:pos x="2" y="10"/>
              </a:cxn>
              <a:cxn ang="0">
                <a:pos x="7" y="0"/>
              </a:cxn>
            </a:cxnLst>
            <a:rect l="0" t="0" r="r" b="b"/>
            <a:pathLst>
              <a:path w="317" h="256">
                <a:moveTo>
                  <a:pt x="7" y="0"/>
                </a:moveTo>
                <a:lnTo>
                  <a:pt x="7" y="0"/>
                </a:lnTo>
                <a:lnTo>
                  <a:pt x="10" y="3"/>
                </a:lnTo>
                <a:lnTo>
                  <a:pt x="12" y="3"/>
                </a:lnTo>
                <a:lnTo>
                  <a:pt x="14" y="5"/>
                </a:lnTo>
                <a:lnTo>
                  <a:pt x="12" y="8"/>
                </a:lnTo>
                <a:lnTo>
                  <a:pt x="19" y="13"/>
                </a:lnTo>
                <a:lnTo>
                  <a:pt x="19" y="15"/>
                </a:lnTo>
                <a:lnTo>
                  <a:pt x="24" y="18"/>
                </a:lnTo>
                <a:lnTo>
                  <a:pt x="29" y="18"/>
                </a:lnTo>
                <a:lnTo>
                  <a:pt x="32" y="20"/>
                </a:lnTo>
                <a:lnTo>
                  <a:pt x="34" y="18"/>
                </a:lnTo>
                <a:lnTo>
                  <a:pt x="34" y="18"/>
                </a:lnTo>
                <a:lnTo>
                  <a:pt x="37" y="15"/>
                </a:lnTo>
                <a:lnTo>
                  <a:pt x="39" y="18"/>
                </a:lnTo>
                <a:lnTo>
                  <a:pt x="42" y="15"/>
                </a:lnTo>
                <a:lnTo>
                  <a:pt x="42" y="15"/>
                </a:lnTo>
                <a:lnTo>
                  <a:pt x="44" y="13"/>
                </a:lnTo>
                <a:lnTo>
                  <a:pt x="44" y="13"/>
                </a:lnTo>
                <a:lnTo>
                  <a:pt x="49" y="8"/>
                </a:lnTo>
                <a:lnTo>
                  <a:pt x="49" y="8"/>
                </a:lnTo>
                <a:lnTo>
                  <a:pt x="51" y="5"/>
                </a:lnTo>
                <a:lnTo>
                  <a:pt x="54" y="5"/>
                </a:lnTo>
                <a:lnTo>
                  <a:pt x="56" y="3"/>
                </a:lnTo>
                <a:lnTo>
                  <a:pt x="59" y="3"/>
                </a:lnTo>
                <a:lnTo>
                  <a:pt x="59" y="3"/>
                </a:lnTo>
                <a:lnTo>
                  <a:pt x="59" y="5"/>
                </a:lnTo>
                <a:lnTo>
                  <a:pt x="61" y="5"/>
                </a:lnTo>
                <a:lnTo>
                  <a:pt x="64" y="8"/>
                </a:lnTo>
                <a:lnTo>
                  <a:pt x="61" y="10"/>
                </a:lnTo>
                <a:lnTo>
                  <a:pt x="61" y="13"/>
                </a:lnTo>
                <a:lnTo>
                  <a:pt x="66" y="13"/>
                </a:lnTo>
                <a:lnTo>
                  <a:pt x="61" y="18"/>
                </a:lnTo>
                <a:lnTo>
                  <a:pt x="66" y="23"/>
                </a:lnTo>
                <a:lnTo>
                  <a:pt x="69" y="25"/>
                </a:lnTo>
                <a:lnTo>
                  <a:pt x="69" y="25"/>
                </a:lnTo>
                <a:lnTo>
                  <a:pt x="71" y="27"/>
                </a:lnTo>
                <a:lnTo>
                  <a:pt x="73" y="25"/>
                </a:lnTo>
                <a:lnTo>
                  <a:pt x="73" y="27"/>
                </a:lnTo>
                <a:lnTo>
                  <a:pt x="76" y="30"/>
                </a:lnTo>
                <a:lnTo>
                  <a:pt x="76" y="32"/>
                </a:lnTo>
                <a:lnTo>
                  <a:pt x="76" y="37"/>
                </a:lnTo>
                <a:lnTo>
                  <a:pt x="76" y="37"/>
                </a:lnTo>
                <a:lnTo>
                  <a:pt x="78" y="40"/>
                </a:lnTo>
                <a:lnTo>
                  <a:pt x="81" y="42"/>
                </a:lnTo>
                <a:lnTo>
                  <a:pt x="86" y="42"/>
                </a:lnTo>
                <a:lnTo>
                  <a:pt x="88" y="42"/>
                </a:lnTo>
                <a:lnTo>
                  <a:pt x="91" y="42"/>
                </a:lnTo>
                <a:lnTo>
                  <a:pt x="96" y="45"/>
                </a:lnTo>
                <a:lnTo>
                  <a:pt x="98" y="45"/>
                </a:lnTo>
                <a:lnTo>
                  <a:pt x="98" y="47"/>
                </a:lnTo>
                <a:lnTo>
                  <a:pt x="101" y="50"/>
                </a:lnTo>
                <a:lnTo>
                  <a:pt x="108" y="55"/>
                </a:lnTo>
                <a:lnTo>
                  <a:pt x="113" y="55"/>
                </a:lnTo>
                <a:lnTo>
                  <a:pt x="120" y="57"/>
                </a:lnTo>
                <a:lnTo>
                  <a:pt x="125" y="57"/>
                </a:lnTo>
                <a:lnTo>
                  <a:pt x="135" y="55"/>
                </a:lnTo>
                <a:lnTo>
                  <a:pt x="145" y="52"/>
                </a:lnTo>
                <a:lnTo>
                  <a:pt x="152" y="52"/>
                </a:lnTo>
                <a:lnTo>
                  <a:pt x="157" y="55"/>
                </a:lnTo>
                <a:lnTo>
                  <a:pt x="157" y="50"/>
                </a:lnTo>
                <a:lnTo>
                  <a:pt x="155" y="47"/>
                </a:lnTo>
                <a:lnTo>
                  <a:pt x="155" y="42"/>
                </a:lnTo>
                <a:lnTo>
                  <a:pt x="157" y="40"/>
                </a:lnTo>
                <a:lnTo>
                  <a:pt x="165" y="40"/>
                </a:lnTo>
                <a:lnTo>
                  <a:pt x="165" y="35"/>
                </a:lnTo>
                <a:lnTo>
                  <a:pt x="167" y="32"/>
                </a:lnTo>
                <a:lnTo>
                  <a:pt x="169" y="32"/>
                </a:lnTo>
                <a:lnTo>
                  <a:pt x="177" y="27"/>
                </a:lnTo>
                <a:lnTo>
                  <a:pt x="184" y="27"/>
                </a:lnTo>
                <a:lnTo>
                  <a:pt x="189" y="27"/>
                </a:lnTo>
                <a:lnTo>
                  <a:pt x="189" y="25"/>
                </a:lnTo>
                <a:lnTo>
                  <a:pt x="194" y="23"/>
                </a:lnTo>
                <a:lnTo>
                  <a:pt x="196" y="25"/>
                </a:lnTo>
                <a:lnTo>
                  <a:pt x="199" y="25"/>
                </a:lnTo>
                <a:lnTo>
                  <a:pt x="206" y="30"/>
                </a:lnTo>
                <a:lnTo>
                  <a:pt x="209" y="30"/>
                </a:lnTo>
                <a:lnTo>
                  <a:pt x="219" y="35"/>
                </a:lnTo>
                <a:lnTo>
                  <a:pt x="221" y="35"/>
                </a:lnTo>
                <a:lnTo>
                  <a:pt x="224" y="35"/>
                </a:lnTo>
                <a:lnTo>
                  <a:pt x="231" y="37"/>
                </a:lnTo>
                <a:lnTo>
                  <a:pt x="233" y="37"/>
                </a:lnTo>
                <a:lnTo>
                  <a:pt x="233" y="42"/>
                </a:lnTo>
                <a:lnTo>
                  <a:pt x="236" y="42"/>
                </a:lnTo>
                <a:lnTo>
                  <a:pt x="238" y="42"/>
                </a:lnTo>
                <a:lnTo>
                  <a:pt x="246" y="45"/>
                </a:lnTo>
                <a:lnTo>
                  <a:pt x="251" y="52"/>
                </a:lnTo>
                <a:lnTo>
                  <a:pt x="258" y="52"/>
                </a:lnTo>
                <a:lnTo>
                  <a:pt x="260" y="55"/>
                </a:lnTo>
                <a:lnTo>
                  <a:pt x="263" y="59"/>
                </a:lnTo>
                <a:lnTo>
                  <a:pt x="263" y="62"/>
                </a:lnTo>
                <a:lnTo>
                  <a:pt x="265" y="64"/>
                </a:lnTo>
                <a:lnTo>
                  <a:pt x="265" y="67"/>
                </a:lnTo>
                <a:lnTo>
                  <a:pt x="265" y="69"/>
                </a:lnTo>
                <a:lnTo>
                  <a:pt x="265" y="74"/>
                </a:lnTo>
                <a:lnTo>
                  <a:pt x="265" y="77"/>
                </a:lnTo>
                <a:lnTo>
                  <a:pt x="265" y="79"/>
                </a:lnTo>
                <a:lnTo>
                  <a:pt x="268" y="82"/>
                </a:lnTo>
                <a:lnTo>
                  <a:pt x="265" y="82"/>
                </a:lnTo>
                <a:lnTo>
                  <a:pt x="265" y="84"/>
                </a:lnTo>
                <a:lnTo>
                  <a:pt x="263" y="87"/>
                </a:lnTo>
                <a:lnTo>
                  <a:pt x="258" y="89"/>
                </a:lnTo>
                <a:lnTo>
                  <a:pt x="260" y="89"/>
                </a:lnTo>
                <a:lnTo>
                  <a:pt x="263" y="91"/>
                </a:lnTo>
                <a:lnTo>
                  <a:pt x="260" y="96"/>
                </a:lnTo>
                <a:lnTo>
                  <a:pt x="260" y="96"/>
                </a:lnTo>
                <a:lnTo>
                  <a:pt x="260" y="101"/>
                </a:lnTo>
                <a:lnTo>
                  <a:pt x="260" y="106"/>
                </a:lnTo>
                <a:lnTo>
                  <a:pt x="268" y="106"/>
                </a:lnTo>
                <a:lnTo>
                  <a:pt x="268" y="106"/>
                </a:lnTo>
                <a:lnTo>
                  <a:pt x="263" y="114"/>
                </a:lnTo>
                <a:lnTo>
                  <a:pt x="263" y="116"/>
                </a:lnTo>
                <a:lnTo>
                  <a:pt x="268" y="123"/>
                </a:lnTo>
                <a:lnTo>
                  <a:pt x="268" y="131"/>
                </a:lnTo>
                <a:lnTo>
                  <a:pt x="268" y="133"/>
                </a:lnTo>
                <a:lnTo>
                  <a:pt x="270" y="136"/>
                </a:lnTo>
                <a:lnTo>
                  <a:pt x="270" y="143"/>
                </a:lnTo>
                <a:lnTo>
                  <a:pt x="283" y="143"/>
                </a:lnTo>
                <a:lnTo>
                  <a:pt x="285" y="148"/>
                </a:lnTo>
                <a:lnTo>
                  <a:pt x="285" y="153"/>
                </a:lnTo>
                <a:lnTo>
                  <a:pt x="288" y="158"/>
                </a:lnTo>
                <a:lnTo>
                  <a:pt x="285" y="160"/>
                </a:lnTo>
                <a:lnTo>
                  <a:pt x="275" y="175"/>
                </a:lnTo>
                <a:lnTo>
                  <a:pt x="283" y="187"/>
                </a:lnTo>
                <a:lnTo>
                  <a:pt x="285" y="190"/>
                </a:lnTo>
                <a:lnTo>
                  <a:pt x="288" y="195"/>
                </a:lnTo>
                <a:lnTo>
                  <a:pt x="292" y="197"/>
                </a:lnTo>
                <a:lnTo>
                  <a:pt x="292" y="197"/>
                </a:lnTo>
                <a:lnTo>
                  <a:pt x="297" y="197"/>
                </a:lnTo>
                <a:lnTo>
                  <a:pt x="302" y="200"/>
                </a:lnTo>
                <a:lnTo>
                  <a:pt x="302" y="202"/>
                </a:lnTo>
                <a:lnTo>
                  <a:pt x="305" y="202"/>
                </a:lnTo>
                <a:lnTo>
                  <a:pt x="305" y="207"/>
                </a:lnTo>
                <a:lnTo>
                  <a:pt x="307" y="209"/>
                </a:lnTo>
                <a:lnTo>
                  <a:pt x="307" y="214"/>
                </a:lnTo>
                <a:lnTo>
                  <a:pt x="307" y="217"/>
                </a:lnTo>
                <a:lnTo>
                  <a:pt x="312" y="217"/>
                </a:lnTo>
                <a:lnTo>
                  <a:pt x="317" y="219"/>
                </a:lnTo>
                <a:lnTo>
                  <a:pt x="317" y="227"/>
                </a:lnTo>
                <a:lnTo>
                  <a:pt x="315" y="229"/>
                </a:lnTo>
                <a:lnTo>
                  <a:pt x="310" y="227"/>
                </a:lnTo>
                <a:lnTo>
                  <a:pt x="302" y="229"/>
                </a:lnTo>
                <a:lnTo>
                  <a:pt x="302" y="229"/>
                </a:lnTo>
                <a:lnTo>
                  <a:pt x="297" y="232"/>
                </a:lnTo>
                <a:lnTo>
                  <a:pt x="295" y="234"/>
                </a:lnTo>
                <a:lnTo>
                  <a:pt x="295" y="239"/>
                </a:lnTo>
                <a:lnTo>
                  <a:pt x="292" y="241"/>
                </a:lnTo>
                <a:lnTo>
                  <a:pt x="295" y="244"/>
                </a:lnTo>
                <a:lnTo>
                  <a:pt x="295" y="251"/>
                </a:lnTo>
                <a:lnTo>
                  <a:pt x="295" y="254"/>
                </a:lnTo>
                <a:lnTo>
                  <a:pt x="292" y="254"/>
                </a:lnTo>
                <a:lnTo>
                  <a:pt x="292" y="254"/>
                </a:lnTo>
                <a:lnTo>
                  <a:pt x="290" y="256"/>
                </a:lnTo>
                <a:lnTo>
                  <a:pt x="285" y="254"/>
                </a:lnTo>
                <a:lnTo>
                  <a:pt x="280" y="251"/>
                </a:lnTo>
                <a:lnTo>
                  <a:pt x="280" y="249"/>
                </a:lnTo>
                <a:lnTo>
                  <a:pt x="278" y="249"/>
                </a:lnTo>
                <a:lnTo>
                  <a:pt x="278" y="251"/>
                </a:lnTo>
                <a:lnTo>
                  <a:pt x="275" y="254"/>
                </a:lnTo>
                <a:lnTo>
                  <a:pt x="273" y="251"/>
                </a:lnTo>
                <a:lnTo>
                  <a:pt x="273" y="251"/>
                </a:lnTo>
                <a:lnTo>
                  <a:pt x="270" y="251"/>
                </a:lnTo>
                <a:lnTo>
                  <a:pt x="263" y="249"/>
                </a:lnTo>
                <a:lnTo>
                  <a:pt x="258" y="249"/>
                </a:lnTo>
                <a:lnTo>
                  <a:pt x="251" y="249"/>
                </a:lnTo>
                <a:lnTo>
                  <a:pt x="246" y="244"/>
                </a:lnTo>
                <a:lnTo>
                  <a:pt x="243" y="244"/>
                </a:lnTo>
                <a:lnTo>
                  <a:pt x="241" y="249"/>
                </a:lnTo>
                <a:lnTo>
                  <a:pt x="238" y="246"/>
                </a:lnTo>
                <a:lnTo>
                  <a:pt x="233" y="246"/>
                </a:lnTo>
                <a:lnTo>
                  <a:pt x="226" y="246"/>
                </a:lnTo>
                <a:lnTo>
                  <a:pt x="226" y="244"/>
                </a:lnTo>
                <a:lnTo>
                  <a:pt x="224" y="244"/>
                </a:lnTo>
                <a:lnTo>
                  <a:pt x="224" y="239"/>
                </a:lnTo>
                <a:lnTo>
                  <a:pt x="221" y="234"/>
                </a:lnTo>
                <a:lnTo>
                  <a:pt x="219" y="227"/>
                </a:lnTo>
                <a:lnTo>
                  <a:pt x="216" y="224"/>
                </a:lnTo>
                <a:lnTo>
                  <a:pt x="216" y="222"/>
                </a:lnTo>
                <a:lnTo>
                  <a:pt x="214" y="222"/>
                </a:lnTo>
                <a:lnTo>
                  <a:pt x="214" y="222"/>
                </a:lnTo>
                <a:lnTo>
                  <a:pt x="209" y="219"/>
                </a:lnTo>
                <a:lnTo>
                  <a:pt x="206" y="222"/>
                </a:lnTo>
                <a:lnTo>
                  <a:pt x="201" y="224"/>
                </a:lnTo>
                <a:lnTo>
                  <a:pt x="199" y="224"/>
                </a:lnTo>
                <a:lnTo>
                  <a:pt x="199" y="222"/>
                </a:lnTo>
                <a:lnTo>
                  <a:pt x="199" y="224"/>
                </a:lnTo>
                <a:lnTo>
                  <a:pt x="192" y="229"/>
                </a:lnTo>
                <a:lnTo>
                  <a:pt x="187" y="234"/>
                </a:lnTo>
                <a:lnTo>
                  <a:pt x="179" y="229"/>
                </a:lnTo>
                <a:lnTo>
                  <a:pt x="174" y="227"/>
                </a:lnTo>
                <a:lnTo>
                  <a:pt x="172" y="229"/>
                </a:lnTo>
                <a:lnTo>
                  <a:pt x="169" y="229"/>
                </a:lnTo>
                <a:lnTo>
                  <a:pt x="165" y="224"/>
                </a:lnTo>
                <a:lnTo>
                  <a:pt x="162" y="224"/>
                </a:lnTo>
                <a:lnTo>
                  <a:pt x="160" y="222"/>
                </a:lnTo>
                <a:lnTo>
                  <a:pt x="157" y="222"/>
                </a:lnTo>
                <a:lnTo>
                  <a:pt x="152" y="217"/>
                </a:lnTo>
                <a:lnTo>
                  <a:pt x="152" y="214"/>
                </a:lnTo>
                <a:lnTo>
                  <a:pt x="152" y="214"/>
                </a:lnTo>
                <a:lnTo>
                  <a:pt x="150" y="214"/>
                </a:lnTo>
                <a:lnTo>
                  <a:pt x="150" y="212"/>
                </a:lnTo>
                <a:lnTo>
                  <a:pt x="145" y="212"/>
                </a:lnTo>
                <a:lnTo>
                  <a:pt x="142" y="209"/>
                </a:lnTo>
                <a:lnTo>
                  <a:pt x="137" y="209"/>
                </a:lnTo>
                <a:lnTo>
                  <a:pt x="133" y="209"/>
                </a:lnTo>
                <a:lnTo>
                  <a:pt x="130" y="207"/>
                </a:lnTo>
                <a:lnTo>
                  <a:pt x="125" y="197"/>
                </a:lnTo>
                <a:lnTo>
                  <a:pt x="125" y="195"/>
                </a:lnTo>
                <a:lnTo>
                  <a:pt x="123" y="195"/>
                </a:lnTo>
                <a:lnTo>
                  <a:pt x="120" y="192"/>
                </a:lnTo>
                <a:lnTo>
                  <a:pt x="120" y="192"/>
                </a:lnTo>
                <a:lnTo>
                  <a:pt x="123" y="192"/>
                </a:lnTo>
                <a:lnTo>
                  <a:pt x="123" y="192"/>
                </a:lnTo>
                <a:lnTo>
                  <a:pt x="123" y="190"/>
                </a:lnTo>
                <a:lnTo>
                  <a:pt x="120" y="190"/>
                </a:lnTo>
                <a:lnTo>
                  <a:pt x="118" y="190"/>
                </a:lnTo>
                <a:lnTo>
                  <a:pt x="118" y="185"/>
                </a:lnTo>
                <a:lnTo>
                  <a:pt x="113" y="178"/>
                </a:lnTo>
                <a:lnTo>
                  <a:pt x="110" y="175"/>
                </a:lnTo>
                <a:lnTo>
                  <a:pt x="108" y="170"/>
                </a:lnTo>
                <a:lnTo>
                  <a:pt x="105" y="170"/>
                </a:lnTo>
                <a:lnTo>
                  <a:pt x="101" y="173"/>
                </a:lnTo>
                <a:lnTo>
                  <a:pt x="101" y="173"/>
                </a:lnTo>
                <a:lnTo>
                  <a:pt x="98" y="170"/>
                </a:lnTo>
                <a:lnTo>
                  <a:pt x="98" y="170"/>
                </a:lnTo>
                <a:lnTo>
                  <a:pt x="93" y="170"/>
                </a:lnTo>
                <a:lnTo>
                  <a:pt x="93" y="168"/>
                </a:lnTo>
                <a:lnTo>
                  <a:pt x="96" y="165"/>
                </a:lnTo>
                <a:lnTo>
                  <a:pt x="93" y="168"/>
                </a:lnTo>
                <a:lnTo>
                  <a:pt x="91" y="168"/>
                </a:lnTo>
                <a:lnTo>
                  <a:pt x="91" y="168"/>
                </a:lnTo>
                <a:lnTo>
                  <a:pt x="93" y="168"/>
                </a:lnTo>
                <a:lnTo>
                  <a:pt x="93" y="173"/>
                </a:lnTo>
                <a:lnTo>
                  <a:pt x="91" y="173"/>
                </a:lnTo>
                <a:lnTo>
                  <a:pt x="88" y="173"/>
                </a:lnTo>
                <a:lnTo>
                  <a:pt x="86" y="170"/>
                </a:lnTo>
                <a:lnTo>
                  <a:pt x="86" y="170"/>
                </a:lnTo>
                <a:lnTo>
                  <a:pt x="86" y="170"/>
                </a:lnTo>
                <a:lnTo>
                  <a:pt x="83" y="170"/>
                </a:lnTo>
                <a:lnTo>
                  <a:pt x="81" y="168"/>
                </a:lnTo>
                <a:lnTo>
                  <a:pt x="78" y="165"/>
                </a:lnTo>
                <a:lnTo>
                  <a:pt x="76" y="155"/>
                </a:lnTo>
                <a:lnTo>
                  <a:pt x="71" y="155"/>
                </a:lnTo>
                <a:lnTo>
                  <a:pt x="71" y="153"/>
                </a:lnTo>
                <a:lnTo>
                  <a:pt x="71" y="148"/>
                </a:lnTo>
                <a:lnTo>
                  <a:pt x="73" y="146"/>
                </a:lnTo>
                <a:lnTo>
                  <a:pt x="71" y="138"/>
                </a:lnTo>
                <a:lnTo>
                  <a:pt x="69" y="136"/>
                </a:lnTo>
                <a:lnTo>
                  <a:pt x="66" y="131"/>
                </a:lnTo>
                <a:lnTo>
                  <a:pt x="64" y="128"/>
                </a:lnTo>
                <a:lnTo>
                  <a:pt x="61" y="131"/>
                </a:lnTo>
                <a:lnTo>
                  <a:pt x="49" y="123"/>
                </a:lnTo>
                <a:lnTo>
                  <a:pt x="46" y="123"/>
                </a:lnTo>
                <a:lnTo>
                  <a:pt x="46" y="123"/>
                </a:lnTo>
                <a:lnTo>
                  <a:pt x="42" y="121"/>
                </a:lnTo>
                <a:lnTo>
                  <a:pt x="44" y="118"/>
                </a:lnTo>
                <a:lnTo>
                  <a:pt x="42" y="118"/>
                </a:lnTo>
                <a:lnTo>
                  <a:pt x="44" y="116"/>
                </a:lnTo>
                <a:lnTo>
                  <a:pt x="42" y="114"/>
                </a:lnTo>
                <a:lnTo>
                  <a:pt x="39" y="111"/>
                </a:lnTo>
                <a:lnTo>
                  <a:pt x="37" y="109"/>
                </a:lnTo>
                <a:lnTo>
                  <a:pt x="34" y="106"/>
                </a:lnTo>
                <a:lnTo>
                  <a:pt x="32" y="106"/>
                </a:lnTo>
                <a:lnTo>
                  <a:pt x="32" y="106"/>
                </a:lnTo>
                <a:lnTo>
                  <a:pt x="34" y="104"/>
                </a:lnTo>
                <a:lnTo>
                  <a:pt x="32" y="101"/>
                </a:lnTo>
                <a:lnTo>
                  <a:pt x="34" y="99"/>
                </a:lnTo>
                <a:lnTo>
                  <a:pt x="34" y="94"/>
                </a:lnTo>
                <a:lnTo>
                  <a:pt x="37" y="91"/>
                </a:lnTo>
                <a:lnTo>
                  <a:pt x="37" y="89"/>
                </a:lnTo>
                <a:lnTo>
                  <a:pt x="39" y="89"/>
                </a:lnTo>
                <a:lnTo>
                  <a:pt x="39" y="87"/>
                </a:lnTo>
                <a:lnTo>
                  <a:pt x="39" y="82"/>
                </a:lnTo>
                <a:lnTo>
                  <a:pt x="39" y="82"/>
                </a:lnTo>
                <a:lnTo>
                  <a:pt x="39" y="77"/>
                </a:lnTo>
                <a:lnTo>
                  <a:pt x="39" y="77"/>
                </a:lnTo>
                <a:lnTo>
                  <a:pt x="44" y="74"/>
                </a:lnTo>
                <a:lnTo>
                  <a:pt x="44" y="74"/>
                </a:lnTo>
                <a:lnTo>
                  <a:pt x="44" y="74"/>
                </a:lnTo>
                <a:lnTo>
                  <a:pt x="42" y="72"/>
                </a:lnTo>
                <a:lnTo>
                  <a:pt x="37" y="74"/>
                </a:lnTo>
                <a:lnTo>
                  <a:pt x="34" y="72"/>
                </a:lnTo>
                <a:lnTo>
                  <a:pt x="29" y="69"/>
                </a:lnTo>
                <a:lnTo>
                  <a:pt x="27" y="69"/>
                </a:lnTo>
                <a:lnTo>
                  <a:pt x="24" y="67"/>
                </a:lnTo>
                <a:lnTo>
                  <a:pt x="24" y="64"/>
                </a:lnTo>
                <a:lnTo>
                  <a:pt x="22" y="62"/>
                </a:lnTo>
                <a:lnTo>
                  <a:pt x="19" y="62"/>
                </a:lnTo>
                <a:lnTo>
                  <a:pt x="17" y="57"/>
                </a:lnTo>
                <a:lnTo>
                  <a:pt x="17" y="55"/>
                </a:lnTo>
                <a:lnTo>
                  <a:pt x="17" y="52"/>
                </a:lnTo>
                <a:lnTo>
                  <a:pt x="14" y="52"/>
                </a:lnTo>
                <a:lnTo>
                  <a:pt x="14" y="52"/>
                </a:lnTo>
                <a:lnTo>
                  <a:pt x="14" y="50"/>
                </a:lnTo>
                <a:lnTo>
                  <a:pt x="12" y="45"/>
                </a:lnTo>
                <a:lnTo>
                  <a:pt x="10" y="40"/>
                </a:lnTo>
                <a:lnTo>
                  <a:pt x="5" y="37"/>
                </a:lnTo>
                <a:lnTo>
                  <a:pt x="5" y="35"/>
                </a:lnTo>
                <a:lnTo>
                  <a:pt x="5" y="30"/>
                </a:lnTo>
                <a:lnTo>
                  <a:pt x="7" y="27"/>
                </a:lnTo>
                <a:lnTo>
                  <a:pt x="7" y="25"/>
                </a:lnTo>
                <a:lnTo>
                  <a:pt x="2" y="25"/>
                </a:lnTo>
                <a:lnTo>
                  <a:pt x="2" y="20"/>
                </a:lnTo>
                <a:lnTo>
                  <a:pt x="2" y="18"/>
                </a:lnTo>
                <a:lnTo>
                  <a:pt x="2" y="10"/>
                </a:lnTo>
                <a:lnTo>
                  <a:pt x="0" y="8"/>
                </a:lnTo>
                <a:lnTo>
                  <a:pt x="0" y="8"/>
                </a:lnTo>
                <a:lnTo>
                  <a:pt x="5" y="5"/>
                </a:lnTo>
                <a:lnTo>
                  <a:pt x="5" y="3"/>
                </a:lnTo>
                <a:lnTo>
                  <a:pt x="7" y="0"/>
                </a:lnTo>
                <a:lnTo>
                  <a:pt x="7" y="0"/>
                </a:lnTo>
                <a:lnTo>
                  <a:pt x="7"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6" name="Freeform 85"/>
          <p:cNvSpPr>
            <a:spLocks/>
          </p:cNvSpPr>
          <p:nvPr/>
        </p:nvSpPr>
        <p:spPr bwMode="auto">
          <a:xfrm>
            <a:off x="5781529" y="3394117"/>
            <a:ext cx="88072" cy="72194"/>
          </a:xfrm>
          <a:custGeom>
            <a:avLst/>
            <a:gdLst/>
            <a:ahLst/>
            <a:cxnLst>
              <a:cxn ang="0">
                <a:pos x="0" y="2"/>
              </a:cxn>
              <a:cxn ang="0">
                <a:pos x="5" y="0"/>
              </a:cxn>
              <a:cxn ang="0">
                <a:pos x="12" y="0"/>
              </a:cxn>
              <a:cxn ang="0">
                <a:pos x="12" y="0"/>
              </a:cxn>
              <a:cxn ang="0">
                <a:pos x="22" y="0"/>
              </a:cxn>
              <a:cxn ang="0">
                <a:pos x="25" y="2"/>
              </a:cxn>
              <a:cxn ang="0">
                <a:pos x="32" y="2"/>
              </a:cxn>
              <a:cxn ang="0">
                <a:pos x="34" y="7"/>
              </a:cxn>
              <a:cxn ang="0">
                <a:pos x="34" y="10"/>
              </a:cxn>
              <a:cxn ang="0">
                <a:pos x="34" y="12"/>
              </a:cxn>
              <a:cxn ang="0">
                <a:pos x="39" y="20"/>
              </a:cxn>
              <a:cxn ang="0">
                <a:pos x="39" y="22"/>
              </a:cxn>
              <a:cxn ang="0">
                <a:pos x="37" y="25"/>
              </a:cxn>
              <a:cxn ang="0">
                <a:pos x="39" y="29"/>
              </a:cxn>
              <a:cxn ang="0">
                <a:pos x="47" y="32"/>
              </a:cxn>
              <a:cxn ang="0">
                <a:pos x="52" y="32"/>
              </a:cxn>
              <a:cxn ang="0">
                <a:pos x="54" y="37"/>
              </a:cxn>
              <a:cxn ang="0">
                <a:pos x="52" y="37"/>
              </a:cxn>
              <a:cxn ang="0">
                <a:pos x="54" y="42"/>
              </a:cxn>
              <a:cxn ang="0">
                <a:pos x="52" y="42"/>
              </a:cxn>
              <a:cxn ang="0">
                <a:pos x="52" y="44"/>
              </a:cxn>
              <a:cxn ang="0">
                <a:pos x="49" y="47"/>
              </a:cxn>
              <a:cxn ang="0">
                <a:pos x="42" y="34"/>
              </a:cxn>
              <a:cxn ang="0">
                <a:pos x="37" y="34"/>
              </a:cxn>
              <a:cxn ang="0">
                <a:pos x="34" y="29"/>
              </a:cxn>
              <a:cxn ang="0">
                <a:pos x="32" y="29"/>
              </a:cxn>
              <a:cxn ang="0">
                <a:pos x="32" y="32"/>
              </a:cxn>
              <a:cxn ang="0">
                <a:pos x="27" y="27"/>
              </a:cxn>
              <a:cxn ang="0">
                <a:pos x="25" y="29"/>
              </a:cxn>
              <a:cxn ang="0">
                <a:pos x="22" y="29"/>
              </a:cxn>
              <a:cxn ang="0">
                <a:pos x="20" y="27"/>
              </a:cxn>
              <a:cxn ang="0">
                <a:pos x="17" y="25"/>
              </a:cxn>
              <a:cxn ang="0">
                <a:pos x="15" y="25"/>
              </a:cxn>
              <a:cxn ang="0">
                <a:pos x="10" y="25"/>
              </a:cxn>
              <a:cxn ang="0">
                <a:pos x="5" y="22"/>
              </a:cxn>
              <a:cxn ang="0">
                <a:pos x="5" y="15"/>
              </a:cxn>
              <a:cxn ang="0">
                <a:pos x="7" y="10"/>
              </a:cxn>
              <a:cxn ang="0">
                <a:pos x="5" y="7"/>
              </a:cxn>
              <a:cxn ang="0">
                <a:pos x="2" y="7"/>
              </a:cxn>
              <a:cxn ang="0">
                <a:pos x="2" y="5"/>
              </a:cxn>
              <a:cxn ang="0">
                <a:pos x="0" y="2"/>
              </a:cxn>
              <a:cxn ang="0">
                <a:pos x="0" y="2"/>
              </a:cxn>
            </a:cxnLst>
            <a:rect l="0" t="0" r="r" b="b"/>
            <a:pathLst>
              <a:path w="54" h="47">
                <a:moveTo>
                  <a:pt x="0" y="2"/>
                </a:moveTo>
                <a:lnTo>
                  <a:pt x="5" y="0"/>
                </a:lnTo>
                <a:lnTo>
                  <a:pt x="12" y="0"/>
                </a:lnTo>
                <a:lnTo>
                  <a:pt x="12" y="0"/>
                </a:lnTo>
                <a:lnTo>
                  <a:pt x="22" y="0"/>
                </a:lnTo>
                <a:lnTo>
                  <a:pt x="25" y="2"/>
                </a:lnTo>
                <a:lnTo>
                  <a:pt x="32" y="2"/>
                </a:lnTo>
                <a:lnTo>
                  <a:pt x="34" y="7"/>
                </a:lnTo>
                <a:lnTo>
                  <a:pt x="34" y="10"/>
                </a:lnTo>
                <a:lnTo>
                  <a:pt x="34" y="12"/>
                </a:lnTo>
                <a:lnTo>
                  <a:pt x="39" y="20"/>
                </a:lnTo>
                <a:lnTo>
                  <a:pt x="39" y="22"/>
                </a:lnTo>
                <a:lnTo>
                  <a:pt x="37" y="25"/>
                </a:lnTo>
                <a:lnTo>
                  <a:pt x="39" y="29"/>
                </a:lnTo>
                <a:lnTo>
                  <a:pt x="47" y="32"/>
                </a:lnTo>
                <a:lnTo>
                  <a:pt x="52" y="32"/>
                </a:lnTo>
                <a:lnTo>
                  <a:pt x="54" y="37"/>
                </a:lnTo>
                <a:lnTo>
                  <a:pt x="52" y="37"/>
                </a:lnTo>
                <a:lnTo>
                  <a:pt x="54" y="42"/>
                </a:lnTo>
                <a:lnTo>
                  <a:pt x="52" y="42"/>
                </a:lnTo>
                <a:lnTo>
                  <a:pt x="52" y="44"/>
                </a:lnTo>
                <a:lnTo>
                  <a:pt x="49" y="47"/>
                </a:lnTo>
                <a:lnTo>
                  <a:pt x="42" y="34"/>
                </a:lnTo>
                <a:lnTo>
                  <a:pt x="37" y="34"/>
                </a:lnTo>
                <a:lnTo>
                  <a:pt x="34" y="29"/>
                </a:lnTo>
                <a:lnTo>
                  <a:pt x="32" y="29"/>
                </a:lnTo>
                <a:lnTo>
                  <a:pt x="32" y="32"/>
                </a:lnTo>
                <a:lnTo>
                  <a:pt x="27" y="27"/>
                </a:lnTo>
                <a:lnTo>
                  <a:pt x="25" y="29"/>
                </a:lnTo>
                <a:lnTo>
                  <a:pt x="22" y="29"/>
                </a:lnTo>
                <a:lnTo>
                  <a:pt x="20" y="27"/>
                </a:lnTo>
                <a:lnTo>
                  <a:pt x="17" y="25"/>
                </a:lnTo>
                <a:lnTo>
                  <a:pt x="15" y="25"/>
                </a:lnTo>
                <a:lnTo>
                  <a:pt x="10" y="25"/>
                </a:lnTo>
                <a:lnTo>
                  <a:pt x="5" y="22"/>
                </a:lnTo>
                <a:lnTo>
                  <a:pt x="5" y="15"/>
                </a:lnTo>
                <a:lnTo>
                  <a:pt x="7" y="10"/>
                </a:lnTo>
                <a:lnTo>
                  <a:pt x="5" y="7"/>
                </a:lnTo>
                <a:lnTo>
                  <a:pt x="2" y="7"/>
                </a:lnTo>
                <a:lnTo>
                  <a:pt x="2" y="5"/>
                </a:lnTo>
                <a:lnTo>
                  <a:pt x="0" y="2"/>
                </a:lnTo>
                <a:lnTo>
                  <a:pt x="0"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7" name="Freeform 86"/>
          <p:cNvSpPr>
            <a:spLocks noEditPoints="1"/>
          </p:cNvSpPr>
          <p:nvPr/>
        </p:nvSpPr>
        <p:spPr bwMode="auto">
          <a:xfrm>
            <a:off x="5360743" y="3375685"/>
            <a:ext cx="468085" cy="176645"/>
          </a:xfrm>
          <a:custGeom>
            <a:avLst/>
            <a:gdLst/>
            <a:ahLst/>
            <a:cxnLst>
              <a:cxn ang="0">
                <a:pos x="14" y="12"/>
              </a:cxn>
              <a:cxn ang="0">
                <a:pos x="22" y="0"/>
              </a:cxn>
              <a:cxn ang="0">
                <a:pos x="41" y="12"/>
              </a:cxn>
              <a:cxn ang="0">
                <a:pos x="39" y="22"/>
              </a:cxn>
              <a:cxn ang="0">
                <a:pos x="17" y="32"/>
              </a:cxn>
              <a:cxn ang="0">
                <a:pos x="12" y="29"/>
              </a:cxn>
              <a:cxn ang="0">
                <a:pos x="5" y="24"/>
              </a:cxn>
              <a:cxn ang="0">
                <a:pos x="221" y="17"/>
              </a:cxn>
              <a:cxn ang="0">
                <a:pos x="201" y="17"/>
              </a:cxn>
              <a:cxn ang="0">
                <a:pos x="177" y="17"/>
              </a:cxn>
              <a:cxn ang="0">
                <a:pos x="157" y="14"/>
              </a:cxn>
              <a:cxn ang="0">
                <a:pos x="145" y="7"/>
              </a:cxn>
              <a:cxn ang="0">
                <a:pos x="130" y="2"/>
              </a:cxn>
              <a:cxn ang="0">
                <a:pos x="100" y="5"/>
              </a:cxn>
              <a:cxn ang="0">
                <a:pos x="83" y="12"/>
              </a:cxn>
              <a:cxn ang="0">
                <a:pos x="66" y="17"/>
              </a:cxn>
              <a:cxn ang="0">
                <a:pos x="49" y="22"/>
              </a:cxn>
              <a:cxn ang="0">
                <a:pos x="46" y="29"/>
              </a:cxn>
              <a:cxn ang="0">
                <a:pos x="41" y="37"/>
              </a:cxn>
              <a:cxn ang="0">
                <a:pos x="24" y="37"/>
              </a:cxn>
              <a:cxn ang="0">
                <a:pos x="9" y="46"/>
              </a:cxn>
              <a:cxn ang="0">
                <a:pos x="17" y="51"/>
              </a:cxn>
              <a:cxn ang="0">
                <a:pos x="19" y="61"/>
              </a:cxn>
              <a:cxn ang="0">
                <a:pos x="19" y="68"/>
              </a:cxn>
              <a:cxn ang="0">
                <a:pos x="14" y="68"/>
              </a:cxn>
              <a:cxn ang="0">
                <a:pos x="17" y="76"/>
              </a:cxn>
              <a:cxn ang="0">
                <a:pos x="27" y="88"/>
              </a:cxn>
              <a:cxn ang="0">
                <a:pos x="27" y="98"/>
              </a:cxn>
              <a:cxn ang="0">
                <a:pos x="34" y="103"/>
              </a:cxn>
              <a:cxn ang="0">
                <a:pos x="39" y="103"/>
              </a:cxn>
              <a:cxn ang="0">
                <a:pos x="46" y="103"/>
              </a:cxn>
              <a:cxn ang="0">
                <a:pos x="54" y="105"/>
              </a:cxn>
              <a:cxn ang="0">
                <a:pos x="68" y="113"/>
              </a:cxn>
              <a:cxn ang="0">
                <a:pos x="78" y="105"/>
              </a:cxn>
              <a:cxn ang="0">
                <a:pos x="100" y="105"/>
              </a:cxn>
              <a:cxn ang="0">
                <a:pos x="130" y="110"/>
              </a:cxn>
              <a:cxn ang="0">
                <a:pos x="152" y="103"/>
              </a:cxn>
              <a:cxn ang="0">
                <a:pos x="160" y="105"/>
              </a:cxn>
              <a:cxn ang="0">
                <a:pos x="164" y="115"/>
              </a:cxn>
              <a:cxn ang="0">
                <a:pos x="177" y="100"/>
              </a:cxn>
              <a:cxn ang="0">
                <a:pos x="201" y="98"/>
              </a:cxn>
              <a:cxn ang="0">
                <a:pos x="221" y="96"/>
              </a:cxn>
              <a:cxn ang="0">
                <a:pos x="253" y="91"/>
              </a:cxn>
              <a:cxn ang="0">
                <a:pos x="275" y="88"/>
              </a:cxn>
              <a:cxn ang="0">
                <a:pos x="287" y="91"/>
              </a:cxn>
              <a:cxn ang="0">
                <a:pos x="280" y="68"/>
              </a:cxn>
              <a:cxn ang="0">
                <a:pos x="273" y="49"/>
              </a:cxn>
              <a:cxn ang="0">
                <a:pos x="275" y="37"/>
              </a:cxn>
              <a:cxn ang="0">
                <a:pos x="263" y="19"/>
              </a:cxn>
              <a:cxn ang="0">
                <a:pos x="246" y="7"/>
              </a:cxn>
              <a:cxn ang="0">
                <a:pos x="233" y="7"/>
              </a:cxn>
              <a:cxn ang="0">
                <a:pos x="37" y="105"/>
              </a:cxn>
              <a:cxn ang="0">
                <a:pos x="0" y="37"/>
              </a:cxn>
              <a:cxn ang="0">
                <a:pos x="2" y="37"/>
              </a:cxn>
            </a:cxnLst>
            <a:rect l="0" t="0" r="r" b="b"/>
            <a:pathLst>
              <a:path w="287" h="115">
                <a:moveTo>
                  <a:pt x="5" y="24"/>
                </a:moveTo>
                <a:lnTo>
                  <a:pt x="9" y="24"/>
                </a:lnTo>
                <a:lnTo>
                  <a:pt x="9" y="22"/>
                </a:lnTo>
                <a:lnTo>
                  <a:pt x="9" y="17"/>
                </a:lnTo>
                <a:lnTo>
                  <a:pt x="14" y="14"/>
                </a:lnTo>
                <a:lnTo>
                  <a:pt x="14" y="12"/>
                </a:lnTo>
                <a:lnTo>
                  <a:pt x="9" y="9"/>
                </a:lnTo>
                <a:lnTo>
                  <a:pt x="12" y="5"/>
                </a:lnTo>
                <a:lnTo>
                  <a:pt x="14" y="2"/>
                </a:lnTo>
                <a:lnTo>
                  <a:pt x="17" y="2"/>
                </a:lnTo>
                <a:lnTo>
                  <a:pt x="17" y="0"/>
                </a:lnTo>
                <a:lnTo>
                  <a:pt x="22" y="0"/>
                </a:lnTo>
                <a:lnTo>
                  <a:pt x="27" y="5"/>
                </a:lnTo>
                <a:lnTo>
                  <a:pt x="29" y="2"/>
                </a:lnTo>
                <a:lnTo>
                  <a:pt x="32" y="2"/>
                </a:lnTo>
                <a:lnTo>
                  <a:pt x="32" y="9"/>
                </a:lnTo>
                <a:lnTo>
                  <a:pt x="37" y="12"/>
                </a:lnTo>
                <a:lnTo>
                  <a:pt x="41" y="12"/>
                </a:lnTo>
                <a:lnTo>
                  <a:pt x="44" y="17"/>
                </a:lnTo>
                <a:lnTo>
                  <a:pt x="46" y="19"/>
                </a:lnTo>
                <a:lnTo>
                  <a:pt x="46" y="19"/>
                </a:lnTo>
                <a:lnTo>
                  <a:pt x="44" y="24"/>
                </a:lnTo>
                <a:lnTo>
                  <a:pt x="41" y="22"/>
                </a:lnTo>
                <a:lnTo>
                  <a:pt x="39" y="22"/>
                </a:lnTo>
                <a:lnTo>
                  <a:pt x="34" y="22"/>
                </a:lnTo>
                <a:lnTo>
                  <a:pt x="34" y="22"/>
                </a:lnTo>
                <a:lnTo>
                  <a:pt x="29" y="22"/>
                </a:lnTo>
                <a:lnTo>
                  <a:pt x="27" y="24"/>
                </a:lnTo>
                <a:lnTo>
                  <a:pt x="24" y="29"/>
                </a:lnTo>
                <a:lnTo>
                  <a:pt x="17" y="32"/>
                </a:lnTo>
                <a:lnTo>
                  <a:pt x="9" y="39"/>
                </a:lnTo>
                <a:lnTo>
                  <a:pt x="9" y="37"/>
                </a:lnTo>
                <a:lnTo>
                  <a:pt x="9" y="32"/>
                </a:lnTo>
                <a:lnTo>
                  <a:pt x="12" y="32"/>
                </a:lnTo>
                <a:lnTo>
                  <a:pt x="14" y="29"/>
                </a:lnTo>
                <a:lnTo>
                  <a:pt x="12" y="29"/>
                </a:lnTo>
                <a:lnTo>
                  <a:pt x="9" y="29"/>
                </a:lnTo>
                <a:lnTo>
                  <a:pt x="9" y="29"/>
                </a:lnTo>
                <a:lnTo>
                  <a:pt x="7" y="27"/>
                </a:lnTo>
                <a:lnTo>
                  <a:pt x="5" y="24"/>
                </a:lnTo>
                <a:lnTo>
                  <a:pt x="5" y="24"/>
                </a:lnTo>
                <a:lnTo>
                  <a:pt x="5" y="24"/>
                </a:lnTo>
                <a:lnTo>
                  <a:pt x="5" y="24"/>
                </a:lnTo>
                <a:close/>
                <a:moveTo>
                  <a:pt x="231" y="7"/>
                </a:moveTo>
                <a:lnTo>
                  <a:pt x="231" y="7"/>
                </a:lnTo>
                <a:lnTo>
                  <a:pt x="228" y="12"/>
                </a:lnTo>
                <a:lnTo>
                  <a:pt x="226" y="14"/>
                </a:lnTo>
                <a:lnTo>
                  <a:pt x="221" y="17"/>
                </a:lnTo>
                <a:lnTo>
                  <a:pt x="219" y="19"/>
                </a:lnTo>
                <a:lnTo>
                  <a:pt x="214" y="19"/>
                </a:lnTo>
                <a:lnTo>
                  <a:pt x="211" y="19"/>
                </a:lnTo>
                <a:lnTo>
                  <a:pt x="206" y="19"/>
                </a:lnTo>
                <a:lnTo>
                  <a:pt x="204" y="17"/>
                </a:lnTo>
                <a:lnTo>
                  <a:pt x="201" y="17"/>
                </a:lnTo>
                <a:lnTo>
                  <a:pt x="201" y="17"/>
                </a:lnTo>
                <a:lnTo>
                  <a:pt x="199" y="17"/>
                </a:lnTo>
                <a:lnTo>
                  <a:pt x="191" y="19"/>
                </a:lnTo>
                <a:lnTo>
                  <a:pt x="187" y="22"/>
                </a:lnTo>
                <a:lnTo>
                  <a:pt x="182" y="19"/>
                </a:lnTo>
                <a:lnTo>
                  <a:pt x="177" y="17"/>
                </a:lnTo>
                <a:lnTo>
                  <a:pt x="174" y="19"/>
                </a:lnTo>
                <a:lnTo>
                  <a:pt x="169" y="17"/>
                </a:lnTo>
                <a:lnTo>
                  <a:pt x="167" y="14"/>
                </a:lnTo>
                <a:lnTo>
                  <a:pt x="160" y="12"/>
                </a:lnTo>
                <a:lnTo>
                  <a:pt x="160" y="12"/>
                </a:lnTo>
                <a:lnTo>
                  <a:pt x="157" y="14"/>
                </a:lnTo>
                <a:lnTo>
                  <a:pt x="155" y="14"/>
                </a:lnTo>
                <a:lnTo>
                  <a:pt x="152" y="9"/>
                </a:lnTo>
                <a:lnTo>
                  <a:pt x="152" y="7"/>
                </a:lnTo>
                <a:lnTo>
                  <a:pt x="150" y="5"/>
                </a:lnTo>
                <a:lnTo>
                  <a:pt x="147" y="5"/>
                </a:lnTo>
                <a:lnTo>
                  <a:pt x="145" y="7"/>
                </a:lnTo>
                <a:lnTo>
                  <a:pt x="142" y="7"/>
                </a:lnTo>
                <a:lnTo>
                  <a:pt x="142" y="7"/>
                </a:lnTo>
                <a:lnTo>
                  <a:pt x="135" y="2"/>
                </a:lnTo>
                <a:lnTo>
                  <a:pt x="135" y="0"/>
                </a:lnTo>
                <a:lnTo>
                  <a:pt x="135" y="0"/>
                </a:lnTo>
                <a:lnTo>
                  <a:pt x="130" y="2"/>
                </a:lnTo>
                <a:lnTo>
                  <a:pt x="125" y="2"/>
                </a:lnTo>
                <a:lnTo>
                  <a:pt x="123" y="0"/>
                </a:lnTo>
                <a:lnTo>
                  <a:pt x="120" y="2"/>
                </a:lnTo>
                <a:lnTo>
                  <a:pt x="113" y="2"/>
                </a:lnTo>
                <a:lnTo>
                  <a:pt x="108" y="2"/>
                </a:lnTo>
                <a:lnTo>
                  <a:pt x="100" y="5"/>
                </a:lnTo>
                <a:lnTo>
                  <a:pt x="98" y="5"/>
                </a:lnTo>
                <a:lnTo>
                  <a:pt x="93" y="7"/>
                </a:lnTo>
                <a:lnTo>
                  <a:pt x="91" y="9"/>
                </a:lnTo>
                <a:lnTo>
                  <a:pt x="88" y="9"/>
                </a:lnTo>
                <a:lnTo>
                  <a:pt x="86" y="12"/>
                </a:lnTo>
                <a:lnTo>
                  <a:pt x="83" y="12"/>
                </a:lnTo>
                <a:lnTo>
                  <a:pt x="83" y="17"/>
                </a:lnTo>
                <a:lnTo>
                  <a:pt x="81" y="17"/>
                </a:lnTo>
                <a:lnTo>
                  <a:pt x="81" y="19"/>
                </a:lnTo>
                <a:lnTo>
                  <a:pt x="76" y="19"/>
                </a:lnTo>
                <a:lnTo>
                  <a:pt x="68" y="17"/>
                </a:lnTo>
                <a:lnTo>
                  <a:pt x="66" y="17"/>
                </a:lnTo>
                <a:lnTo>
                  <a:pt x="64" y="17"/>
                </a:lnTo>
                <a:lnTo>
                  <a:pt x="61" y="17"/>
                </a:lnTo>
                <a:lnTo>
                  <a:pt x="56" y="19"/>
                </a:lnTo>
                <a:lnTo>
                  <a:pt x="54" y="17"/>
                </a:lnTo>
                <a:lnTo>
                  <a:pt x="49" y="19"/>
                </a:lnTo>
                <a:lnTo>
                  <a:pt x="49" y="22"/>
                </a:lnTo>
                <a:lnTo>
                  <a:pt x="51" y="27"/>
                </a:lnTo>
                <a:lnTo>
                  <a:pt x="56" y="27"/>
                </a:lnTo>
                <a:lnTo>
                  <a:pt x="59" y="27"/>
                </a:lnTo>
                <a:lnTo>
                  <a:pt x="59" y="27"/>
                </a:lnTo>
                <a:lnTo>
                  <a:pt x="51" y="29"/>
                </a:lnTo>
                <a:lnTo>
                  <a:pt x="46" y="29"/>
                </a:lnTo>
                <a:lnTo>
                  <a:pt x="44" y="32"/>
                </a:lnTo>
                <a:lnTo>
                  <a:pt x="46" y="34"/>
                </a:lnTo>
                <a:lnTo>
                  <a:pt x="49" y="32"/>
                </a:lnTo>
                <a:lnTo>
                  <a:pt x="51" y="34"/>
                </a:lnTo>
                <a:lnTo>
                  <a:pt x="49" y="37"/>
                </a:lnTo>
                <a:lnTo>
                  <a:pt x="41" y="37"/>
                </a:lnTo>
                <a:lnTo>
                  <a:pt x="37" y="34"/>
                </a:lnTo>
                <a:lnTo>
                  <a:pt x="34" y="37"/>
                </a:lnTo>
                <a:lnTo>
                  <a:pt x="32" y="34"/>
                </a:lnTo>
                <a:lnTo>
                  <a:pt x="29" y="34"/>
                </a:lnTo>
                <a:lnTo>
                  <a:pt x="27" y="37"/>
                </a:lnTo>
                <a:lnTo>
                  <a:pt x="24" y="37"/>
                </a:lnTo>
                <a:lnTo>
                  <a:pt x="22" y="34"/>
                </a:lnTo>
                <a:lnTo>
                  <a:pt x="17" y="34"/>
                </a:lnTo>
                <a:lnTo>
                  <a:pt x="9" y="39"/>
                </a:lnTo>
                <a:lnTo>
                  <a:pt x="9" y="41"/>
                </a:lnTo>
                <a:lnTo>
                  <a:pt x="9" y="44"/>
                </a:lnTo>
                <a:lnTo>
                  <a:pt x="9" y="46"/>
                </a:lnTo>
                <a:lnTo>
                  <a:pt x="9" y="49"/>
                </a:lnTo>
                <a:lnTo>
                  <a:pt x="9" y="51"/>
                </a:lnTo>
                <a:lnTo>
                  <a:pt x="9" y="51"/>
                </a:lnTo>
                <a:lnTo>
                  <a:pt x="14" y="51"/>
                </a:lnTo>
                <a:lnTo>
                  <a:pt x="14" y="51"/>
                </a:lnTo>
                <a:lnTo>
                  <a:pt x="17" y="51"/>
                </a:lnTo>
                <a:lnTo>
                  <a:pt x="22" y="51"/>
                </a:lnTo>
                <a:lnTo>
                  <a:pt x="17" y="54"/>
                </a:lnTo>
                <a:lnTo>
                  <a:pt x="19" y="56"/>
                </a:lnTo>
                <a:lnTo>
                  <a:pt x="19" y="59"/>
                </a:lnTo>
                <a:lnTo>
                  <a:pt x="19" y="61"/>
                </a:lnTo>
                <a:lnTo>
                  <a:pt x="19" y="61"/>
                </a:lnTo>
                <a:lnTo>
                  <a:pt x="19" y="64"/>
                </a:lnTo>
                <a:lnTo>
                  <a:pt x="24" y="61"/>
                </a:lnTo>
                <a:lnTo>
                  <a:pt x="24" y="64"/>
                </a:lnTo>
                <a:lnTo>
                  <a:pt x="22" y="64"/>
                </a:lnTo>
                <a:lnTo>
                  <a:pt x="17" y="66"/>
                </a:lnTo>
                <a:lnTo>
                  <a:pt x="19" y="68"/>
                </a:lnTo>
                <a:lnTo>
                  <a:pt x="22" y="68"/>
                </a:lnTo>
                <a:lnTo>
                  <a:pt x="19" y="68"/>
                </a:lnTo>
                <a:lnTo>
                  <a:pt x="17" y="71"/>
                </a:lnTo>
                <a:lnTo>
                  <a:pt x="17" y="71"/>
                </a:lnTo>
                <a:lnTo>
                  <a:pt x="14" y="68"/>
                </a:lnTo>
                <a:lnTo>
                  <a:pt x="14" y="68"/>
                </a:lnTo>
                <a:lnTo>
                  <a:pt x="12" y="71"/>
                </a:lnTo>
                <a:lnTo>
                  <a:pt x="14" y="73"/>
                </a:lnTo>
                <a:lnTo>
                  <a:pt x="12" y="73"/>
                </a:lnTo>
                <a:lnTo>
                  <a:pt x="12" y="76"/>
                </a:lnTo>
                <a:lnTo>
                  <a:pt x="14" y="78"/>
                </a:lnTo>
                <a:lnTo>
                  <a:pt x="17" y="76"/>
                </a:lnTo>
                <a:lnTo>
                  <a:pt x="19" y="78"/>
                </a:lnTo>
                <a:lnTo>
                  <a:pt x="22" y="78"/>
                </a:lnTo>
                <a:lnTo>
                  <a:pt x="24" y="81"/>
                </a:lnTo>
                <a:lnTo>
                  <a:pt x="27" y="86"/>
                </a:lnTo>
                <a:lnTo>
                  <a:pt x="24" y="88"/>
                </a:lnTo>
                <a:lnTo>
                  <a:pt x="27" y="88"/>
                </a:lnTo>
                <a:lnTo>
                  <a:pt x="27" y="91"/>
                </a:lnTo>
                <a:lnTo>
                  <a:pt x="27" y="91"/>
                </a:lnTo>
                <a:lnTo>
                  <a:pt x="32" y="96"/>
                </a:lnTo>
                <a:lnTo>
                  <a:pt x="29" y="98"/>
                </a:lnTo>
                <a:lnTo>
                  <a:pt x="27" y="96"/>
                </a:lnTo>
                <a:lnTo>
                  <a:pt x="27" y="98"/>
                </a:lnTo>
                <a:lnTo>
                  <a:pt x="29" y="98"/>
                </a:lnTo>
                <a:lnTo>
                  <a:pt x="34" y="98"/>
                </a:lnTo>
                <a:lnTo>
                  <a:pt x="39" y="98"/>
                </a:lnTo>
                <a:lnTo>
                  <a:pt x="39" y="98"/>
                </a:lnTo>
                <a:lnTo>
                  <a:pt x="39" y="100"/>
                </a:lnTo>
                <a:lnTo>
                  <a:pt x="34" y="103"/>
                </a:lnTo>
                <a:lnTo>
                  <a:pt x="29" y="103"/>
                </a:lnTo>
                <a:lnTo>
                  <a:pt x="29" y="103"/>
                </a:lnTo>
                <a:lnTo>
                  <a:pt x="32" y="105"/>
                </a:lnTo>
                <a:lnTo>
                  <a:pt x="34" y="103"/>
                </a:lnTo>
                <a:lnTo>
                  <a:pt x="37" y="103"/>
                </a:lnTo>
                <a:lnTo>
                  <a:pt x="39" y="103"/>
                </a:lnTo>
                <a:lnTo>
                  <a:pt x="39" y="105"/>
                </a:lnTo>
                <a:lnTo>
                  <a:pt x="39" y="105"/>
                </a:lnTo>
                <a:lnTo>
                  <a:pt x="41" y="103"/>
                </a:lnTo>
                <a:lnTo>
                  <a:pt x="44" y="100"/>
                </a:lnTo>
                <a:lnTo>
                  <a:pt x="46" y="100"/>
                </a:lnTo>
                <a:lnTo>
                  <a:pt x="46" y="103"/>
                </a:lnTo>
                <a:lnTo>
                  <a:pt x="49" y="103"/>
                </a:lnTo>
                <a:lnTo>
                  <a:pt x="51" y="105"/>
                </a:lnTo>
                <a:lnTo>
                  <a:pt x="54" y="103"/>
                </a:lnTo>
                <a:lnTo>
                  <a:pt x="56" y="103"/>
                </a:lnTo>
                <a:lnTo>
                  <a:pt x="56" y="105"/>
                </a:lnTo>
                <a:lnTo>
                  <a:pt x="54" y="105"/>
                </a:lnTo>
                <a:lnTo>
                  <a:pt x="56" y="108"/>
                </a:lnTo>
                <a:lnTo>
                  <a:pt x="56" y="110"/>
                </a:lnTo>
                <a:lnTo>
                  <a:pt x="59" y="113"/>
                </a:lnTo>
                <a:lnTo>
                  <a:pt x="61" y="110"/>
                </a:lnTo>
                <a:lnTo>
                  <a:pt x="64" y="113"/>
                </a:lnTo>
                <a:lnTo>
                  <a:pt x="68" y="113"/>
                </a:lnTo>
                <a:lnTo>
                  <a:pt x="68" y="110"/>
                </a:lnTo>
                <a:lnTo>
                  <a:pt x="71" y="110"/>
                </a:lnTo>
                <a:lnTo>
                  <a:pt x="73" y="110"/>
                </a:lnTo>
                <a:lnTo>
                  <a:pt x="76" y="110"/>
                </a:lnTo>
                <a:lnTo>
                  <a:pt x="78" y="110"/>
                </a:lnTo>
                <a:lnTo>
                  <a:pt x="78" y="105"/>
                </a:lnTo>
                <a:lnTo>
                  <a:pt x="78" y="103"/>
                </a:lnTo>
                <a:lnTo>
                  <a:pt x="78" y="100"/>
                </a:lnTo>
                <a:lnTo>
                  <a:pt x="86" y="100"/>
                </a:lnTo>
                <a:lnTo>
                  <a:pt x="91" y="100"/>
                </a:lnTo>
                <a:lnTo>
                  <a:pt x="98" y="105"/>
                </a:lnTo>
                <a:lnTo>
                  <a:pt x="100" y="105"/>
                </a:lnTo>
                <a:lnTo>
                  <a:pt x="105" y="110"/>
                </a:lnTo>
                <a:lnTo>
                  <a:pt x="110" y="113"/>
                </a:lnTo>
                <a:lnTo>
                  <a:pt x="123" y="113"/>
                </a:lnTo>
                <a:lnTo>
                  <a:pt x="128" y="110"/>
                </a:lnTo>
                <a:lnTo>
                  <a:pt x="130" y="110"/>
                </a:lnTo>
                <a:lnTo>
                  <a:pt x="130" y="110"/>
                </a:lnTo>
                <a:lnTo>
                  <a:pt x="132" y="110"/>
                </a:lnTo>
                <a:lnTo>
                  <a:pt x="132" y="108"/>
                </a:lnTo>
                <a:lnTo>
                  <a:pt x="140" y="98"/>
                </a:lnTo>
                <a:lnTo>
                  <a:pt x="140" y="98"/>
                </a:lnTo>
                <a:lnTo>
                  <a:pt x="147" y="100"/>
                </a:lnTo>
                <a:lnTo>
                  <a:pt x="152" y="103"/>
                </a:lnTo>
                <a:lnTo>
                  <a:pt x="155" y="103"/>
                </a:lnTo>
                <a:lnTo>
                  <a:pt x="157" y="100"/>
                </a:lnTo>
                <a:lnTo>
                  <a:pt x="160" y="98"/>
                </a:lnTo>
                <a:lnTo>
                  <a:pt x="162" y="98"/>
                </a:lnTo>
                <a:lnTo>
                  <a:pt x="162" y="100"/>
                </a:lnTo>
                <a:lnTo>
                  <a:pt x="160" y="105"/>
                </a:lnTo>
                <a:lnTo>
                  <a:pt x="157" y="108"/>
                </a:lnTo>
                <a:lnTo>
                  <a:pt x="157" y="108"/>
                </a:lnTo>
                <a:lnTo>
                  <a:pt x="160" y="113"/>
                </a:lnTo>
                <a:lnTo>
                  <a:pt x="160" y="115"/>
                </a:lnTo>
                <a:lnTo>
                  <a:pt x="162" y="115"/>
                </a:lnTo>
                <a:lnTo>
                  <a:pt x="164" y="115"/>
                </a:lnTo>
                <a:lnTo>
                  <a:pt x="169" y="113"/>
                </a:lnTo>
                <a:lnTo>
                  <a:pt x="169" y="110"/>
                </a:lnTo>
                <a:lnTo>
                  <a:pt x="169" y="108"/>
                </a:lnTo>
                <a:lnTo>
                  <a:pt x="169" y="103"/>
                </a:lnTo>
                <a:lnTo>
                  <a:pt x="172" y="100"/>
                </a:lnTo>
                <a:lnTo>
                  <a:pt x="177" y="100"/>
                </a:lnTo>
                <a:lnTo>
                  <a:pt x="179" y="103"/>
                </a:lnTo>
                <a:lnTo>
                  <a:pt x="187" y="98"/>
                </a:lnTo>
                <a:lnTo>
                  <a:pt x="187" y="98"/>
                </a:lnTo>
                <a:lnTo>
                  <a:pt x="189" y="98"/>
                </a:lnTo>
                <a:lnTo>
                  <a:pt x="199" y="96"/>
                </a:lnTo>
                <a:lnTo>
                  <a:pt x="201" y="98"/>
                </a:lnTo>
                <a:lnTo>
                  <a:pt x="201" y="98"/>
                </a:lnTo>
                <a:lnTo>
                  <a:pt x="206" y="100"/>
                </a:lnTo>
                <a:lnTo>
                  <a:pt x="214" y="100"/>
                </a:lnTo>
                <a:lnTo>
                  <a:pt x="216" y="98"/>
                </a:lnTo>
                <a:lnTo>
                  <a:pt x="219" y="98"/>
                </a:lnTo>
                <a:lnTo>
                  <a:pt x="221" y="96"/>
                </a:lnTo>
                <a:lnTo>
                  <a:pt x="226" y="93"/>
                </a:lnTo>
                <a:lnTo>
                  <a:pt x="231" y="93"/>
                </a:lnTo>
                <a:lnTo>
                  <a:pt x="233" y="93"/>
                </a:lnTo>
                <a:lnTo>
                  <a:pt x="241" y="93"/>
                </a:lnTo>
                <a:lnTo>
                  <a:pt x="248" y="91"/>
                </a:lnTo>
                <a:lnTo>
                  <a:pt x="253" y="91"/>
                </a:lnTo>
                <a:lnTo>
                  <a:pt x="253" y="93"/>
                </a:lnTo>
                <a:lnTo>
                  <a:pt x="258" y="88"/>
                </a:lnTo>
                <a:lnTo>
                  <a:pt x="260" y="88"/>
                </a:lnTo>
                <a:lnTo>
                  <a:pt x="263" y="88"/>
                </a:lnTo>
                <a:lnTo>
                  <a:pt x="268" y="88"/>
                </a:lnTo>
                <a:lnTo>
                  <a:pt x="275" y="88"/>
                </a:lnTo>
                <a:lnTo>
                  <a:pt x="278" y="88"/>
                </a:lnTo>
                <a:lnTo>
                  <a:pt x="280" y="88"/>
                </a:lnTo>
                <a:lnTo>
                  <a:pt x="280" y="93"/>
                </a:lnTo>
                <a:lnTo>
                  <a:pt x="283" y="93"/>
                </a:lnTo>
                <a:lnTo>
                  <a:pt x="287" y="93"/>
                </a:lnTo>
                <a:lnTo>
                  <a:pt x="287" y="91"/>
                </a:lnTo>
                <a:lnTo>
                  <a:pt x="285" y="86"/>
                </a:lnTo>
                <a:lnTo>
                  <a:pt x="283" y="81"/>
                </a:lnTo>
                <a:lnTo>
                  <a:pt x="278" y="78"/>
                </a:lnTo>
                <a:lnTo>
                  <a:pt x="278" y="76"/>
                </a:lnTo>
                <a:lnTo>
                  <a:pt x="278" y="71"/>
                </a:lnTo>
                <a:lnTo>
                  <a:pt x="280" y="68"/>
                </a:lnTo>
                <a:lnTo>
                  <a:pt x="280" y="66"/>
                </a:lnTo>
                <a:lnTo>
                  <a:pt x="275" y="66"/>
                </a:lnTo>
                <a:lnTo>
                  <a:pt x="275" y="61"/>
                </a:lnTo>
                <a:lnTo>
                  <a:pt x="275" y="59"/>
                </a:lnTo>
                <a:lnTo>
                  <a:pt x="275" y="51"/>
                </a:lnTo>
                <a:lnTo>
                  <a:pt x="273" y="49"/>
                </a:lnTo>
                <a:lnTo>
                  <a:pt x="273" y="49"/>
                </a:lnTo>
                <a:lnTo>
                  <a:pt x="278" y="46"/>
                </a:lnTo>
                <a:lnTo>
                  <a:pt x="278" y="44"/>
                </a:lnTo>
                <a:lnTo>
                  <a:pt x="280" y="41"/>
                </a:lnTo>
                <a:lnTo>
                  <a:pt x="278" y="39"/>
                </a:lnTo>
                <a:lnTo>
                  <a:pt x="275" y="37"/>
                </a:lnTo>
                <a:lnTo>
                  <a:pt x="273" y="37"/>
                </a:lnTo>
                <a:lnTo>
                  <a:pt x="268" y="37"/>
                </a:lnTo>
                <a:lnTo>
                  <a:pt x="263" y="34"/>
                </a:lnTo>
                <a:lnTo>
                  <a:pt x="263" y="27"/>
                </a:lnTo>
                <a:lnTo>
                  <a:pt x="265" y="22"/>
                </a:lnTo>
                <a:lnTo>
                  <a:pt x="263" y="19"/>
                </a:lnTo>
                <a:lnTo>
                  <a:pt x="260" y="19"/>
                </a:lnTo>
                <a:lnTo>
                  <a:pt x="260" y="17"/>
                </a:lnTo>
                <a:lnTo>
                  <a:pt x="258" y="14"/>
                </a:lnTo>
                <a:lnTo>
                  <a:pt x="255" y="14"/>
                </a:lnTo>
                <a:lnTo>
                  <a:pt x="248" y="7"/>
                </a:lnTo>
                <a:lnTo>
                  <a:pt x="246" y="7"/>
                </a:lnTo>
                <a:lnTo>
                  <a:pt x="243" y="9"/>
                </a:lnTo>
                <a:lnTo>
                  <a:pt x="241" y="9"/>
                </a:lnTo>
                <a:lnTo>
                  <a:pt x="238" y="7"/>
                </a:lnTo>
                <a:lnTo>
                  <a:pt x="236" y="9"/>
                </a:lnTo>
                <a:lnTo>
                  <a:pt x="233" y="9"/>
                </a:lnTo>
                <a:lnTo>
                  <a:pt x="233" y="7"/>
                </a:lnTo>
                <a:lnTo>
                  <a:pt x="231" y="7"/>
                </a:lnTo>
                <a:lnTo>
                  <a:pt x="231" y="7"/>
                </a:lnTo>
                <a:lnTo>
                  <a:pt x="231" y="7"/>
                </a:lnTo>
                <a:close/>
                <a:moveTo>
                  <a:pt x="34" y="105"/>
                </a:moveTo>
                <a:lnTo>
                  <a:pt x="37" y="105"/>
                </a:lnTo>
                <a:lnTo>
                  <a:pt x="37" y="105"/>
                </a:lnTo>
                <a:lnTo>
                  <a:pt x="37" y="105"/>
                </a:lnTo>
                <a:lnTo>
                  <a:pt x="37" y="108"/>
                </a:lnTo>
                <a:lnTo>
                  <a:pt x="34" y="105"/>
                </a:lnTo>
                <a:lnTo>
                  <a:pt x="34" y="105"/>
                </a:lnTo>
                <a:lnTo>
                  <a:pt x="34" y="105"/>
                </a:lnTo>
                <a:close/>
                <a:moveTo>
                  <a:pt x="0" y="37"/>
                </a:moveTo>
                <a:lnTo>
                  <a:pt x="2" y="39"/>
                </a:lnTo>
                <a:lnTo>
                  <a:pt x="7" y="37"/>
                </a:lnTo>
                <a:lnTo>
                  <a:pt x="7" y="37"/>
                </a:lnTo>
                <a:lnTo>
                  <a:pt x="5" y="34"/>
                </a:lnTo>
                <a:lnTo>
                  <a:pt x="5" y="37"/>
                </a:lnTo>
                <a:lnTo>
                  <a:pt x="2" y="37"/>
                </a:lnTo>
                <a:lnTo>
                  <a:pt x="0" y="37"/>
                </a:lnTo>
                <a:lnTo>
                  <a:pt x="0" y="3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8" name="Freeform 87"/>
          <p:cNvSpPr>
            <a:spLocks/>
          </p:cNvSpPr>
          <p:nvPr/>
        </p:nvSpPr>
        <p:spPr bwMode="auto">
          <a:xfrm>
            <a:off x="5701613" y="3510856"/>
            <a:ext cx="244643" cy="219654"/>
          </a:xfrm>
          <a:custGeom>
            <a:avLst/>
            <a:gdLst/>
            <a:ahLst/>
            <a:cxnLst>
              <a:cxn ang="0">
                <a:pos x="147" y="123"/>
              </a:cxn>
              <a:cxn ang="0">
                <a:pos x="142" y="118"/>
              </a:cxn>
              <a:cxn ang="0">
                <a:pos x="135" y="108"/>
              </a:cxn>
              <a:cxn ang="0">
                <a:pos x="135" y="101"/>
              </a:cxn>
              <a:cxn ang="0">
                <a:pos x="135" y="91"/>
              </a:cxn>
              <a:cxn ang="0">
                <a:pos x="130" y="84"/>
              </a:cxn>
              <a:cxn ang="0">
                <a:pos x="125" y="84"/>
              </a:cxn>
              <a:cxn ang="0">
                <a:pos x="110" y="76"/>
              </a:cxn>
              <a:cxn ang="0">
                <a:pos x="106" y="74"/>
              </a:cxn>
              <a:cxn ang="0">
                <a:pos x="106" y="71"/>
              </a:cxn>
              <a:cxn ang="0">
                <a:pos x="106" y="67"/>
              </a:cxn>
              <a:cxn ang="0">
                <a:pos x="101" y="62"/>
              </a:cxn>
              <a:cxn ang="0">
                <a:pos x="96" y="59"/>
              </a:cxn>
              <a:cxn ang="0">
                <a:pos x="98" y="57"/>
              </a:cxn>
              <a:cxn ang="0">
                <a:pos x="98" y="52"/>
              </a:cxn>
              <a:cxn ang="0">
                <a:pos x="101" y="44"/>
              </a:cxn>
              <a:cxn ang="0">
                <a:pos x="103" y="42"/>
              </a:cxn>
              <a:cxn ang="0">
                <a:pos x="103" y="35"/>
              </a:cxn>
              <a:cxn ang="0">
                <a:pos x="103" y="30"/>
              </a:cxn>
              <a:cxn ang="0">
                <a:pos x="108" y="27"/>
              </a:cxn>
              <a:cxn ang="0">
                <a:pos x="108" y="27"/>
              </a:cxn>
              <a:cxn ang="0">
                <a:pos x="101" y="27"/>
              </a:cxn>
              <a:cxn ang="0">
                <a:pos x="93" y="22"/>
              </a:cxn>
              <a:cxn ang="0">
                <a:pos x="88" y="20"/>
              </a:cxn>
              <a:cxn ang="0">
                <a:pos x="86" y="15"/>
              </a:cxn>
              <a:cxn ang="0">
                <a:pos x="81" y="10"/>
              </a:cxn>
              <a:cxn ang="0">
                <a:pos x="81" y="5"/>
              </a:cxn>
              <a:cxn ang="0">
                <a:pos x="74" y="5"/>
              </a:cxn>
              <a:cxn ang="0">
                <a:pos x="71" y="0"/>
              </a:cxn>
              <a:cxn ang="0">
                <a:pos x="66" y="0"/>
              </a:cxn>
              <a:cxn ang="0">
                <a:pos x="54" y="0"/>
              </a:cxn>
              <a:cxn ang="0">
                <a:pos x="49" y="0"/>
              </a:cxn>
              <a:cxn ang="0">
                <a:pos x="44" y="5"/>
              </a:cxn>
              <a:cxn ang="0">
                <a:pos x="42" y="8"/>
              </a:cxn>
              <a:cxn ang="0">
                <a:pos x="32" y="12"/>
              </a:cxn>
              <a:cxn ang="0">
                <a:pos x="29" y="22"/>
              </a:cxn>
              <a:cxn ang="0">
                <a:pos x="32" y="32"/>
              </a:cxn>
              <a:cxn ang="0">
                <a:pos x="29" y="40"/>
              </a:cxn>
              <a:cxn ang="0">
                <a:pos x="27" y="49"/>
              </a:cxn>
              <a:cxn ang="0">
                <a:pos x="0" y="71"/>
              </a:cxn>
              <a:cxn ang="0">
                <a:pos x="0" y="71"/>
              </a:cxn>
              <a:cxn ang="0">
                <a:pos x="19" y="91"/>
              </a:cxn>
              <a:cxn ang="0">
                <a:pos x="123" y="143"/>
              </a:cxn>
              <a:cxn ang="0">
                <a:pos x="128" y="128"/>
              </a:cxn>
              <a:cxn ang="0">
                <a:pos x="140" y="128"/>
              </a:cxn>
              <a:cxn ang="0">
                <a:pos x="145" y="128"/>
              </a:cxn>
              <a:cxn ang="0">
                <a:pos x="150" y="123"/>
              </a:cxn>
            </a:cxnLst>
            <a:rect l="0" t="0" r="r" b="b"/>
            <a:pathLst>
              <a:path w="150" h="143">
                <a:moveTo>
                  <a:pt x="150" y="123"/>
                </a:moveTo>
                <a:lnTo>
                  <a:pt x="147" y="123"/>
                </a:lnTo>
                <a:lnTo>
                  <a:pt x="145" y="121"/>
                </a:lnTo>
                <a:lnTo>
                  <a:pt x="142" y="118"/>
                </a:lnTo>
                <a:lnTo>
                  <a:pt x="140" y="108"/>
                </a:lnTo>
                <a:lnTo>
                  <a:pt x="135" y="108"/>
                </a:lnTo>
                <a:lnTo>
                  <a:pt x="135" y="106"/>
                </a:lnTo>
                <a:lnTo>
                  <a:pt x="135" y="101"/>
                </a:lnTo>
                <a:lnTo>
                  <a:pt x="137" y="99"/>
                </a:lnTo>
                <a:lnTo>
                  <a:pt x="135" y="91"/>
                </a:lnTo>
                <a:lnTo>
                  <a:pt x="133" y="89"/>
                </a:lnTo>
                <a:lnTo>
                  <a:pt x="130" y="84"/>
                </a:lnTo>
                <a:lnTo>
                  <a:pt x="128" y="81"/>
                </a:lnTo>
                <a:lnTo>
                  <a:pt x="125" y="84"/>
                </a:lnTo>
                <a:lnTo>
                  <a:pt x="113" y="76"/>
                </a:lnTo>
                <a:lnTo>
                  <a:pt x="110" y="76"/>
                </a:lnTo>
                <a:lnTo>
                  <a:pt x="110" y="76"/>
                </a:lnTo>
                <a:lnTo>
                  <a:pt x="106" y="74"/>
                </a:lnTo>
                <a:lnTo>
                  <a:pt x="108" y="71"/>
                </a:lnTo>
                <a:lnTo>
                  <a:pt x="106" y="71"/>
                </a:lnTo>
                <a:lnTo>
                  <a:pt x="108" y="69"/>
                </a:lnTo>
                <a:lnTo>
                  <a:pt x="106" y="67"/>
                </a:lnTo>
                <a:lnTo>
                  <a:pt x="103" y="64"/>
                </a:lnTo>
                <a:lnTo>
                  <a:pt x="101" y="62"/>
                </a:lnTo>
                <a:lnTo>
                  <a:pt x="98" y="59"/>
                </a:lnTo>
                <a:lnTo>
                  <a:pt x="96" y="59"/>
                </a:lnTo>
                <a:lnTo>
                  <a:pt x="96" y="59"/>
                </a:lnTo>
                <a:lnTo>
                  <a:pt x="98" y="57"/>
                </a:lnTo>
                <a:lnTo>
                  <a:pt x="96" y="54"/>
                </a:lnTo>
                <a:lnTo>
                  <a:pt x="98" y="52"/>
                </a:lnTo>
                <a:lnTo>
                  <a:pt x="98" y="47"/>
                </a:lnTo>
                <a:lnTo>
                  <a:pt x="101" y="44"/>
                </a:lnTo>
                <a:lnTo>
                  <a:pt x="101" y="42"/>
                </a:lnTo>
                <a:lnTo>
                  <a:pt x="103" y="42"/>
                </a:lnTo>
                <a:lnTo>
                  <a:pt x="103" y="40"/>
                </a:lnTo>
                <a:lnTo>
                  <a:pt x="103" y="35"/>
                </a:lnTo>
                <a:lnTo>
                  <a:pt x="103" y="35"/>
                </a:lnTo>
                <a:lnTo>
                  <a:pt x="103" y="30"/>
                </a:lnTo>
                <a:lnTo>
                  <a:pt x="103" y="30"/>
                </a:lnTo>
                <a:lnTo>
                  <a:pt x="108" y="27"/>
                </a:lnTo>
                <a:lnTo>
                  <a:pt x="108" y="27"/>
                </a:lnTo>
                <a:lnTo>
                  <a:pt x="108" y="27"/>
                </a:lnTo>
                <a:lnTo>
                  <a:pt x="106" y="25"/>
                </a:lnTo>
                <a:lnTo>
                  <a:pt x="101" y="27"/>
                </a:lnTo>
                <a:lnTo>
                  <a:pt x="98" y="25"/>
                </a:lnTo>
                <a:lnTo>
                  <a:pt x="93" y="22"/>
                </a:lnTo>
                <a:lnTo>
                  <a:pt x="91" y="22"/>
                </a:lnTo>
                <a:lnTo>
                  <a:pt x="88" y="20"/>
                </a:lnTo>
                <a:lnTo>
                  <a:pt x="88" y="17"/>
                </a:lnTo>
                <a:lnTo>
                  <a:pt x="86" y="15"/>
                </a:lnTo>
                <a:lnTo>
                  <a:pt x="83" y="15"/>
                </a:lnTo>
                <a:lnTo>
                  <a:pt x="81" y="10"/>
                </a:lnTo>
                <a:lnTo>
                  <a:pt x="81" y="8"/>
                </a:lnTo>
                <a:lnTo>
                  <a:pt x="81" y="5"/>
                </a:lnTo>
                <a:lnTo>
                  <a:pt x="78" y="5"/>
                </a:lnTo>
                <a:lnTo>
                  <a:pt x="74" y="5"/>
                </a:lnTo>
                <a:lnTo>
                  <a:pt x="71" y="5"/>
                </a:lnTo>
                <a:lnTo>
                  <a:pt x="71" y="0"/>
                </a:lnTo>
                <a:lnTo>
                  <a:pt x="69" y="0"/>
                </a:lnTo>
                <a:lnTo>
                  <a:pt x="66" y="0"/>
                </a:lnTo>
                <a:lnTo>
                  <a:pt x="59" y="0"/>
                </a:lnTo>
                <a:lnTo>
                  <a:pt x="54" y="0"/>
                </a:lnTo>
                <a:lnTo>
                  <a:pt x="51" y="0"/>
                </a:lnTo>
                <a:lnTo>
                  <a:pt x="49" y="0"/>
                </a:lnTo>
                <a:lnTo>
                  <a:pt x="44" y="5"/>
                </a:lnTo>
                <a:lnTo>
                  <a:pt x="44" y="5"/>
                </a:lnTo>
                <a:lnTo>
                  <a:pt x="44" y="8"/>
                </a:lnTo>
                <a:lnTo>
                  <a:pt x="42" y="8"/>
                </a:lnTo>
                <a:lnTo>
                  <a:pt x="39" y="10"/>
                </a:lnTo>
                <a:lnTo>
                  <a:pt x="32" y="12"/>
                </a:lnTo>
                <a:lnTo>
                  <a:pt x="29" y="17"/>
                </a:lnTo>
                <a:lnTo>
                  <a:pt x="29" y="22"/>
                </a:lnTo>
                <a:lnTo>
                  <a:pt x="32" y="27"/>
                </a:lnTo>
                <a:lnTo>
                  <a:pt x="32" y="32"/>
                </a:lnTo>
                <a:lnTo>
                  <a:pt x="29" y="37"/>
                </a:lnTo>
                <a:lnTo>
                  <a:pt x="29" y="40"/>
                </a:lnTo>
                <a:lnTo>
                  <a:pt x="29" y="44"/>
                </a:lnTo>
                <a:lnTo>
                  <a:pt x="27" y="49"/>
                </a:lnTo>
                <a:lnTo>
                  <a:pt x="27" y="52"/>
                </a:lnTo>
                <a:lnTo>
                  <a:pt x="0" y="71"/>
                </a:lnTo>
                <a:lnTo>
                  <a:pt x="0" y="71"/>
                </a:lnTo>
                <a:lnTo>
                  <a:pt x="0" y="71"/>
                </a:lnTo>
                <a:lnTo>
                  <a:pt x="7" y="91"/>
                </a:lnTo>
                <a:lnTo>
                  <a:pt x="19" y="91"/>
                </a:lnTo>
                <a:lnTo>
                  <a:pt x="93" y="143"/>
                </a:lnTo>
                <a:lnTo>
                  <a:pt x="123" y="143"/>
                </a:lnTo>
                <a:lnTo>
                  <a:pt x="125" y="135"/>
                </a:lnTo>
                <a:lnTo>
                  <a:pt x="128" y="128"/>
                </a:lnTo>
                <a:lnTo>
                  <a:pt x="135" y="126"/>
                </a:lnTo>
                <a:lnTo>
                  <a:pt x="140" y="128"/>
                </a:lnTo>
                <a:lnTo>
                  <a:pt x="145" y="126"/>
                </a:lnTo>
                <a:lnTo>
                  <a:pt x="145" y="128"/>
                </a:lnTo>
                <a:lnTo>
                  <a:pt x="147" y="123"/>
                </a:lnTo>
                <a:lnTo>
                  <a:pt x="150" y="123"/>
                </a:lnTo>
                <a:lnTo>
                  <a:pt x="150" y="12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9" name="Freeform 88"/>
          <p:cNvSpPr>
            <a:spLocks/>
          </p:cNvSpPr>
          <p:nvPr/>
        </p:nvSpPr>
        <p:spPr bwMode="auto">
          <a:xfrm>
            <a:off x="5902220" y="3704397"/>
            <a:ext cx="39142" cy="41474"/>
          </a:xfrm>
          <a:custGeom>
            <a:avLst/>
            <a:gdLst/>
            <a:ahLst/>
            <a:cxnLst>
              <a:cxn ang="0">
                <a:pos x="0" y="17"/>
              </a:cxn>
              <a:cxn ang="0">
                <a:pos x="2" y="9"/>
              </a:cxn>
              <a:cxn ang="0">
                <a:pos x="5" y="2"/>
              </a:cxn>
              <a:cxn ang="0">
                <a:pos x="12" y="0"/>
              </a:cxn>
              <a:cxn ang="0">
                <a:pos x="17" y="2"/>
              </a:cxn>
              <a:cxn ang="0">
                <a:pos x="22" y="0"/>
              </a:cxn>
              <a:cxn ang="0">
                <a:pos x="22" y="2"/>
              </a:cxn>
              <a:cxn ang="0">
                <a:pos x="22" y="2"/>
              </a:cxn>
              <a:cxn ang="0">
                <a:pos x="24" y="9"/>
              </a:cxn>
              <a:cxn ang="0">
                <a:pos x="14" y="12"/>
              </a:cxn>
              <a:cxn ang="0">
                <a:pos x="22" y="14"/>
              </a:cxn>
              <a:cxn ang="0">
                <a:pos x="22" y="14"/>
              </a:cxn>
              <a:cxn ang="0">
                <a:pos x="22" y="17"/>
              </a:cxn>
              <a:cxn ang="0">
                <a:pos x="22" y="19"/>
              </a:cxn>
              <a:cxn ang="0">
                <a:pos x="24" y="19"/>
              </a:cxn>
              <a:cxn ang="0">
                <a:pos x="24" y="19"/>
              </a:cxn>
              <a:cxn ang="0">
                <a:pos x="24" y="22"/>
              </a:cxn>
              <a:cxn ang="0">
                <a:pos x="24" y="22"/>
              </a:cxn>
              <a:cxn ang="0">
                <a:pos x="14" y="27"/>
              </a:cxn>
              <a:cxn ang="0">
                <a:pos x="14" y="22"/>
              </a:cxn>
              <a:cxn ang="0">
                <a:pos x="0" y="17"/>
              </a:cxn>
              <a:cxn ang="0">
                <a:pos x="0" y="17"/>
              </a:cxn>
              <a:cxn ang="0">
                <a:pos x="0" y="17"/>
              </a:cxn>
            </a:cxnLst>
            <a:rect l="0" t="0" r="r" b="b"/>
            <a:pathLst>
              <a:path w="24" h="27">
                <a:moveTo>
                  <a:pt x="0" y="17"/>
                </a:moveTo>
                <a:lnTo>
                  <a:pt x="2" y="9"/>
                </a:lnTo>
                <a:lnTo>
                  <a:pt x="5" y="2"/>
                </a:lnTo>
                <a:lnTo>
                  <a:pt x="12" y="0"/>
                </a:lnTo>
                <a:lnTo>
                  <a:pt x="17" y="2"/>
                </a:lnTo>
                <a:lnTo>
                  <a:pt x="22" y="0"/>
                </a:lnTo>
                <a:lnTo>
                  <a:pt x="22" y="2"/>
                </a:lnTo>
                <a:lnTo>
                  <a:pt x="22" y="2"/>
                </a:lnTo>
                <a:lnTo>
                  <a:pt x="24" y="9"/>
                </a:lnTo>
                <a:lnTo>
                  <a:pt x="14" y="12"/>
                </a:lnTo>
                <a:lnTo>
                  <a:pt x="22" y="14"/>
                </a:lnTo>
                <a:lnTo>
                  <a:pt x="22" y="14"/>
                </a:lnTo>
                <a:lnTo>
                  <a:pt x="22" y="17"/>
                </a:lnTo>
                <a:lnTo>
                  <a:pt x="22" y="19"/>
                </a:lnTo>
                <a:lnTo>
                  <a:pt x="24" y="19"/>
                </a:lnTo>
                <a:lnTo>
                  <a:pt x="24" y="19"/>
                </a:lnTo>
                <a:lnTo>
                  <a:pt x="24" y="22"/>
                </a:lnTo>
                <a:lnTo>
                  <a:pt x="24" y="22"/>
                </a:lnTo>
                <a:lnTo>
                  <a:pt x="14" y="27"/>
                </a:lnTo>
                <a:lnTo>
                  <a:pt x="14" y="22"/>
                </a:lnTo>
                <a:lnTo>
                  <a:pt x="0" y="17"/>
                </a:lnTo>
                <a:lnTo>
                  <a:pt x="0" y="17"/>
                </a:lnTo>
                <a:lnTo>
                  <a:pt x="0" y="1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0" name="Freeform 89"/>
          <p:cNvSpPr>
            <a:spLocks/>
          </p:cNvSpPr>
          <p:nvPr/>
        </p:nvSpPr>
        <p:spPr bwMode="auto">
          <a:xfrm>
            <a:off x="5531992" y="3560009"/>
            <a:ext cx="57085" cy="30721"/>
          </a:xfrm>
          <a:custGeom>
            <a:avLst/>
            <a:gdLst/>
            <a:ahLst/>
            <a:cxnLst>
              <a:cxn ang="0">
                <a:pos x="8" y="20"/>
              </a:cxn>
              <a:cxn ang="0">
                <a:pos x="3" y="17"/>
              </a:cxn>
              <a:cxn ang="0">
                <a:pos x="0" y="15"/>
              </a:cxn>
              <a:cxn ang="0">
                <a:pos x="0" y="10"/>
              </a:cxn>
              <a:cxn ang="0">
                <a:pos x="3" y="10"/>
              </a:cxn>
              <a:cxn ang="0">
                <a:pos x="5" y="8"/>
              </a:cxn>
              <a:cxn ang="0">
                <a:pos x="8" y="10"/>
              </a:cxn>
              <a:cxn ang="0">
                <a:pos x="10" y="10"/>
              </a:cxn>
              <a:cxn ang="0">
                <a:pos x="10" y="8"/>
              </a:cxn>
              <a:cxn ang="0">
                <a:pos x="10" y="5"/>
              </a:cxn>
              <a:cxn ang="0">
                <a:pos x="15" y="5"/>
              </a:cxn>
              <a:cxn ang="0">
                <a:pos x="18" y="8"/>
              </a:cxn>
              <a:cxn ang="0">
                <a:pos x="20" y="5"/>
              </a:cxn>
              <a:cxn ang="0">
                <a:pos x="27" y="3"/>
              </a:cxn>
              <a:cxn ang="0">
                <a:pos x="32" y="0"/>
              </a:cxn>
              <a:cxn ang="0">
                <a:pos x="35" y="0"/>
              </a:cxn>
              <a:cxn ang="0">
                <a:pos x="35" y="0"/>
              </a:cxn>
              <a:cxn ang="0">
                <a:pos x="35" y="3"/>
              </a:cxn>
              <a:cxn ang="0">
                <a:pos x="30" y="5"/>
              </a:cxn>
              <a:cxn ang="0">
                <a:pos x="27" y="8"/>
              </a:cxn>
              <a:cxn ang="0">
                <a:pos x="27" y="12"/>
              </a:cxn>
              <a:cxn ang="0">
                <a:pos x="27" y="15"/>
              </a:cxn>
              <a:cxn ang="0">
                <a:pos x="25" y="15"/>
              </a:cxn>
              <a:cxn ang="0">
                <a:pos x="23" y="15"/>
              </a:cxn>
              <a:cxn ang="0">
                <a:pos x="18" y="17"/>
              </a:cxn>
              <a:cxn ang="0">
                <a:pos x="15" y="20"/>
              </a:cxn>
              <a:cxn ang="0">
                <a:pos x="13" y="20"/>
              </a:cxn>
              <a:cxn ang="0">
                <a:pos x="10" y="20"/>
              </a:cxn>
              <a:cxn ang="0">
                <a:pos x="8" y="20"/>
              </a:cxn>
              <a:cxn ang="0">
                <a:pos x="8" y="20"/>
              </a:cxn>
            </a:cxnLst>
            <a:rect l="0" t="0" r="r" b="b"/>
            <a:pathLst>
              <a:path w="35" h="20">
                <a:moveTo>
                  <a:pt x="8" y="20"/>
                </a:moveTo>
                <a:lnTo>
                  <a:pt x="3" y="17"/>
                </a:lnTo>
                <a:lnTo>
                  <a:pt x="0" y="15"/>
                </a:lnTo>
                <a:lnTo>
                  <a:pt x="0" y="10"/>
                </a:lnTo>
                <a:lnTo>
                  <a:pt x="3" y="10"/>
                </a:lnTo>
                <a:lnTo>
                  <a:pt x="5" y="8"/>
                </a:lnTo>
                <a:lnTo>
                  <a:pt x="8" y="10"/>
                </a:lnTo>
                <a:lnTo>
                  <a:pt x="10" y="10"/>
                </a:lnTo>
                <a:lnTo>
                  <a:pt x="10" y="8"/>
                </a:lnTo>
                <a:lnTo>
                  <a:pt x="10" y="5"/>
                </a:lnTo>
                <a:lnTo>
                  <a:pt x="15" y="5"/>
                </a:lnTo>
                <a:lnTo>
                  <a:pt x="18" y="8"/>
                </a:lnTo>
                <a:lnTo>
                  <a:pt x="20" y="5"/>
                </a:lnTo>
                <a:lnTo>
                  <a:pt x="27" y="3"/>
                </a:lnTo>
                <a:lnTo>
                  <a:pt x="32" y="0"/>
                </a:lnTo>
                <a:lnTo>
                  <a:pt x="35" y="0"/>
                </a:lnTo>
                <a:lnTo>
                  <a:pt x="35" y="0"/>
                </a:lnTo>
                <a:lnTo>
                  <a:pt x="35" y="3"/>
                </a:lnTo>
                <a:lnTo>
                  <a:pt x="30" y="5"/>
                </a:lnTo>
                <a:lnTo>
                  <a:pt x="27" y="8"/>
                </a:lnTo>
                <a:lnTo>
                  <a:pt x="27" y="12"/>
                </a:lnTo>
                <a:lnTo>
                  <a:pt x="27" y="15"/>
                </a:lnTo>
                <a:lnTo>
                  <a:pt x="25" y="15"/>
                </a:lnTo>
                <a:lnTo>
                  <a:pt x="23" y="15"/>
                </a:lnTo>
                <a:lnTo>
                  <a:pt x="18" y="17"/>
                </a:lnTo>
                <a:lnTo>
                  <a:pt x="15" y="20"/>
                </a:lnTo>
                <a:lnTo>
                  <a:pt x="13" y="20"/>
                </a:lnTo>
                <a:lnTo>
                  <a:pt x="10" y="20"/>
                </a:lnTo>
                <a:lnTo>
                  <a:pt x="8" y="20"/>
                </a:lnTo>
                <a:lnTo>
                  <a:pt x="8" y="2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1" name="Freeform 90"/>
          <p:cNvSpPr>
            <a:spLocks/>
          </p:cNvSpPr>
          <p:nvPr/>
        </p:nvSpPr>
        <p:spPr bwMode="auto">
          <a:xfrm>
            <a:off x="5616803" y="3515464"/>
            <a:ext cx="156572" cy="132099"/>
          </a:xfrm>
          <a:custGeom>
            <a:avLst/>
            <a:gdLst/>
            <a:ahLst/>
            <a:cxnLst>
              <a:cxn ang="0">
                <a:pos x="79" y="49"/>
              </a:cxn>
              <a:cxn ang="0">
                <a:pos x="81" y="41"/>
              </a:cxn>
              <a:cxn ang="0">
                <a:pos x="81" y="34"/>
              </a:cxn>
              <a:cxn ang="0">
                <a:pos x="84" y="24"/>
              </a:cxn>
              <a:cxn ang="0">
                <a:pos x="81" y="14"/>
              </a:cxn>
              <a:cxn ang="0">
                <a:pos x="91" y="7"/>
              </a:cxn>
              <a:cxn ang="0">
                <a:pos x="96" y="5"/>
              </a:cxn>
              <a:cxn ang="0">
                <a:pos x="96" y="0"/>
              </a:cxn>
              <a:cxn ang="0">
                <a:pos x="84" y="2"/>
              </a:cxn>
              <a:cxn ang="0">
                <a:pos x="74" y="2"/>
              </a:cxn>
              <a:cxn ang="0">
                <a:pos x="64" y="5"/>
              </a:cxn>
              <a:cxn ang="0">
                <a:pos x="59" y="7"/>
              </a:cxn>
              <a:cxn ang="0">
                <a:pos x="49" y="9"/>
              </a:cxn>
              <a:cxn ang="0">
                <a:pos x="44" y="7"/>
              </a:cxn>
              <a:cxn ang="0">
                <a:pos x="32" y="7"/>
              </a:cxn>
              <a:cxn ang="0">
                <a:pos x="30" y="7"/>
              </a:cxn>
              <a:cxn ang="0">
                <a:pos x="20" y="9"/>
              </a:cxn>
              <a:cxn ang="0">
                <a:pos x="12" y="12"/>
              </a:cxn>
              <a:cxn ang="0">
                <a:pos x="12" y="19"/>
              </a:cxn>
              <a:cxn ang="0">
                <a:pos x="7" y="24"/>
              </a:cxn>
              <a:cxn ang="0">
                <a:pos x="3" y="24"/>
              </a:cxn>
              <a:cxn ang="0">
                <a:pos x="0" y="24"/>
              </a:cxn>
              <a:cxn ang="0">
                <a:pos x="3" y="34"/>
              </a:cxn>
              <a:cxn ang="0">
                <a:pos x="3" y="41"/>
              </a:cxn>
              <a:cxn ang="0">
                <a:pos x="10" y="49"/>
              </a:cxn>
              <a:cxn ang="0">
                <a:pos x="15" y="51"/>
              </a:cxn>
              <a:cxn ang="0">
                <a:pos x="15" y="59"/>
              </a:cxn>
              <a:cxn ang="0">
                <a:pos x="12" y="61"/>
              </a:cxn>
              <a:cxn ang="0">
                <a:pos x="7" y="66"/>
              </a:cxn>
              <a:cxn ang="0">
                <a:pos x="5" y="68"/>
              </a:cxn>
              <a:cxn ang="0">
                <a:pos x="7" y="73"/>
              </a:cxn>
              <a:cxn ang="0">
                <a:pos x="7" y="81"/>
              </a:cxn>
              <a:cxn ang="0">
                <a:pos x="15" y="83"/>
              </a:cxn>
              <a:cxn ang="0">
                <a:pos x="17" y="86"/>
              </a:cxn>
              <a:cxn ang="0">
                <a:pos x="52" y="68"/>
              </a:cxn>
              <a:cxn ang="0">
                <a:pos x="52" y="68"/>
              </a:cxn>
            </a:cxnLst>
            <a:rect l="0" t="0" r="r" b="b"/>
            <a:pathLst>
              <a:path w="96" h="86">
                <a:moveTo>
                  <a:pt x="52" y="68"/>
                </a:moveTo>
                <a:lnTo>
                  <a:pt x="79" y="49"/>
                </a:lnTo>
                <a:lnTo>
                  <a:pt x="79" y="46"/>
                </a:lnTo>
                <a:lnTo>
                  <a:pt x="81" y="41"/>
                </a:lnTo>
                <a:lnTo>
                  <a:pt x="81" y="37"/>
                </a:lnTo>
                <a:lnTo>
                  <a:pt x="81" y="34"/>
                </a:lnTo>
                <a:lnTo>
                  <a:pt x="84" y="29"/>
                </a:lnTo>
                <a:lnTo>
                  <a:pt x="84" y="24"/>
                </a:lnTo>
                <a:lnTo>
                  <a:pt x="81" y="19"/>
                </a:lnTo>
                <a:lnTo>
                  <a:pt x="81" y="14"/>
                </a:lnTo>
                <a:lnTo>
                  <a:pt x="84" y="9"/>
                </a:lnTo>
                <a:lnTo>
                  <a:pt x="91" y="7"/>
                </a:lnTo>
                <a:lnTo>
                  <a:pt x="94" y="5"/>
                </a:lnTo>
                <a:lnTo>
                  <a:pt x="96" y="5"/>
                </a:lnTo>
                <a:lnTo>
                  <a:pt x="96" y="2"/>
                </a:lnTo>
                <a:lnTo>
                  <a:pt x="96" y="0"/>
                </a:lnTo>
                <a:lnTo>
                  <a:pt x="91" y="0"/>
                </a:lnTo>
                <a:lnTo>
                  <a:pt x="84" y="2"/>
                </a:lnTo>
                <a:lnTo>
                  <a:pt x="76" y="2"/>
                </a:lnTo>
                <a:lnTo>
                  <a:pt x="74" y="2"/>
                </a:lnTo>
                <a:lnTo>
                  <a:pt x="69" y="2"/>
                </a:lnTo>
                <a:lnTo>
                  <a:pt x="64" y="5"/>
                </a:lnTo>
                <a:lnTo>
                  <a:pt x="62" y="7"/>
                </a:lnTo>
                <a:lnTo>
                  <a:pt x="59" y="7"/>
                </a:lnTo>
                <a:lnTo>
                  <a:pt x="57" y="9"/>
                </a:lnTo>
                <a:lnTo>
                  <a:pt x="49" y="9"/>
                </a:lnTo>
                <a:lnTo>
                  <a:pt x="44" y="7"/>
                </a:lnTo>
                <a:lnTo>
                  <a:pt x="44" y="7"/>
                </a:lnTo>
                <a:lnTo>
                  <a:pt x="42" y="5"/>
                </a:lnTo>
                <a:lnTo>
                  <a:pt x="32" y="7"/>
                </a:lnTo>
                <a:lnTo>
                  <a:pt x="30" y="7"/>
                </a:lnTo>
                <a:lnTo>
                  <a:pt x="30" y="7"/>
                </a:lnTo>
                <a:lnTo>
                  <a:pt x="22" y="12"/>
                </a:lnTo>
                <a:lnTo>
                  <a:pt x="20" y="9"/>
                </a:lnTo>
                <a:lnTo>
                  <a:pt x="15" y="9"/>
                </a:lnTo>
                <a:lnTo>
                  <a:pt x="12" y="12"/>
                </a:lnTo>
                <a:lnTo>
                  <a:pt x="12" y="17"/>
                </a:lnTo>
                <a:lnTo>
                  <a:pt x="12" y="19"/>
                </a:lnTo>
                <a:lnTo>
                  <a:pt x="12" y="22"/>
                </a:lnTo>
                <a:lnTo>
                  <a:pt x="7" y="24"/>
                </a:lnTo>
                <a:lnTo>
                  <a:pt x="5" y="24"/>
                </a:lnTo>
                <a:lnTo>
                  <a:pt x="3" y="24"/>
                </a:lnTo>
                <a:lnTo>
                  <a:pt x="3" y="24"/>
                </a:lnTo>
                <a:lnTo>
                  <a:pt x="0" y="24"/>
                </a:lnTo>
                <a:lnTo>
                  <a:pt x="0" y="29"/>
                </a:lnTo>
                <a:lnTo>
                  <a:pt x="3" y="34"/>
                </a:lnTo>
                <a:lnTo>
                  <a:pt x="5" y="39"/>
                </a:lnTo>
                <a:lnTo>
                  <a:pt x="3" y="41"/>
                </a:lnTo>
                <a:lnTo>
                  <a:pt x="3" y="46"/>
                </a:lnTo>
                <a:lnTo>
                  <a:pt x="10" y="49"/>
                </a:lnTo>
                <a:lnTo>
                  <a:pt x="12" y="51"/>
                </a:lnTo>
                <a:lnTo>
                  <a:pt x="15" y="51"/>
                </a:lnTo>
                <a:lnTo>
                  <a:pt x="15" y="56"/>
                </a:lnTo>
                <a:lnTo>
                  <a:pt x="15" y="59"/>
                </a:lnTo>
                <a:lnTo>
                  <a:pt x="12" y="61"/>
                </a:lnTo>
                <a:lnTo>
                  <a:pt x="12" y="61"/>
                </a:lnTo>
                <a:lnTo>
                  <a:pt x="7" y="61"/>
                </a:lnTo>
                <a:lnTo>
                  <a:pt x="7" y="66"/>
                </a:lnTo>
                <a:lnTo>
                  <a:pt x="5" y="68"/>
                </a:lnTo>
                <a:lnTo>
                  <a:pt x="5" y="68"/>
                </a:lnTo>
                <a:lnTo>
                  <a:pt x="5" y="71"/>
                </a:lnTo>
                <a:lnTo>
                  <a:pt x="7" y="73"/>
                </a:lnTo>
                <a:lnTo>
                  <a:pt x="7" y="78"/>
                </a:lnTo>
                <a:lnTo>
                  <a:pt x="7" y="81"/>
                </a:lnTo>
                <a:lnTo>
                  <a:pt x="10" y="81"/>
                </a:lnTo>
                <a:lnTo>
                  <a:pt x="15" y="83"/>
                </a:lnTo>
                <a:lnTo>
                  <a:pt x="17" y="86"/>
                </a:lnTo>
                <a:lnTo>
                  <a:pt x="17" y="86"/>
                </a:lnTo>
                <a:lnTo>
                  <a:pt x="20" y="86"/>
                </a:lnTo>
                <a:lnTo>
                  <a:pt x="52" y="68"/>
                </a:lnTo>
                <a:lnTo>
                  <a:pt x="52" y="68"/>
                </a:lnTo>
                <a:lnTo>
                  <a:pt x="52" y="6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2" name="Freeform 91"/>
          <p:cNvSpPr>
            <a:spLocks/>
          </p:cNvSpPr>
          <p:nvPr/>
        </p:nvSpPr>
        <p:spPr bwMode="auto">
          <a:xfrm>
            <a:off x="5584184" y="3619914"/>
            <a:ext cx="40775" cy="105987"/>
          </a:xfrm>
          <a:custGeom>
            <a:avLst/>
            <a:gdLst/>
            <a:ahLst/>
            <a:cxnLst>
              <a:cxn ang="0">
                <a:pos x="15" y="69"/>
              </a:cxn>
              <a:cxn ang="0">
                <a:pos x="18" y="67"/>
              </a:cxn>
              <a:cxn ang="0">
                <a:pos x="18" y="67"/>
              </a:cxn>
              <a:cxn ang="0">
                <a:pos x="18" y="64"/>
              </a:cxn>
              <a:cxn ang="0">
                <a:pos x="20" y="62"/>
              </a:cxn>
              <a:cxn ang="0">
                <a:pos x="20" y="60"/>
              </a:cxn>
              <a:cxn ang="0">
                <a:pos x="20" y="55"/>
              </a:cxn>
              <a:cxn ang="0">
                <a:pos x="20" y="50"/>
              </a:cxn>
              <a:cxn ang="0">
                <a:pos x="20" y="50"/>
              </a:cxn>
              <a:cxn ang="0">
                <a:pos x="20" y="47"/>
              </a:cxn>
              <a:cxn ang="0">
                <a:pos x="23" y="42"/>
              </a:cxn>
              <a:cxn ang="0">
                <a:pos x="23" y="40"/>
              </a:cxn>
              <a:cxn ang="0">
                <a:pos x="23" y="35"/>
              </a:cxn>
              <a:cxn ang="0">
                <a:pos x="20" y="35"/>
              </a:cxn>
              <a:cxn ang="0">
                <a:pos x="20" y="35"/>
              </a:cxn>
              <a:cxn ang="0">
                <a:pos x="18" y="35"/>
              </a:cxn>
              <a:cxn ang="0">
                <a:pos x="15" y="35"/>
              </a:cxn>
              <a:cxn ang="0">
                <a:pos x="15" y="30"/>
              </a:cxn>
              <a:cxn ang="0">
                <a:pos x="15" y="23"/>
              </a:cxn>
              <a:cxn ang="0">
                <a:pos x="15" y="20"/>
              </a:cxn>
              <a:cxn ang="0">
                <a:pos x="15" y="15"/>
              </a:cxn>
              <a:cxn ang="0">
                <a:pos x="20" y="15"/>
              </a:cxn>
              <a:cxn ang="0">
                <a:pos x="20" y="18"/>
              </a:cxn>
              <a:cxn ang="0">
                <a:pos x="20" y="20"/>
              </a:cxn>
              <a:cxn ang="0">
                <a:pos x="23" y="18"/>
              </a:cxn>
              <a:cxn ang="0">
                <a:pos x="23" y="15"/>
              </a:cxn>
              <a:cxn ang="0">
                <a:pos x="23" y="15"/>
              </a:cxn>
              <a:cxn ang="0">
                <a:pos x="23" y="15"/>
              </a:cxn>
              <a:cxn ang="0">
                <a:pos x="23" y="13"/>
              </a:cxn>
              <a:cxn ang="0">
                <a:pos x="23" y="8"/>
              </a:cxn>
              <a:cxn ang="0">
                <a:pos x="23" y="3"/>
              </a:cxn>
              <a:cxn ang="0">
                <a:pos x="25" y="0"/>
              </a:cxn>
              <a:cxn ang="0">
                <a:pos x="23" y="0"/>
              </a:cxn>
              <a:cxn ang="0">
                <a:pos x="23" y="5"/>
              </a:cxn>
              <a:cxn ang="0">
                <a:pos x="18" y="5"/>
              </a:cxn>
              <a:cxn ang="0">
                <a:pos x="15" y="5"/>
              </a:cxn>
              <a:cxn ang="0">
                <a:pos x="10" y="8"/>
              </a:cxn>
              <a:cxn ang="0">
                <a:pos x="10" y="20"/>
              </a:cxn>
              <a:cxn ang="0">
                <a:pos x="5" y="28"/>
              </a:cxn>
              <a:cxn ang="0">
                <a:pos x="0" y="35"/>
              </a:cxn>
              <a:cxn ang="0">
                <a:pos x="3" y="35"/>
              </a:cxn>
              <a:cxn ang="0">
                <a:pos x="5" y="40"/>
              </a:cxn>
              <a:cxn ang="0">
                <a:pos x="8" y="45"/>
              </a:cxn>
              <a:cxn ang="0">
                <a:pos x="13" y="52"/>
              </a:cxn>
              <a:cxn ang="0">
                <a:pos x="15" y="60"/>
              </a:cxn>
              <a:cxn ang="0">
                <a:pos x="13" y="64"/>
              </a:cxn>
              <a:cxn ang="0">
                <a:pos x="15" y="69"/>
              </a:cxn>
              <a:cxn ang="0">
                <a:pos x="15" y="69"/>
              </a:cxn>
            </a:cxnLst>
            <a:rect l="0" t="0" r="r" b="b"/>
            <a:pathLst>
              <a:path w="25" h="69">
                <a:moveTo>
                  <a:pt x="15" y="69"/>
                </a:moveTo>
                <a:lnTo>
                  <a:pt x="18" y="67"/>
                </a:lnTo>
                <a:lnTo>
                  <a:pt x="18" y="67"/>
                </a:lnTo>
                <a:lnTo>
                  <a:pt x="18" y="64"/>
                </a:lnTo>
                <a:lnTo>
                  <a:pt x="20" y="62"/>
                </a:lnTo>
                <a:lnTo>
                  <a:pt x="20" y="60"/>
                </a:lnTo>
                <a:lnTo>
                  <a:pt x="20" y="55"/>
                </a:lnTo>
                <a:lnTo>
                  <a:pt x="20" y="50"/>
                </a:lnTo>
                <a:lnTo>
                  <a:pt x="20" y="50"/>
                </a:lnTo>
                <a:lnTo>
                  <a:pt x="20" y="47"/>
                </a:lnTo>
                <a:lnTo>
                  <a:pt x="23" y="42"/>
                </a:lnTo>
                <a:lnTo>
                  <a:pt x="23" y="40"/>
                </a:lnTo>
                <a:lnTo>
                  <a:pt x="23" y="35"/>
                </a:lnTo>
                <a:lnTo>
                  <a:pt x="20" y="35"/>
                </a:lnTo>
                <a:lnTo>
                  <a:pt x="20" y="35"/>
                </a:lnTo>
                <a:lnTo>
                  <a:pt x="18" y="35"/>
                </a:lnTo>
                <a:lnTo>
                  <a:pt x="15" y="35"/>
                </a:lnTo>
                <a:lnTo>
                  <a:pt x="15" y="30"/>
                </a:lnTo>
                <a:lnTo>
                  <a:pt x="15" y="23"/>
                </a:lnTo>
                <a:lnTo>
                  <a:pt x="15" y="20"/>
                </a:lnTo>
                <a:lnTo>
                  <a:pt x="15" y="15"/>
                </a:lnTo>
                <a:lnTo>
                  <a:pt x="20" y="15"/>
                </a:lnTo>
                <a:lnTo>
                  <a:pt x="20" y="18"/>
                </a:lnTo>
                <a:lnTo>
                  <a:pt x="20" y="20"/>
                </a:lnTo>
                <a:lnTo>
                  <a:pt x="23" y="18"/>
                </a:lnTo>
                <a:lnTo>
                  <a:pt x="23" y="15"/>
                </a:lnTo>
                <a:lnTo>
                  <a:pt x="23" y="15"/>
                </a:lnTo>
                <a:lnTo>
                  <a:pt x="23" y="15"/>
                </a:lnTo>
                <a:lnTo>
                  <a:pt x="23" y="13"/>
                </a:lnTo>
                <a:lnTo>
                  <a:pt x="23" y="8"/>
                </a:lnTo>
                <a:lnTo>
                  <a:pt x="23" y="3"/>
                </a:lnTo>
                <a:lnTo>
                  <a:pt x="25" y="0"/>
                </a:lnTo>
                <a:lnTo>
                  <a:pt x="23" y="0"/>
                </a:lnTo>
                <a:lnTo>
                  <a:pt x="23" y="5"/>
                </a:lnTo>
                <a:lnTo>
                  <a:pt x="18" y="5"/>
                </a:lnTo>
                <a:lnTo>
                  <a:pt x="15" y="5"/>
                </a:lnTo>
                <a:lnTo>
                  <a:pt x="10" y="8"/>
                </a:lnTo>
                <a:lnTo>
                  <a:pt x="10" y="20"/>
                </a:lnTo>
                <a:lnTo>
                  <a:pt x="5" y="28"/>
                </a:lnTo>
                <a:lnTo>
                  <a:pt x="0" y="35"/>
                </a:lnTo>
                <a:lnTo>
                  <a:pt x="3" y="35"/>
                </a:lnTo>
                <a:lnTo>
                  <a:pt x="5" y="40"/>
                </a:lnTo>
                <a:lnTo>
                  <a:pt x="8" y="45"/>
                </a:lnTo>
                <a:lnTo>
                  <a:pt x="13" y="52"/>
                </a:lnTo>
                <a:lnTo>
                  <a:pt x="15" y="60"/>
                </a:lnTo>
                <a:lnTo>
                  <a:pt x="13" y="64"/>
                </a:lnTo>
                <a:lnTo>
                  <a:pt x="15" y="69"/>
                </a:lnTo>
                <a:lnTo>
                  <a:pt x="15" y="6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3" name="Freeform 92"/>
          <p:cNvSpPr>
            <a:spLocks/>
          </p:cNvSpPr>
          <p:nvPr/>
        </p:nvSpPr>
        <p:spPr bwMode="auto">
          <a:xfrm>
            <a:off x="5621696" y="3619914"/>
            <a:ext cx="6524" cy="23041"/>
          </a:xfrm>
          <a:custGeom>
            <a:avLst/>
            <a:gdLst/>
            <a:ahLst/>
            <a:cxnLst>
              <a:cxn ang="0">
                <a:pos x="0" y="15"/>
              </a:cxn>
              <a:cxn ang="0">
                <a:pos x="0" y="15"/>
              </a:cxn>
              <a:cxn ang="0">
                <a:pos x="0" y="13"/>
              </a:cxn>
              <a:cxn ang="0">
                <a:pos x="0" y="8"/>
              </a:cxn>
              <a:cxn ang="0">
                <a:pos x="0" y="3"/>
              </a:cxn>
              <a:cxn ang="0">
                <a:pos x="2" y="0"/>
              </a:cxn>
              <a:cxn ang="0">
                <a:pos x="2" y="0"/>
              </a:cxn>
              <a:cxn ang="0">
                <a:pos x="2" y="3"/>
              </a:cxn>
              <a:cxn ang="0">
                <a:pos x="4" y="5"/>
              </a:cxn>
              <a:cxn ang="0">
                <a:pos x="4" y="10"/>
              </a:cxn>
              <a:cxn ang="0">
                <a:pos x="4" y="13"/>
              </a:cxn>
              <a:cxn ang="0">
                <a:pos x="4" y="13"/>
              </a:cxn>
              <a:cxn ang="0">
                <a:pos x="2" y="15"/>
              </a:cxn>
              <a:cxn ang="0">
                <a:pos x="2" y="15"/>
              </a:cxn>
              <a:cxn ang="0">
                <a:pos x="0" y="15"/>
              </a:cxn>
              <a:cxn ang="0">
                <a:pos x="0" y="15"/>
              </a:cxn>
            </a:cxnLst>
            <a:rect l="0" t="0" r="r" b="b"/>
            <a:pathLst>
              <a:path w="4" h="15">
                <a:moveTo>
                  <a:pt x="0" y="15"/>
                </a:moveTo>
                <a:lnTo>
                  <a:pt x="0" y="15"/>
                </a:lnTo>
                <a:lnTo>
                  <a:pt x="0" y="13"/>
                </a:lnTo>
                <a:lnTo>
                  <a:pt x="0" y="8"/>
                </a:lnTo>
                <a:lnTo>
                  <a:pt x="0" y="3"/>
                </a:lnTo>
                <a:lnTo>
                  <a:pt x="2" y="0"/>
                </a:lnTo>
                <a:lnTo>
                  <a:pt x="2" y="0"/>
                </a:lnTo>
                <a:lnTo>
                  <a:pt x="2" y="3"/>
                </a:lnTo>
                <a:lnTo>
                  <a:pt x="4" y="5"/>
                </a:lnTo>
                <a:lnTo>
                  <a:pt x="4" y="10"/>
                </a:lnTo>
                <a:lnTo>
                  <a:pt x="4" y="13"/>
                </a:lnTo>
                <a:lnTo>
                  <a:pt x="4" y="13"/>
                </a:lnTo>
                <a:lnTo>
                  <a:pt x="2" y="15"/>
                </a:lnTo>
                <a:lnTo>
                  <a:pt x="2" y="15"/>
                </a:lnTo>
                <a:lnTo>
                  <a:pt x="0" y="15"/>
                </a:lnTo>
                <a:lnTo>
                  <a:pt x="0"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4" name="Freeform 93"/>
          <p:cNvSpPr>
            <a:spLocks/>
          </p:cNvSpPr>
          <p:nvPr/>
        </p:nvSpPr>
        <p:spPr bwMode="auto">
          <a:xfrm>
            <a:off x="5608648" y="3642955"/>
            <a:ext cx="13047" cy="30721"/>
          </a:xfrm>
          <a:custGeom>
            <a:avLst/>
            <a:gdLst/>
            <a:ahLst/>
            <a:cxnLst>
              <a:cxn ang="0">
                <a:pos x="5" y="20"/>
              </a:cxn>
              <a:cxn ang="0">
                <a:pos x="5" y="20"/>
              </a:cxn>
              <a:cxn ang="0">
                <a:pos x="3" y="20"/>
              </a:cxn>
              <a:cxn ang="0">
                <a:pos x="0" y="20"/>
              </a:cxn>
              <a:cxn ang="0">
                <a:pos x="0" y="15"/>
              </a:cxn>
              <a:cxn ang="0">
                <a:pos x="0" y="8"/>
              </a:cxn>
              <a:cxn ang="0">
                <a:pos x="0" y="5"/>
              </a:cxn>
              <a:cxn ang="0">
                <a:pos x="0" y="0"/>
              </a:cxn>
              <a:cxn ang="0">
                <a:pos x="5" y="0"/>
              </a:cxn>
              <a:cxn ang="0">
                <a:pos x="5" y="3"/>
              </a:cxn>
              <a:cxn ang="0">
                <a:pos x="5" y="5"/>
              </a:cxn>
              <a:cxn ang="0">
                <a:pos x="8" y="3"/>
              </a:cxn>
              <a:cxn ang="0">
                <a:pos x="8" y="3"/>
              </a:cxn>
              <a:cxn ang="0">
                <a:pos x="8" y="5"/>
              </a:cxn>
              <a:cxn ang="0">
                <a:pos x="8" y="8"/>
              </a:cxn>
              <a:cxn ang="0">
                <a:pos x="8" y="10"/>
              </a:cxn>
              <a:cxn ang="0">
                <a:pos x="8" y="13"/>
              </a:cxn>
              <a:cxn ang="0">
                <a:pos x="8" y="20"/>
              </a:cxn>
              <a:cxn ang="0">
                <a:pos x="5" y="20"/>
              </a:cxn>
              <a:cxn ang="0">
                <a:pos x="5" y="20"/>
              </a:cxn>
            </a:cxnLst>
            <a:rect l="0" t="0" r="r" b="b"/>
            <a:pathLst>
              <a:path w="8" h="20">
                <a:moveTo>
                  <a:pt x="5" y="20"/>
                </a:moveTo>
                <a:lnTo>
                  <a:pt x="5" y="20"/>
                </a:lnTo>
                <a:lnTo>
                  <a:pt x="3" y="20"/>
                </a:lnTo>
                <a:lnTo>
                  <a:pt x="0" y="20"/>
                </a:lnTo>
                <a:lnTo>
                  <a:pt x="0" y="15"/>
                </a:lnTo>
                <a:lnTo>
                  <a:pt x="0" y="8"/>
                </a:lnTo>
                <a:lnTo>
                  <a:pt x="0" y="5"/>
                </a:lnTo>
                <a:lnTo>
                  <a:pt x="0" y="0"/>
                </a:lnTo>
                <a:lnTo>
                  <a:pt x="5" y="0"/>
                </a:lnTo>
                <a:lnTo>
                  <a:pt x="5" y="3"/>
                </a:lnTo>
                <a:lnTo>
                  <a:pt x="5" y="5"/>
                </a:lnTo>
                <a:lnTo>
                  <a:pt x="8" y="3"/>
                </a:lnTo>
                <a:lnTo>
                  <a:pt x="8" y="3"/>
                </a:lnTo>
                <a:lnTo>
                  <a:pt x="8" y="5"/>
                </a:lnTo>
                <a:lnTo>
                  <a:pt x="8" y="8"/>
                </a:lnTo>
                <a:lnTo>
                  <a:pt x="8" y="10"/>
                </a:lnTo>
                <a:lnTo>
                  <a:pt x="8" y="13"/>
                </a:lnTo>
                <a:lnTo>
                  <a:pt x="8" y="20"/>
                </a:lnTo>
                <a:lnTo>
                  <a:pt x="5" y="20"/>
                </a:lnTo>
                <a:lnTo>
                  <a:pt x="5" y="2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5" name="Freeform 94"/>
          <p:cNvSpPr>
            <a:spLocks/>
          </p:cNvSpPr>
          <p:nvPr/>
        </p:nvSpPr>
        <p:spPr bwMode="auto">
          <a:xfrm>
            <a:off x="5608648" y="3586122"/>
            <a:ext cx="32620" cy="41474"/>
          </a:xfrm>
          <a:custGeom>
            <a:avLst/>
            <a:gdLst/>
            <a:ahLst/>
            <a:cxnLst>
              <a:cxn ang="0">
                <a:pos x="0" y="27"/>
              </a:cxn>
              <a:cxn ang="0">
                <a:pos x="3" y="27"/>
              </a:cxn>
              <a:cxn ang="0">
                <a:pos x="8" y="27"/>
              </a:cxn>
              <a:cxn ang="0">
                <a:pos x="8" y="22"/>
              </a:cxn>
              <a:cxn ang="0">
                <a:pos x="10" y="22"/>
              </a:cxn>
              <a:cxn ang="0">
                <a:pos x="12" y="20"/>
              </a:cxn>
              <a:cxn ang="0">
                <a:pos x="12" y="15"/>
              </a:cxn>
              <a:cxn ang="0">
                <a:pos x="17" y="15"/>
              </a:cxn>
              <a:cxn ang="0">
                <a:pos x="17" y="15"/>
              </a:cxn>
              <a:cxn ang="0">
                <a:pos x="20" y="13"/>
              </a:cxn>
              <a:cxn ang="0">
                <a:pos x="20" y="10"/>
              </a:cxn>
              <a:cxn ang="0">
                <a:pos x="20" y="5"/>
              </a:cxn>
              <a:cxn ang="0">
                <a:pos x="17" y="5"/>
              </a:cxn>
              <a:cxn ang="0">
                <a:pos x="15" y="3"/>
              </a:cxn>
              <a:cxn ang="0">
                <a:pos x="8" y="0"/>
              </a:cxn>
              <a:cxn ang="0">
                <a:pos x="8" y="3"/>
              </a:cxn>
              <a:cxn ang="0">
                <a:pos x="5" y="3"/>
              </a:cxn>
              <a:cxn ang="0">
                <a:pos x="5" y="13"/>
              </a:cxn>
              <a:cxn ang="0">
                <a:pos x="3" y="18"/>
              </a:cxn>
              <a:cxn ang="0">
                <a:pos x="0" y="22"/>
              </a:cxn>
              <a:cxn ang="0">
                <a:pos x="0" y="25"/>
              </a:cxn>
              <a:cxn ang="0">
                <a:pos x="0" y="27"/>
              </a:cxn>
              <a:cxn ang="0">
                <a:pos x="0" y="27"/>
              </a:cxn>
            </a:cxnLst>
            <a:rect l="0" t="0" r="r" b="b"/>
            <a:pathLst>
              <a:path w="20" h="27">
                <a:moveTo>
                  <a:pt x="0" y="27"/>
                </a:moveTo>
                <a:lnTo>
                  <a:pt x="3" y="27"/>
                </a:lnTo>
                <a:lnTo>
                  <a:pt x="8" y="27"/>
                </a:lnTo>
                <a:lnTo>
                  <a:pt x="8" y="22"/>
                </a:lnTo>
                <a:lnTo>
                  <a:pt x="10" y="22"/>
                </a:lnTo>
                <a:lnTo>
                  <a:pt x="12" y="20"/>
                </a:lnTo>
                <a:lnTo>
                  <a:pt x="12" y="15"/>
                </a:lnTo>
                <a:lnTo>
                  <a:pt x="17" y="15"/>
                </a:lnTo>
                <a:lnTo>
                  <a:pt x="17" y="15"/>
                </a:lnTo>
                <a:lnTo>
                  <a:pt x="20" y="13"/>
                </a:lnTo>
                <a:lnTo>
                  <a:pt x="20" y="10"/>
                </a:lnTo>
                <a:lnTo>
                  <a:pt x="20" y="5"/>
                </a:lnTo>
                <a:lnTo>
                  <a:pt x="17" y="5"/>
                </a:lnTo>
                <a:lnTo>
                  <a:pt x="15" y="3"/>
                </a:lnTo>
                <a:lnTo>
                  <a:pt x="8" y="0"/>
                </a:lnTo>
                <a:lnTo>
                  <a:pt x="8" y="3"/>
                </a:lnTo>
                <a:lnTo>
                  <a:pt x="5" y="3"/>
                </a:lnTo>
                <a:lnTo>
                  <a:pt x="5" y="13"/>
                </a:lnTo>
                <a:lnTo>
                  <a:pt x="3" y="18"/>
                </a:lnTo>
                <a:lnTo>
                  <a:pt x="0" y="22"/>
                </a:lnTo>
                <a:lnTo>
                  <a:pt x="0" y="25"/>
                </a:lnTo>
                <a:lnTo>
                  <a:pt x="0" y="27"/>
                </a:lnTo>
                <a:lnTo>
                  <a:pt x="0" y="2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6" name="Freeform 95"/>
          <p:cNvSpPr>
            <a:spLocks/>
          </p:cNvSpPr>
          <p:nvPr/>
        </p:nvSpPr>
        <p:spPr bwMode="auto">
          <a:xfrm>
            <a:off x="5608648" y="3619914"/>
            <a:ext cx="104381" cy="118275"/>
          </a:xfrm>
          <a:custGeom>
            <a:avLst/>
            <a:gdLst/>
            <a:ahLst/>
            <a:cxnLst>
              <a:cxn ang="0">
                <a:pos x="3" y="67"/>
              </a:cxn>
              <a:cxn ang="0">
                <a:pos x="3" y="67"/>
              </a:cxn>
              <a:cxn ang="0">
                <a:pos x="3" y="64"/>
              </a:cxn>
              <a:cxn ang="0">
                <a:pos x="5" y="62"/>
              </a:cxn>
              <a:cxn ang="0">
                <a:pos x="5" y="60"/>
              </a:cxn>
              <a:cxn ang="0">
                <a:pos x="5" y="55"/>
              </a:cxn>
              <a:cxn ang="0">
                <a:pos x="5" y="50"/>
              </a:cxn>
              <a:cxn ang="0">
                <a:pos x="5" y="50"/>
              </a:cxn>
              <a:cxn ang="0">
                <a:pos x="5" y="47"/>
              </a:cxn>
              <a:cxn ang="0">
                <a:pos x="8" y="42"/>
              </a:cxn>
              <a:cxn ang="0">
                <a:pos x="8" y="40"/>
              </a:cxn>
              <a:cxn ang="0">
                <a:pos x="8" y="28"/>
              </a:cxn>
              <a:cxn ang="0">
                <a:pos x="8" y="25"/>
              </a:cxn>
              <a:cxn ang="0">
                <a:pos x="8" y="23"/>
              </a:cxn>
              <a:cxn ang="0">
                <a:pos x="8" y="20"/>
              </a:cxn>
              <a:cxn ang="0">
                <a:pos x="8" y="18"/>
              </a:cxn>
              <a:cxn ang="0">
                <a:pos x="8" y="15"/>
              </a:cxn>
              <a:cxn ang="0">
                <a:pos x="10" y="15"/>
              </a:cxn>
              <a:cxn ang="0">
                <a:pos x="10" y="15"/>
              </a:cxn>
              <a:cxn ang="0">
                <a:pos x="12" y="13"/>
              </a:cxn>
              <a:cxn ang="0">
                <a:pos x="15" y="13"/>
              </a:cxn>
              <a:cxn ang="0">
                <a:pos x="20" y="15"/>
              </a:cxn>
              <a:cxn ang="0">
                <a:pos x="22" y="18"/>
              </a:cxn>
              <a:cxn ang="0">
                <a:pos x="22" y="18"/>
              </a:cxn>
              <a:cxn ang="0">
                <a:pos x="25" y="18"/>
              </a:cxn>
              <a:cxn ang="0">
                <a:pos x="57" y="0"/>
              </a:cxn>
              <a:cxn ang="0">
                <a:pos x="64" y="20"/>
              </a:cxn>
              <a:cxn ang="0">
                <a:pos x="62" y="20"/>
              </a:cxn>
              <a:cxn ang="0">
                <a:pos x="57" y="25"/>
              </a:cxn>
              <a:cxn ang="0">
                <a:pos x="35" y="32"/>
              </a:cxn>
              <a:cxn ang="0">
                <a:pos x="52" y="52"/>
              </a:cxn>
              <a:cxn ang="0">
                <a:pos x="44" y="60"/>
              </a:cxn>
              <a:cxn ang="0">
                <a:pos x="44" y="64"/>
              </a:cxn>
              <a:cxn ang="0">
                <a:pos x="32" y="64"/>
              </a:cxn>
              <a:cxn ang="0">
                <a:pos x="22" y="77"/>
              </a:cxn>
              <a:cxn ang="0">
                <a:pos x="5" y="72"/>
              </a:cxn>
              <a:cxn ang="0">
                <a:pos x="0" y="72"/>
              </a:cxn>
              <a:cxn ang="0">
                <a:pos x="3" y="72"/>
              </a:cxn>
              <a:cxn ang="0">
                <a:pos x="3" y="67"/>
              </a:cxn>
              <a:cxn ang="0">
                <a:pos x="3" y="67"/>
              </a:cxn>
              <a:cxn ang="0">
                <a:pos x="3" y="67"/>
              </a:cxn>
              <a:cxn ang="0">
                <a:pos x="3" y="67"/>
              </a:cxn>
            </a:cxnLst>
            <a:rect l="0" t="0" r="r" b="b"/>
            <a:pathLst>
              <a:path w="64" h="77">
                <a:moveTo>
                  <a:pt x="3" y="67"/>
                </a:moveTo>
                <a:lnTo>
                  <a:pt x="3" y="67"/>
                </a:lnTo>
                <a:lnTo>
                  <a:pt x="3" y="64"/>
                </a:lnTo>
                <a:lnTo>
                  <a:pt x="5" y="62"/>
                </a:lnTo>
                <a:lnTo>
                  <a:pt x="5" y="60"/>
                </a:lnTo>
                <a:lnTo>
                  <a:pt x="5" y="55"/>
                </a:lnTo>
                <a:lnTo>
                  <a:pt x="5" y="50"/>
                </a:lnTo>
                <a:lnTo>
                  <a:pt x="5" y="50"/>
                </a:lnTo>
                <a:lnTo>
                  <a:pt x="5" y="47"/>
                </a:lnTo>
                <a:lnTo>
                  <a:pt x="8" y="42"/>
                </a:lnTo>
                <a:lnTo>
                  <a:pt x="8" y="40"/>
                </a:lnTo>
                <a:lnTo>
                  <a:pt x="8" y="28"/>
                </a:lnTo>
                <a:lnTo>
                  <a:pt x="8" y="25"/>
                </a:lnTo>
                <a:lnTo>
                  <a:pt x="8" y="23"/>
                </a:lnTo>
                <a:lnTo>
                  <a:pt x="8" y="20"/>
                </a:lnTo>
                <a:lnTo>
                  <a:pt x="8" y="18"/>
                </a:lnTo>
                <a:lnTo>
                  <a:pt x="8" y="15"/>
                </a:lnTo>
                <a:lnTo>
                  <a:pt x="10" y="15"/>
                </a:lnTo>
                <a:lnTo>
                  <a:pt x="10" y="15"/>
                </a:lnTo>
                <a:lnTo>
                  <a:pt x="12" y="13"/>
                </a:lnTo>
                <a:lnTo>
                  <a:pt x="15" y="13"/>
                </a:lnTo>
                <a:lnTo>
                  <a:pt x="20" y="15"/>
                </a:lnTo>
                <a:lnTo>
                  <a:pt x="22" y="18"/>
                </a:lnTo>
                <a:lnTo>
                  <a:pt x="22" y="18"/>
                </a:lnTo>
                <a:lnTo>
                  <a:pt x="25" y="18"/>
                </a:lnTo>
                <a:lnTo>
                  <a:pt x="57" y="0"/>
                </a:lnTo>
                <a:lnTo>
                  <a:pt x="64" y="20"/>
                </a:lnTo>
                <a:lnTo>
                  <a:pt x="62" y="20"/>
                </a:lnTo>
                <a:lnTo>
                  <a:pt x="57" y="25"/>
                </a:lnTo>
                <a:lnTo>
                  <a:pt x="35" y="32"/>
                </a:lnTo>
                <a:lnTo>
                  <a:pt x="52" y="52"/>
                </a:lnTo>
                <a:lnTo>
                  <a:pt x="44" y="60"/>
                </a:lnTo>
                <a:lnTo>
                  <a:pt x="44" y="64"/>
                </a:lnTo>
                <a:lnTo>
                  <a:pt x="32" y="64"/>
                </a:lnTo>
                <a:lnTo>
                  <a:pt x="22" y="77"/>
                </a:lnTo>
                <a:lnTo>
                  <a:pt x="5" y="72"/>
                </a:lnTo>
                <a:lnTo>
                  <a:pt x="0" y="72"/>
                </a:lnTo>
                <a:lnTo>
                  <a:pt x="3" y="72"/>
                </a:lnTo>
                <a:lnTo>
                  <a:pt x="3" y="67"/>
                </a:lnTo>
                <a:lnTo>
                  <a:pt x="3" y="67"/>
                </a:lnTo>
                <a:lnTo>
                  <a:pt x="3" y="67"/>
                </a:lnTo>
                <a:lnTo>
                  <a:pt x="3" y="6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7" name="Freeform 96"/>
          <p:cNvSpPr>
            <a:spLocks/>
          </p:cNvSpPr>
          <p:nvPr/>
        </p:nvSpPr>
        <p:spPr bwMode="auto">
          <a:xfrm>
            <a:off x="5608648" y="3650635"/>
            <a:ext cx="521906" cy="416267"/>
          </a:xfrm>
          <a:custGeom>
            <a:avLst/>
            <a:gdLst/>
            <a:ahLst/>
            <a:cxnLst>
              <a:cxn ang="0">
                <a:pos x="194" y="57"/>
              </a:cxn>
              <a:cxn ang="0">
                <a:pos x="76" y="0"/>
              </a:cxn>
              <a:cxn ang="0">
                <a:pos x="35" y="12"/>
              </a:cxn>
              <a:cxn ang="0">
                <a:pos x="44" y="44"/>
              </a:cxn>
              <a:cxn ang="0">
                <a:pos x="5" y="52"/>
              </a:cxn>
              <a:cxn ang="0">
                <a:pos x="0" y="64"/>
              </a:cxn>
              <a:cxn ang="0">
                <a:pos x="3" y="69"/>
              </a:cxn>
              <a:cxn ang="0">
                <a:pos x="8" y="71"/>
              </a:cxn>
              <a:cxn ang="0">
                <a:pos x="15" y="84"/>
              </a:cxn>
              <a:cxn ang="0">
                <a:pos x="20" y="89"/>
              </a:cxn>
              <a:cxn ang="0">
                <a:pos x="27" y="101"/>
              </a:cxn>
              <a:cxn ang="0">
                <a:pos x="30" y="106"/>
              </a:cxn>
              <a:cxn ang="0">
                <a:pos x="39" y="118"/>
              </a:cxn>
              <a:cxn ang="0">
                <a:pos x="42" y="126"/>
              </a:cxn>
              <a:cxn ang="0">
                <a:pos x="44" y="133"/>
              </a:cxn>
              <a:cxn ang="0">
                <a:pos x="52" y="135"/>
              </a:cxn>
              <a:cxn ang="0">
                <a:pos x="62" y="145"/>
              </a:cxn>
              <a:cxn ang="0">
                <a:pos x="64" y="150"/>
              </a:cxn>
              <a:cxn ang="0">
                <a:pos x="71" y="162"/>
              </a:cxn>
              <a:cxn ang="0">
                <a:pos x="69" y="170"/>
              </a:cxn>
              <a:cxn ang="0">
                <a:pos x="71" y="185"/>
              </a:cxn>
              <a:cxn ang="0">
                <a:pos x="84" y="197"/>
              </a:cxn>
              <a:cxn ang="0">
                <a:pos x="91" y="202"/>
              </a:cxn>
              <a:cxn ang="0">
                <a:pos x="99" y="209"/>
              </a:cxn>
              <a:cxn ang="0">
                <a:pos x="103" y="212"/>
              </a:cxn>
              <a:cxn ang="0">
                <a:pos x="111" y="231"/>
              </a:cxn>
              <a:cxn ang="0">
                <a:pos x="126" y="251"/>
              </a:cxn>
              <a:cxn ang="0">
                <a:pos x="135" y="258"/>
              </a:cxn>
              <a:cxn ang="0">
                <a:pos x="143" y="253"/>
              </a:cxn>
              <a:cxn ang="0">
                <a:pos x="145" y="241"/>
              </a:cxn>
              <a:cxn ang="0">
                <a:pos x="175" y="249"/>
              </a:cxn>
              <a:cxn ang="0">
                <a:pos x="217" y="231"/>
              </a:cxn>
              <a:cxn ang="0">
                <a:pos x="317" y="155"/>
              </a:cxn>
              <a:cxn ang="0">
                <a:pos x="266" y="153"/>
              </a:cxn>
              <a:cxn ang="0">
                <a:pos x="261" y="133"/>
              </a:cxn>
              <a:cxn ang="0">
                <a:pos x="258" y="131"/>
              </a:cxn>
              <a:cxn ang="0">
                <a:pos x="256" y="126"/>
              </a:cxn>
              <a:cxn ang="0">
                <a:pos x="249" y="123"/>
              </a:cxn>
              <a:cxn ang="0">
                <a:pos x="244" y="118"/>
              </a:cxn>
              <a:cxn ang="0">
                <a:pos x="234" y="101"/>
              </a:cxn>
              <a:cxn ang="0">
                <a:pos x="234" y="94"/>
              </a:cxn>
              <a:cxn ang="0">
                <a:pos x="229" y="89"/>
              </a:cxn>
              <a:cxn ang="0">
                <a:pos x="222" y="79"/>
              </a:cxn>
              <a:cxn ang="0">
                <a:pos x="224" y="76"/>
              </a:cxn>
              <a:cxn ang="0">
                <a:pos x="214" y="74"/>
              </a:cxn>
              <a:cxn ang="0">
                <a:pos x="207" y="62"/>
              </a:cxn>
              <a:cxn ang="0">
                <a:pos x="204" y="57"/>
              </a:cxn>
            </a:cxnLst>
            <a:rect l="0" t="0" r="r" b="b"/>
            <a:pathLst>
              <a:path w="320" h="271">
                <a:moveTo>
                  <a:pt x="204" y="57"/>
                </a:moveTo>
                <a:lnTo>
                  <a:pt x="194" y="62"/>
                </a:lnTo>
                <a:lnTo>
                  <a:pt x="194" y="57"/>
                </a:lnTo>
                <a:lnTo>
                  <a:pt x="180" y="52"/>
                </a:lnTo>
                <a:lnTo>
                  <a:pt x="150" y="52"/>
                </a:lnTo>
                <a:lnTo>
                  <a:pt x="76" y="0"/>
                </a:lnTo>
                <a:lnTo>
                  <a:pt x="62" y="0"/>
                </a:lnTo>
                <a:lnTo>
                  <a:pt x="57" y="5"/>
                </a:lnTo>
                <a:lnTo>
                  <a:pt x="35" y="12"/>
                </a:lnTo>
                <a:lnTo>
                  <a:pt x="52" y="32"/>
                </a:lnTo>
                <a:lnTo>
                  <a:pt x="44" y="40"/>
                </a:lnTo>
                <a:lnTo>
                  <a:pt x="44" y="44"/>
                </a:lnTo>
                <a:lnTo>
                  <a:pt x="32" y="44"/>
                </a:lnTo>
                <a:lnTo>
                  <a:pt x="22" y="57"/>
                </a:lnTo>
                <a:lnTo>
                  <a:pt x="5" y="52"/>
                </a:lnTo>
                <a:lnTo>
                  <a:pt x="0" y="52"/>
                </a:lnTo>
                <a:lnTo>
                  <a:pt x="0" y="57"/>
                </a:lnTo>
                <a:lnTo>
                  <a:pt x="0" y="64"/>
                </a:lnTo>
                <a:lnTo>
                  <a:pt x="0" y="69"/>
                </a:lnTo>
                <a:lnTo>
                  <a:pt x="0" y="71"/>
                </a:lnTo>
                <a:lnTo>
                  <a:pt x="3" y="69"/>
                </a:lnTo>
                <a:lnTo>
                  <a:pt x="3" y="71"/>
                </a:lnTo>
                <a:lnTo>
                  <a:pt x="5" y="69"/>
                </a:lnTo>
                <a:lnTo>
                  <a:pt x="8" y="71"/>
                </a:lnTo>
                <a:lnTo>
                  <a:pt x="8" y="71"/>
                </a:lnTo>
                <a:lnTo>
                  <a:pt x="15" y="79"/>
                </a:lnTo>
                <a:lnTo>
                  <a:pt x="15" y="84"/>
                </a:lnTo>
                <a:lnTo>
                  <a:pt x="17" y="84"/>
                </a:lnTo>
                <a:lnTo>
                  <a:pt x="17" y="86"/>
                </a:lnTo>
                <a:lnTo>
                  <a:pt x="20" y="89"/>
                </a:lnTo>
                <a:lnTo>
                  <a:pt x="22" y="89"/>
                </a:lnTo>
                <a:lnTo>
                  <a:pt x="27" y="99"/>
                </a:lnTo>
                <a:lnTo>
                  <a:pt x="27" y="101"/>
                </a:lnTo>
                <a:lnTo>
                  <a:pt x="27" y="103"/>
                </a:lnTo>
                <a:lnTo>
                  <a:pt x="30" y="103"/>
                </a:lnTo>
                <a:lnTo>
                  <a:pt x="30" y="106"/>
                </a:lnTo>
                <a:lnTo>
                  <a:pt x="32" y="108"/>
                </a:lnTo>
                <a:lnTo>
                  <a:pt x="37" y="111"/>
                </a:lnTo>
                <a:lnTo>
                  <a:pt x="39" y="118"/>
                </a:lnTo>
                <a:lnTo>
                  <a:pt x="42" y="118"/>
                </a:lnTo>
                <a:lnTo>
                  <a:pt x="42" y="123"/>
                </a:lnTo>
                <a:lnTo>
                  <a:pt x="42" y="126"/>
                </a:lnTo>
                <a:lnTo>
                  <a:pt x="42" y="128"/>
                </a:lnTo>
                <a:lnTo>
                  <a:pt x="44" y="131"/>
                </a:lnTo>
                <a:lnTo>
                  <a:pt x="44" y="133"/>
                </a:lnTo>
                <a:lnTo>
                  <a:pt x="47" y="135"/>
                </a:lnTo>
                <a:lnTo>
                  <a:pt x="49" y="133"/>
                </a:lnTo>
                <a:lnTo>
                  <a:pt x="52" y="135"/>
                </a:lnTo>
                <a:lnTo>
                  <a:pt x="57" y="138"/>
                </a:lnTo>
                <a:lnTo>
                  <a:pt x="62" y="140"/>
                </a:lnTo>
                <a:lnTo>
                  <a:pt x="62" y="145"/>
                </a:lnTo>
                <a:lnTo>
                  <a:pt x="64" y="145"/>
                </a:lnTo>
                <a:lnTo>
                  <a:pt x="64" y="148"/>
                </a:lnTo>
                <a:lnTo>
                  <a:pt x="64" y="150"/>
                </a:lnTo>
                <a:lnTo>
                  <a:pt x="67" y="155"/>
                </a:lnTo>
                <a:lnTo>
                  <a:pt x="69" y="158"/>
                </a:lnTo>
                <a:lnTo>
                  <a:pt x="71" y="162"/>
                </a:lnTo>
                <a:lnTo>
                  <a:pt x="71" y="165"/>
                </a:lnTo>
                <a:lnTo>
                  <a:pt x="69" y="170"/>
                </a:lnTo>
                <a:lnTo>
                  <a:pt x="69" y="170"/>
                </a:lnTo>
                <a:lnTo>
                  <a:pt x="69" y="172"/>
                </a:lnTo>
                <a:lnTo>
                  <a:pt x="71" y="180"/>
                </a:lnTo>
                <a:lnTo>
                  <a:pt x="71" y="185"/>
                </a:lnTo>
                <a:lnTo>
                  <a:pt x="74" y="187"/>
                </a:lnTo>
                <a:lnTo>
                  <a:pt x="76" y="190"/>
                </a:lnTo>
                <a:lnTo>
                  <a:pt x="84" y="197"/>
                </a:lnTo>
                <a:lnTo>
                  <a:pt x="86" y="199"/>
                </a:lnTo>
                <a:lnTo>
                  <a:pt x="89" y="199"/>
                </a:lnTo>
                <a:lnTo>
                  <a:pt x="91" y="202"/>
                </a:lnTo>
                <a:lnTo>
                  <a:pt x="94" y="202"/>
                </a:lnTo>
                <a:lnTo>
                  <a:pt x="96" y="207"/>
                </a:lnTo>
                <a:lnTo>
                  <a:pt x="99" y="209"/>
                </a:lnTo>
                <a:lnTo>
                  <a:pt x="101" y="209"/>
                </a:lnTo>
                <a:lnTo>
                  <a:pt x="101" y="212"/>
                </a:lnTo>
                <a:lnTo>
                  <a:pt x="103" y="212"/>
                </a:lnTo>
                <a:lnTo>
                  <a:pt x="106" y="226"/>
                </a:lnTo>
                <a:lnTo>
                  <a:pt x="111" y="226"/>
                </a:lnTo>
                <a:lnTo>
                  <a:pt x="111" y="231"/>
                </a:lnTo>
                <a:lnTo>
                  <a:pt x="121" y="244"/>
                </a:lnTo>
                <a:lnTo>
                  <a:pt x="123" y="244"/>
                </a:lnTo>
                <a:lnTo>
                  <a:pt x="126" y="251"/>
                </a:lnTo>
                <a:lnTo>
                  <a:pt x="131" y="251"/>
                </a:lnTo>
                <a:lnTo>
                  <a:pt x="133" y="258"/>
                </a:lnTo>
                <a:lnTo>
                  <a:pt x="135" y="258"/>
                </a:lnTo>
                <a:lnTo>
                  <a:pt x="138" y="261"/>
                </a:lnTo>
                <a:lnTo>
                  <a:pt x="138" y="258"/>
                </a:lnTo>
                <a:lnTo>
                  <a:pt x="143" y="253"/>
                </a:lnTo>
                <a:lnTo>
                  <a:pt x="140" y="249"/>
                </a:lnTo>
                <a:lnTo>
                  <a:pt x="143" y="241"/>
                </a:lnTo>
                <a:lnTo>
                  <a:pt x="145" y="241"/>
                </a:lnTo>
                <a:lnTo>
                  <a:pt x="150" y="244"/>
                </a:lnTo>
                <a:lnTo>
                  <a:pt x="160" y="244"/>
                </a:lnTo>
                <a:lnTo>
                  <a:pt x="175" y="249"/>
                </a:lnTo>
                <a:lnTo>
                  <a:pt x="187" y="256"/>
                </a:lnTo>
                <a:lnTo>
                  <a:pt x="187" y="271"/>
                </a:lnTo>
                <a:lnTo>
                  <a:pt x="217" y="231"/>
                </a:lnTo>
                <a:lnTo>
                  <a:pt x="317" y="202"/>
                </a:lnTo>
                <a:lnTo>
                  <a:pt x="320" y="167"/>
                </a:lnTo>
                <a:lnTo>
                  <a:pt x="317" y="155"/>
                </a:lnTo>
                <a:lnTo>
                  <a:pt x="317" y="155"/>
                </a:lnTo>
                <a:lnTo>
                  <a:pt x="313" y="160"/>
                </a:lnTo>
                <a:lnTo>
                  <a:pt x="266" y="153"/>
                </a:lnTo>
                <a:lnTo>
                  <a:pt x="263" y="140"/>
                </a:lnTo>
                <a:lnTo>
                  <a:pt x="261" y="138"/>
                </a:lnTo>
                <a:lnTo>
                  <a:pt x="261" y="133"/>
                </a:lnTo>
                <a:lnTo>
                  <a:pt x="261" y="133"/>
                </a:lnTo>
                <a:lnTo>
                  <a:pt x="258" y="133"/>
                </a:lnTo>
                <a:lnTo>
                  <a:pt x="258" y="131"/>
                </a:lnTo>
                <a:lnTo>
                  <a:pt x="258" y="128"/>
                </a:lnTo>
                <a:lnTo>
                  <a:pt x="258" y="126"/>
                </a:lnTo>
                <a:lnTo>
                  <a:pt x="256" y="126"/>
                </a:lnTo>
                <a:lnTo>
                  <a:pt x="256" y="126"/>
                </a:lnTo>
                <a:lnTo>
                  <a:pt x="254" y="126"/>
                </a:lnTo>
                <a:lnTo>
                  <a:pt x="249" y="123"/>
                </a:lnTo>
                <a:lnTo>
                  <a:pt x="249" y="121"/>
                </a:lnTo>
                <a:lnTo>
                  <a:pt x="246" y="123"/>
                </a:lnTo>
                <a:lnTo>
                  <a:pt x="244" y="118"/>
                </a:lnTo>
                <a:lnTo>
                  <a:pt x="244" y="116"/>
                </a:lnTo>
                <a:lnTo>
                  <a:pt x="236" y="106"/>
                </a:lnTo>
                <a:lnTo>
                  <a:pt x="234" y="101"/>
                </a:lnTo>
                <a:lnTo>
                  <a:pt x="236" y="101"/>
                </a:lnTo>
                <a:lnTo>
                  <a:pt x="236" y="101"/>
                </a:lnTo>
                <a:lnTo>
                  <a:pt x="234" y="94"/>
                </a:lnTo>
                <a:lnTo>
                  <a:pt x="234" y="91"/>
                </a:lnTo>
                <a:lnTo>
                  <a:pt x="231" y="89"/>
                </a:lnTo>
                <a:lnTo>
                  <a:pt x="229" y="89"/>
                </a:lnTo>
                <a:lnTo>
                  <a:pt x="224" y="81"/>
                </a:lnTo>
                <a:lnTo>
                  <a:pt x="222" y="81"/>
                </a:lnTo>
                <a:lnTo>
                  <a:pt x="222" y="79"/>
                </a:lnTo>
                <a:lnTo>
                  <a:pt x="222" y="76"/>
                </a:lnTo>
                <a:lnTo>
                  <a:pt x="222" y="76"/>
                </a:lnTo>
                <a:lnTo>
                  <a:pt x="224" y="76"/>
                </a:lnTo>
                <a:lnTo>
                  <a:pt x="222" y="76"/>
                </a:lnTo>
                <a:lnTo>
                  <a:pt x="219" y="74"/>
                </a:lnTo>
                <a:lnTo>
                  <a:pt x="214" y="74"/>
                </a:lnTo>
                <a:lnTo>
                  <a:pt x="212" y="67"/>
                </a:lnTo>
                <a:lnTo>
                  <a:pt x="209" y="62"/>
                </a:lnTo>
                <a:lnTo>
                  <a:pt x="207" y="62"/>
                </a:lnTo>
                <a:lnTo>
                  <a:pt x="207" y="59"/>
                </a:lnTo>
                <a:lnTo>
                  <a:pt x="207" y="59"/>
                </a:lnTo>
                <a:lnTo>
                  <a:pt x="204" y="57"/>
                </a:lnTo>
                <a:lnTo>
                  <a:pt x="204" y="5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8" name="Freeform 97"/>
          <p:cNvSpPr>
            <a:spLocks/>
          </p:cNvSpPr>
          <p:nvPr/>
        </p:nvSpPr>
        <p:spPr bwMode="auto">
          <a:xfrm>
            <a:off x="6009864" y="3805776"/>
            <a:ext cx="19572" cy="38401"/>
          </a:xfrm>
          <a:custGeom>
            <a:avLst/>
            <a:gdLst/>
            <a:ahLst/>
            <a:cxnLst>
              <a:cxn ang="0">
                <a:pos x="10" y="25"/>
              </a:cxn>
              <a:cxn ang="0">
                <a:pos x="8" y="25"/>
              </a:cxn>
              <a:cxn ang="0">
                <a:pos x="3" y="22"/>
              </a:cxn>
              <a:cxn ang="0">
                <a:pos x="3" y="20"/>
              </a:cxn>
              <a:cxn ang="0">
                <a:pos x="3" y="20"/>
              </a:cxn>
              <a:cxn ang="0">
                <a:pos x="3" y="17"/>
              </a:cxn>
              <a:cxn ang="0">
                <a:pos x="3" y="15"/>
              </a:cxn>
              <a:cxn ang="0">
                <a:pos x="0" y="15"/>
              </a:cxn>
              <a:cxn ang="0">
                <a:pos x="3" y="10"/>
              </a:cxn>
              <a:cxn ang="0">
                <a:pos x="3" y="10"/>
              </a:cxn>
              <a:cxn ang="0">
                <a:pos x="3" y="10"/>
              </a:cxn>
              <a:cxn ang="0">
                <a:pos x="3" y="5"/>
              </a:cxn>
              <a:cxn ang="0">
                <a:pos x="3" y="5"/>
              </a:cxn>
              <a:cxn ang="0">
                <a:pos x="3" y="2"/>
              </a:cxn>
              <a:cxn ang="0">
                <a:pos x="5" y="2"/>
              </a:cxn>
              <a:cxn ang="0">
                <a:pos x="5" y="0"/>
              </a:cxn>
              <a:cxn ang="0">
                <a:pos x="5" y="0"/>
              </a:cxn>
              <a:cxn ang="0">
                <a:pos x="5" y="0"/>
              </a:cxn>
              <a:cxn ang="0">
                <a:pos x="8" y="0"/>
              </a:cxn>
              <a:cxn ang="0">
                <a:pos x="10" y="0"/>
              </a:cxn>
              <a:cxn ang="0">
                <a:pos x="10" y="2"/>
              </a:cxn>
              <a:cxn ang="0">
                <a:pos x="10" y="2"/>
              </a:cxn>
              <a:cxn ang="0">
                <a:pos x="12" y="2"/>
              </a:cxn>
              <a:cxn ang="0">
                <a:pos x="10" y="10"/>
              </a:cxn>
              <a:cxn ang="0">
                <a:pos x="10" y="10"/>
              </a:cxn>
              <a:cxn ang="0">
                <a:pos x="10" y="15"/>
              </a:cxn>
              <a:cxn ang="0">
                <a:pos x="12" y="15"/>
              </a:cxn>
              <a:cxn ang="0">
                <a:pos x="12" y="17"/>
              </a:cxn>
              <a:cxn ang="0">
                <a:pos x="12" y="25"/>
              </a:cxn>
              <a:cxn ang="0">
                <a:pos x="10" y="25"/>
              </a:cxn>
              <a:cxn ang="0">
                <a:pos x="10" y="25"/>
              </a:cxn>
              <a:cxn ang="0">
                <a:pos x="10" y="25"/>
              </a:cxn>
            </a:cxnLst>
            <a:rect l="0" t="0" r="r" b="b"/>
            <a:pathLst>
              <a:path w="12" h="25">
                <a:moveTo>
                  <a:pt x="10" y="25"/>
                </a:moveTo>
                <a:lnTo>
                  <a:pt x="8" y="25"/>
                </a:lnTo>
                <a:lnTo>
                  <a:pt x="3" y="22"/>
                </a:lnTo>
                <a:lnTo>
                  <a:pt x="3" y="20"/>
                </a:lnTo>
                <a:lnTo>
                  <a:pt x="3" y="20"/>
                </a:lnTo>
                <a:lnTo>
                  <a:pt x="3" y="17"/>
                </a:lnTo>
                <a:lnTo>
                  <a:pt x="3" y="15"/>
                </a:lnTo>
                <a:lnTo>
                  <a:pt x="0" y="15"/>
                </a:lnTo>
                <a:lnTo>
                  <a:pt x="3" y="10"/>
                </a:lnTo>
                <a:lnTo>
                  <a:pt x="3" y="10"/>
                </a:lnTo>
                <a:lnTo>
                  <a:pt x="3" y="10"/>
                </a:lnTo>
                <a:lnTo>
                  <a:pt x="3" y="5"/>
                </a:lnTo>
                <a:lnTo>
                  <a:pt x="3" y="5"/>
                </a:lnTo>
                <a:lnTo>
                  <a:pt x="3" y="2"/>
                </a:lnTo>
                <a:lnTo>
                  <a:pt x="5" y="2"/>
                </a:lnTo>
                <a:lnTo>
                  <a:pt x="5" y="0"/>
                </a:lnTo>
                <a:lnTo>
                  <a:pt x="5" y="0"/>
                </a:lnTo>
                <a:lnTo>
                  <a:pt x="5" y="0"/>
                </a:lnTo>
                <a:lnTo>
                  <a:pt x="8" y="0"/>
                </a:lnTo>
                <a:lnTo>
                  <a:pt x="10" y="0"/>
                </a:lnTo>
                <a:lnTo>
                  <a:pt x="10" y="2"/>
                </a:lnTo>
                <a:lnTo>
                  <a:pt x="10" y="2"/>
                </a:lnTo>
                <a:lnTo>
                  <a:pt x="12" y="2"/>
                </a:lnTo>
                <a:lnTo>
                  <a:pt x="10" y="10"/>
                </a:lnTo>
                <a:lnTo>
                  <a:pt x="10" y="10"/>
                </a:lnTo>
                <a:lnTo>
                  <a:pt x="10" y="15"/>
                </a:lnTo>
                <a:lnTo>
                  <a:pt x="12" y="15"/>
                </a:lnTo>
                <a:lnTo>
                  <a:pt x="12" y="17"/>
                </a:lnTo>
                <a:lnTo>
                  <a:pt x="12" y="25"/>
                </a:lnTo>
                <a:lnTo>
                  <a:pt x="10" y="25"/>
                </a:lnTo>
                <a:lnTo>
                  <a:pt x="10" y="25"/>
                </a:lnTo>
                <a:lnTo>
                  <a:pt x="10" y="2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99" name="Freeform 98"/>
          <p:cNvSpPr>
            <a:spLocks/>
          </p:cNvSpPr>
          <p:nvPr/>
        </p:nvSpPr>
        <p:spPr bwMode="auto">
          <a:xfrm>
            <a:off x="6034328" y="3805775"/>
            <a:ext cx="120690" cy="90627"/>
          </a:xfrm>
          <a:custGeom>
            <a:avLst/>
            <a:gdLst/>
            <a:ahLst/>
            <a:cxnLst>
              <a:cxn ang="0">
                <a:pos x="0" y="32"/>
              </a:cxn>
              <a:cxn ang="0">
                <a:pos x="0" y="37"/>
              </a:cxn>
              <a:cxn ang="0">
                <a:pos x="2" y="39"/>
              </a:cxn>
              <a:cxn ang="0">
                <a:pos x="5" y="52"/>
              </a:cxn>
              <a:cxn ang="0">
                <a:pos x="52" y="59"/>
              </a:cxn>
              <a:cxn ang="0">
                <a:pos x="56" y="54"/>
              </a:cxn>
              <a:cxn ang="0">
                <a:pos x="69" y="15"/>
              </a:cxn>
              <a:cxn ang="0">
                <a:pos x="74" y="15"/>
              </a:cxn>
              <a:cxn ang="0">
                <a:pos x="71" y="10"/>
              </a:cxn>
              <a:cxn ang="0">
                <a:pos x="71" y="7"/>
              </a:cxn>
              <a:cxn ang="0">
                <a:pos x="71" y="7"/>
              </a:cxn>
              <a:cxn ang="0">
                <a:pos x="69" y="7"/>
              </a:cxn>
              <a:cxn ang="0">
                <a:pos x="69" y="7"/>
              </a:cxn>
              <a:cxn ang="0">
                <a:pos x="69" y="7"/>
              </a:cxn>
              <a:cxn ang="0">
                <a:pos x="69" y="2"/>
              </a:cxn>
              <a:cxn ang="0">
                <a:pos x="66" y="0"/>
              </a:cxn>
              <a:cxn ang="0">
                <a:pos x="66" y="2"/>
              </a:cxn>
              <a:cxn ang="0">
                <a:pos x="64" y="5"/>
              </a:cxn>
              <a:cxn ang="0">
                <a:pos x="54" y="10"/>
              </a:cxn>
              <a:cxn ang="0">
                <a:pos x="54" y="15"/>
              </a:cxn>
              <a:cxn ang="0">
                <a:pos x="47" y="22"/>
              </a:cxn>
              <a:cxn ang="0">
                <a:pos x="44" y="25"/>
              </a:cxn>
              <a:cxn ang="0">
                <a:pos x="47" y="25"/>
              </a:cxn>
              <a:cxn ang="0">
                <a:pos x="47" y="27"/>
              </a:cxn>
              <a:cxn ang="0">
                <a:pos x="44" y="32"/>
              </a:cxn>
              <a:cxn ang="0">
                <a:pos x="42" y="30"/>
              </a:cxn>
              <a:cxn ang="0">
                <a:pos x="39" y="30"/>
              </a:cxn>
              <a:cxn ang="0">
                <a:pos x="39" y="30"/>
              </a:cxn>
              <a:cxn ang="0">
                <a:pos x="39" y="32"/>
              </a:cxn>
              <a:cxn ang="0">
                <a:pos x="37" y="32"/>
              </a:cxn>
              <a:cxn ang="0">
                <a:pos x="37" y="34"/>
              </a:cxn>
              <a:cxn ang="0">
                <a:pos x="32" y="34"/>
              </a:cxn>
              <a:cxn ang="0">
                <a:pos x="29" y="34"/>
              </a:cxn>
              <a:cxn ang="0">
                <a:pos x="27" y="34"/>
              </a:cxn>
              <a:cxn ang="0">
                <a:pos x="25" y="34"/>
              </a:cxn>
              <a:cxn ang="0">
                <a:pos x="25" y="32"/>
              </a:cxn>
              <a:cxn ang="0">
                <a:pos x="22" y="34"/>
              </a:cxn>
              <a:cxn ang="0">
                <a:pos x="17" y="32"/>
              </a:cxn>
              <a:cxn ang="0">
                <a:pos x="10" y="37"/>
              </a:cxn>
              <a:cxn ang="0">
                <a:pos x="7" y="37"/>
              </a:cxn>
              <a:cxn ang="0">
                <a:pos x="5" y="37"/>
              </a:cxn>
              <a:cxn ang="0">
                <a:pos x="2" y="37"/>
              </a:cxn>
              <a:cxn ang="0">
                <a:pos x="2" y="30"/>
              </a:cxn>
              <a:cxn ang="0">
                <a:pos x="0" y="32"/>
              </a:cxn>
              <a:cxn ang="0">
                <a:pos x="0" y="32"/>
              </a:cxn>
              <a:cxn ang="0">
                <a:pos x="0" y="32"/>
              </a:cxn>
            </a:cxnLst>
            <a:rect l="0" t="0" r="r" b="b"/>
            <a:pathLst>
              <a:path w="74" h="59">
                <a:moveTo>
                  <a:pt x="0" y="32"/>
                </a:moveTo>
                <a:lnTo>
                  <a:pt x="0" y="37"/>
                </a:lnTo>
                <a:lnTo>
                  <a:pt x="2" y="39"/>
                </a:lnTo>
                <a:lnTo>
                  <a:pt x="5" y="52"/>
                </a:lnTo>
                <a:lnTo>
                  <a:pt x="52" y="59"/>
                </a:lnTo>
                <a:lnTo>
                  <a:pt x="56" y="54"/>
                </a:lnTo>
                <a:lnTo>
                  <a:pt x="69" y="15"/>
                </a:lnTo>
                <a:lnTo>
                  <a:pt x="74" y="15"/>
                </a:lnTo>
                <a:lnTo>
                  <a:pt x="71" y="10"/>
                </a:lnTo>
                <a:lnTo>
                  <a:pt x="71" y="7"/>
                </a:lnTo>
                <a:lnTo>
                  <a:pt x="71" y="7"/>
                </a:lnTo>
                <a:lnTo>
                  <a:pt x="69" y="7"/>
                </a:lnTo>
                <a:lnTo>
                  <a:pt x="69" y="7"/>
                </a:lnTo>
                <a:lnTo>
                  <a:pt x="69" y="7"/>
                </a:lnTo>
                <a:lnTo>
                  <a:pt x="69" y="2"/>
                </a:lnTo>
                <a:lnTo>
                  <a:pt x="66" y="0"/>
                </a:lnTo>
                <a:lnTo>
                  <a:pt x="66" y="2"/>
                </a:lnTo>
                <a:lnTo>
                  <a:pt x="64" y="5"/>
                </a:lnTo>
                <a:lnTo>
                  <a:pt x="54" y="10"/>
                </a:lnTo>
                <a:lnTo>
                  <a:pt x="54" y="15"/>
                </a:lnTo>
                <a:lnTo>
                  <a:pt x="47" y="22"/>
                </a:lnTo>
                <a:lnTo>
                  <a:pt x="44" y="25"/>
                </a:lnTo>
                <a:lnTo>
                  <a:pt x="47" y="25"/>
                </a:lnTo>
                <a:lnTo>
                  <a:pt x="47" y="27"/>
                </a:lnTo>
                <a:lnTo>
                  <a:pt x="44" y="32"/>
                </a:lnTo>
                <a:lnTo>
                  <a:pt x="42" y="30"/>
                </a:lnTo>
                <a:lnTo>
                  <a:pt x="39" y="30"/>
                </a:lnTo>
                <a:lnTo>
                  <a:pt x="39" y="30"/>
                </a:lnTo>
                <a:lnTo>
                  <a:pt x="39" y="32"/>
                </a:lnTo>
                <a:lnTo>
                  <a:pt x="37" y="32"/>
                </a:lnTo>
                <a:lnTo>
                  <a:pt x="37" y="34"/>
                </a:lnTo>
                <a:lnTo>
                  <a:pt x="32" y="34"/>
                </a:lnTo>
                <a:lnTo>
                  <a:pt x="29" y="34"/>
                </a:lnTo>
                <a:lnTo>
                  <a:pt x="27" y="34"/>
                </a:lnTo>
                <a:lnTo>
                  <a:pt x="25" y="34"/>
                </a:lnTo>
                <a:lnTo>
                  <a:pt x="25" y="32"/>
                </a:lnTo>
                <a:lnTo>
                  <a:pt x="22" y="34"/>
                </a:lnTo>
                <a:lnTo>
                  <a:pt x="17" y="32"/>
                </a:lnTo>
                <a:lnTo>
                  <a:pt x="10" y="37"/>
                </a:lnTo>
                <a:lnTo>
                  <a:pt x="7" y="37"/>
                </a:lnTo>
                <a:lnTo>
                  <a:pt x="5" y="37"/>
                </a:lnTo>
                <a:lnTo>
                  <a:pt x="2" y="37"/>
                </a:lnTo>
                <a:lnTo>
                  <a:pt x="2" y="30"/>
                </a:lnTo>
                <a:lnTo>
                  <a:pt x="0" y="32"/>
                </a:lnTo>
                <a:lnTo>
                  <a:pt x="0" y="32"/>
                </a:lnTo>
                <a:lnTo>
                  <a:pt x="0" y="3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0" name="Freeform 99"/>
          <p:cNvSpPr>
            <a:spLocks noEditPoints="1"/>
          </p:cNvSpPr>
          <p:nvPr/>
        </p:nvSpPr>
        <p:spPr bwMode="auto">
          <a:xfrm>
            <a:off x="4067393" y="3473991"/>
            <a:ext cx="76655" cy="29185"/>
          </a:xfrm>
          <a:custGeom>
            <a:avLst/>
            <a:gdLst/>
            <a:ahLst/>
            <a:cxnLst>
              <a:cxn ang="0">
                <a:pos x="20" y="0"/>
              </a:cxn>
              <a:cxn ang="0">
                <a:pos x="23" y="0"/>
              </a:cxn>
              <a:cxn ang="0">
                <a:pos x="23" y="0"/>
              </a:cxn>
              <a:cxn ang="0">
                <a:pos x="20" y="0"/>
              </a:cxn>
              <a:cxn ang="0">
                <a:pos x="20" y="0"/>
              </a:cxn>
              <a:cxn ang="0">
                <a:pos x="20" y="0"/>
              </a:cxn>
              <a:cxn ang="0">
                <a:pos x="20" y="0"/>
              </a:cxn>
              <a:cxn ang="0">
                <a:pos x="5" y="0"/>
              </a:cxn>
              <a:cxn ang="0">
                <a:pos x="10" y="2"/>
              </a:cxn>
              <a:cxn ang="0">
                <a:pos x="8" y="0"/>
              </a:cxn>
              <a:cxn ang="0">
                <a:pos x="5" y="0"/>
              </a:cxn>
              <a:cxn ang="0">
                <a:pos x="5" y="0"/>
              </a:cxn>
              <a:cxn ang="0">
                <a:pos x="5" y="0"/>
              </a:cxn>
              <a:cxn ang="0">
                <a:pos x="0" y="2"/>
              </a:cxn>
              <a:cxn ang="0">
                <a:pos x="0" y="4"/>
              </a:cxn>
              <a:cxn ang="0">
                <a:pos x="5" y="4"/>
              </a:cxn>
              <a:cxn ang="0">
                <a:pos x="5" y="4"/>
              </a:cxn>
              <a:cxn ang="0">
                <a:pos x="3" y="2"/>
              </a:cxn>
              <a:cxn ang="0">
                <a:pos x="0" y="2"/>
              </a:cxn>
              <a:cxn ang="0">
                <a:pos x="0" y="2"/>
              </a:cxn>
              <a:cxn ang="0">
                <a:pos x="0" y="2"/>
              </a:cxn>
              <a:cxn ang="0">
                <a:pos x="42" y="17"/>
              </a:cxn>
              <a:cxn ang="0">
                <a:pos x="40" y="17"/>
              </a:cxn>
              <a:cxn ang="0">
                <a:pos x="42" y="19"/>
              </a:cxn>
              <a:cxn ang="0">
                <a:pos x="45" y="19"/>
              </a:cxn>
              <a:cxn ang="0">
                <a:pos x="47" y="17"/>
              </a:cxn>
              <a:cxn ang="0">
                <a:pos x="45" y="17"/>
              </a:cxn>
              <a:cxn ang="0">
                <a:pos x="42" y="17"/>
              </a:cxn>
              <a:cxn ang="0">
                <a:pos x="42" y="17"/>
              </a:cxn>
            </a:cxnLst>
            <a:rect l="0" t="0" r="r" b="b"/>
            <a:pathLst>
              <a:path w="47" h="19">
                <a:moveTo>
                  <a:pt x="20" y="0"/>
                </a:moveTo>
                <a:lnTo>
                  <a:pt x="23" y="0"/>
                </a:lnTo>
                <a:lnTo>
                  <a:pt x="23" y="0"/>
                </a:lnTo>
                <a:lnTo>
                  <a:pt x="20" y="0"/>
                </a:lnTo>
                <a:lnTo>
                  <a:pt x="20" y="0"/>
                </a:lnTo>
                <a:lnTo>
                  <a:pt x="20" y="0"/>
                </a:lnTo>
                <a:lnTo>
                  <a:pt x="20" y="0"/>
                </a:lnTo>
                <a:close/>
                <a:moveTo>
                  <a:pt x="5" y="0"/>
                </a:moveTo>
                <a:lnTo>
                  <a:pt x="10" y="2"/>
                </a:lnTo>
                <a:lnTo>
                  <a:pt x="8" y="0"/>
                </a:lnTo>
                <a:lnTo>
                  <a:pt x="5" y="0"/>
                </a:lnTo>
                <a:lnTo>
                  <a:pt x="5" y="0"/>
                </a:lnTo>
                <a:lnTo>
                  <a:pt x="5" y="0"/>
                </a:lnTo>
                <a:close/>
                <a:moveTo>
                  <a:pt x="0" y="2"/>
                </a:moveTo>
                <a:lnTo>
                  <a:pt x="0" y="4"/>
                </a:lnTo>
                <a:lnTo>
                  <a:pt x="5" y="4"/>
                </a:lnTo>
                <a:lnTo>
                  <a:pt x="5" y="4"/>
                </a:lnTo>
                <a:lnTo>
                  <a:pt x="3" y="2"/>
                </a:lnTo>
                <a:lnTo>
                  <a:pt x="0" y="2"/>
                </a:lnTo>
                <a:lnTo>
                  <a:pt x="0" y="2"/>
                </a:lnTo>
                <a:lnTo>
                  <a:pt x="0" y="2"/>
                </a:lnTo>
                <a:close/>
                <a:moveTo>
                  <a:pt x="42" y="17"/>
                </a:moveTo>
                <a:lnTo>
                  <a:pt x="40" y="17"/>
                </a:lnTo>
                <a:lnTo>
                  <a:pt x="42" y="19"/>
                </a:lnTo>
                <a:lnTo>
                  <a:pt x="45" y="19"/>
                </a:lnTo>
                <a:lnTo>
                  <a:pt x="47" y="17"/>
                </a:lnTo>
                <a:lnTo>
                  <a:pt x="45" y="17"/>
                </a:lnTo>
                <a:lnTo>
                  <a:pt x="42" y="17"/>
                </a:lnTo>
                <a:lnTo>
                  <a:pt x="42" y="1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1" name="Freeform 100"/>
          <p:cNvSpPr>
            <a:spLocks/>
          </p:cNvSpPr>
          <p:nvPr/>
        </p:nvSpPr>
        <p:spPr bwMode="auto">
          <a:xfrm>
            <a:off x="4336501" y="3635275"/>
            <a:ext cx="13047" cy="7681"/>
          </a:xfrm>
          <a:custGeom>
            <a:avLst/>
            <a:gdLst/>
            <a:ahLst/>
            <a:cxnLst>
              <a:cxn ang="0">
                <a:pos x="5" y="5"/>
              </a:cxn>
              <a:cxn ang="0">
                <a:pos x="5" y="5"/>
              </a:cxn>
              <a:cxn ang="0">
                <a:pos x="3" y="3"/>
              </a:cxn>
              <a:cxn ang="0">
                <a:pos x="3" y="3"/>
              </a:cxn>
              <a:cxn ang="0">
                <a:pos x="0" y="3"/>
              </a:cxn>
              <a:cxn ang="0">
                <a:pos x="0" y="3"/>
              </a:cxn>
              <a:cxn ang="0">
                <a:pos x="5" y="0"/>
              </a:cxn>
              <a:cxn ang="0">
                <a:pos x="5" y="0"/>
              </a:cxn>
              <a:cxn ang="0">
                <a:pos x="8" y="5"/>
              </a:cxn>
              <a:cxn ang="0">
                <a:pos x="5" y="5"/>
              </a:cxn>
              <a:cxn ang="0">
                <a:pos x="5" y="5"/>
              </a:cxn>
            </a:cxnLst>
            <a:rect l="0" t="0" r="r" b="b"/>
            <a:pathLst>
              <a:path w="8" h="5">
                <a:moveTo>
                  <a:pt x="5" y="5"/>
                </a:moveTo>
                <a:lnTo>
                  <a:pt x="5" y="5"/>
                </a:lnTo>
                <a:lnTo>
                  <a:pt x="3" y="3"/>
                </a:lnTo>
                <a:lnTo>
                  <a:pt x="3" y="3"/>
                </a:lnTo>
                <a:lnTo>
                  <a:pt x="0" y="3"/>
                </a:lnTo>
                <a:lnTo>
                  <a:pt x="0" y="3"/>
                </a:lnTo>
                <a:lnTo>
                  <a:pt x="5" y="0"/>
                </a:lnTo>
                <a:lnTo>
                  <a:pt x="5" y="0"/>
                </a:lnTo>
                <a:lnTo>
                  <a:pt x="8" y="5"/>
                </a:lnTo>
                <a:lnTo>
                  <a:pt x="5" y="5"/>
                </a:lnTo>
                <a:lnTo>
                  <a:pt x="5"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2" name="Freeform 101"/>
          <p:cNvSpPr>
            <a:spLocks noEditPoints="1"/>
          </p:cNvSpPr>
          <p:nvPr/>
        </p:nvSpPr>
        <p:spPr bwMode="auto">
          <a:xfrm>
            <a:off x="4313667" y="3738190"/>
            <a:ext cx="115798" cy="36865"/>
          </a:xfrm>
          <a:custGeom>
            <a:avLst/>
            <a:gdLst/>
            <a:ahLst/>
            <a:cxnLst>
              <a:cxn ang="0">
                <a:pos x="12" y="17"/>
              </a:cxn>
              <a:cxn ang="0">
                <a:pos x="12" y="14"/>
              </a:cxn>
              <a:cxn ang="0">
                <a:pos x="12" y="14"/>
              </a:cxn>
              <a:cxn ang="0">
                <a:pos x="12" y="17"/>
              </a:cxn>
              <a:cxn ang="0">
                <a:pos x="2" y="24"/>
              </a:cxn>
              <a:cxn ang="0">
                <a:pos x="0" y="22"/>
              </a:cxn>
              <a:cxn ang="0">
                <a:pos x="2" y="22"/>
              </a:cxn>
              <a:cxn ang="0">
                <a:pos x="2" y="22"/>
              </a:cxn>
              <a:cxn ang="0">
                <a:pos x="2" y="24"/>
              </a:cxn>
              <a:cxn ang="0">
                <a:pos x="2" y="24"/>
              </a:cxn>
              <a:cxn ang="0">
                <a:pos x="4" y="10"/>
              </a:cxn>
              <a:cxn ang="0">
                <a:pos x="4" y="7"/>
              </a:cxn>
              <a:cxn ang="0">
                <a:pos x="4" y="2"/>
              </a:cxn>
              <a:cxn ang="0">
                <a:pos x="7" y="5"/>
              </a:cxn>
              <a:cxn ang="0">
                <a:pos x="4" y="10"/>
              </a:cxn>
              <a:cxn ang="0">
                <a:pos x="29" y="14"/>
              </a:cxn>
              <a:cxn ang="0">
                <a:pos x="24" y="14"/>
              </a:cxn>
              <a:cxn ang="0">
                <a:pos x="19" y="17"/>
              </a:cxn>
              <a:cxn ang="0">
                <a:pos x="17" y="17"/>
              </a:cxn>
              <a:cxn ang="0">
                <a:pos x="17" y="14"/>
              </a:cxn>
              <a:cxn ang="0">
                <a:pos x="19" y="12"/>
              </a:cxn>
              <a:cxn ang="0">
                <a:pos x="22" y="12"/>
              </a:cxn>
              <a:cxn ang="0">
                <a:pos x="24" y="12"/>
              </a:cxn>
              <a:cxn ang="0">
                <a:pos x="27" y="10"/>
              </a:cxn>
              <a:cxn ang="0">
                <a:pos x="29" y="10"/>
              </a:cxn>
              <a:cxn ang="0">
                <a:pos x="29" y="14"/>
              </a:cxn>
              <a:cxn ang="0">
                <a:pos x="34" y="14"/>
              </a:cxn>
              <a:cxn ang="0">
                <a:pos x="34" y="19"/>
              </a:cxn>
              <a:cxn ang="0">
                <a:pos x="36" y="22"/>
              </a:cxn>
              <a:cxn ang="0">
                <a:pos x="39" y="19"/>
              </a:cxn>
              <a:cxn ang="0">
                <a:pos x="41" y="19"/>
              </a:cxn>
              <a:cxn ang="0">
                <a:pos x="39" y="17"/>
              </a:cxn>
              <a:cxn ang="0">
                <a:pos x="36" y="14"/>
              </a:cxn>
              <a:cxn ang="0">
                <a:pos x="34" y="14"/>
              </a:cxn>
              <a:cxn ang="0">
                <a:pos x="64" y="5"/>
              </a:cxn>
              <a:cxn ang="0">
                <a:pos x="66" y="0"/>
              </a:cxn>
              <a:cxn ang="0">
                <a:pos x="68" y="0"/>
              </a:cxn>
              <a:cxn ang="0">
                <a:pos x="71" y="2"/>
              </a:cxn>
              <a:cxn ang="0">
                <a:pos x="66" y="2"/>
              </a:cxn>
              <a:cxn ang="0">
                <a:pos x="64" y="5"/>
              </a:cxn>
              <a:cxn ang="0">
                <a:pos x="54" y="17"/>
              </a:cxn>
              <a:cxn ang="0">
                <a:pos x="59" y="12"/>
              </a:cxn>
              <a:cxn ang="0">
                <a:pos x="59" y="10"/>
              </a:cxn>
              <a:cxn ang="0">
                <a:pos x="64" y="7"/>
              </a:cxn>
              <a:cxn ang="0">
                <a:pos x="64" y="12"/>
              </a:cxn>
              <a:cxn ang="0">
                <a:pos x="59" y="17"/>
              </a:cxn>
              <a:cxn ang="0">
                <a:pos x="56" y="17"/>
              </a:cxn>
            </a:cxnLst>
            <a:rect l="0" t="0" r="r" b="b"/>
            <a:pathLst>
              <a:path w="71" h="24">
                <a:moveTo>
                  <a:pt x="12" y="17"/>
                </a:moveTo>
                <a:lnTo>
                  <a:pt x="12" y="17"/>
                </a:lnTo>
                <a:lnTo>
                  <a:pt x="12" y="17"/>
                </a:lnTo>
                <a:lnTo>
                  <a:pt x="12" y="14"/>
                </a:lnTo>
                <a:lnTo>
                  <a:pt x="12" y="14"/>
                </a:lnTo>
                <a:lnTo>
                  <a:pt x="12" y="14"/>
                </a:lnTo>
                <a:lnTo>
                  <a:pt x="12" y="17"/>
                </a:lnTo>
                <a:lnTo>
                  <a:pt x="12" y="17"/>
                </a:lnTo>
                <a:lnTo>
                  <a:pt x="12" y="17"/>
                </a:lnTo>
                <a:close/>
                <a:moveTo>
                  <a:pt x="2" y="24"/>
                </a:moveTo>
                <a:lnTo>
                  <a:pt x="2" y="24"/>
                </a:lnTo>
                <a:lnTo>
                  <a:pt x="0" y="22"/>
                </a:lnTo>
                <a:lnTo>
                  <a:pt x="0" y="22"/>
                </a:lnTo>
                <a:lnTo>
                  <a:pt x="2" y="22"/>
                </a:lnTo>
                <a:lnTo>
                  <a:pt x="2" y="22"/>
                </a:lnTo>
                <a:lnTo>
                  <a:pt x="2" y="22"/>
                </a:lnTo>
                <a:lnTo>
                  <a:pt x="2" y="22"/>
                </a:lnTo>
                <a:lnTo>
                  <a:pt x="2" y="24"/>
                </a:lnTo>
                <a:lnTo>
                  <a:pt x="2" y="24"/>
                </a:lnTo>
                <a:lnTo>
                  <a:pt x="2" y="24"/>
                </a:lnTo>
                <a:close/>
                <a:moveTo>
                  <a:pt x="4" y="10"/>
                </a:moveTo>
                <a:lnTo>
                  <a:pt x="4" y="10"/>
                </a:lnTo>
                <a:lnTo>
                  <a:pt x="4" y="7"/>
                </a:lnTo>
                <a:lnTo>
                  <a:pt x="4" y="7"/>
                </a:lnTo>
                <a:lnTo>
                  <a:pt x="2" y="5"/>
                </a:lnTo>
                <a:lnTo>
                  <a:pt x="4" y="2"/>
                </a:lnTo>
                <a:lnTo>
                  <a:pt x="7" y="5"/>
                </a:lnTo>
                <a:lnTo>
                  <a:pt x="7" y="5"/>
                </a:lnTo>
                <a:lnTo>
                  <a:pt x="7" y="10"/>
                </a:lnTo>
                <a:lnTo>
                  <a:pt x="4" y="10"/>
                </a:lnTo>
                <a:lnTo>
                  <a:pt x="4" y="10"/>
                </a:lnTo>
                <a:close/>
                <a:moveTo>
                  <a:pt x="29" y="14"/>
                </a:moveTo>
                <a:lnTo>
                  <a:pt x="29" y="14"/>
                </a:lnTo>
                <a:lnTo>
                  <a:pt x="24" y="14"/>
                </a:lnTo>
                <a:lnTo>
                  <a:pt x="24" y="14"/>
                </a:lnTo>
                <a:lnTo>
                  <a:pt x="19" y="17"/>
                </a:lnTo>
                <a:lnTo>
                  <a:pt x="19" y="17"/>
                </a:lnTo>
                <a:lnTo>
                  <a:pt x="17" y="17"/>
                </a:lnTo>
                <a:lnTo>
                  <a:pt x="17" y="17"/>
                </a:lnTo>
                <a:lnTo>
                  <a:pt x="17" y="14"/>
                </a:lnTo>
                <a:lnTo>
                  <a:pt x="17" y="14"/>
                </a:lnTo>
                <a:lnTo>
                  <a:pt x="19" y="12"/>
                </a:lnTo>
                <a:lnTo>
                  <a:pt x="19" y="12"/>
                </a:lnTo>
                <a:lnTo>
                  <a:pt x="22" y="12"/>
                </a:lnTo>
                <a:lnTo>
                  <a:pt x="22" y="12"/>
                </a:lnTo>
                <a:lnTo>
                  <a:pt x="24" y="12"/>
                </a:lnTo>
                <a:lnTo>
                  <a:pt x="24" y="12"/>
                </a:lnTo>
                <a:lnTo>
                  <a:pt x="27" y="10"/>
                </a:lnTo>
                <a:lnTo>
                  <a:pt x="27" y="10"/>
                </a:lnTo>
                <a:lnTo>
                  <a:pt x="29" y="10"/>
                </a:lnTo>
                <a:lnTo>
                  <a:pt x="29" y="10"/>
                </a:lnTo>
                <a:lnTo>
                  <a:pt x="29" y="14"/>
                </a:lnTo>
                <a:lnTo>
                  <a:pt x="29" y="14"/>
                </a:lnTo>
                <a:close/>
                <a:moveTo>
                  <a:pt x="34" y="14"/>
                </a:moveTo>
                <a:lnTo>
                  <a:pt x="34" y="14"/>
                </a:lnTo>
                <a:lnTo>
                  <a:pt x="34" y="19"/>
                </a:lnTo>
                <a:lnTo>
                  <a:pt x="34" y="19"/>
                </a:lnTo>
                <a:lnTo>
                  <a:pt x="36" y="22"/>
                </a:lnTo>
                <a:lnTo>
                  <a:pt x="36" y="22"/>
                </a:lnTo>
                <a:lnTo>
                  <a:pt x="39" y="19"/>
                </a:lnTo>
                <a:lnTo>
                  <a:pt x="39" y="19"/>
                </a:lnTo>
                <a:lnTo>
                  <a:pt x="41" y="19"/>
                </a:lnTo>
                <a:lnTo>
                  <a:pt x="41" y="19"/>
                </a:lnTo>
                <a:lnTo>
                  <a:pt x="39" y="17"/>
                </a:lnTo>
                <a:lnTo>
                  <a:pt x="39" y="17"/>
                </a:lnTo>
                <a:lnTo>
                  <a:pt x="36" y="14"/>
                </a:lnTo>
                <a:lnTo>
                  <a:pt x="36" y="14"/>
                </a:lnTo>
                <a:lnTo>
                  <a:pt x="34" y="14"/>
                </a:lnTo>
                <a:lnTo>
                  <a:pt x="34" y="14"/>
                </a:lnTo>
                <a:close/>
                <a:moveTo>
                  <a:pt x="64" y="5"/>
                </a:moveTo>
                <a:lnTo>
                  <a:pt x="64" y="5"/>
                </a:lnTo>
                <a:lnTo>
                  <a:pt x="66" y="0"/>
                </a:lnTo>
                <a:lnTo>
                  <a:pt x="66" y="0"/>
                </a:lnTo>
                <a:lnTo>
                  <a:pt x="68" y="0"/>
                </a:lnTo>
                <a:lnTo>
                  <a:pt x="68" y="0"/>
                </a:lnTo>
                <a:lnTo>
                  <a:pt x="71" y="2"/>
                </a:lnTo>
                <a:lnTo>
                  <a:pt x="71" y="2"/>
                </a:lnTo>
                <a:lnTo>
                  <a:pt x="66" y="2"/>
                </a:lnTo>
                <a:lnTo>
                  <a:pt x="66" y="2"/>
                </a:lnTo>
                <a:lnTo>
                  <a:pt x="64" y="5"/>
                </a:lnTo>
                <a:lnTo>
                  <a:pt x="64" y="5"/>
                </a:lnTo>
                <a:close/>
                <a:moveTo>
                  <a:pt x="54" y="17"/>
                </a:moveTo>
                <a:lnTo>
                  <a:pt x="54" y="17"/>
                </a:lnTo>
                <a:lnTo>
                  <a:pt x="59" y="12"/>
                </a:lnTo>
                <a:lnTo>
                  <a:pt x="59" y="12"/>
                </a:lnTo>
                <a:lnTo>
                  <a:pt x="59" y="10"/>
                </a:lnTo>
                <a:lnTo>
                  <a:pt x="59" y="10"/>
                </a:lnTo>
                <a:lnTo>
                  <a:pt x="64" y="7"/>
                </a:lnTo>
                <a:lnTo>
                  <a:pt x="64" y="7"/>
                </a:lnTo>
                <a:lnTo>
                  <a:pt x="64" y="12"/>
                </a:lnTo>
                <a:lnTo>
                  <a:pt x="64" y="12"/>
                </a:lnTo>
                <a:lnTo>
                  <a:pt x="59" y="17"/>
                </a:lnTo>
                <a:lnTo>
                  <a:pt x="59" y="17"/>
                </a:lnTo>
                <a:lnTo>
                  <a:pt x="56" y="17"/>
                </a:lnTo>
                <a:lnTo>
                  <a:pt x="54" y="1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3" name="Freeform 102"/>
          <p:cNvSpPr>
            <a:spLocks noEditPoints="1"/>
          </p:cNvSpPr>
          <p:nvPr/>
        </p:nvSpPr>
        <p:spPr bwMode="auto">
          <a:xfrm>
            <a:off x="4124476" y="4033109"/>
            <a:ext cx="63609" cy="55297"/>
          </a:xfrm>
          <a:custGeom>
            <a:avLst/>
            <a:gdLst/>
            <a:ahLst/>
            <a:cxnLst>
              <a:cxn ang="0">
                <a:pos x="5" y="2"/>
              </a:cxn>
              <a:cxn ang="0">
                <a:pos x="7" y="0"/>
              </a:cxn>
              <a:cxn ang="0">
                <a:pos x="5" y="0"/>
              </a:cxn>
              <a:cxn ang="0">
                <a:pos x="2" y="0"/>
              </a:cxn>
              <a:cxn ang="0">
                <a:pos x="0" y="0"/>
              </a:cxn>
              <a:cxn ang="0">
                <a:pos x="2" y="2"/>
              </a:cxn>
              <a:cxn ang="0">
                <a:pos x="5" y="2"/>
              </a:cxn>
              <a:cxn ang="0">
                <a:pos x="7" y="4"/>
              </a:cxn>
              <a:cxn ang="0">
                <a:pos x="7" y="2"/>
              </a:cxn>
              <a:cxn ang="0">
                <a:pos x="7" y="2"/>
              </a:cxn>
              <a:cxn ang="0">
                <a:pos x="10" y="2"/>
              </a:cxn>
              <a:cxn ang="0">
                <a:pos x="7" y="4"/>
              </a:cxn>
              <a:cxn ang="0">
                <a:pos x="20" y="9"/>
              </a:cxn>
              <a:cxn ang="0">
                <a:pos x="20" y="9"/>
              </a:cxn>
              <a:cxn ang="0">
                <a:pos x="17" y="9"/>
              </a:cxn>
              <a:cxn ang="0">
                <a:pos x="17" y="7"/>
              </a:cxn>
              <a:cxn ang="0">
                <a:pos x="20" y="7"/>
              </a:cxn>
              <a:cxn ang="0">
                <a:pos x="20" y="7"/>
              </a:cxn>
              <a:cxn ang="0">
                <a:pos x="20" y="9"/>
              </a:cxn>
              <a:cxn ang="0">
                <a:pos x="25" y="9"/>
              </a:cxn>
              <a:cxn ang="0">
                <a:pos x="22" y="9"/>
              </a:cxn>
              <a:cxn ang="0">
                <a:pos x="22" y="7"/>
              </a:cxn>
              <a:cxn ang="0">
                <a:pos x="22" y="7"/>
              </a:cxn>
              <a:cxn ang="0">
                <a:pos x="25" y="9"/>
              </a:cxn>
              <a:cxn ang="0">
                <a:pos x="37" y="7"/>
              </a:cxn>
              <a:cxn ang="0">
                <a:pos x="37" y="4"/>
              </a:cxn>
              <a:cxn ang="0">
                <a:pos x="39" y="2"/>
              </a:cxn>
              <a:cxn ang="0">
                <a:pos x="39" y="7"/>
              </a:cxn>
              <a:cxn ang="0">
                <a:pos x="37" y="7"/>
              </a:cxn>
              <a:cxn ang="0">
                <a:pos x="37" y="17"/>
              </a:cxn>
              <a:cxn ang="0">
                <a:pos x="34" y="14"/>
              </a:cxn>
              <a:cxn ang="0">
                <a:pos x="37" y="14"/>
              </a:cxn>
              <a:cxn ang="0">
                <a:pos x="39" y="14"/>
              </a:cxn>
              <a:cxn ang="0">
                <a:pos x="39" y="17"/>
              </a:cxn>
              <a:cxn ang="0">
                <a:pos x="37" y="17"/>
              </a:cxn>
              <a:cxn ang="0">
                <a:pos x="34" y="32"/>
              </a:cxn>
              <a:cxn ang="0">
                <a:pos x="32" y="29"/>
              </a:cxn>
              <a:cxn ang="0">
                <a:pos x="34" y="29"/>
              </a:cxn>
              <a:cxn ang="0">
                <a:pos x="34" y="32"/>
              </a:cxn>
              <a:cxn ang="0">
                <a:pos x="34" y="32"/>
              </a:cxn>
              <a:cxn ang="0">
                <a:pos x="25" y="34"/>
              </a:cxn>
              <a:cxn ang="0">
                <a:pos x="25" y="32"/>
              </a:cxn>
              <a:cxn ang="0">
                <a:pos x="25" y="29"/>
              </a:cxn>
              <a:cxn ang="0">
                <a:pos x="27" y="29"/>
              </a:cxn>
              <a:cxn ang="0">
                <a:pos x="29" y="34"/>
              </a:cxn>
              <a:cxn ang="0">
                <a:pos x="25" y="34"/>
              </a:cxn>
            </a:cxnLst>
            <a:rect l="0" t="0" r="r" b="b"/>
            <a:pathLst>
              <a:path w="39" h="36">
                <a:moveTo>
                  <a:pt x="5" y="2"/>
                </a:moveTo>
                <a:lnTo>
                  <a:pt x="5" y="2"/>
                </a:lnTo>
                <a:lnTo>
                  <a:pt x="7" y="0"/>
                </a:lnTo>
                <a:lnTo>
                  <a:pt x="7" y="0"/>
                </a:lnTo>
                <a:lnTo>
                  <a:pt x="7" y="0"/>
                </a:lnTo>
                <a:lnTo>
                  <a:pt x="5" y="0"/>
                </a:lnTo>
                <a:lnTo>
                  <a:pt x="5" y="0"/>
                </a:lnTo>
                <a:lnTo>
                  <a:pt x="2" y="0"/>
                </a:lnTo>
                <a:lnTo>
                  <a:pt x="2" y="0"/>
                </a:lnTo>
                <a:lnTo>
                  <a:pt x="0" y="0"/>
                </a:lnTo>
                <a:lnTo>
                  <a:pt x="0" y="0"/>
                </a:lnTo>
                <a:lnTo>
                  <a:pt x="2" y="2"/>
                </a:lnTo>
                <a:lnTo>
                  <a:pt x="2" y="2"/>
                </a:lnTo>
                <a:lnTo>
                  <a:pt x="5" y="2"/>
                </a:lnTo>
                <a:lnTo>
                  <a:pt x="5" y="2"/>
                </a:lnTo>
                <a:close/>
                <a:moveTo>
                  <a:pt x="7" y="4"/>
                </a:moveTo>
                <a:lnTo>
                  <a:pt x="7" y="4"/>
                </a:lnTo>
                <a:lnTo>
                  <a:pt x="7" y="2"/>
                </a:lnTo>
                <a:lnTo>
                  <a:pt x="7" y="2"/>
                </a:lnTo>
                <a:lnTo>
                  <a:pt x="7" y="2"/>
                </a:lnTo>
                <a:lnTo>
                  <a:pt x="10" y="2"/>
                </a:lnTo>
                <a:lnTo>
                  <a:pt x="10" y="2"/>
                </a:lnTo>
                <a:lnTo>
                  <a:pt x="10" y="4"/>
                </a:lnTo>
                <a:lnTo>
                  <a:pt x="7" y="4"/>
                </a:lnTo>
                <a:lnTo>
                  <a:pt x="7" y="4"/>
                </a:lnTo>
                <a:close/>
                <a:moveTo>
                  <a:pt x="20" y="9"/>
                </a:moveTo>
                <a:lnTo>
                  <a:pt x="20" y="9"/>
                </a:lnTo>
                <a:lnTo>
                  <a:pt x="20" y="9"/>
                </a:lnTo>
                <a:lnTo>
                  <a:pt x="17" y="9"/>
                </a:lnTo>
                <a:lnTo>
                  <a:pt x="17" y="9"/>
                </a:lnTo>
                <a:lnTo>
                  <a:pt x="17" y="7"/>
                </a:lnTo>
                <a:lnTo>
                  <a:pt x="17" y="7"/>
                </a:lnTo>
                <a:lnTo>
                  <a:pt x="17" y="7"/>
                </a:lnTo>
                <a:lnTo>
                  <a:pt x="20" y="7"/>
                </a:lnTo>
                <a:lnTo>
                  <a:pt x="20" y="7"/>
                </a:lnTo>
                <a:lnTo>
                  <a:pt x="20" y="7"/>
                </a:lnTo>
                <a:lnTo>
                  <a:pt x="20" y="9"/>
                </a:lnTo>
                <a:lnTo>
                  <a:pt x="20" y="9"/>
                </a:lnTo>
                <a:lnTo>
                  <a:pt x="20" y="9"/>
                </a:lnTo>
                <a:close/>
                <a:moveTo>
                  <a:pt x="25" y="9"/>
                </a:moveTo>
                <a:lnTo>
                  <a:pt x="25" y="9"/>
                </a:lnTo>
                <a:lnTo>
                  <a:pt x="22" y="9"/>
                </a:lnTo>
                <a:lnTo>
                  <a:pt x="22" y="9"/>
                </a:lnTo>
                <a:lnTo>
                  <a:pt x="22" y="7"/>
                </a:lnTo>
                <a:lnTo>
                  <a:pt x="22" y="7"/>
                </a:lnTo>
                <a:lnTo>
                  <a:pt x="22" y="7"/>
                </a:lnTo>
                <a:lnTo>
                  <a:pt x="25" y="9"/>
                </a:lnTo>
                <a:lnTo>
                  <a:pt x="25" y="9"/>
                </a:lnTo>
                <a:close/>
                <a:moveTo>
                  <a:pt x="37" y="7"/>
                </a:moveTo>
                <a:lnTo>
                  <a:pt x="37" y="7"/>
                </a:lnTo>
                <a:lnTo>
                  <a:pt x="37" y="4"/>
                </a:lnTo>
                <a:lnTo>
                  <a:pt x="37" y="4"/>
                </a:lnTo>
                <a:lnTo>
                  <a:pt x="39" y="2"/>
                </a:lnTo>
                <a:lnTo>
                  <a:pt x="39" y="2"/>
                </a:lnTo>
                <a:lnTo>
                  <a:pt x="39" y="7"/>
                </a:lnTo>
                <a:lnTo>
                  <a:pt x="39" y="7"/>
                </a:lnTo>
                <a:lnTo>
                  <a:pt x="37" y="7"/>
                </a:lnTo>
                <a:lnTo>
                  <a:pt x="37" y="7"/>
                </a:lnTo>
                <a:close/>
                <a:moveTo>
                  <a:pt x="37" y="17"/>
                </a:moveTo>
                <a:lnTo>
                  <a:pt x="37" y="17"/>
                </a:lnTo>
                <a:lnTo>
                  <a:pt x="34" y="14"/>
                </a:lnTo>
                <a:lnTo>
                  <a:pt x="34" y="14"/>
                </a:lnTo>
                <a:lnTo>
                  <a:pt x="37" y="14"/>
                </a:lnTo>
                <a:lnTo>
                  <a:pt x="37" y="14"/>
                </a:lnTo>
                <a:lnTo>
                  <a:pt x="39" y="14"/>
                </a:lnTo>
                <a:lnTo>
                  <a:pt x="39" y="14"/>
                </a:lnTo>
                <a:lnTo>
                  <a:pt x="39" y="17"/>
                </a:lnTo>
                <a:lnTo>
                  <a:pt x="39" y="17"/>
                </a:lnTo>
                <a:lnTo>
                  <a:pt x="39" y="17"/>
                </a:lnTo>
                <a:lnTo>
                  <a:pt x="37" y="17"/>
                </a:lnTo>
                <a:lnTo>
                  <a:pt x="37" y="17"/>
                </a:lnTo>
                <a:close/>
                <a:moveTo>
                  <a:pt x="34" y="32"/>
                </a:moveTo>
                <a:lnTo>
                  <a:pt x="34" y="32"/>
                </a:lnTo>
                <a:lnTo>
                  <a:pt x="32" y="29"/>
                </a:lnTo>
                <a:lnTo>
                  <a:pt x="32" y="29"/>
                </a:lnTo>
                <a:lnTo>
                  <a:pt x="34" y="29"/>
                </a:lnTo>
                <a:lnTo>
                  <a:pt x="34" y="29"/>
                </a:lnTo>
                <a:lnTo>
                  <a:pt x="34" y="32"/>
                </a:lnTo>
                <a:lnTo>
                  <a:pt x="34" y="32"/>
                </a:lnTo>
                <a:lnTo>
                  <a:pt x="34" y="32"/>
                </a:lnTo>
                <a:close/>
                <a:moveTo>
                  <a:pt x="25" y="34"/>
                </a:moveTo>
                <a:lnTo>
                  <a:pt x="25" y="34"/>
                </a:lnTo>
                <a:lnTo>
                  <a:pt x="25" y="32"/>
                </a:lnTo>
                <a:lnTo>
                  <a:pt x="25" y="32"/>
                </a:lnTo>
                <a:lnTo>
                  <a:pt x="25" y="29"/>
                </a:lnTo>
                <a:lnTo>
                  <a:pt x="25" y="29"/>
                </a:lnTo>
                <a:lnTo>
                  <a:pt x="27" y="29"/>
                </a:lnTo>
                <a:lnTo>
                  <a:pt x="27" y="29"/>
                </a:lnTo>
                <a:lnTo>
                  <a:pt x="29" y="34"/>
                </a:lnTo>
                <a:lnTo>
                  <a:pt x="29" y="34"/>
                </a:lnTo>
                <a:lnTo>
                  <a:pt x="29" y="36"/>
                </a:lnTo>
                <a:lnTo>
                  <a:pt x="25" y="3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4" name="Freeform 103"/>
          <p:cNvSpPr>
            <a:spLocks noEditPoints="1"/>
          </p:cNvSpPr>
          <p:nvPr/>
        </p:nvSpPr>
        <p:spPr bwMode="auto">
          <a:xfrm>
            <a:off x="6053899" y="3795023"/>
            <a:ext cx="189191" cy="251910"/>
          </a:xfrm>
          <a:custGeom>
            <a:avLst/>
            <a:gdLst/>
            <a:ahLst/>
            <a:cxnLst>
              <a:cxn ang="0">
                <a:pos x="44" y="108"/>
              </a:cxn>
              <a:cxn ang="0">
                <a:pos x="44" y="61"/>
              </a:cxn>
              <a:cxn ang="0">
                <a:pos x="62" y="22"/>
              </a:cxn>
              <a:cxn ang="0">
                <a:pos x="67" y="37"/>
              </a:cxn>
              <a:cxn ang="0">
                <a:pos x="76" y="46"/>
              </a:cxn>
              <a:cxn ang="0">
                <a:pos x="81" y="46"/>
              </a:cxn>
              <a:cxn ang="0">
                <a:pos x="91" y="46"/>
              </a:cxn>
              <a:cxn ang="0">
                <a:pos x="96" y="46"/>
              </a:cxn>
              <a:cxn ang="0">
                <a:pos x="104" y="56"/>
              </a:cxn>
              <a:cxn ang="0">
                <a:pos x="106" y="61"/>
              </a:cxn>
              <a:cxn ang="0">
                <a:pos x="116" y="66"/>
              </a:cxn>
              <a:cxn ang="0">
                <a:pos x="116" y="71"/>
              </a:cxn>
              <a:cxn ang="0">
                <a:pos x="113" y="76"/>
              </a:cxn>
              <a:cxn ang="0">
                <a:pos x="108" y="88"/>
              </a:cxn>
              <a:cxn ang="0">
                <a:pos x="104" y="93"/>
              </a:cxn>
              <a:cxn ang="0">
                <a:pos x="99" y="100"/>
              </a:cxn>
              <a:cxn ang="0">
                <a:pos x="96" y="100"/>
              </a:cxn>
              <a:cxn ang="0">
                <a:pos x="96" y="98"/>
              </a:cxn>
              <a:cxn ang="0">
                <a:pos x="94" y="98"/>
              </a:cxn>
              <a:cxn ang="0">
                <a:pos x="91" y="100"/>
              </a:cxn>
              <a:cxn ang="0">
                <a:pos x="91" y="103"/>
              </a:cxn>
              <a:cxn ang="0">
                <a:pos x="89" y="113"/>
              </a:cxn>
              <a:cxn ang="0">
                <a:pos x="89" y="115"/>
              </a:cxn>
              <a:cxn ang="0">
                <a:pos x="89" y="118"/>
              </a:cxn>
              <a:cxn ang="0">
                <a:pos x="91" y="125"/>
              </a:cxn>
              <a:cxn ang="0">
                <a:pos x="84" y="125"/>
              </a:cxn>
              <a:cxn ang="0">
                <a:pos x="79" y="125"/>
              </a:cxn>
              <a:cxn ang="0">
                <a:pos x="72" y="135"/>
              </a:cxn>
              <a:cxn ang="0">
                <a:pos x="69" y="140"/>
              </a:cxn>
              <a:cxn ang="0">
                <a:pos x="64" y="142"/>
              </a:cxn>
              <a:cxn ang="0">
                <a:pos x="54" y="142"/>
              </a:cxn>
              <a:cxn ang="0">
                <a:pos x="52" y="147"/>
              </a:cxn>
              <a:cxn ang="0">
                <a:pos x="52" y="150"/>
              </a:cxn>
              <a:cxn ang="0">
                <a:pos x="52" y="152"/>
              </a:cxn>
              <a:cxn ang="0">
                <a:pos x="52" y="152"/>
              </a:cxn>
              <a:cxn ang="0">
                <a:pos x="47" y="159"/>
              </a:cxn>
              <a:cxn ang="0">
                <a:pos x="42" y="157"/>
              </a:cxn>
              <a:cxn ang="0">
                <a:pos x="32" y="159"/>
              </a:cxn>
              <a:cxn ang="0">
                <a:pos x="27" y="164"/>
              </a:cxn>
              <a:cxn ang="0">
                <a:pos x="25" y="164"/>
              </a:cxn>
              <a:cxn ang="0">
                <a:pos x="13" y="152"/>
              </a:cxn>
              <a:cxn ang="0">
                <a:pos x="0" y="128"/>
              </a:cxn>
              <a:cxn ang="0">
                <a:pos x="3" y="120"/>
              </a:cxn>
              <a:cxn ang="0">
                <a:pos x="57" y="14"/>
              </a:cxn>
              <a:cxn ang="0">
                <a:pos x="59" y="9"/>
              </a:cxn>
              <a:cxn ang="0">
                <a:pos x="59" y="5"/>
              </a:cxn>
              <a:cxn ang="0">
                <a:pos x="59" y="2"/>
              </a:cxn>
              <a:cxn ang="0">
                <a:pos x="59" y="2"/>
              </a:cxn>
              <a:cxn ang="0">
                <a:pos x="57" y="2"/>
              </a:cxn>
              <a:cxn ang="0">
                <a:pos x="57" y="5"/>
              </a:cxn>
              <a:cxn ang="0">
                <a:pos x="54" y="5"/>
              </a:cxn>
              <a:cxn ang="0">
                <a:pos x="54" y="7"/>
              </a:cxn>
              <a:cxn ang="0">
                <a:pos x="57" y="14"/>
              </a:cxn>
              <a:cxn ang="0">
                <a:pos x="57" y="14"/>
              </a:cxn>
            </a:cxnLst>
            <a:rect l="0" t="0" r="r" b="b"/>
            <a:pathLst>
              <a:path w="116" h="164">
                <a:moveTo>
                  <a:pt x="3" y="120"/>
                </a:moveTo>
                <a:lnTo>
                  <a:pt x="44" y="108"/>
                </a:lnTo>
                <a:lnTo>
                  <a:pt x="47" y="73"/>
                </a:lnTo>
                <a:lnTo>
                  <a:pt x="44" y="61"/>
                </a:lnTo>
                <a:lnTo>
                  <a:pt x="57" y="22"/>
                </a:lnTo>
                <a:lnTo>
                  <a:pt x="62" y="22"/>
                </a:lnTo>
                <a:lnTo>
                  <a:pt x="62" y="29"/>
                </a:lnTo>
                <a:lnTo>
                  <a:pt x="67" y="37"/>
                </a:lnTo>
                <a:lnTo>
                  <a:pt x="67" y="39"/>
                </a:lnTo>
                <a:lnTo>
                  <a:pt x="76" y="46"/>
                </a:lnTo>
                <a:lnTo>
                  <a:pt x="79" y="46"/>
                </a:lnTo>
                <a:lnTo>
                  <a:pt x="81" y="46"/>
                </a:lnTo>
                <a:lnTo>
                  <a:pt x="84" y="46"/>
                </a:lnTo>
                <a:lnTo>
                  <a:pt x="91" y="46"/>
                </a:lnTo>
                <a:lnTo>
                  <a:pt x="96" y="46"/>
                </a:lnTo>
                <a:lnTo>
                  <a:pt x="96" y="46"/>
                </a:lnTo>
                <a:lnTo>
                  <a:pt x="101" y="51"/>
                </a:lnTo>
                <a:lnTo>
                  <a:pt x="104" y="56"/>
                </a:lnTo>
                <a:lnTo>
                  <a:pt x="106" y="59"/>
                </a:lnTo>
                <a:lnTo>
                  <a:pt x="106" y="61"/>
                </a:lnTo>
                <a:lnTo>
                  <a:pt x="113" y="66"/>
                </a:lnTo>
                <a:lnTo>
                  <a:pt x="116" y="66"/>
                </a:lnTo>
                <a:lnTo>
                  <a:pt x="116" y="68"/>
                </a:lnTo>
                <a:lnTo>
                  <a:pt x="116" y="71"/>
                </a:lnTo>
                <a:lnTo>
                  <a:pt x="113" y="73"/>
                </a:lnTo>
                <a:lnTo>
                  <a:pt x="113" y="76"/>
                </a:lnTo>
                <a:lnTo>
                  <a:pt x="113" y="78"/>
                </a:lnTo>
                <a:lnTo>
                  <a:pt x="108" y="88"/>
                </a:lnTo>
                <a:lnTo>
                  <a:pt x="104" y="91"/>
                </a:lnTo>
                <a:lnTo>
                  <a:pt x="104" y="93"/>
                </a:lnTo>
                <a:lnTo>
                  <a:pt x="101" y="96"/>
                </a:lnTo>
                <a:lnTo>
                  <a:pt x="99" y="100"/>
                </a:lnTo>
                <a:lnTo>
                  <a:pt x="99" y="100"/>
                </a:lnTo>
                <a:lnTo>
                  <a:pt x="96" y="100"/>
                </a:lnTo>
                <a:lnTo>
                  <a:pt x="96" y="98"/>
                </a:lnTo>
                <a:lnTo>
                  <a:pt x="96" y="98"/>
                </a:lnTo>
                <a:lnTo>
                  <a:pt x="96" y="96"/>
                </a:lnTo>
                <a:lnTo>
                  <a:pt x="94" y="98"/>
                </a:lnTo>
                <a:lnTo>
                  <a:pt x="91" y="100"/>
                </a:lnTo>
                <a:lnTo>
                  <a:pt x="91" y="100"/>
                </a:lnTo>
                <a:lnTo>
                  <a:pt x="94" y="103"/>
                </a:lnTo>
                <a:lnTo>
                  <a:pt x="91" y="103"/>
                </a:lnTo>
                <a:lnTo>
                  <a:pt x="89" y="108"/>
                </a:lnTo>
                <a:lnTo>
                  <a:pt x="89" y="113"/>
                </a:lnTo>
                <a:lnTo>
                  <a:pt x="86" y="115"/>
                </a:lnTo>
                <a:lnTo>
                  <a:pt x="89" y="115"/>
                </a:lnTo>
                <a:lnTo>
                  <a:pt x="89" y="118"/>
                </a:lnTo>
                <a:lnTo>
                  <a:pt x="89" y="118"/>
                </a:lnTo>
                <a:lnTo>
                  <a:pt x="91" y="123"/>
                </a:lnTo>
                <a:lnTo>
                  <a:pt x="91" y="125"/>
                </a:lnTo>
                <a:lnTo>
                  <a:pt x="91" y="125"/>
                </a:lnTo>
                <a:lnTo>
                  <a:pt x="84" y="125"/>
                </a:lnTo>
                <a:lnTo>
                  <a:pt x="81" y="128"/>
                </a:lnTo>
                <a:lnTo>
                  <a:pt x="79" y="125"/>
                </a:lnTo>
                <a:lnTo>
                  <a:pt x="76" y="128"/>
                </a:lnTo>
                <a:lnTo>
                  <a:pt x="72" y="135"/>
                </a:lnTo>
                <a:lnTo>
                  <a:pt x="72" y="140"/>
                </a:lnTo>
                <a:lnTo>
                  <a:pt x="69" y="140"/>
                </a:lnTo>
                <a:lnTo>
                  <a:pt x="67" y="142"/>
                </a:lnTo>
                <a:lnTo>
                  <a:pt x="64" y="142"/>
                </a:lnTo>
                <a:lnTo>
                  <a:pt x="59" y="142"/>
                </a:lnTo>
                <a:lnTo>
                  <a:pt x="54" y="142"/>
                </a:lnTo>
                <a:lnTo>
                  <a:pt x="54" y="145"/>
                </a:lnTo>
                <a:lnTo>
                  <a:pt x="52" y="147"/>
                </a:lnTo>
                <a:lnTo>
                  <a:pt x="52" y="147"/>
                </a:lnTo>
                <a:lnTo>
                  <a:pt x="52" y="150"/>
                </a:lnTo>
                <a:lnTo>
                  <a:pt x="52" y="150"/>
                </a:lnTo>
                <a:lnTo>
                  <a:pt x="52" y="152"/>
                </a:lnTo>
                <a:lnTo>
                  <a:pt x="52" y="152"/>
                </a:lnTo>
                <a:lnTo>
                  <a:pt x="52" y="152"/>
                </a:lnTo>
                <a:lnTo>
                  <a:pt x="49" y="159"/>
                </a:lnTo>
                <a:lnTo>
                  <a:pt x="47" y="159"/>
                </a:lnTo>
                <a:lnTo>
                  <a:pt x="44" y="157"/>
                </a:lnTo>
                <a:lnTo>
                  <a:pt x="42" y="157"/>
                </a:lnTo>
                <a:lnTo>
                  <a:pt x="40" y="157"/>
                </a:lnTo>
                <a:lnTo>
                  <a:pt x="32" y="159"/>
                </a:lnTo>
                <a:lnTo>
                  <a:pt x="30" y="159"/>
                </a:lnTo>
                <a:lnTo>
                  <a:pt x="27" y="164"/>
                </a:lnTo>
                <a:lnTo>
                  <a:pt x="25" y="164"/>
                </a:lnTo>
                <a:lnTo>
                  <a:pt x="25" y="164"/>
                </a:lnTo>
                <a:lnTo>
                  <a:pt x="22" y="164"/>
                </a:lnTo>
                <a:lnTo>
                  <a:pt x="13" y="152"/>
                </a:lnTo>
                <a:lnTo>
                  <a:pt x="15" y="147"/>
                </a:lnTo>
                <a:lnTo>
                  <a:pt x="0" y="128"/>
                </a:lnTo>
                <a:lnTo>
                  <a:pt x="3" y="120"/>
                </a:lnTo>
                <a:lnTo>
                  <a:pt x="3" y="120"/>
                </a:lnTo>
                <a:lnTo>
                  <a:pt x="3" y="120"/>
                </a:lnTo>
                <a:close/>
                <a:moveTo>
                  <a:pt x="57" y="14"/>
                </a:moveTo>
                <a:lnTo>
                  <a:pt x="57" y="12"/>
                </a:lnTo>
                <a:lnTo>
                  <a:pt x="59" y="9"/>
                </a:lnTo>
                <a:lnTo>
                  <a:pt x="59" y="5"/>
                </a:lnTo>
                <a:lnTo>
                  <a:pt x="59" y="5"/>
                </a:lnTo>
                <a:lnTo>
                  <a:pt x="59" y="2"/>
                </a:lnTo>
                <a:lnTo>
                  <a:pt x="59" y="2"/>
                </a:lnTo>
                <a:lnTo>
                  <a:pt x="59" y="2"/>
                </a:lnTo>
                <a:lnTo>
                  <a:pt x="59" y="2"/>
                </a:lnTo>
                <a:lnTo>
                  <a:pt x="59" y="0"/>
                </a:lnTo>
                <a:lnTo>
                  <a:pt x="57" y="2"/>
                </a:lnTo>
                <a:lnTo>
                  <a:pt x="57" y="0"/>
                </a:lnTo>
                <a:lnTo>
                  <a:pt x="57" y="5"/>
                </a:lnTo>
                <a:lnTo>
                  <a:pt x="54" y="7"/>
                </a:lnTo>
                <a:lnTo>
                  <a:pt x="54" y="5"/>
                </a:lnTo>
                <a:lnTo>
                  <a:pt x="54" y="7"/>
                </a:lnTo>
                <a:lnTo>
                  <a:pt x="54" y="7"/>
                </a:lnTo>
                <a:lnTo>
                  <a:pt x="57" y="9"/>
                </a:lnTo>
                <a:lnTo>
                  <a:pt x="57" y="14"/>
                </a:lnTo>
                <a:lnTo>
                  <a:pt x="57" y="14"/>
                </a:lnTo>
                <a:lnTo>
                  <a:pt x="57" y="1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5" name="Freeform 104"/>
          <p:cNvSpPr>
            <a:spLocks noEditPoints="1"/>
          </p:cNvSpPr>
          <p:nvPr/>
        </p:nvSpPr>
        <p:spPr bwMode="auto">
          <a:xfrm>
            <a:off x="5822304" y="3979347"/>
            <a:ext cx="303358" cy="178180"/>
          </a:xfrm>
          <a:custGeom>
            <a:avLst/>
            <a:gdLst/>
            <a:ahLst/>
            <a:cxnLst>
              <a:cxn ang="0">
                <a:pos x="4" y="44"/>
              </a:cxn>
              <a:cxn ang="0">
                <a:pos x="7" y="44"/>
              </a:cxn>
              <a:cxn ang="0">
                <a:pos x="9" y="35"/>
              </a:cxn>
              <a:cxn ang="0">
                <a:pos x="14" y="27"/>
              </a:cxn>
              <a:cxn ang="0">
                <a:pos x="29" y="30"/>
              </a:cxn>
              <a:cxn ang="0">
                <a:pos x="56" y="42"/>
              </a:cxn>
              <a:cxn ang="0">
                <a:pos x="86" y="17"/>
              </a:cxn>
              <a:cxn ang="0">
                <a:pos x="142" y="8"/>
              </a:cxn>
              <a:cxn ang="0">
                <a:pos x="155" y="32"/>
              </a:cxn>
              <a:cxn ang="0">
                <a:pos x="159" y="44"/>
              </a:cxn>
              <a:cxn ang="0">
                <a:pos x="150" y="52"/>
              </a:cxn>
              <a:cxn ang="0">
                <a:pos x="150" y="57"/>
              </a:cxn>
              <a:cxn ang="0">
                <a:pos x="150" y="59"/>
              </a:cxn>
              <a:cxn ang="0">
                <a:pos x="140" y="64"/>
              </a:cxn>
              <a:cxn ang="0">
                <a:pos x="125" y="69"/>
              </a:cxn>
              <a:cxn ang="0">
                <a:pos x="105" y="76"/>
              </a:cxn>
              <a:cxn ang="0">
                <a:pos x="103" y="76"/>
              </a:cxn>
              <a:cxn ang="0">
                <a:pos x="93" y="86"/>
              </a:cxn>
              <a:cxn ang="0">
                <a:pos x="91" y="86"/>
              </a:cxn>
              <a:cxn ang="0">
                <a:pos x="88" y="86"/>
              </a:cxn>
              <a:cxn ang="0">
                <a:pos x="83" y="86"/>
              </a:cxn>
              <a:cxn ang="0">
                <a:pos x="78" y="91"/>
              </a:cxn>
              <a:cxn ang="0">
                <a:pos x="68" y="94"/>
              </a:cxn>
              <a:cxn ang="0">
                <a:pos x="59" y="96"/>
              </a:cxn>
              <a:cxn ang="0">
                <a:pos x="54" y="96"/>
              </a:cxn>
              <a:cxn ang="0">
                <a:pos x="51" y="94"/>
              </a:cxn>
              <a:cxn ang="0">
                <a:pos x="44" y="96"/>
              </a:cxn>
              <a:cxn ang="0">
                <a:pos x="41" y="101"/>
              </a:cxn>
              <a:cxn ang="0">
                <a:pos x="36" y="106"/>
              </a:cxn>
              <a:cxn ang="0">
                <a:pos x="32" y="106"/>
              </a:cxn>
              <a:cxn ang="0">
                <a:pos x="24" y="108"/>
              </a:cxn>
              <a:cxn ang="0">
                <a:pos x="19" y="108"/>
              </a:cxn>
              <a:cxn ang="0">
                <a:pos x="17" y="106"/>
              </a:cxn>
              <a:cxn ang="0">
                <a:pos x="12" y="99"/>
              </a:cxn>
              <a:cxn ang="0">
                <a:pos x="12" y="94"/>
              </a:cxn>
              <a:cxn ang="0">
                <a:pos x="7" y="86"/>
              </a:cxn>
              <a:cxn ang="0">
                <a:pos x="2" y="67"/>
              </a:cxn>
              <a:cxn ang="0">
                <a:pos x="0" y="64"/>
              </a:cxn>
              <a:cxn ang="0">
                <a:pos x="2" y="62"/>
              </a:cxn>
              <a:cxn ang="0">
                <a:pos x="2" y="62"/>
              </a:cxn>
              <a:cxn ang="0">
                <a:pos x="2" y="47"/>
              </a:cxn>
              <a:cxn ang="0">
                <a:pos x="2" y="44"/>
              </a:cxn>
              <a:cxn ang="0">
                <a:pos x="150" y="116"/>
              </a:cxn>
              <a:cxn ang="0">
                <a:pos x="157" y="116"/>
              </a:cxn>
              <a:cxn ang="0">
                <a:pos x="150" y="116"/>
              </a:cxn>
              <a:cxn ang="0">
                <a:pos x="150" y="116"/>
              </a:cxn>
              <a:cxn ang="0">
                <a:pos x="169" y="111"/>
              </a:cxn>
              <a:cxn ang="0">
                <a:pos x="172" y="106"/>
              </a:cxn>
              <a:cxn ang="0">
                <a:pos x="174" y="108"/>
              </a:cxn>
              <a:cxn ang="0">
                <a:pos x="179" y="108"/>
              </a:cxn>
              <a:cxn ang="0">
                <a:pos x="184" y="108"/>
              </a:cxn>
              <a:cxn ang="0">
                <a:pos x="186" y="111"/>
              </a:cxn>
              <a:cxn ang="0">
                <a:pos x="184" y="111"/>
              </a:cxn>
              <a:cxn ang="0">
                <a:pos x="177" y="113"/>
              </a:cxn>
              <a:cxn ang="0">
                <a:pos x="169" y="113"/>
              </a:cxn>
              <a:cxn ang="0">
                <a:pos x="169" y="111"/>
              </a:cxn>
            </a:cxnLst>
            <a:rect l="0" t="0" r="r" b="b"/>
            <a:pathLst>
              <a:path w="186" h="116">
                <a:moveTo>
                  <a:pt x="2" y="44"/>
                </a:moveTo>
                <a:lnTo>
                  <a:pt x="4" y="44"/>
                </a:lnTo>
                <a:lnTo>
                  <a:pt x="7" y="47"/>
                </a:lnTo>
                <a:lnTo>
                  <a:pt x="7" y="44"/>
                </a:lnTo>
                <a:lnTo>
                  <a:pt x="12" y="39"/>
                </a:lnTo>
                <a:lnTo>
                  <a:pt x="9" y="35"/>
                </a:lnTo>
                <a:lnTo>
                  <a:pt x="12" y="27"/>
                </a:lnTo>
                <a:lnTo>
                  <a:pt x="14" y="27"/>
                </a:lnTo>
                <a:lnTo>
                  <a:pt x="19" y="30"/>
                </a:lnTo>
                <a:lnTo>
                  <a:pt x="29" y="30"/>
                </a:lnTo>
                <a:lnTo>
                  <a:pt x="44" y="35"/>
                </a:lnTo>
                <a:lnTo>
                  <a:pt x="56" y="42"/>
                </a:lnTo>
                <a:lnTo>
                  <a:pt x="56" y="57"/>
                </a:lnTo>
                <a:lnTo>
                  <a:pt x="86" y="17"/>
                </a:lnTo>
                <a:lnTo>
                  <a:pt x="145" y="0"/>
                </a:lnTo>
                <a:lnTo>
                  <a:pt x="142" y="8"/>
                </a:lnTo>
                <a:lnTo>
                  <a:pt x="157" y="27"/>
                </a:lnTo>
                <a:lnTo>
                  <a:pt x="155" y="32"/>
                </a:lnTo>
                <a:lnTo>
                  <a:pt x="164" y="44"/>
                </a:lnTo>
                <a:lnTo>
                  <a:pt x="159" y="44"/>
                </a:lnTo>
                <a:lnTo>
                  <a:pt x="155" y="47"/>
                </a:lnTo>
                <a:lnTo>
                  <a:pt x="150" y="52"/>
                </a:lnTo>
                <a:lnTo>
                  <a:pt x="150" y="57"/>
                </a:lnTo>
                <a:lnTo>
                  <a:pt x="150" y="57"/>
                </a:lnTo>
                <a:lnTo>
                  <a:pt x="150" y="59"/>
                </a:lnTo>
                <a:lnTo>
                  <a:pt x="150" y="59"/>
                </a:lnTo>
                <a:lnTo>
                  <a:pt x="142" y="62"/>
                </a:lnTo>
                <a:lnTo>
                  <a:pt x="140" y="64"/>
                </a:lnTo>
                <a:lnTo>
                  <a:pt x="135" y="67"/>
                </a:lnTo>
                <a:lnTo>
                  <a:pt x="125" y="69"/>
                </a:lnTo>
                <a:lnTo>
                  <a:pt x="123" y="71"/>
                </a:lnTo>
                <a:lnTo>
                  <a:pt x="105" y="76"/>
                </a:lnTo>
                <a:lnTo>
                  <a:pt x="105" y="76"/>
                </a:lnTo>
                <a:lnTo>
                  <a:pt x="103" y="76"/>
                </a:lnTo>
                <a:lnTo>
                  <a:pt x="98" y="81"/>
                </a:lnTo>
                <a:lnTo>
                  <a:pt x="93" y="86"/>
                </a:lnTo>
                <a:lnTo>
                  <a:pt x="93" y="86"/>
                </a:lnTo>
                <a:lnTo>
                  <a:pt x="91" y="86"/>
                </a:lnTo>
                <a:lnTo>
                  <a:pt x="91" y="86"/>
                </a:lnTo>
                <a:lnTo>
                  <a:pt x="88" y="86"/>
                </a:lnTo>
                <a:lnTo>
                  <a:pt x="86" y="86"/>
                </a:lnTo>
                <a:lnTo>
                  <a:pt x="83" y="86"/>
                </a:lnTo>
                <a:lnTo>
                  <a:pt x="78" y="89"/>
                </a:lnTo>
                <a:lnTo>
                  <a:pt x="78" y="91"/>
                </a:lnTo>
                <a:lnTo>
                  <a:pt x="76" y="94"/>
                </a:lnTo>
                <a:lnTo>
                  <a:pt x="68" y="94"/>
                </a:lnTo>
                <a:lnTo>
                  <a:pt x="61" y="96"/>
                </a:lnTo>
                <a:lnTo>
                  <a:pt x="59" y="96"/>
                </a:lnTo>
                <a:lnTo>
                  <a:pt x="59" y="94"/>
                </a:lnTo>
                <a:lnTo>
                  <a:pt x="54" y="96"/>
                </a:lnTo>
                <a:lnTo>
                  <a:pt x="54" y="94"/>
                </a:lnTo>
                <a:lnTo>
                  <a:pt x="51" y="94"/>
                </a:lnTo>
                <a:lnTo>
                  <a:pt x="49" y="94"/>
                </a:lnTo>
                <a:lnTo>
                  <a:pt x="44" y="96"/>
                </a:lnTo>
                <a:lnTo>
                  <a:pt x="44" y="101"/>
                </a:lnTo>
                <a:lnTo>
                  <a:pt x="41" y="101"/>
                </a:lnTo>
                <a:lnTo>
                  <a:pt x="39" y="106"/>
                </a:lnTo>
                <a:lnTo>
                  <a:pt x="36" y="106"/>
                </a:lnTo>
                <a:lnTo>
                  <a:pt x="34" y="106"/>
                </a:lnTo>
                <a:lnTo>
                  <a:pt x="32" y="106"/>
                </a:lnTo>
                <a:lnTo>
                  <a:pt x="27" y="108"/>
                </a:lnTo>
                <a:lnTo>
                  <a:pt x="24" y="108"/>
                </a:lnTo>
                <a:lnTo>
                  <a:pt x="22" y="106"/>
                </a:lnTo>
                <a:lnTo>
                  <a:pt x="19" y="108"/>
                </a:lnTo>
                <a:lnTo>
                  <a:pt x="17" y="108"/>
                </a:lnTo>
                <a:lnTo>
                  <a:pt x="17" y="106"/>
                </a:lnTo>
                <a:lnTo>
                  <a:pt x="14" y="101"/>
                </a:lnTo>
                <a:lnTo>
                  <a:pt x="12" y="99"/>
                </a:lnTo>
                <a:lnTo>
                  <a:pt x="9" y="94"/>
                </a:lnTo>
                <a:lnTo>
                  <a:pt x="12" y="94"/>
                </a:lnTo>
                <a:lnTo>
                  <a:pt x="12" y="89"/>
                </a:lnTo>
                <a:lnTo>
                  <a:pt x="7" y="86"/>
                </a:lnTo>
                <a:lnTo>
                  <a:pt x="4" y="71"/>
                </a:lnTo>
                <a:lnTo>
                  <a:pt x="2" y="67"/>
                </a:lnTo>
                <a:lnTo>
                  <a:pt x="2" y="64"/>
                </a:lnTo>
                <a:lnTo>
                  <a:pt x="0" y="64"/>
                </a:lnTo>
                <a:lnTo>
                  <a:pt x="0" y="62"/>
                </a:lnTo>
                <a:lnTo>
                  <a:pt x="2" y="62"/>
                </a:lnTo>
                <a:lnTo>
                  <a:pt x="2" y="62"/>
                </a:lnTo>
                <a:lnTo>
                  <a:pt x="2" y="62"/>
                </a:lnTo>
                <a:lnTo>
                  <a:pt x="4" y="57"/>
                </a:lnTo>
                <a:lnTo>
                  <a:pt x="2" y="47"/>
                </a:lnTo>
                <a:lnTo>
                  <a:pt x="2" y="44"/>
                </a:lnTo>
                <a:lnTo>
                  <a:pt x="2" y="44"/>
                </a:lnTo>
                <a:lnTo>
                  <a:pt x="2" y="44"/>
                </a:lnTo>
                <a:close/>
                <a:moveTo>
                  <a:pt x="150" y="116"/>
                </a:moveTo>
                <a:lnTo>
                  <a:pt x="152" y="116"/>
                </a:lnTo>
                <a:lnTo>
                  <a:pt x="157" y="116"/>
                </a:lnTo>
                <a:lnTo>
                  <a:pt x="152" y="116"/>
                </a:lnTo>
                <a:lnTo>
                  <a:pt x="150" y="116"/>
                </a:lnTo>
                <a:lnTo>
                  <a:pt x="150" y="116"/>
                </a:lnTo>
                <a:lnTo>
                  <a:pt x="150" y="116"/>
                </a:lnTo>
                <a:close/>
                <a:moveTo>
                  <a:pt x="169" y="111"/>
                </a:moveTo>
                <a:lnTo>
                  <a:pt x="169" y="111"/>
                </a:lnTo>
                <a:lnTo>
                  <a:pt x="169" y="108"/>
                </a:lnTo>
                <a:lnTo>
                  <a:pt x="172" y="106"/>
                </a:lnTo>
                <a:lnTo>
                  <a:pt x="174" y="106"/>
                </a:lnTo>
                <a:lnTo>
                  <a:pt x="174" y="108"/>
                </a:lnTo>
                <a:lnTo>
                  <a:pt x="177" y="108"/>
                </a:lnTo>
                <a:lnTo>
                  <a:pt x="179" y="108"/>
                </a:lnTo>
                <a:lnTo>
                  <a:pt x="182" y="108"/>
                </a:lnTo>
                <a:lnTo>
                  <a:pt x="184" y="108"/>
                </a:lnTo>
                <a:lnTo>
                  <a:pt x="186" y="108"/>
                </a:lnTo>
                <a:lnTo>
                  <a:pt x="186" y="111"/>
                </a:lnTo>
                <a:lnTo>
                  <a:pt x="186" y="111"/>
                </a:lnTo>
                <a:lnTo>
                  <a:pt x="184" y="111"/>
                </a:lnTo>
                <a:lnTo>
                  <a:pt x="179" y="113"/>
                </a:lnTo>
                <a:lnTo>
                  <a:pt x="177" y="113"/>
                </a:lnTo>
                <a:lnTo>
                  <a:pt x="172" y="113"/>
                </a:lnTo>
                <a:lnTo>
                  <a:pt x="169" y="113"/>
                </a:lnTo>
                <a:lnTo>
                  <a:pt x="169" y="111"/>
                </a:lnTo>
                <a:lnTo>
                  <a:pt x="169" y="11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6" name="Freeform 105"/>
          <p:cNvSpPr>
            <a:spLocks/>
          </p:cNvSpPr>
          <p:nvPr/>
        </p:nvSpPr>
        <p:spPr bwMode="auto">
          <a:xfrm>
            <a:off x="5355850" y="3665996"/>
            <a:ext cx="316405" cy="248838"/>
          </a:xfrm>
          <a:custGeom>
            <a:avLst/>
            <a:gdLst/>
            <a:ahLst/>
            <a:cxnLst>
              <a:cxn ang="0">
                <a:pos x="155" y="30"/>
              </a:cxn>
              <a:cxn ang="0">
                <a:pos x="145" y="10"/>
              </a:cxn>
              <a:cxn ang="0">
                <a:pos x="138" y="7"/>
              </a:cxn>
              <a:cxn ang="0">
                <a:pos x="118" y="10"/>
              </a:cxn>
              <a:cxn ang="0">
                <a:pos x="113" y="12"/>
              </a:cxn>
              <a:cxn ang="0">
                <a:pos x="108" y="7"/>
              </a:cxn>
              <a:cxn ang="0">
                <a:pos x="106" y="2"/>
              </a:cxn>
              <a:cxn ang="0">
                <a:pos x="96" y="2"/>
              </a:cxn>
              <a:cxn ang="0">
                <a:pos x="99" y="5"/>
              </a:cxn>
              <a:cxn ang="0">
                <a:pos x="89" y="5"/>
              </a:cxn>
              <a:cxn ang="0">
                <a:pos x="91" y="2"/>
              </a:cxn>
              <a:cxn ang="0">
                <a:pos x="86" y="2"/>
              </a:cxn>
              <a:cxn ang="0">
                <a:pos x="79" y="7"/>
              </a:cxn>
              <a:cxn ang="0">
                <a:pos x="69" y="12"/>
              </a:cxn>
              <a:cxn ang="0">
                <a:pos x="57" y="10"/>
              </a:cxn>
              <a:cxn ang="0">
                <a:pos x="44" y="7"/>
              </a:cxn>
              <a:cxn ang="0">
                <a:pos x="32" y="5"/>
              </a:cxn>
              <a:cxn ang="0">
                <a:pos x="8" y="2"/>
              </a:cxn>
              <a:cxn ang="0">
                <a:pos x="5" y="5"/>
              </a:cxn>
              <a:cxn ang="0">
                <a:pos x="5" y="20"/>
              </a:cxn>
              <a:cxn ang="0">
                <a:pos x="3" y="32"/>
              </a:cxn>
              <a:cxn ang="0">
                <a:pos x="194" y="162"/>
              </a:cxn>
              <a:cxn ang="0">
                <a:pos x="190" y="157"/>
              </a:cxn>
              <a:cxn ang="0">
                <a:pos x="182" y="150"/>
              </a:cxn>
              <a:cxn ang="0">
                <a:pos x="172" y="148"/>
              </a:cxn>
              <a:cxn ang="0">
                <a:pos x="170" y="133"/>
              </a:cxn>
              <a:cxn ang="0">
                <a:pos x="172" y="130"/>
              </a:cxn>
              <a:cxn ang="0">
                <a:pos x="172" y="130"/>
              </a:cxn>
              <a:cxn ang="0">
                <a:pos x="170" y="125"/>
              </a:cxn>
              <a:cxn ang="0">
                <a:pos x="160" y="111"/>
              </a:cxn>
              <a:cxn ang="0">
                <a:pos x="148" y="91"/>
              </a:cxn>
              <a:cxn ang="0">
                <a:pos x="145" y="79"/>
              </a:cxn>
              <a:cxn ang="0">
                <a:pos x="138" y="69"/>
              </a:cxn>
              <a:cxn ang="0">
                <a:pos x="135" y="61"/>
              </a:cxn>
              <a:cxn ang="0">
                <a:pos x="121" y="44"/>
              </a:cxn>
              <a:cxn ang="0">
                <a:pos x="118" y="34"/>
              </a:cxn>
              <a:cxn ang="0">
                <a:pos x="118" y="32"/>
              </a:cxn>
              <a:cxn ang="0">
                <a:pos x="123" y="39"/>
              </a:cxn>
              <a:cxn ang="0">
                <a:pos x="131" y="49"/>
              </a:cxn>
              <a:cxn ang="0">
                <a:pos x="135" y="57"/>
              </a:cxn>
              <a:cxn ang="0">
                <a:pos x="148" y="66"/>
              </a:cxn>
              <a:cxn ang="0">
                <a:pos x="153" y="59"/>
              </a:cxn>
              <a:cxn ang="0">
                <a:pos x="153" y="49"/>
              </a:cxn>
              <a:cxn ang="0">
                <a:pos x="155" y="39"/>
              </a:cxn>
            </a:cxnLst>
            <a:rect l="0" t="0" r="r" b="b"/>
            <a:pathLst>
              <a:path w="194" h="162">
                <a:moveTo>
                  <a:pt x="155" y="39"/>
                </a:moveTo>
                <a:lnTo>
                  <a:pt x="153" y="34"/>
                </a:lnTo>
                <a:lnTo>
                  <a:pt x="155" y="30"/>
                </a:lnTo>
                <a:lnTo>
                  <a:pt x="153" y="22"/>
                </a:lnTo>
                <a:lnTo>
                  <a:pt x="148" y="15"/>
                </a:lnTo>
                <a:lnTo>
                  <a:pt x="145" y="10"/>
                </a:lnTo>
                <a:lnTo>
                  <a:pt x="143" y="5"/>
                </a:lnTo>
                <a:lnTo>
                  <a:pt x="140" y="5"/>
                </a:lnTo>
                <a:lnTo>
                  <a:pt x="138" y="7"/>
                </a:lnTo>
                <a:lnTo>
                  <a:pt x="135" y="10"/>
                </a:lnTo>
                <a:lnTo>
                  <a:pt x="126" y="7"/>
                </a:lnTo>
                <a:lnTo>
                  <a:pt x="118" y="10"/>
                </a:lnTo>
                <a:lnTo>
                  <a:pt x="111" y="5"/>
                </a:lnTo>
                <a:lnTo>
                  <a:pt x="111" y="7"/>
                </a:lnTo>
                <a:lnTo>
                  <a:pt x="113" y="12"/>
                </a:lnTo>
                <a:lnTo>
                  <a:pt x="113" y="12"/>
                </a:lnTo>
                <a:lnTo>
                  <a:pt x="111" y="10"/>
                </a:lnTo>
                <a:lnTo>
                  <a:pt x="108" y="7"/>
                </a:lnTo>
                <a:lnTo>
                  <a:pt x="106" y="5"/>
                </a:lnTo>
                <a:lnTo>
                  <a:pt x="108" y="5"/>
                </a:lnTo>
                <a:lnTo>
                  <a:pt x="106" y="2"/>
                </a:lnTo>
                <a:lnTo>
                  <a:pt x="103" y="5"/>
                </a:lnTo>
                <a:lnTo>
                  <a:pt x="101" y="2"/>
                </a:lnTo>
                <a:lnTo>
                  <a:pt x="96" y="2"/>
                </a:lnTo>
                <a:lnTo>
                  <a:pt x="96" y="2"/>
                </a:lnTo>
                <a:lnTo>
                  <a:pt x="99" y="2"/>
                </a:lnTo>
                <a:lnTo>
                  <a:pt x="99" y="5"/>
                </a:lnTo>
                <a:lnTo>
                  <a:pt x="96" y="5"/>
                </a:lnTo>
                <a:lnTo>
                  <a:pt x="91" y="5"/>
                </a:lnTo>
                <a:lnTo>
                  <a:pt x="89" y="5"/>
                </a:lnTo>
                <a:lnTo>
                  <a:pt x="89" y="5"/>
                </a:lnTo>
                <a:lnTo>
                  <a:pt x="89" y="2"/>
                </a:lnTo>
                <a:lnTo>
                  <a:pt x="91" y="2"/>
                </a:lnTo>
                <a:lnTo>
                  <a:pt x="94" y="2"/>
                </a:lnTo>
                <a:lnTo>
                  <a:pt x="91" y="2"/>
                </a:lnTo>
                <a:lnTo>
                  <a:pt x="86" y="2"/>
                </a:lnTo>
                <a:lnTo>
                  <a:pt x="84" y="5"/>
                </a:lnTo>
                <a:lnTo>
                  <a:pt x="79" y="7"/>
                </a:lnTo>
                <a:lnTo>
                  <a:pt x="79" y="7"/>
                </a:lnTo>
                <a:lnTo>
                  <a:pt x="74" y="10"/>
                </a:lnTo>
                <a:lnTo>
                  <a:pt x="71" y="12"/>
                </a:lnTo>
                <a:lnTo>
                  <a:pt x="69" y="12"/>
                </a:lnTo>
                <a:lnTo>
                  <a:pt x="64" y="12"/>
                </a:lnTo>
                <a:lnTo>
                  <a:pt x="59" y="10"/>
                </a:lnTo>
                <a:lnTo>
                  <a:pt x="57" y="10"/>
                </a:lnTo>
                <a:lnTo>
                  <a:pt x="49" y="10"/>
                </a:lnTo>
                <a:lnTo>
                  <a:pt x="47" y="7"/>
                </a:lnTo>
                <a:lnTo>
                  <a:pt x="44" y="7"/>
                </a:lnTo>
                <a:lnTo>
                  <a:pt x="42" y="7"/>
                </a:lnTo>
                <a:lnTo>
                  <a:pt x="37" y="5"/>
                </a:lnTo>
                <a:lnTo>
                  <a:pt x="32" y="5"/>
                </a:lnTo>
                <a:lnTo>
                  <a:pt x="20" y="2"/>
                </a:lnTo>
                <a:lnTo>
                  <a:pt x="15" y="0"/>
                </a:lnTo>
                <a:lnTo>
                  <a:pt x="8" y="2"/>
                </a:lnTo>
                <a:lnTo>
                  <a:pt x="5" y="2"/>
                </a:lnTo>
                <a:lnTo>
                  <a:pt x="5" y="2"/>
                </a:lnTo>
                <a:lnTo>
                  <a:pt x="5" y="5"/>
                </a:lnTo>
                <a:lnTo>
                  <a:pt x="3" y="10"/>
                </a:lnTo>
                <a:lnTo>
                  <a:pt x="5" y="15"/>
                </a:lnTo>
                <a:lnTo>
                  <a:pt x="5" y="20"/>
                </a:lnTo>
                <a:lnTo>
                  <a:pt x="3" y="25"/>
                </a:lnTo>
                <a:lnTo>
                  <a:pt x="0" y="30"/>
                </a:lnTo>
                <a:lnTo>
                  <a:pt x="3" y="32"/>
                </a:lnTo>
                <a:lnTo>
                  <a:pt x="5" y="42"/>
                </a:lnTo>
                <a:lnTo>
                  <a:pt x="10" y="162"/>
                </a:lnTo>
                <a:lnTo>
                  <a:pt x="194" y="162"/>
                </a:lnTo>
                <a:lnTo>
                  <a:pt x="194" y="162"/>
                </a:lnTo>
                <a:lnTo>
                  <a:pt x="192" y="160"/>
                </a:lnTo>
                <a:lnTo>
                  <a:pt x="190" y="157"/>
                </a:lnTo>
                <a:lnTo>
                  <a:pt x="187" y="155"/>
                </a:lnTo>
                <a:lnTo>
                  <a:pt x="185" y="155"/>
                </a:lnTo>
                <a:lnTo>
                  <a:pt x="182" y="150"/>
                </a:lnTo>
                <a:lnTo>
                  <a:pt x="180" y="150"/>
                </a:lnTo>
                <a:lnTo>
                  <a:pt x="177" y="150"/>
                </a:lnTo>
                <a:lnTo>
                  <a:pt x="172" y="148"/>
                </a:lnTo>
                <a:lnTo>
                  <a:pt x="170" y="140"/>
                </a:lnTo>
                <a:lnTo>
                  <a:pt x="170" y="138"/>
                </a:lnTo>
                <a:lnTo>
                  <a:pt x="170" y="133"/>
                </a:lnTo>
                <a:lnTo>
                  <a:pt x="170" y="130"/>
                </a:lnTo>
                <a:lnTo>
                  <a:pt x="170" y="130"/>
                </a:lnTo>
                <a:lnTo>
                  <a:pt x="172" y="130"/>
                </a:lnTo>
                <a:lnTo>
                  <a:pt x="175" y="130"/>
                </a:lnTo>
                <a:lnTo>
                  <a:pt x="175" y="130"/>
                </a:lnTo>
                <a:lnTo>
                  <a:pt x="172" y="130"/>
                </a:lnTo>
                <a:lnTo>
                  <a:pt x="170" y="125"/>
                </a:lnTo>
                <a:lnTo>
                  <a:pt x="170" y="125"/>
                </a:lnTo>
                <a:lnTo>
                  <a:pt x="170" y="125"/>
                </a:lnTo>
                <a:lnTo>
                  <a:pt x="167" y="123"/>
                </a:lnTo>
                <a:lnTo>
                  <a:pt x="165" y="121"/>
                </a:lnTo>
                <a:lnTo>
                  <a:pt x="160" y="111"/>
                </a:lnTo>
                <a:lnTo>
                  <a:pt x="158" y="108"/>
                </a:lnTo>
                <a:lnTo>
                  <a:pt x="155" y="103"/>
                </a:lnTo>
                <a:lnTo>
                  <a:pt x="148" y="91"/>
                </a:lnTo>
                <a:lnTo>
                  <a:pt x="148" y="86"/>
                </a:lnTo>
                <a:lnTo>
                  <a:pt x="145" y="84"/>
                </a:lnTo>
                <a:lnTo>
                  <a:pt x="145" y="79"/>
                </a:lnTo>
                <a:lnTo>
                  <a:pt x="143" y="76"/>
                </a:lnTo>
                <a:lnTo>
                  <a:pt x="143" y="74"/>
                </a:lnTo>
                <a:lnTo>
                  <a:pt x="138" y="69"/>
                </a:lnTo>
                <a:lnTo>
                  <a:pt x="138" y="66"/>
                </a:lnTo>
                <a:lnTo>
                  <a:pt x="138" y="64"/>
                </a:lnTo>
                <a:lnTo>
                  <a:pt x="135" y="61"/>
                </a:lnTo>
                <a:lnTo>
                  <a:pt x="128" y="54"/>
                </a:lnTo>
                <a:lnTo>
                  <a:pt x="128" y="52"/>
                </a:lnTo>
                <a:lnTo>
                  <a:pt x="121" y="44"/>
                </a:lnTo>
                <a:lnTo>
                  <a:pt x="121" y="42"/>
                </a:lnTo>
                <a:lnTo>
                  <a:pt x="118" y="37"/>
                </a:lnTo>
                <a:lnTo>
                  <a:pt x="118" y="34"/>
                </a:lnTo>
                <a:lnTo>
                  <a:pt x="118" y="32"/>
                </a:lnTo>
                <a:lnTo>
                  <a:pt x="118" y="32"/>
                </a:lnTo>
                <a:lnTo>
                  <a:pt x="118" y="32"/>
                </a:lnTo>
                <a:lnTo>
                  <a:pt x="121" y="32"/>
                </a:lnTo>
                <a:lnTo>
                  <a:pt x="121" y="37"/>
                </a:lnTo>
                <a:lnTo>
                  <a:pt x="123" y="39"/>
                </a:lnTo>
                <a:lnTo>
                  <a:pt x="123" y="39"/>
                </a:lnTo>
                <a:lnTo>
                  <a:pt x="131" y="47"/>
                </a:lnTo>
                <a:lnTo>
                  <a:pt x="131" y="49"/>
                </a:lnTo>
                <a:lnTo>
                  <a:pt x="131" y="52"/>
                </a:lnTo>
                <a:lnTo>
                  <a:pt x="135" y="54"/>
                </a:lnTo>
                <a:lnTo>
                  <a:pt x="135" y="57"/>
                </a:lnTo>
                <a:lnTo>
                  <a:pt x="143" y="64"/>
                </a:lnTo>
                <a:lnTo>
                  <a:pt x="148" y="66"/>
                </a:lnTo>
                <a:lnTo>
                  <a:pt x="148" y="66"/>
                </a:lnTo>
                <a:lnTo>
                  <a:pt x="148" y="66"/>
                </a:lnTo>
                <a:lnTo>
                  <a:pt x="150" y="64"/>
                </a:lnTo>
                <a:lnTo>
                  <a:pt x="153" y="59"/>
                </a:lnTo>
                <a:lnTo>
                  <a:pt x="150" y="57"/>
                </a:lnTo>
                <a:lnTo>
                  <a:pt x="153" y="52"/>
                </a:lnTo>
                <a:lnTo>
                  <a:pt x="153" y="49"/>
                </a:lnTo>
                <a:lnTo>
                  <a:pt x="155" y="39"/>
                </a:lnTo>
                <a:lnTo>
                  <a:pt x="155" y="39"/>
                </a:lnTo>
                <a:lnTo>
                  <a:pt x="155" y="3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7" name="Freeform 106"/>
          <p:cNvSpPr>
            <a:spLocks/>
          </p:cNvSpPr>
          <p:nvPr/>
        </p:nvSpPr>
        <p:spPr bwMode="auto">
          <a:xfrm>
            <a:off x="5300398" y="3914834"/>
            <a:ext cx="417525" cy="450060"/>
          </a:xfrm>
          <a:custGeom>
            <a:avLst/>
            <a:gdLst/>
            <a:ahLst/>
            <a:cxnLst>
              <a:cxn ang="0">
                <a:pos x="228" y="3"/>
              </a:cxn>
              <a:cxn ang="0">
                <a:pos x="231" y="10"/>
              </a:cxn>
              <a:cxn ang="0">
                <a:pos x="231" y="13"/>
              </a:cxn>
              <a:cxn ang="0">
                <a:pos x="236" y="40"/>
              </a:cxn>
              <a:cxn ang="0">
                <a:pos x="248" y="59"/>
              </a:cxn>
              <a:cxn ang="0">
                <a:pos x="256" y="67"/>
              </a:cxn>
              <a:cxn ang="0">
                <a:pos x="243" y="72"/>
              </a:cxn>
              <a:cxn ang="0">
                <a:pos x="236" y="77"/>
              </a:cxn>
              <a:cxn ang="0">
                <a:pos x="236" y="89"/>
              </a:cxn>
              <a:cxn ang="0">
                <a:pos x="228" y="109"/>
              </a:cxn>
              <a:cxn ang="0">
                <a:pos x="228" y="123"/>
              </a:cxn>
              <a:cxn ang="0">
                <a:pos x="221" y="148"/>
              </a:cxn>
              <a:cxn ang="0">
                <a:pos x="211" y="158"/>
              </a:cxn>
              <a:cxn ang="0">
                <a:pos x="199" y="177"/>
              </a:cxn>
              <a:cxn ang="0">
                <a:pos x="197" y="192"/>
              </a:cxn>
              <a:cxn ang="0">
                <a:pos x="192" y="214"/>
              </a:cxn>
              <a:cxn ang="0">
                <a:pos x="179" y="214"/>
              </a:cxn>
              <a:cxn ang="0">
                <a:pos x="179" y="227"/>
              </a:cxn>
              <a:cxn ang="0">
                <a:pos x="192" y="234"/>
              </a:cxn>
              <a:cxn ang="0">
                <a:pos x="201" y="241"/>
              </a:cxn>
              <a:cxn ang="0">
                <a:pos x="209" y="259"/>
              </a:cxn>
              <a:cxn ang="0">
                <a:pos x="197" y="276"/>
              </a:cxn>
              <a:cxn ang="0">
                <a:pos x="189" y="283"/>
              </a:cxn>
              <a:cxn ang="0">
                <a:pos x="172" y="288"/>
              </a:cxn>
              <a:cxn ang="0">
                <a:pos x="165" y="293"/>
              </a:cxn>
              <a:cxn ang="0">
                <a:pos x="152" y="291"/>
              </a:cxn>
              <a:cxn ang="0">
                <a:pos x="145" y="293"/>
              </a:cxn>
              <a:cxn ang="0">
                <a:pos x="137" y="291"/>
              </a:cxn>
              <a:cxn ang="0">
                <a:pos x="130" y="281"/>
              </a:cxn>
              <a:cxn ang="0">
                <a:pos x="120" y="273"/>
              </a:cxn>
              <a:cxn ang="0">
                <a:pos x="113" y="278"/>
              </a:cxn>
              <a:cxn ang="0">
                <a:pos x="103" y="281"/>
              </a:cxn>
              <a:cxn ang="0">
                <a:pos x="91" y="273"/>
              </a:cxn>
              <a:cxn ang="0">
                <a:pos x="86" y="266"/>
              </a:cxn>
              <a:cxn ang="0">
                <a:pos x="76" y="254"/>
              </a:cxn>
              <a:cxn ang="0">
                <a:pos x="69" y="246"/>
              </a:cxn>
              <a:cxn ang="0">
                <a:pos x="59" y="236"/>
              </a:cxn>
              <a:cxn ang="0">
                <a:pos x="54" y="232"/>
              </a:cxn>
              <a:cxn ang="0">
                <a:pos x="49" y="224"/>
              </a:cxn>
              <a:cxn ang="0">
                <a:pos x="37" y="217"/>
              </a:cxn>
              <a:cxn ang="0">
                <a:pos x="32" y="212"/>
              </a:cxn>
              <a:cxn ang="0">
                <a:pos x="27" y="200"/>
              </a:cxn>
              <a:cxn ang="0">
                <a:pos x="19" y="182"/>
              </a:cxn>
              <a:cxn ang="0">
                <a:pos x="14" y="172"/>
              </a:cxn>
              <a:cxn ang="0">
                <a:pos x="10" y="163"/>
              </a:cxn>
              <a:cxn ang="0">
                <a:pos x="7" y="150"/>
              </a:cxn>
              <a:cxn ang="0">
                <a:pos x="0" y="145"/>
              </a:cxn>
              <a:cxn ang="0">
                <a:pos x="5" y="131"/>
              </a:cxn>
              <a:cxn ang="0">
                <a:pos x="10" y="118"/>
              </a:cxn>
              <a:cxn ang="0">
                <a:pos x="17" y="104"/>
              </a:cxn>
              <a:cxn ang="0">
                <a:pos x="32" y="99"/>
              </a:cxn>
              <a:cxn ang="0">
                <a:pos x="44" y="0"/>
              </a:cxn>
            </a:cxnLst>
            <a:rect l="0" t="0" r="r" b="b"/>
            <a:pathLst>
              <a:path w="256" h="293">
                <a:moveTo>
                  <a:pt x="44" y="0"/>
                </a:moveTo>
                <a:lnTo>
                  <a:pt x="228" y="0"/>
                </a:lnTo>
                <a:lnTo>
                  <a:pt x="228" y="0"/>
                </a:lnTo>
                <a:lnTo>
                  <a:pt x="228" y="3"/>
                </a:lnTo>
                <a:lnTo>
                  <a:pt x="228" y="3"/>
                </a:lnTo>
                <a:lnTo>
                  <a:pt x="228" y="5"/>
                </a:lnTo>
                <a:lnTo>
                  <a:pt x="228" y="5"/>
                </a:lnTo>
                <a:lnTo>
                  <a:pt x="228" y="5"/>
                </a:lnTo>
                <a:lnTo>
                  <a:pt x="228" y="8"/>
                </a:lnTo>
                <a:lnTo>
                  <a:pt x="231" y="10"/>
                </a:lnTo>
                <a:lnTo>
                  <a:pt x="233" y="15"/>
                </a:lnTo>
                <a:lnTo>
                  <a:pt x="233" y="15"/>
                </a:lnTo>
                <a:lnTo>
                  <a:pt x="233" y="15"/>
                </a:lnTo>
                <a:lnTo>
                  <a:pt x="233" y="15"/>
                </a:lnTo>
                <a:lnTo>
                  <a:pt x="231" y="13"/>
                </a:lnTo>
                <a:lnTo>
                  <a:pt x="231" y="15"/>
                </a:lnTo>
                <a:lnTo>
                  <a:pt x="231" y="18"/>
                </a:lnTo>
                <a:lnTo>
                  <a:pt x="236" y="27"/>
                </a:lnTo>
                <a:lnTo>
                  <a:pt x="236" y="35"/>
                </a:lnTo>
                <a:lnTo>
                  <a:pt x="236" y="40"/>
                </a:lnTo>
                <a:lnTo>
                  <a:pt x="236" y="47"/>
                </a:lnTo>
                <a:lnTo>
                  <a:pt x="241" y="52"/>
                </a:lnTo>
                <a:lnTo>
                  <a:pt x="243" y="52"/>
                </a:lnTo>
                <a:lnTo>
                  <a:pt x="248" y="57"/>
                </a:lnTo>
                <a:lnTo>
                  <a:pt x="248" y="59"/>
                </a:lnTo>
                <a:lnTo>
                  <a:pt x="253" y="59"/>
                </a:lnTo>
                <a:lnTo>
                  <a:pt x="256" y="62"/>
                </a:lnTo>
                <a:lnTo>
                  <a:pt x="256" y="64"/>
                </a:lnTo>
                <a:lnTo>
                  <a:pt x="256" y="64"/>
                </a:lnTo>
                <a:lnTo>
                  <a:pt x="256" y="67"/>
                </a:lnTo>
                <a:lnTo>
                  <a:pt x="253" y="69"/>
                </a:lnTo>
                <a:lnTo>
                  <a:pt x="248" y="69"/>
                </a:lnTo>
                <a:lnTo>
                  <a:pt x="248" y="72"/>
                </a:lnTo>
                <a:lnTo>
                  <a:pt x="246" y="72"/>
                </a:lnTo>
                <a:lnTo>
                  <a:pt x="243" y="72"/>
                </a:lnTo>
                <a:lnTo>
                  <a:pt x="241" y="72"/>
                </a:lnTo>
                <a:lnTo>
                  <a:pt x="241" y="74"/>
                </a:lnTo>
                <a:lnTo>
                  <a:pt x="241" y="77"/>
                </a:lnTo>
                <a:lnTo>
                  <a:pt x="241" y="77"/>
                </a:lnTo>
                <a:lnTo>
                  <a:pt x="236" y="77"/>
                </a:lnTo>
                <a:lnTo>
                  <a:pt x="233" y="79"/>
                </a:lnTo>
                <a:lnTo>
                  <a:pt x="233" y="81"/>
                </a:lnTo>
                <a:lnTo>
                  <a:pt x="233" y="86"/>
                </a:lnTo>
                <a:lnTo>
                  <a:pt x="233" y="86"/>
                </a:lnTo>
                <a:lnTo>
                  <a:pt x="236" y="89"/>
                </a:lnTo>
                <a:lnTo>
                  <a:pt x="233" y="89"/>
                </a:lnTo>
                <a:lnTo>
                  <a:pt x="231" y="94"/>
                </a:lnTo>
                <a:lnTo>
                  <a:pt x="231" y="101"/>
                </a:lnTo>
                <a:lnTo>
                  <a:pt x="228" y="106"/>
                </a:lnTo>
                <a:lnTo>
                  <a:pt x="228" y="109"/>
                </a:lnTo>
                <a:lnTo>
                  <a:pt x="226" y="111"/>
                </a:lnTo>
                <a:lnTo>
                  <a:pt x="226" y="113"/>
                </a:lnTo>
                <a:lnTo>
                  <a:pt x="228" y="121"/>
                </a:lnTo>
                <a:lnTo>
                  <a:pt x="228" y="123"/>
                </a:lnTo>
                <a:lnTo>
                  <a:pt x="228" y="123"/>
                </a:lnTo>
                <a:lnTo>
                  <a:pt x="228" y="126"/>
                </a:lnTo>
                <a:lnTo>
                  <a:pt x="226" y="128"/>
                </a:lnTo>
                <a:lnTo>
                  <a:pt x="226" y="136"/>
                </a:lnTo>
                <a:lnTo>
                  <a:pt x="224" y="143"/>
                </a:lnTo>
                <a:lnTo>
                  <a:pt x="221" y="148"/>
                </a:lnTo>
                <a:lnTo>
                  <a:pt x="219" y="145"/>
                </a:lnTo>
                <a:lnTo>
                  <a:pt x="216" y="148"/>
                </a:lnTo>
                <a:lnTo>
                  <a:pt x="216" y="150"/>
                </a:lnTo>
                <a:lnTo>
                  <a:pt x="214" y="155"/>
                </a:lnTo>
                <a:lnTo>
                  <a:pt x="211" y="158"/>
                </a:lnTo>
                <a:lnTo>
                  <a:pt x="209" y="163"/>
                </a:lnTo>
                <a:lnTo>
                  <a:pt x="206" y="165"/>
                </a:lnTo>
                <a:lnTo>
                  <a:pt x="204" y="177"/>
                </a:lnTo>
                <a:lnTo>
                  <a:pt x="201" y="177"/>
                </a:lnTo>
                <a:lnTo>
                  <a:pt x="199" y="177"/>
                </a:lnTo>
                <a:lnTo>
                  <a:pt x="199" y="180"/>
                </a:lnTo>
                <a:lnTo>
                  <a:pt x="197" y="185"/>
                </a:lnTo>
                <a:lnTo>
                  <a:pt x="194" y="187"/>
                </a:lnTo>
                <a:lnTo>
                  <a:pt x="197" y="190"/>
                </a:lnTo>
                <a:lnTo>
                  <a:pt x="197" y="192"/>
                </a:lnTo>
                <a:lnTo>
                  <a:pt x="194" y="195"/>
                </a:lnTo>
                <a:lnTo>
                  <a:pt x="192" y="200"/>
                </a:lnTo>
                <a:lnTo>
                  <a:pt x="194" y="207"/>
                </a:lnTo>
                <a:lnTo>
                  <a:pt x="192" y="214"/>
                </a:lnTo>
                <a:lnTo>
                  <a:pt x="192" y="214"/>
                </a:lnTo>
                <a:lnTo>
                  <a:pt x="189" y="217"/>
                </a:lnTo>
                <a:lnTo>
                  <a:pt x="187" y="217"/>
                </a:lnTo>
                <a:lnTo>
                  <a:pt x="187" y="214"/>
                </a:lnTo>
                <a:lnTo>
                  <a:pt x="184" y="217"/>
                </a:lnTo>
                <a:lnTo>
                  <a:pt x="179" y="214"/>
                </a:lnTo>
                <a:lnTo>
                  <a:pt x="179" y="219"/>
                </a:lnTo>
                <a:lnTo>
                  <a:pt x="177" y="219"/>
                </a:lnTo>
                <a:lnTo>
                  <a:pt x="174" y="222"/>
                </a:lnTo>
                <a:lnTo>
                  <a:pt x="177" y="224"/>
                </a:lnTo>
                <a:lnTo>
                  <a:pt x="179" y="227"/>
                </a:lnTo>
                <a:lnTo>
                  <a:pt x="187" y="227"/>
                </a:lnTo>
                <a:lnTo>
                  <a:pt x="187" y="227"/>
                </a:lnTo>
                <a:lnTo>
                  <a:pt x="189" y="232"/>
                </a:lnTo>
                <a:lnTo>
                  <a:pt x="192" y="232"/>
                </a:lnTo>
                <a:lnTo>
                  <a:pt x="192" y="234"/>
                </a:lnTo>
                <a:lnTo>
                  <a:pt x="194" y="239"/>
                </a:lnTo>
                <a:lnTo>
                  <a:pt x="197" y="239"/>
                </a:lnTo>
                <a:lnTo>
                  <a:pt x="197" y="241"/>
                </a:lnTo>
                <a:lnTo>
                  <a:pt x="199" y="241"/>
                </a:lnTo>
                <a:lnTo>
                  <a:pt x="201" y="241"/>
                </a:lnTo>
                <a:lnTo>
                  <a:pt x="204" y="244"/>
                </a:lnTo>
                <a:lnTo>
                  <a:pt x="204" y="246"/>
                </a:lnTo>
                <a:lnTo>
                  <a:pt x="206" y="249"/>
                </a:lnTo>
                <a:lnTo>
                  <a:pt x="209" y="256"/>
                </a:lnTo>
                <a:lnTo>
                  <a:pt x="209" y="259"/>
                </a:lnTo>
                <a:lnTo>
                  <a:pt x="211" y="263"/>
                </a:lnTo>
                <a:lnTo>
                  <a:pt x="206" y="268"/>
                </a:lnTo>
                <a:lnTo>
                  <a:pt x="201" y="273"/>
                </a:lnTo>
                <a:lnTo>
                  <a:pt x="199" y="273"/>
                </a:lnTo>
                <a:lnTo>
                  <a:pt x="197" y="276"/>
                </a:lnTo>
                <a:lnTo>
                  <a:pt x="197" y="278"/>
                </a:lnTo>
                <a:lnTo>
                  <a:pt x="194" y="278"/>
                </a:lnTo>
                <a:lnTo>
                  <a:pt x="192" y="281"/>
                </a:lnTo>
                <a:lnTo>
                  <a:pt x="192" y="281"/>
                </a:lnTo>
                <a:lnTo>
                  <a:pt x="189" y="283"/>
                </a:lnTo>
                <a:lnTo>
                  <a:pt x="187" y="286"/>
                </a:lnTo>
                <a:lnTo>
                  <a:pt x="184" y="288"/>
                </a:lnTo>
                <a:lnTo>
                  <a:pt x="179" y="288"/>
                </a:lnTo>
                <a:lnTo>
                  <a:pt x="174" y="288"/>
                </a:lnTo>
                <a:lnTo>
                  <a:pt x="172" y="288"/>
                </a:lnTo>
                <a:lnTo>
                  <a:pt x="169" y="288"/>
                </a:lnTo>
                <a:lnTo>
                  <a:pt x="167" y="291"/>
                </a:lnTo>
                <a:lnTo>
                  <a:pt x="165" y="288"/>
                </a:lnTo>
                <a:lnTo>
                  <a:pt x="165" y="291"/>
                </a:lnTo>
                <a:lnTo>
                  <a:pt x="165" y="293"/>
                </a:lnTo>
                <a:lnTo>
                  <a:pt x="162" y="293"/>
                </a:lnTo>
                <a:lnTo>
                  <a:pt x="157" y="293"/>
                </a:lnTo>
                <a:lnTo>
                  <a:pt x="157" y="291"/>
                </a:lnTo>
                <a:lnTo>
                  <a:pt x="155" y="288"/>
                </a:lnTo>
                <a:lnTo>
                  <a:pt x="152" y="291"/>
                </a:lnTo>
                <a:lnTo>
                  <a:pt x="150" y="288"/>
                </a:lnTo>
                <a:lnTo>
                  <a:pt x="145" y="288"/>
                </a:lnTo>
                <a:lnTo>
                  <a:pt x="145" y="288"/>
                </a:lnTo>
                <a:lnTo>
                  <a:pt x="145" y="291"/>
                </a:lnTo>
                <a:lnTo>
                  <a:pt x="145" y="293"/>
                </a:lnTo>
                <a:lnTo>
                  <a:pt x="145" y="293"/>
                </a:lnTo>
                <a:lnTo>
                  <a:pt x="142" y="293"/>
                </a:lnTo>
                <a:lnTo>
                  <a:pt x="140" y="293"/>
                </a:lnTo>
                <a:lnTo>
                  <a:pt x="137" y="293"/>
                </a:lnTo>
                <a:lnTo>
                  <a:pt x="137" y="291"/>
                </a:lnTo>
                <a:lnTo>
                  <a:pt x="137" y="288"/>
                </a:lnTo>
                <a:lnTo>
                  <a:pt x="137" y="288"/>
                </a:lnTo>
                <a:lnTo>
                  <a:pt x="135" y="286"/>
                </a:lnTo>
                <a:lnTo>
                  <a:pt x="133" y="283"/>
                </a:lnTo>
                <a:lnTo>
                  <a:pt x="130" y="281"/>
                </a:lnTo>
                <a:lnTo>
                  <a:pt x="128" y="281"/>
                </a:lnTo>
                <a:lnTo>
                  <a:pt x="128" y="278"/>
                </a:lnTo>
                <a:lnTo>
                  <a:pt x="125" y="273"/>
                </a:lnTo>
                <a:lnTo>
                  <a:pt x="123" y="273"/>
                </a:lnTo>
                <a:lnTo>
                  <a:pt x="120" y="273"/>
                </a:lnTo>
                <a:lnTo>
                  <a:pt x="118" y="276"/>
                </a:lnTo>
                <a:lnTo>
                  <a:pt x="118" y="278"/>
                </a:lnTo>
                <a:lnTo>
                  <a:pt x="115" y="278"/>
                </a:lnTo>
                <a:lnTo>
                  <a:pt x="113" y="278"/>
                </a:lnTo>
                <a:lnTo>
                  <a:pt x="113" y="278"/>
                </a:lnTo>
                <a:lnTo>
                  <a:pt x="110" y="278"/>
                </a:lnTo>
                <a:lnTo>
                  <a:pt x="108" y="278"/>
                </a:lnTo>
                <a:lnTo>
                  <a:pt x="105" y="278"/>
                </a:lnTo>
                <a:lnTo>
                  <a:pt x="103" y="281"/>
                </a:lnTo>
                <a:lnTo>
                  <a:pt x="103" y="281"/>
                </a:lnTo>
                <a:lnTo>
                  <a:pt x="98" y="278"/>
                </a:lnTo>
                <a:lnTo>
                  <a:pt x="96" y="276"/>
                </a:lnTo>
                <a:lnTo>
                  <a:pt x="93" y="276"/>
                </a:lnTo>
                <a:lnTo>
                  <a:pt x="93" y="273"/>
                </a:lnTo>
                <a:lnTo>
                  <a:pt x="91" y="273"/>
                </a:lnTo>
                <a:lnTo>
                  <a:pt x="91" y="271"/>
                </a:lnTo>
                <a:lnTo>
                  <a:pt x="91" y="271"/>
                </a:lnTo>
                <a:lnTo>
                  <a:pt x="91" y="268"/>
                </a:lnTo>
                <a:lnTo>
                  <a:pt x="88" y="268"/>
                </a:lnTo>
                <a:lnTo>
                  <a:pt x="86" y="266"/>
                </a:lnTo>
                <a:lnTo>
                  <a:pt x="83" y="263"/>
                </a:lnTo>
                <a:lnTo>
                  <a:pt x="83" y="259"/>
                </a:lnTo>
                <a:lnTo>
                  <a:pt x="83" y="259"/>
                </a:lnTo>
                <a:lnTo>
                  <a:pt x="81" y="256"/>
                </a:lnTo>
                <a:lnTo>
                  <a:pt x="76" y="254"/>
                </a:lnTo>
                <a:lnTo>
                  <a:pt x="76" y="254"/>
                </a:lnTo>
                <a:lnTo>
                  <a:pt x="76" y="251"/>
                </a:lnTo>
                <a:lnTo>
                  <a:pt x="74" y="249"/>
                </a:lnTo>
                <a:lnTo>
                  <a:pt x="71" y="249"/>
                </a:lnTo>
                <a:lnTo>
                  <a:pt x="69" y="246"/>
                </a:lnTo>
                <a:lnTo>
                  <a:pt x="69" y="241"/>
                </a:lnTo>
                <a:lnTo>
                  <a:pt x="69" y="241"/>
                </a:lnTo>
                <a:lnTo>
                  <a:pt x="64" y="236"/>
                </a:lnTo>
                <a:lnTo>
                  <a:pt x="61" y="236"/>
                </a:lnTo>
                <a:lnTo>
                  <a:pt x="59" y="236"/>
                </a:lnTo>
                <a:lnTo>
                  <a:pt x="59" y="236"/>
                </a:lnTo>
                <a:lnTo>
                  <a:pt x="56" y="236"/>
                </a:lnTo>
                <a:lnTo>
                  <a:pt x="51" y="234"/>
                </a:lnTo>
                <a:lnTo>
                  <a:pt x="54" y="232"/>
                </a:lnTo>
                <a:lnTo>
                  <a:pt x="54" y="232"/>
                </a:lnTo>
                <a:lnTo>
                  <a:pt x="56" y="229"/>
                </a:lnTo>
                <a:lnTo>
                  <a:pt x="56" y="227"/>
                </a:lnTo>
                <a:lnTo>
                  <a:pt x="56" y="224"/>
                </a:lnTo>
                <a:lnTo>
                  <a:pt x="54" y="224"/>
                </a:lnTo>
                <a:lnTo>
                  <a:pt x="49" y="224"/>
                </a:lnTo>
                <a:lnTo>
                  <a:pt x="49" y="222"/>
                </a:lnTo>
                <a:lnTo>
                  <a:pt x="46" y="219"/>
                </a:lnTo>
                <a:lnTo>
                  <a:pt x="44" y="219"/>
                </a:lnTo>
                <a:lnTo>
                  <a:pt x="42" y="219"/>
                </a:lnTo>
                <a:lnTo>
                  <a:pt x="37" y="217"/>
                </a:lnTo>
                <a:lnTo>
                  <a:pt x="37" y="214"/>
                </a:lnTo>
                <a:lnTo>
                  <a:pt x="39" y="212"/>
                </a:lnTo>
                <a:lnTo>
                  <a:pt x="37" y="209"/>
                </a:lnTo>
                <a:lnTo>
                  <a:pt x="32" y="209"/>
                </a:lnTo>
                <a:lnTo>
                  <a:pt x="32" y="212"/>
                </a:lnTo>
                <a:lnTo>
                  <a:pt x="27" y="212"/>
                </a:lnTo>
                <a:lnTo>
                  <a:pt x="24" y="209"/>
                </a:lnTo>
                <a:lnTo>
                  <a:pt x="24" y="204"/>
                </a:lnTo>
                <a:lnTo>
                  <a:pt x="27" y="202"/>
                </a:lnTo>
                <a:lnTo>
                  <a:pt x="27" y="200"/>
                </a:lnTo>
                <a:lnTo>
                  <a:pt x="27" y="197"/>
                </a:lnTo>
                <a:lnTo>
                  <a:pt x="27" y="195"/>
                </a:lnTo>
                <a:lnTo>
                  <a:pt x="24" y="190"/>
                </a:lnTo>
                <a:lnTo>
                  <a:pt x="19" y="182"/>
                </a:lnTo>
                <a:lnTo>
                  <a:pt x="19" y="182"/>
                </a:lnTo>
                <a:lnTo>
                  <a:pt x="17" y="180"/>
                </a:lnTo>
                <a:lnTo>
                  <a:pt x="17" y="177"/>
                </a:lnTo>
                <a:lnTo>
                  <a:pt x="17" y="175"/>
                </a:lnTo>
                <a:lnTo>
                  <a:pt x="14" y="175"/>
                </a:lnTo>
                <a:lnTo>
                  <a:pt x="14" y="172"/>
                </a:lnTo>
                <a:lnTo>
                  <a:pt x="14" y="170"/>
                </a:lnTo>
                <a:lnTo>
                  <a:pt x="17" y="170"/>
                </a:lnTo>
                <a:lnTo>
                  <a:pt x="14" y="168"/>
                </a:lnTo>
                <a:lnTo>
                  <a:pt x="10" y="165"/>
                </a:lnTo>
                <a:lnTo>
                  <a:pt x="10" y="163"/>
                </a:lnTo>
                <a:lnTo>
                  <a:pt x="10" y="158"/>
                </a:lnTo>
                <a:lnTo>
                  <a:pt x="7" y="155"/>
                </a:lnTo>
                <a:lnTo>
                  <a:pt x="10" y="153"/>
                </a:lnTo>
                <a:lnTo>
                  <a:pt x="7" y="153"/>
                </a:lnTo>
                <a:lnTo>
                  <a:pt x="7" y="150"/>
                </a:lnTo>
                <a:lnTo>
                  <a:pt x="7" y="148"/>
                </a:lnTo>
                <a:lnTo>
                  <a:pt x="7" y="148"/>
                </a:lnTo>
                <a:lnTo>
                  <a:pt x="2" y="150"/>
                </a:lnTo>
                <a:lnTo>
                  <a:pt x="0" y="148"/>
                </a:lnTo>
                <a:lnTo>
                  <a:pt x="0" y="145"/>
                </a:lnTo>
                <a:lnTo>
                  <a:pt x="5" y="141"/>
                </a:lnTo>
                <a:lnTo>
                  <a:pt x="7" y="138"/>
                </a:lnTo>
                <a:lnTo>
                  <a:pt x="7" y="136"/>
                </a:lnTo>
                <a:lnTo>
                  <a:pt x="5" y="133"/>
                </a:lnTo>
                <a:lnTo>
                  <a:pt x="5" y="131"/>
                </a:lnTo>
                <a:lnTo>
                  <a:pt x="7" y="128"/>
                </a:lnTo>
                <a:lnTo>
                  <a:pt x="10" y="126"/>
                </a:lnTo>
                <a:lnTo>
                  <a:pt x="7" y="123"/>
                </a:lnTo>
                <a:lnTo>
                  <a:pt x="7" y="121"/>
                </a:lnTo>
                <a:lnTo>
                  <a:pt x="10" y="118"/>
                </a:lnTo>
                <a:lnTo>
                  <a:pt x="12" y="118"/>
                </a:lnTo>
                <a:lnTo>
                  <a:pt x="17" y="113"/>
                </a:lnTo>
                <a:lnTo>
                  <a:pt x="19" y="109"/>
                </a:lnTo>
                <a:lnTo>
                  <a:pt x="17" y="106"/>
                </a:lnTo>
                <a:lnTo>
                  <a:pt x="17" y="104"/>
                </a:lnTo>
                <a:lnTo>
                  <a:pt x="19" y="101"/>
                </a:lnTo>
                <a:lnTo>
                  <a:pt x="24" y="101"/>
                </a:lnTo>
                <a:lnTo>
                  <a:pt x="27" y="101"/>
                </a:lnTo>
                <a:lnTo>
                  <a:pt x="29" y="101"/>
                </a:lnTo>
                <a:lnTo>
                  <a:pt x="32" y="99"/>
                </a:lnTo>
                <a:lnTo>
                  <a:pt x="32" y="40"/>
                </a:lnTo>
                <a:lnTo>
                  <a:pt x="32" y="40"/>
                </a:lnTo>
                <a:lnTo>
                  <a:pt x="32" y="32"/>
                </a:lnTo>
                <a:lnTo>
                  <a:pt x="46" y="32"/>
                </a:lnTo>
                <a:lnTo>
                  <a:pt x="44" y="0"/>
                </a:lnTo>
                <a:lnTo>
                  <a:pt x="44"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8" name="Freeform 107"/>
          <p:cNvSpPr>
            <a:spLocks/>
          </p:cNvSpPr>
          <p:nvPr/>
        </p:nvSpPr>
        <p:spPr bwMode="auto">
          <a:xfrm>
            <a:off x="5584184" y="4088407"/>
            <a:ext cx="386538" cy="276487"/>
          </a:xfrm>
          <a:custGeom>
            <a:avLst/>
            <a:gdLst/>
            <a:ahLst/>
            <a:cxnLst>
              <a:cxn ang="0">
                <a:pos x="35" y="143"/>
              </a:cxn>
              <a:cxn ang="0">
                <a:pos x="30" y="131"/>
              </a:cxn>
              <a:cxn ang="0">
                <a:pos x="23" y="128"/>
              </a:cxn>
              <a:cxn ang="0">
                <a:pos x="18" y="121"/>
              </a:cxn>
              <a:cxn ang="0">
                <a:pos x="13" y="114"/>
              </a:cxn>
              <a:cxn ang="0">
                <a:pos x="3" y="111"/>
              </a:cxn>
              <a:cxn ang="0">
                <a:pos x="5" y="106"/>
              </a:cxn>
              <a:cxn ang="0">
                <a:pos x="13" y="101"/>
              </a:cxn>
              <a:cxn ang="0">
                <a:pos x="18" y="101"/>
              </a:cxn>
              <a:cxn ang="0">
                <a:pos x="18" y="87"/>
              </a:cxn>
              <a:cxn ang="0">
                <a:pos x="23" y="77"/>
              </a:cxn>
              <a:cxn ang="0">
                <a:pos x="25" y="67"/>
              </a:cxn>
              <a:cxn ang="0">
                <a:pos x="30" y="64"/>
              </a:cxn>
              <a:cxn ang="0">
                <a:pos x="37" y="45"/>
              </a:cxn>
              <a:cxn ang="0">
                <a:pos x="42" y="35"/>
              </a:cxn>
              <a:cxn ang="0">
                <a:pos x="50" y="30"/>
              </a:cxn>
              <a:cxn ang="0">
                <a:pos x="54" y="13"/>
              </a:cxn>
              <a:cxn ang="0">
                <a:pos x="62" y="10"/>
              </a:cxn>
              <a:cxn ang="0">
                <a:pos x="69" y="0"/>
              </a:cxn>
              <a:cxn ang="0">
                <a:pos x="77" y="5"/>
              </a:cxn>
              <a:cxn ang="0">
                <a:pos x="86" y="3"/>
              </a:cxn>
              <a:cxn ang="0">
                <a:pos x="91" y="3"/>
              </a:cxn>
              <a:cxn ang="0">
                <a:pos x="99" y="5"/>
              </a:cxn>
              <a:cxn ang="0">
                <a:pos x="109" y="10"/>
              </a:cxn>
              <a:cxn ang="0">
                <a:pos x="118" y="18"/>
              </a:cxn>
              <a:cxn ang="0">
                <a:pos x="123" y="20"/>
              </a:cxn>
              <a:cxn ang="0">
                <a:pos x="136" y="28"/>
              </a:cxn>
              <a:cxn ang="0">
                <a:pos x="138" y="37"/>
              </a:cxn>
              <a:cxn ang="0">
                <a:pos x="143" y="42"/>
              </a:cxn>
              <a:cxn ang="0">
                <a:pos x="141" y="55"/>
              </a:cxn>
              <a:cxn ang="0">
                <a:pos x="136" y="62"/>
              </a:cxn>
              <a:cxn ang="0">
                <a:pos x="148" y="62"/>
              </a:cxn>
              <a:cxn ang="0">
                <a:pos x="153" y="64"/>
              </a:cxn>
              <a:cxn ang="0">
                <a:pos x="160" y="82"/>
              </a:cxn>
              <a:cxn ang="0">
                <a:pos x="168" y="91"/>
              </a:cxn>
              <a:cxn ang="0">
                <a:pos x="237" y="109"/>
              </a:cxn>
              <a:cxn ang="0">
                <a:pos x="170" y="155"/>
              </a:cxn>
              <a:cxn ang="0">
                <a:pos x="160" y="160"/>
              </a:cxn>
              <a:cxn ang="0">
                <a:pos x="153" y="168"/>
              </a:cxn>
              <a:cxn ang="0">
                <a:pos x="141" y="173"/>
              </a:cxn>
              <a:cxn ang="0">
                <a:pos x="131" y="173"/>
              </a:cxn>
              <a:cxn ang="0">
                <a:pos x="123" y="168"/>
              </a:cxn>
              <a:cxn ang="0">
                <a:pos x="114" y="170"/>
              </a:cxn>
              <a:cxn ang="0">
                <a:pos x="104" y="180"/>
              </a:cxn>
              <a:cxn ang="0">
                <a:pos x="96" y="178"/>
              </a:cxn>
              <a:cxn ang="0">
                <a:pos x="84" y="178"/>
              </a:cxn>
              <a:cxn ang="0">
                <a:pos x="74" y="170"/>
              </a:cxn>
              <a:cxn ang="0">
                <a:pos x="57" y="163"/>
              </a:cxn>
              <a:cxn ang="0">
                <a:pos x="47" y="163"/>
              </a:cxn>
              <a:cxn ang="0">
                <a:pos x="42" y="150"/>
              </a:cxn>
              <a:cxn ang="0">
                <a:pos x="37" y="150"/>
              </a:cxn>
            </a:cxnLst>
            <a:rect l="0" t="0" r="r" b="b"/>
            <a:pathLst>
              <a:path w="237" h="180">
                <a:moveTo>
                  <a:pt x="37" y="150"/>
                </a:moveTo>
                <a:lnTo>
                  <a:pt x="35" y="146"/>
                </a:lnTo>
                <a:lnTo>
                  <a:pt x="35" y="143"/>
                </a:lnTo>
                <a:lnTo>
                  <a:pt x="32" y="136"/>
                </a:lnTo>
                <a:lnTo>
                  <a:pt x="30" y="133"/>
                </a:lnTo>
                <a:lnTo>
                  <a:pt x="30" y="131"/>
                </a:lnTo>
                <a:lnTo>
                  <a:pt x="27" y="128"/>
                </a:lnTo>
                <a:lnTo>
                  <a:pt x="25" y="128"/>
                </a:lnTo>
                <a:lnTo>
                  <a:pt x="23" y="128"/>
                </a:lnTo>
                <a:lnTo>
                  <a:pt x="23" y="126"/>
                </a:lnTo>
                <a:lnTo>
                  <a:pt x="20" y="126"/>
                </a:lnTo>
                <a:lnTo>
                  <a:pt x="18" y="121"/>
                </a:lnTo>
                <a:lnTo>
                  <a:pt x="18" y="119"/>
                </a:lnTo>
                <a:lnTo>
                  <a:pt x="15" y="119"/>
                </a:lnTo>
                <a:lnTo>
                  <a:pt x="13" y="114"/>
                </a:lnTo>
                <a:lnTo>
                  <a:pt x="13" y="114"/>
                </a:lnTo>
                <a:lnTo>
                  <a:pt x="5" y="114"/>
                </a:lnTo>
                <a:lnTo>
                  <a:pt x="3" y="111"/>
                </a:lnTo>
                <a:lnTo>
                  <a:pt x="0" y="109"/>
                </a:lnTo>
                <a:lnTo>
                  <a:pt x="3" y="106"/>
                </a:lnTo>
                <a:lnTo>
                  <a:pt x="5" y="106"/>
                </a:lnTo>
                <a:lnTo>
                  <a:pt x="5" y="101"/>
                </a:lnTo>
                <a:lnTo>
                  <a:pt x="10" y="104"/>
                </a:lnTo>
                <a:lnTo>
                  <a:pt x="13" y="101"/>
                </a:lnTo>
                <a:lnTo>
                  <a:pt x="13" y="104"/>
                </a:lnTo>
                <a:lnTo>
                  <a:pt x="15" y="104"/>
                </a:lnTo>
                <a:lnTo>
                  <a:pt x="18" y="101"/>
                </a:lnTo>
                <a:lnTo>
                  <a:pt x="18" y="101"/>
                </a:lnTo>
                <a:lnTo>
                  <a:pt x="20" y="94"/>
                </a:lnTo>
                <a:lnTo>
                  <a:pt x="18" y="87"/>
                </a:lnTo>
                <a:lnTo>
                  <a:pt x="20" y="82"/>
                </a:lnTo>
                <a:lnTo>
                  <a:pt x="23" y="79"/>
                </a:lnTo>
                <a:lnTo>
                  <a:pt x="23" y="77"/>
                </a:lnTo>
                <a:lnTo>
                  <a:pt x="20" y="74"/>
                </a:lnTo>
                <a:lnTo>
                  <a:pt x="23" y="72"/>
                </a:lnTo>
                <a:lnTo>
                  <a:pt x="25" y="67"/>
                </a:lnTo>
                <a:lnTo>
                  <a:pt x="25" y="64"/>
                </a:lnTo>
                <a:lnTo>
                  <a:pt x="27" y="64"/>
                </a:lnTo>
                <a:lnTo>
                  <a:pt x="30" y="64"/>
                </a:lnTo>
                <a:lnTo>
                  <a:pt x="32" y="52"/>
                </a:lnTo>
                <a:lnTo>
                  <a:pt x="35" y="50"/>
                </a:lnTo>
                <a:lnTo>
                  <a:pt x="37" y="45"/>
                </a:lnTo>
                <a:lnTo>
                  <a:pt x="40" y="42"/>
                </a:lnTo>
                <a:lnTo>
                  <a:pt x="42" y="37"/>
                </a:lnTo>
                <a:lnTo>
                  <a:pt x="42" y="35"/>
                </a:lnTo>
                <a:lnTo>
                  <a:pt x="45" y="32"/>
                </a:lnTo>
                <a:lnTo>
                  <a:pt x="47" y="35"/>
                </a:lnTo>
                <a:lnTo>
                  <a:pt x="50" y="30"/>
                </a:lnTo>
                <a:lnTo>
                  <a:pt x="52" y="23"/>
                </a:lnTo>
                <a:lnTo>
                  <a:pt x="52" y="15"/>
                </a:lnTo>
                <a:lnTo>
                  <a:pt x="54" y="13"/>
                </a:lnTo>
                <a:lnTo>
                  <a:pt x="54" y="10"/>
                </a:lnTo>
                <a:lnTo>
                  <a:pt x="57" y="10"/>
                </a:lnTo>
                <a:lnTo>
                  <a:pt x="62" y="10"/>
                </a:lnTo>
                <a:lnTo>
                  <a:pt x="62" y="10"/>
                </a:lnTo>
                <a:lnTo>
                  <a:pt x="64" y="10"/>
                </a:lnTo>
                <a:lnTo>
                  <a:pt x="69" y="0"/>
                </a:lnTo>
                <a:lnTo>
                  <a:pt x="69" y="3"/>
                </a:lnTo>
                <a:lnTo>
                  <a:pt x="72" y="3"/>
                </a:lnTo>
                <a:lnTo>
                  <a:pt x="77" y="5"/>
                </a:lnTo>
                <a:lnTo>
                  <a:pt x="79" y="5"/>
                </a:lnTo>
                <a:lnTo>
                  <a:pt x="84" y="3"/>
                </a:lnTo>
                <a:lnTo>
                  <a:pt x="86" y="3"/>
                </a:lnTo>
                <a:lnTo>
                  <a:pt x="89" y="5"/>
                </a:lnTo>
                <a:lnTo>
                  <a:pt x="89" y="3"/>
                </a:lnTo>
                <a:lnTo>
                  <a:pt x="91" y="3"/>
                </a:lnTo>
                <a:lnTo>
                  <a:pt x="96" y="8"/>
                </a:lnTo>
                <a:lnTo>
                  <a:pt x="96" y="8"/>
                </a:lnTo>
                <a:lnTo>
                  <a:pt x="99" y="5"/>
                </a:lnTo>
                <a:lnTo>
                  <a:pt x="104" y="8"/>
                </a:lnTo>
                <a:lnTo>
                  <a:pt x="106" y="10"/>
                </a:lnTo>
                <a:lnTo>
                  <a:pt x="109" y="10"/>
                </a:lnTo>
                <a:lnTo>
                  <a:pt x="114" y="15"/>
                </a:lnTo>
                <a:lnTo>
                  <a:pt x="114" y="18"/>
                </a:lnTo>
                <a:lnTo>
                  <a:pt x="118" y="18"/>
                </a:lnTo>
                <a:lnTo>
                  <a:pt x="118" y="18"/>
                </a:lnTo>
                <a:lnTo>
                  <a:pt x="123" y="20"/>
                </a:lnTo>
                <a:lnTo>
                  <a:pt x="123" y="20"/>
                </a:lnTo>
                <a:lnTo>
                  <a:pt x="128" y="23"/>
                </a:lnTo>
                <a:lnTo>
                  <a:pt x="131" y="28"/>
                </a:lnTo>
                <a:lnTo>
                  <a:pt x="136" y="28"/>
                </a:lnTo>
                <a:lnTo>
                  <a:pt x="138" y="32"/>
                </a:lnTo>
                <a:lnTo>
                  <a:pt x="138" y="35"/>
                </a:lnTo>
                <a:lnTo>
                  <a:pt x="138" y="37"/>
                </a:lnTo>
                <a:lnTo>
                  <a:pt x="141" y="37"/>
                </a:lnTo>
                <a:lnTo>
                  <a:pt x="146" y="42"/>
                </a:lnTo>
                <a:lnTo>
                  <a:pt x="143" y="42"/>
                </a:lnTo>
                <a:lnTo>
                  <a:pt x="141" y="47"/>
                </a:lnTo>
                <a:lnTo>
                  <a:pt x="141" y="50"/>
                </a:lnTo>
                <a:lnTo>
                  <a:pt x="141" y="55"/>
                </a:lnTo>
                <a:lnTo>
                  <a:pt x="138" y="57"/>
                </a:lnTo>
                <a:lnTo>
                  <a:pt x="138" y="59"/>
                </a:lnTo>
                <a:lnTo>
                  <a:pt x="136" y="62"/>
                </a:lnTo>
                <a:lnTo>
                  <a:pt x="138" y="64"/>
                </a:lnTo>
                <a:lnTo>
                  <a:pt x="143" y="64"/>
                </a:lnTo>
                <a:lnTo>
                  <a:pt x="148" y="62"/>
                </a:lnTo>
                <a:lnTo>
                  <a:pt x="150" y="62"/>
                </a:lnTo>
                <a:lnTo>
                  <a:pt x="155" y="62"/>
                </a:lnTo>
                <a:lnTo>
                  <a:pt x="153" y="64"/>
                </a:lnTo>
                <a:lnTo>
                  <a:pt x="155" y="69"/>
                </a:lnTo>
                <a:lnTo>
                  <a:pt x="158" y="79"/>
                </a:lnTo>
                <a:lnTo>
                  <a:pt x="160" y="82"/>
                </a:lnTo>
                <a:lnTo>
                  <a:pt x="160" y="87"/>
                </a:lnTo>
                <a:lnTo>
                  <a:pt x="163" y="89"/>
                </a:lnTo>
                <a:lnTo>
                  <a:pt x="168" y="91"/>
                </a:lnTo>
                <a:lnTo>
                  <a:pt x="173" y="94"/>
                </a:lnTo>
                <a:lnTo>
                  <a:pt x="217" y="109"/>
                </a:lnTo>
                <a:lnTo>
                  <a:pt x="237" y="109"/>
                </a:lnTo>
                <a:lnTo>
                  <a:pt x="190" y="155"/>
                </a:lnTo>
                <a:lnTo>
                  <a:pt x="180" y="155"/>
                </a:lnTo>
                <a:lnTo>
                  <a:pt x="170" y="155"/>
                </a:lnTo>
                <a:lnTo>
                  <a:pt x="168" y="158"/>
                </a:lnTo>
                <a:lnTo>
                  <a:pt x="165" y="158"/>
                </a:lnTo>
                <a:lnTo>
                  <a:pt x="160" y="160"/>
                </a:lnTo>
                <a:lnTo>
                  <a:pt x="160" y="163"/>
                </a:lnTo>
                <a:lnTo>
                  <a:pt x="155" y="165"/>
                </a:lnTo>
                <a:lnTo>
                  <a:pt x="153" y="168"/>
                </a:lnTo>
                <a:lnTo>
                  <a:pt x="148" y="168"/>
                </a:lnTo>
                <a:lnTo>
                  <a:pt x="143" y="170"/>
                </a:lnTo>
                <a:lnTo>
                  <a:pt x="141" y="173"/>
                </a:lnTo>
                <a:lnTo>
                  <a:pt x="141" y="173"/>
                </a:lnTo>
                <a:lnTo>
                  <a:pt x="136" y="173"/>
                </a:lnTo>
                <a:lnTo>
                  <a:pt x="131" y="173"/>
                </a:lnTo>
                <a:lnTo>
                  <a:pt x="128" y="173"/>
                </a:lnTo>
                <a:lnTo>
                  <a:pt x="126" y="170"/>
                </a:lnTo>
                <a:lnTo>
                  <a:pt x="123" y="168"/>
                </a:lnTo>
                <a:lnTo>
                  <a:pt x="116" y="168"/>
                </a:lnTo>
                <a:lnTo>
                  <a:pt x="116" y="170"/>
                </a:lnTo>
                <a:lnTo>
                  <a:pt x="114" y="170"/>
                </a:lnTo>
                <a:lnTo>
                  <a:pt x="111" y="170"/>
                </a:lnTo>
                <a:lnTo>
                  <a:pt x="109" y="173"/>
                </a:lnTo>
                <a:lnTo>
                  <a:pt x="104" y="180"/>
                </a:lnTo>
                <a:lnTo>
                  <a:pt x="101" y="180"/>
                </a:lnTo>
                <a:lnTo>
                  <a:pt x="99" y="180"/>
                </a:lnTo>
                <a:lnTo>
                  <a:pt x="96" y="178"/>
                </a:lnTo>
                <a:lnTo>
                  <a:pt x="91" y="180"/>
                </a:lnTo>
                <a:lnTo>
                  <a:pt x="89" y="178"/>
                </a:lnTo>
                <a:lnTo>
                  <a:pt x="84" y="178"/>
                </a:lnTo>
                <a:lnTo>
                  <a:pt x="82" y="178"/>
                </a:lnTo>
                <a:lnTo>
                  <a:pt x="79" y="175"/>
                </a:lnTo>
                <a:lnTo>
                  <a:pt x="74" y="170"/>
                </a:lnTo>
                <a:lnTo>
                  <a:pt x="69" y="165"/>
                </a:lnTo>
                <a:lnTo>
                  <a:pt x="64" y="163"/>
                </a:lnTo>
                <a:lnTo>
                  <a:pt x="57" y="163"/>
                </a:lnTo>
                <a:lnTo>
                  <a:pt x="54" y="163"/>
                </a:lnTo>
                <a:lnTo>
                  <a:pt x="50" y="165"/>
                </a:lnTo>
                <a:lnTo>
                  <a:pt x="47" y="163"/>
                </a:lnTo>
                <a:lnTo>
                  <a:pt x="45" y="160"/>
                </a:lnTo>
                <a:lnTo>
                  <a:pt x="45" y="150"/>
                </a:lnTo>
                <a:lnTo>
                  <a:pt x="42" y="150"/>
                </a:lnTo>
                <a:lnTo>
                  <a:pt x="40" y="150"/>
                </a:lnTo>
                <a:lnTo>
                  <a:pt x="37" y="148"/>
                </a:lnTo>
                <a:lnTo>
                  <a:pt x="37" y="150"/>
                </a:lnTo>
                <a:lnTo>
                  <a:pt x="37" y="15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9" name="Freeform 108"/>
          <p:cNvSpPr>
            <a:spLocks/>
          </p:cNvSpPr>
          <p:nvPr/>
        </p:nvSpPr>
        <p:spPr bwMode="auto">
          <a:xfrm>
            <a:off x="5668994" y="4013140"/>
            <a:ext cx="167989" cy="139780"/>
          </a:xfrm>
          <a:custGeom>
            <a:avLst/>
            <a:gdLst/>
            <a:ahLst/>
            <a:cxnLst>
              <a:cxn ang="0">
                <a:pos x="89" y="86"/>
              </a:cxn>
              <a:cxn ang="0">
                <a:pos x="86" y="84"/>
              </a:cxn>
              <a:cxn ang="0">
                <a:pos x="84" y="77"/>
              </a:cxn>
              <a:cxn ang="0">
                <a:pos x="76" y="72"/>
              </a:cxn>
              <a:cxn ang="0">
                <a:pos x="71" y="69"/>
              </a:cxn>
              <a:cxn ang="0">
                <a:pos x="66" y="67"/>
              </a:cxn>
              <a:cxn ang="0">
                <a:pos x="62" y="64"/>
              </a:cxn>
              <a:cxn ang="0">
                <a:pos x="54" y="59"/>
              </a:cxn>
              <a:cxn ang="0">
                <a:pos x="47" y="54"/>
              </a:cxn>
              <a:cxn ang="0">
                <a:pos x="44" y="57"/>
              </a:cxn>
              <a:cxn ang="0">
                <a:pos x="37" y="52"/>
              </a:cxn>
              <a:cxn ang="0">
                <a:pos x="34" y="52"/>
              </a:cxn>
              <a:cxn ang="0">
                <a:pos x="27" y="54"/>
              </a:cxn>
              <a:cxn ang="0">
                <a:pos x="20" y="52"/>
              </a:cxn>
              <a:cxn ang="0">
                <a:pos x="17" y="49"/>
              </a:cxn>
              <a:cxn ang="0">
                <a:pos x="10" y="59"/>
              </a:cxn>
              <a:cxn ang="0">
                <a:pos x="5" y="59"/>
              </a:cxn>
              <a:cxn ang="0">
                <a:pos x="2" y="57"/>
              </a:cxn>
              <a:cxn ang="0">
                <a:pos x="0" y="47"/>
              </a:cxn>
              <a:cxn ang="0">
                <a:pos x="2" y="42"/>
              </a:cxn>
              <a:cxn ang="0">
                <a:pos x="5" y="30"/>
              </a:cxn>
              <a:cxn ang="0">
                <a:pos x="10" y="25"/>
              </a:cxn>
              <a:cxn ang="0">
                <a:pos x="7" y="22"/>
              </a:cxn>
              <a:cxn ang="0">
                <a:pos x="7" y="15"/>
              </a:cxn>
              <a:cxn ang="0">
                <a:pos x="15" y="13"/>
              </a:cxn>
              <a:cxn ang="0">
                <a:pos x="15" y="10"/>
              </a:cxn>
              <a:cxn ang="0">
                <a:pos x="17" y="8"/>
              </a:cxn>
              <a:cxn ang="0">
                <a:pos x="22" y="8"/>
              </a:cxn>
              <a:cxn ang="0">
                <a:pos x="27" y="5"/>
              </a:cxn>
              <a:cxn ang="0">
                <a:pos x="30" y="0"/>
              </a:cxn>
              <a:cxn ang="0">
                <a:pos x="34" y="3"/>
              </a:cxn>
              <a:cxn ang="0">
                <a:pos x="42" y="32"/>
              </a:cxn>
              <a:cxn ang="0">
                <a:pos x="44" y="37"/>
              </a:cxn>
              <a:cxn ang="0">
                <a:pos x="47" y="37"/>
              </a:cxn>
              <a:cxn ang="0">
                <a:pos x="49" y="47"/>
              </a:cxn>
              <a:cxn ang="0">
                <a:pos x="52" y="42"/>
              </a:cxn>
              <a:cxn ang="0">
                <a:pos x="52" y="40"/>
              </a:cxn>
              <a:cxn ang="0">
                <a:pos x="54" y="42"/>
              </a:cxn>
              <a:cxn ang="0">
                <a:pos x="57" y="47"/>
              </a:cxn>
              <a:cxn ang="0">
                <a:pos x="59" y="49"/>
              </a:cxn>
              <a:cxn ang="0">
                <a:pos x="64" y="49"/>
              </a:cxn>
              <a:cxn ang="0">
                <a:pos x="69" y="52"/>
              </a:cxn>
              <a:cxn ang="0">
                <a:pos x="74" y="54"/>
              </a:cxn>
              <a:cxn ang="0">
                <a:pos x="79" y="62"/>
              </a:cxn>
              <a:cxn ang="0">
                <a:pos x="86" y="67"/>
              </a:cxn>
              <a:cxn ang="0">
                <a:pos x="89" y="69"/>
              </a:cxn>
              <a:cxn ang="0">
                <a:pos x="91" y="72"/>
              </a:cxn>
              <a:cxn ang="0">
                <a:pos x="94" y="77"/>
              </a:cxn>
              <a:cxn ang="0">
                <a:pos x="96" y="81"/>
              </a:cxn>
              <a:cxn ang="0">
                <a:pos x="98" y="84"/>
              </a:cxn>
              <a:cxn ang="0">
                <a:pos x="101" y="84"/>
              </a:cxn>
              <a:cxn ang="0">
                <a:pos x="103" y="86"/>
              </a:cxn>
              <a:cxn ang="0">
                <a:pos x="98" y="89"/>
              </a:cxn>
              <a:cxn ang="0">
                <a:pos x="94" y="91"/>
              </a:cxn>
            </a:cxnLst>
            <a:rect l="0" t="0" r="r" b="b"/>
            <a:pathLst>
              <a:path w="103" h="91">
                <a:moveTo>
                  <a:pt x="94" y="91"/>
                </a:moveTo>
                <a:lnTo>
                  <a:pt x="89" y="86"/>
                </a:lnTo>
                <a:lnTo>
                  <a:pt x="86" y="86"/>
                </a:lnTo>
                <a:lnTo>
                  <a:pt x="86" y="84"/>
                </a:lnTo>
                <a:lnTo>
                  <a:pt x="86" y="81"/>
                </a:lnTo>
                <a:lnTo>
                  <a:pt x="84" y="77"/>
                </a:lnTo>
                <a:lnTo>
                  <a:pt x="79" y="77"/>
                </a:lnTo>
                <a:lnTo>
                  <a:pt x="76" y="72"/>
                </a:lnTo>
                <a:lnTo>
                  <a:pt x="71" y="69"/>
                </a:lnTo>
                <a:lnTo>
                  <a:pt x="71" y="69"/>
                </a:lnTo>
                <a:lnTo>
                  <a:pt x="66" y="67"/>
                </a:lnTo>
                <a:lnTo>
                  <a:pt x="66" y="67"/>
                </a:lnTo>
                <a:lnTo>
                  <a:pt x="62" y="67"/>
                </a:lnTo>
                <a:lnTo>
                  <a:pt x="62" y="64"/>
                </a:lnTo>
                <a:lnTo>
                  <a:pt x="57" y="59"/>
                </a:lnTo>
                <a:lnTo>
                  <a:pt x="54" y="59"/>
                </a:lnTo>
                <a:lnTo>
                  <a:pt x="52" y="57"/>
                </a:lnTo>
                <a:lnTo>
                  <a:pt x="47" y="54"/>
                </a:lnTo>
                <a:lnTo>
                  <a:pt x="44" y="57"/>
                </a:lnTo>
                <a:lnTo>
                  <a:pt x="44" y="57"/>
                </a:lnTo>
                <a:lnTo>
                  <a:pt x="39" y="52"/>
                </a:lnTo>
                <a:lnTo>
                  <a:pt x="37" y="52"/>
                </a:lnTo>
                <a:lnTo>
                  <a:pt x="37" y="54"/>
                </a:lnTo>
                <a:lnTo>
                  <a:pt x="34" y="52"/>
                </a:lnTo>
                <a:lnTo>
                  <a:pt x="32" y="52"/>
                </a:lnTo>
                <a:lnTo>
                  <a:pt x="27" y="54"/>
                </a:lnTo>
                <a:lnTo>
                  <a:pt x="25" y="54"/>
                </a:lnTo>
                <a:lnTo>
                  <a:pt x="20" y="52"/>
                </a:lnTo>
                <a:lnTo>
                  <a:pt x="17" y="52"/>
                </a:lnTo>
                <a:lnTo>
                  <a:pt x="17" y="49"/>
                </a:lnTo>
                <a:lnTo>
                  <a:pt x="12" y="59"/>
                </a:lnTo>
                <a:lnTo>
                  <a:pt x="10" y="59"/>
                </a:lnTo>
                <a:lnTo>
                  <a:pt x="10" y="59"/>
                </a:lnTo>
                <a:lnTo>
                  <a:pt x="5" y="59"/>
                </a:lnTo>
                <a:lnTo>
                  <a:pt x="2" y="59"/>
                </a:lnTo>
                <a:lnTo>
                  <a:pt x="2" y="57"/>
                </a:lnTo>
                <a:lnTo>
                  <a:pt x="0" y="49"/>
                </a:lnTo>
                <a:lnTo>
                  <a:pt x="0" y="47"/>
                </a:lnTo>
                <a:lnTo>
                  <a:pt x="2" y="45"/>
                </a:lnTo>
                <a:lnTo>
                  <a:pt x="2" y="42"/>
                </a:lnTo>
                <a:lnTo>
                  <a:pt x="5" y="37"/>
                </a:lnTo>
                <a:lnTo>
                  <a:pt x="5" y="30"/>
                </a:lnTo>
                <a:lnTo>
                  <a:pt x="7" y="25"/>
                </a:lnTo>
                <a:lnTo>
                  <a:pt x="10" y="25"/>
                </a:lnTo>
                <a:lnTo>
                  <a:pt x="7" y="22"/>
                </a:lnTo>
                <a:lnTo>
                  <a:pt x="7" y="22"/>
                </a:lnTo>
                <a:lnTo>
                  <a:pt x="7" y="17"/>
                </a:lnTo>
                <a:lnTo>
                  <a:pt x="7" y="15"/>
                </a:lnTo>
                <a:lnTo>
                  <a:pt x="10" y="13"/>
                </a:lnTo>
                <a:lnTo>
                  <a:pt x="15" y="13"/>
                </a:lnTo>
                <a:lnTo>
                  <a:pt x="15" y="13"/>
                </a:lnTo>
                <a:lnTo>
                  <a:pt x="15" y="10"/>
                </a:lnTo>
                <a:lnTo>
                  <a:pt x="15" y="8"/>
                </a:lnTo>
                <a:lnTo>
                  <a:pt x="17" y="8"/>
                </a:lnTo>
                <a:lnTo>
                  <a:pt x="20" y="8"/>
                </a:lnTo>
                <a:lnTo>
                  <a:pt x="22" y="8"/>
                </a:lnTo>
                <a:lnTo>
                  <a:pt x="22" y="5"/>
                </a:lnTo>
                <a:lnTo>
                  <a:pt x="27" y="5"/>
                </a:lnTo>
                <a:lnTo>
                  <a:pt x="30" y="3"/>
                </a:lnTo>
                <a:lnTo>
                  <a:pt x="30" y="0"/>
                </a:lnTo>
                <a:lnTo>
                  <a:pt x="30" y="0"/>
                </a:lnTo>
                <a:lnTo>
                  <a:pt x="34" y="3"/>
                </a:lnTo>
                <a:lnTo>
                  <a:pt x="42" y="20"/>
                </a:lnTo>
                <a:lnTo>
                  <a:pt x="42" y="32"/>
                </a:lnTo>
                <a:lnTo>
                  <a:pt x="44" y="32"/>
                </a:lnTo>
                <a:lnTo>
                  <a:pt x="44" y="37"/>
                </a:lnTo>
                <a:lnTo>
                  <a:pt x="44" y="37"/>
                </a:lnTo>
                <a:lnTo>
                  <a:pt x="47" y="37"/>
                </a:lnTo>
                <a:lnTo>
                  <a:pt x="49" y="42"/>
                </a:lnTo>
                <a:lnTo>
                  <a:pt x="49" y="47"/>
                </a:lnTo>
                <a:lnTo>
                  <a:pt x="52" y="47"/>
                </a:lnTo>
                <a:lnTo>
                  <a:pt x="52" y="42"/>
                </a:lnTo>
                <a:lnTo>
                  <a:pt x="52" y="42"/>
                </a:lnTo>
                <a:lnTo>
                  <a:pt x="52" y="40"/>
                </a:lnTo>
                <a:lnTo>
                  <a:pt x="52" y="40"/>
                </a:lnTo>
                <a:lnTo>
                  <a:pt x="54" y="42"/>
                </a:lnTo>
                <a:lnTo>
                  <a:pt x="54" y="45"/>
                </a:lnTo>
                <a:lnTo>
                  <a:pt x="57" y="47"/>
                </a:lnTo>
                <a:lnTo>
                  <a:pt x="59" y="49"/>
                </a:lnTo>
                <a:lnTo>
                  <a:pt x="59" y="49"/>
                </a:lnTo>
                <a:lnTo>
                  <a:pt x="62" y="49"/>
                </a:lnTo>
                <a:lnTo>
                  <a:pt x="64" y="49"/>
                </a:lnTo>
                <a:lnTo>
                  <a:pt x="64" y="49"/>
                </a:lnTo>
                <a:lnTo>
                  <a:pt x="69" y="52"/>
                </a:lnTo>
                <a:lnTo>
                  <a:pt x="69" y="54"/>
                </a:lnTo>
                <a:lnTo>
                  <a:pt x="74" y="54"/>
                </a:lnTo>
                <a:lnTo>
                  <a:pt x="74" y="57"/>
                </a:lnTo>
                <a:lnTo>
                  <a:pt x="79" y="62"/>
                </a:lnTo>
                <a:lnTo>
                  <a:pt x="81" y="67"/>
                </a:lnTo>
                <a:lnTo>
                  <a:pt x="86" y="67"/>
                </a:lnTo>
                <a:lnTo>
                  <a:pt x="89" y="69"/>
                </a:lnTo>
                <a:lnTo>
                  <a:pt x="89" y="69"/>
                </a:lnTo>
                <a:lnTo>
                  <a:pt x="89" y="69"/>
                </a:lnTo>
                <a:lnTo>
                  <a:pt x="91" y="72"/>
                </a:lnTo>
                <a:lnTo>
                  <a:pt x="94" y="77"/>
                </a:lnTo>
                <a:lnTo>
                  <a:pt x="94" y="77"/>
                </a:lnTo>
                <a:lnTo>
                  <a:pt x="96" y="81"/>
                </a:lnTo>
                <a:lnTo>
                  <a:pt x="96" y="81"/>
                </a:lnTo>
                <a:lnTo>
                  <a:pt x="98" y="84"/>
                </a:lnTo>
                <a:lnTo>
                  <a:pt x="98" y="84"/>
                </a:lnTo>
                <a:lnTo>
                  <a:pt x="101" y="84"/>
                </a:lnTo>
                <a:lnTo>
                  <a:pt x="101" y="84"/>
                </a:lnTo>
                <a:lnTo>
                  <a:pt x="103" y="84"/>
                </a:lnTo>
                <a:lnTo>
                  <a:pt x="103" y="86"/>
                </a:lnTo>
                <a:lnTo>
                  <a:pt x="101" y="89"/>
                </a:lnTo>
                <a:lnTo>
                  <a:pt x="98" y="89"/>
                </a:lnTo>
                <a:lnTo>
                  <a:pt x="96" y="91"/>
                </a:lnTo>
                <a:lnTo>
                  <a:pt x="94" y="91"/>
                </a:lnTo>
                <a:lnTo>
                  <a:pt x="94" y="9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0" name="Freeform 109"/>
          <p:cNvSpPr>
            <a:spLocks/>
          </p:cNvSpPr>
          <p:nvPr/>
        </p:nvSpPr>
        <p:spPr bwMode="auto">
          <a:xfrm>
            <a:off x="5805994" y="4145239"/>
            <a:ext cx="39142" cy="41474"/>
          </a:xfrm>
          <a:custGeom>
            <a:avLst/>
            <a:gdLst/>
            <a:ahLst/>
            <a:cxnLst>
              <a:cxn ang="0">
                <a:pos x="19" y="25"/>
              </a:cxn>
              <a:cxn ang="0">
                <a:pos x="14" y="25"/>
              </a:cxn>
              <a:cxn ang="0">
                <a:pos x="12" y="25"/>
              </a:cxn>
              <a:cxn ang="0">
                <a:pos x="7" y="27"/>
              </a:cxn>
              <a:cxn ang="0">
                <a:pos x="2" y="27"/>
              </a:cxn>
              <a:cxn ang="0">
                <a:pos x="0" y="25"/>
              </a:cxn>
              <a:cxn ang="0">
                <a:pos x="2" y="22"/>
              </a:cxn>
              <a:cxn ang="0">
                <a:pos x="2" y="20"/>
              </a:cxn>
              <a:cxn ang="0">
                <a:pos x="5" y="18"/>
              </a:cxn>
              <a:cxn ang="0">
                <a:pos x="5" y="13"/>
              </a:cxn>
              <a:cxn ang="0">
                <a:pos x="5" y="10"/>
              </a:cxn>
              <a:cxn ang="0">
                <a:pos x="7" y="5"/>
              </a:cxn>
              <a:cxn ang="0">
                <a:pos x="12" y="5"/>
              </a:cxn>
              <a:cxn ang="0">
                <a:pos x="14" y="3"/>
              </a:cxn>
              <a:cxn ang="0">
                <a:pos x="17" y="3"/>
              </a:cxn>
              <a:cxn ang="0">
                <a:pos x="19" y="0"/>
              </a:cxn>
              <a:cxn ang="0">
                <a:pos x="19" y="0"/>
              </a:cxn>
              <a:cxn ang="0">
                <a:pos x="19" y="0"/>
              </a:cxn>
              <a:cxn ang="0">
                <a:pos x="22" y="3"/>
              </a:cxn>
              <a:cxn ang="0">
                <a:pos x="24" y="3"/>
              </a:cxn>
              <a:cxn ang="0">
                <a:pos x="24" y="5"/>
              </a:cxn>
              <a:cxn ang="0">
                <a:pos x="24" y="10"/>
              </a:cxn>
              <a:cxn ang="0">
                <a:pos x="22" y="10"/>
              </a:cxn>
              <a:cxn ang="0">
                <a:pos x="19" y="15"/>
              </a:cxn>
              <a:cxn ang="0">
                <a:pos x="17" y="15"/>
              </a:cxn>
              <a:cxn ang="0">
                <a:pos x="17" y="18"/>
              </a:cxn>
              <a:cxn ang="0">
                <a:pos x="12" y="18"/>
              </a:cxn>
              <a:cxn ang="0">
                <a:pos x="14" y="18"/>
              </a:cxn>
              <a:cxn ang="0">
                <a:pos x="14" y="18"/>
              </a:cxn>
              <a:cxn ang="0">
                <a:pos x="17" y="18"/>
              </a:cxn>
              <a:cxn ang="0">
                <a:pos x="22" y="18"/>
              </a:cxn>
              <a:cxn ang="0">
                <a:pos x="22" y="18"/>
              </a:cxn>
              <a:cxn ang="0">
                <a:pos x="19" y="25"/>
              </a:cxn>
              <a:cxn ang="0">
                <a:pos x="19" y="25"/>
              </a:cxn>
              <a:cxn ang="0">
                <a:pos x="19" y="25"/>
              </a:cxn>
            </a:cxnLst>
            <a:rect l="0" t="0" r="r" b="b"/>
            <a:pathLst>
              <a:path w="24" h="27">
                <a:moveTo>
                  <a:pt x="19" y="25"/>
                </a:moveTo>
                <a:lnTo>
                  <a:pt x="14" y="25"/>
                </a:lnTo>
                <a:lnTo>
                  <a:pt x="12" y="25"/>
                </a:lnTo>
                <a:lnTo>
                  <a:pt x="7" y="27"/>
                </a:lnTo>
                <a:lnTo>
                  <a:pt x="2" y="27"/>
                </a:lnTo>
                <a:lnTo>
                  <a:pt x="0" y="25"/>
                </a:lnTo>
                <a:lnTo>
                  <a:pt x="2" y="22"/>
                </a:lnTo>
                <a:lnTo>
                  <a:pt x="2" y="20"/>
                </a:lnTo>
                <a:lnTo>
                  <a:pt x="5" y="18"/>
                </a:lnTo>
                <a:lnTo>
                  <a:pt x="5" y="13"/>
                </a:lnTo>
                <a:lnTo>
                  <a:pt x="5" y="10"/>
                </a:lnTo>
                <a:lnTo>
                  <a:pt x="7" y="5"/>
                </a:lnTo>
                <a:lnTo>
                  <a:pt x="12" y="5"/>
                </a:lnTo>
                <a:lnTo>
                  <a:pt x="14" y="3"/>
                </a:lnTo>
                <a:lnTo>
                  <a:pt x="17" y="3"/>
                </a:lnTo>
                <a:lnTo>
                  <a:pt x="19" y="0"/>
                </a:lnTo>
                <a:lnTo>
                  <a:pt x="19" y="0"/>
                </a:lnTo>
                <a:lnTo>
                  <a:pt x="19" y="0"/>
                </a:lnTo>
                <a:lnTo>
                  <a:pt x="22" y="3"/>
                </a:lnTo>
                <a:lnTo>
                  <a:pt x="24" y="3"/>
                </a:lnTo>
                <a:lnTo>
                  <a:pt x="24" y="5"/>
                </a:lnTo>
                <a:lnTo>
                  <a:pt x="24" y="10"/>
                </a:lnTo>
                <a:lnTo>
                  <a:pt x="22" y="10"/>
                </a:lnTo>
                <a:lnTo>
                  <a:pt x="19" y="15"/>
                </a:lnTo>
                <a:lnTo>
                  <a:pt x="17" y="15"/>
                </a:lnTo>
                <a:lnTo>
                  <a:pt x="17" y="18"/>
                </a:lnTo>
                <a:lnTo>
                  <a:pt x="12" y="18"/>
                </a:lnTo>
                <a:lnTo>
                  <a:pt x="14" y="18"/>
                </a:lnTo>
                <a:lnTo>
                  <a:pt x="14" y="18"/>
                </a:lnTo>
                <a:lnTo>
                  <a:pt x="17" y="18"/>
                </a:lnTo>
                <a:lnTo>
                  <a:pt x="22" y="18"/>
                </a:lnTo>
                <a:lnTo>
                  <a:pt x="22" y="18"/>
                </a:lnTo>
                <a:lnTo>
                  <a:pt x="19" y="25"/>
                </a:lnTo>
                <a:lnTo>
                  <a:pt x="19" y="25"/>
                </a:lnTo>
                <a:lnTo>
                  <a:pt x="19" y="2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1" name="Freeform 110"/>
          <p:cNvSpPr>
            <a:spLocks/>
          </p:cNvSpPr>
          <p:nvPr/>
        </p:nvSpPr>
        <p:spPr bwMode="auto">
          <a:xfrm>
            <a:off x="5789684" y="4160600"/>
            <a:ext cx="260953" cy="325640"/>
          </a:xfrm>
          <a:custGeom>
            <a:avLst/>
            <a:gdLst/>
            <a:ahLst/>
            <a:cxnLst>
              <a:cxn ang="0">
                <a:pos x="17" y="123"/>
              </a:cxn>
              <a:cxn ang="0">
                <a:pos x="29" y="118"/>
              </a:cxn>
              <a:cxn ang="0">
                <a:pos x="39" y="111"/>
              </a:cxn>
              <a:cxn ang="0">
                <a:pos x="54" y="108"/>
              </a:cxn>
              <a:cxn ang="0">
                <a:pos x="91" y="62"/>
              </a:cxn>
              <a:cxn ang="0">
                <a:pos x="37" y="42"/>
              </a:cxn>
              <a:cxn ang="0">
                <a:pos x="32" y="32"/>
              </a:cxn>
              <a:cxn ang="0">
                <a:pos x="29" y="15"/>
              </a:cxn>
              <a:cxn ang="0">
                <a:pos x="34" y="10"/>
              </a:cxn>
              <a:cxn ang="0">
                <a:pos x="47" y="25"/>
              </a:cxn>
              <a:cxn ang="0">
                <a:pos x="59" y="27"/>
              </a:cxn>
              <a:cxn ang="0">
                <a:pos x="66" y="22"/>
              </a:cxn>
              <a:cxn ang="0">
                <a:pos x="74" y="20"/>
              </a:cxn>
              <a:cxn ang="0">
                <a:pos x="83" y="20"/>
              </a:cxn>
              <a:cxn ang="0">
                <a:pos x="98" y="15"/>
              </a:cxn>
              <a:cxn ang="0">
                <a:pos x="108" y="15"/>
              </a:cxn>
              <a:cxn ang="0">
                <a:pos x="120" y="12"/>
              </a:cxn>
              <a:cxn ang="0">
                <a:pos x="133" y="10"/>
              </a:cxn>
              <a:cxn ang="0">
                <a:pos x="138" y="8"/>
              </a:cxn>
              <a:cxn ang="0">
                <a:pos x="145" y="5"/>
              </a:cxn>
              <a:cxn ang="0">
                <a:pos x="147" y="0"/>
              </a:cxn>
              <a:cxn ang="0">
                <a:pos x="152" y="3"/>
              </a:cxn>
              <a:cxn ang="0">
                <a:pos x="157" y="3"/>
              </a:cxn>
              <a:cxn ang="0">
                <a:pos x="155" y="10"/>
              </a:cxn>
              <a:cxn ang="0">
                <a:pos x="157" y="15"/>
              </a:cxn>
              <a:cxn ang="0">
                <a:pos x="155" y="20"/>
              </a:cxn>
              <a:cxn ang="0">
                <a:pos x="155" y="27"/>
              </a:cxn>
              <a:cxn ang="0">
                <a:pos x="157" y="25"/>
              </a:cxn>
              <a:cxn ang="0">
                <a:pos x="157" y="27"/>
              </a:cxn>
              <a:cxn ang="0">
                <a:pos x="152" y="32"/>
              </a:cxn>
              <a:cxn ang="0">
                <a:pos x="152" y="40"/>
              </a:cxn>
              <a:cxn ang="0">
                <a:pos x="143" y="59"/>
              </a:cxn>
              <a:cxn ang="0">
                <a:pos x="135" y="64"/>
              </a:cxn>
              <a:cxn ang="0">
                <a:pos x="135" y="69"/>
              </a:cxn>
              <a:cxn ang="0">
                <a:pos x="120" y="99"/>
              </a:cxn>
              <a:cxn ang="0">
                <a:pos x="108" y="121"/>
              </a:cxn>
              <a:cxn ang="0">
                <a:pos x="79" y="150"/>
              </a:cxn>
              <a:cxn ang="0">
                <a:pos x="61" y="160"/>
              </a:cxn>
              <a:cxn ang="0">
                <a:pos x="44" y="175"/>
              </a:cxn>
              <a:cxn ang="0">
                <a:pos x="32" y="190"/>
              </a:cxn>
              <a:cxn ang="0">
                <a:pos x="24" y="197"/>
              </a:cxn>
              <a:cxn ang="0">
                <a:pos x="0" y="202"/>
              </a:cxn>
              <a:cxn ang="0">
                <a:pos x="15" y="126"/>
              </a:cxn>
            </a:cxnLst>
            <a:rect l="0" t="0" r="r" b="b"/>
            <a:pathLst>
              <a:path w="160" h="212">
                <a:moveTo>
                  <a:pt x="15" y="126"/>
                </a:moveTo>
                <a:lnTo>
                  <a:pt x="15" y="126"/>
                </a:lnTo>
                <a:lnTo>
                  <a:pt x="17" y="123"/>
                </a:lnTo>
                <a:lnTo>
                  <a:pt x="22" y="121"/>
                </a:lnTo>
                <a:lnTo>
                  <a:pt x="27" y="121"/>
                </a:lnTo>
                <a:lnTo>
                  <a:pt x="29" y="118"/>
                </a:lnTo>
                <a:lnTo>
                  <a:pt x="34" y="116"/>
                </a:lnTo>
                <a:lnTo>
                  <a:pt x="34" y="113"/>
                </a:lnTo>
                <a:lnTo>
                  <a:pt x="39" y="111"/>
                </a:lnTo>
                <a:lnTo>
                  <a:pt x="42" y="111"/>
                </a:lnTo>
                <a:lnTo>
                  <a:pt x="44" y="108"/>
                </a:lnTo>
                <a:lnTo>
                  <a:pt x="54" y="108"/>
                </a:lnTo>
                <a:lnTo>
                  <a:pt x="64" y="108"/>
                </a:lnTo>
                <a:lnTo>
                  <a:pt x="111" y="62"/>
                </a:lnTo>
                <a:lnTo>
                  <a:pt x="91" y="62"/>
                </a:lnTo>
                <a:lnTo>
                  <a:pt x="47" y="47"/>
                </a:lnTo>
                <a:lnTo>
                  <a:pt x="42" y="44"/>
                </a:lnTo>
                <a:lnTo>
                  <a:pt x="37" y="42"/>
                </a:lnTo>
                <a:lnTo>
                  <a:pt x="34" y="40"/>
                </a:lnTo>
                <a:lnTo>
                  <a:pt x="34" y="35"/>
                </a:lnTo>
                <a:lnTo>
                  <a:pt x="32" y="32"/>
                </a:lnTo>
                <a:lnTo>
                  <a:pt x="29" y="22"/>
                </a:lnTo>
                <a:lnTo>
                  <a:pt x="27" y="17"/>
                </a:lnTo>
                <a:lnTo>
                  <a:pt x="29" y="15"/>
                </a:lnTo>
                <a:lnTo>
                  <a:pt x="32" y="8"/>
                </a:lnTo>
                <a:lnTo>
                  <a:pt x="34" y="10"/>
                </a:lnTo>
                <a:lnTo>
                  <a:pt x="34" y="10"/>
                </a:lnTo>
                <a:lnTo>
                  <a:pt x="44" y="22"/>
                </a:lnTo>
                <a:lnTo>
                  <a:pt x="44" y="22"/>
                </a:lnTo>
                <a:lnTo>
                  <a:pt x="47" y="25"/>
                </a:lnTo>
                <a:lnTo>
                  <a:pt x="49" y="27"/>
                </a:lnTo>
                <a:lnTo>
                  <a:pt x="54" y="27"/>
                </a:lnTo>
                <a:lnTo>
                  <a:pt x="59" y="27"/>
                </a:lnTo>
                <a:lnTo>
                  <a:pt x="59" y="27"/>
                </a:lnTo>
                <a:lnTo>
                  <a:pt x="64" y="25"/>
                </a:lnTo>
                <a:lnTo>
                  <a:pt x="66" y="22"/>
                </a:lnTo>
                <a:lnTo>
                  <a:pt x="71" y="20"/>
                </a:lnTo>
                <a:lnTo>
                  <a:pt x="74" y="20"/>
                </a:lnTo>
                <a:lnTo>
                  <a:pt x="74" y="20"/>
                </a:lnTo>
                <a:lnTo>
                  <a:pt x="79" y="20"/>
                </a:lnTo>
                <a:lnTo>
                  <a:pt x="79" y="20"/>
                </a:lnTo>
                <a:lnTo>
                  <a:pt x="83" y="20"/>
                </a:lnTo>
                <a:lnTo>
                  <a:pt x="86" y="20"/>
                </a:lnTo>
                <a:lnTo>
                  <a:pt x="96" y="15"/>
                </a:lnTo>
                <a:lnTo>
                  <a:pt x="98" y="15"/>
                </a:lnTo>
                <a:lnTo>
                  <a:pt x="103" y="15"/>
                </a:lnTo>
                <a:lnTo>
                  <a:pt x="106" y="15"/>
                </a:lnTo>
                <a:lnTo>
                  <a:pt x="108" y="15"/>
                </a:lnTo>
                <a:lnTo>
                  <a:pt x="113" y="12"/>
                </a:lnTo>
                <a:lnTo>
                  <a:pt x="118" y="12"/>
                </a:lnTo>
                <a:lnTo>
                  <a:pt x="120" y="12"/>
                </a:lnTo>
                <a:lnTo>
                  <a:pt x="120" y="12"/>
                </a:lnTo>
                <a:lnTo>
                  <a:pt x="128" y="12"/>
                </a:lnTo>
                <a:lnTo>
                  <a:pt x="133" y="10"/>
                </a:lnTo>
                <a:lnTo>
                  <a:pt x="135" y="10"/>
                </a:lnTo>
                <a:lnTo>
                  <a:pt x="138" y="10"/>
                </a:lnTo>
                <a:lnTo>
                  <a:pt x="138" y="8"/>
                </a:lnTo>
                <a:lnTo>
                  <a:pt x="143" y="8"/>
                </a:lnTo>
                <a:lnTo>
                  <a:pt x="145" y="5"/>
                </a:lnTo>
                <a:lnTo>
                  <a:pt x="145" y="5"/>
                </a:lnTo>
                <a:lnTo>
                  <a:pt x="147" y="3"/>
                </a:lnTo>
                <a:lnTo>
                  <a:pt x="147" y="3"/>
                </a:lnTo>
                <a:lnTo>
                  <a:pt x="147" y="0"/>
                </a:lnTo>
                <a:lnTo>
                  <a:pt x="150" y="3"/>
                </a:lnTo>
                <a:lnTo>
                  <a:pt x="150" y="0"/>
                </a:lnTo>
                <a:lnTo>
                  <a:pt x="152" y="3"/>
                </a:lnTo>
                <a:lnTo>
                  <a:pt x="155" y="3"/>
                </a:lnTo>
                <a:lnTo>
                  <a:pt x="157" y="3"/>
                </a:lnTo>
                <a:lnTo>
                  <a:pt x="157" y="3"/>
                </a:lnTo>
                <a:lnTo>
                  <a:pt x="157" y="5"/>
                </a:lnTo>
                <a:lnTo>
                  <a:pt x="155" y="8"/>
                </a:lnTo>
                <a:lnTo>
                  <a:pt x="155" y="10"/>
                </a:lnTo>
                <a:lnTo>
                  <a:pt x="155" y="12"/>
                </a:lnTo>
                <a:lnTo>
                  <a:pt x="155" y="15"/>
                </a:lnTo>
                <a:lnTo>
                  <a:pt x="157" y="15"/>
                </a:lnTo>
                <a:lnTo>
                  <a:pt x="157" y="15"/>
                </a:lnTo>
                <a:lnTo>
                  <a:pt x="155" y="17"/>
                </a:lnTo>
                <a:lnTo>
                  <a:pt x="155" y="20"/>
                </a:lnTo>
                <a:lnTo>
                  <a:pt x="155" y="22"/>
                </a:lnTo>
                <a:lnTo>
                  <a:pt x="157" y="25"/>
                </a:lnTo>
                <a:lnTo>
                  <a:pt x="155" y="27"/>
                </a:lnTo>
                <a:lnTo>
                  <a:pt x="157" y="27"/>
                </a:lnTo>
                <a:lnTo>
                  <a:pt x="157" y="25"/>
                </a:lnTo>
                <a:lnTo>
                  <a:pt x="157" y="25"/>
                </a:lnTo>
                <a:lnTo>
                  <a:pt x="160" y="27"/>
                </a:lnTo>
                <a:lnTo>
                  <a:pt x="157" y="27"/>
                </a:lnTo>
                <a:lnTo>
                  <a:pt x="157" y="27"/>
                </a:lnTo>
                <a:lnTo>
                  <a:pt x="155" y="27"/>
                </a:lnTo>
                <a:lnTo>
                  <a:pt x="155" y="27"/>
                </a:lnTo>
                <a:lnTo>
                  <a:pt x="152" y="32"/>
                </a:lnTo>
                <a:lnTo>
                  <a:pt x="152" y="35"/>
                </a:lnTo>
                <a:lnTo>
                  <a:pt x="152" y="37"/>
                </a:lnTo>
                <a:lnTo>
                  <a:pt x="152" y="40"/>
                </a:lnTo>
                <a:lnTo>
                  <a:pt x="152" y="42"/>
                </a:lnTo>
                <a:lnTo>
                  <a:pt x="147" y="49"/>
                </a:lnTo>
                <a:lnTo>
                  <a:pt x="143" y="59"/>
                </a:lnTo>
                <a:lnTo>
                  <a:pt x="140" y="62"/>
                </a:lnTo>
                <a:lnTo>
                  <a:pt x="140" y="62"/>
                </a:lnTo>
                <a:lnTo>
                  <a:pt x="135" y="64"/>
                </a:lnTo>
                <a:lnTo>
                  <a:pt x="135" y="67"/>
                </a:lnTo>
                <a:lnTo>
                  <a:pt x="138" y="69"/>
                </a:lnTo>
                <a:lnTo>
                  <a:pt x="135" y="69"/>
                </a:lnTo>
                <a:lnTo>
                  <a:pt x="125" y="86"/>
                </a:lnTo>
                <a:lnTo>
                  <a:pt x="125" y="91"/>
                </a:lnTo>
                <a:lnTo>
                  <a:pt x="120" y="99"/>
                </a:lnTo>
                <a:lnTo>
                  <a:pt x="120" y="101"/>
                </a:lnTo>
                <a:lnTo>
                  <a:pt x="111" y="116"/>
                </a:lnTo>
                <a:lnTo>
                  <a:pt x="108" y="121"/>
                </a:lnTo>
                <a:lnTo>
                  <a:pt x="103" y="126"/>
                </a:lnTo>
                <a:lnTo>
                  <a:pt x="96" y="135"/>
                </a:lnTo>
                <a:lnTo>
                  <a:pt x="79" y="150"/>
                </a:lnTo>
                <a:lnTo>
                  <a:pt x="71" y="155"/>
                </a:lnTo>
                <a:lnTo>
                  <a:pt x="66" y="158"/>
                </a:lnTo>
                <a:lnTo>
                  <a:pt x="61" y="160"/>
                </a:lnTo>
                <a:lnTo>
                  <a:pt x="56" y="165"/>
                </a:lnTo>
                <a:lnTo>
                  <a:pt x="47" y="175"/>
                </a:lnTo>
                <a:lnTo>
                  <a:pt x="44" y="175"/>
                </a:lnTo>
                <a:lnTo>
                  <a:pt x="34" y="185"/>
                </a:lnTo>
                <a:lnTo>
                  <a:pt x="34" y="187"/>
                </a:lnTo>
                <a:lnTo>
                  <a:pt x="32" y="190"/>
                </a:lnTo>
                <a:lnTo>
                  <a:pt x="29" y="190"/>
                </a:lnTo>
                <a:lnTo>
                  <a:pt x="24" y="192"/>
                </a:lnTo>
                <a:lnTo>
                  <a:pt x="24" y="197"/>
                </a:lnTo>
                <a:lnTo>
                  <a:pt x="12" y="209"/>
                </a:lnTo>
                <a:lnTo>
                  <a:pt x="12" y="212"/>
                </a:lnTo>
                <a:lnTo>
                  <a:pt x="0" y="202"/>
                </a:lnTo>
                <a:lnTo>
                  <a:pt x="0" y="140"/>
                </a:lnTo>
                <a:lnTo>
                  <a:pt x="15" y="126"/>
                </a:lnTo>
                <a:lnTo>
                  <a:pt x="15" y="126"/>
                </a:lnTo>
                <a:lnTo>
                  <a:pt x="15" y="12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2" name="Freeform 111"/>
          <p:cNvSpPr>
            <a:spLocks noEditPoints="1"/>
          </p:cNvSpPr>
          <p:nvPr/>
        </p:nvSpPr>
        <p:spPr bwMode="auto">
          <a:xfrm>
            <a:off x="5548302" y="4315740"/>
            <a:ext cx="265846" cy="241158"/>
          </a:xfrm>
          <a:custGeom>
            <a:avLst/>
            <a:gdLst/>
            <a:ahLst/>
            <a:cxnLst>
              <a:cxn ang="0">
                <a:pos x="42" y="17"/>
              </a:cxn>
              <a:cxn ang="0">
                <a:pos x="45" y="15"/>
              </a:cxn>
              <a:cxn ang="0">
                <a:pos x="49" y="12"/>
              </a:cxn>
              <a:cxn ang="0">
                <a:pos x="59" y="0"/>
              </a:cxn>
              <a:cxn ang="0">
                <a:pos x="64" y="2"/>
              </a:cxn>
              <a:cxn ang="0">
                <a:pos x="67" y="12"/>
              </a:cxn>
              <a:cxn ang="0">
                <a:pos x="72" y="17"/>
              </a:cxn>
              <a:cxn ang="0">
                <a:pos x="79" y="15"/>
              </a:cxn>
              <a:cxn ang="0">
                <a:pos x="91" y="17"/>
              </a:cxn>
              <a:cxn ang="0">
                <a:pos x="101" y="27"/>
              </a:cxn>
              <a:cxn ang="0">
                <a:pos x="106" y="30"/>
              </a:cxn>
              <a:cxn ang="0">
                <a:pos x="113" y="32"/>
              </a:cxn>
              <a:cxn ang="0">
                <a:pos x="121" y="32"/>
              </a:cxn>
              <a:cxn ang="0">
                <a:pos x="126" y="32"/>
              </a:cxn>
              <a:cxn ang="0">
                <a:pos x="133" y="22"/>
              </a:cxn>
              <a:cxn ang="0">
                <a:pos x="138" y="22"/>
              </a:cxn>
              <a:cxn ang="0">
                <a:pos x="145" y="20"/>
              </a:cxn>
              <a:cxn ang="0">
                <a:pos x="150" y="25"/>
              </a:cxn>
              <a:cxn ang="0">
                <a:pos x="158" y="25"/>
              </a:cxn>
              <a:cxn ang="0">
                <a:pos x="148" y="39"/>
              </a:cxn>
              <a:cxn ang="0">
                <a:pos x="160" y="111"/>
              </a:cxn>
              <a:cxn ang="0">
                <a:pos x="153" y="116"/>
              </a:cxn>
              <a:cxn ang="0">
                <a:pos x="150" y="118"/>
              </a:cxn>
              <a:cxn ang="0">
                <a:pos x="145" y="123"/>
              </a:cxn>
              <a:cxn ang="0">
                <a:pos x="138" y="125"/>
              </a:cxn>
              <a:cxn ang="0">
                <a:pos x="138" y="128"/>
              </a:cxn>
              <a:cxn ang="0">
                <a:pos x="136" y="133"/>
              </a:cxn>
              <a:cxn ang="0">
                <a:pos x="133" y="138"/>
              </a:cxn>
              <a:cxn ang="0">
                <a:pos x="131" y="143"/>
              </a:cxn>
              <a:cxn ang="0">
                <a:pos x="123" y="157"/>
              </a:cxn>
              <a:cxn ang="0">
                <a:pos x="118" y="157"/>
              </a:cxn>
              <a:cxn ang="0">
                <a:pos x="99" y="143"/>
              </a:cxn>
              <a:cxn ang="0">
                <a:pos x="99" y="140"/>
              </a:cxn>
              <a:cxn ang="0">
                <a:pos x="37" y="101"/>
              </a:cxn>
              <a:cxn ang="0">
                <a:pos x="37" y="86"/>
              </a:cxn>
              <a:cxn ang="0">
                <a:pos x="42" y="79"/>
              </a:cxn>
              <a:cxn ang="0">
                <a:pos x="45" y="74"/>
              </a:cxn>
              <a:cxn ang="0">
                <a:pos x="49" y="69"/>
              </a:cxn>
              <a:cxn ang="0">
                <a:pos x="54" y="66"/>
              </a:cxn>
              <a:cxn ang="0">
                <a:pos x="54" y="62"/>
              </a:cxn>
              <a:cxn ang="0">
                <a:pos x="59" y="54"/>
              </a:cxn>
              <a:cxn ang="0">
                <a:pos x="54" y="49"/>
              </a:cxn>
              <a:cxn ang="0">
                <a:pos x="54" y="47"/>
              </a:cxn>
              <a:cxn ang="0">
                <a:pos x="52" y="39"/>
              </a:cxn>
              <a:cxn ang="0">
                <a:pos x="47" y="34"/>
              </a:cxn>
              <a:cxn ang="0">
                <a:pos x="45" y="30"/>
              </a:cxn>
              <a:cxn ang="0">
                <a:pos x="42" y="27"/>
              </a:cxn>
              <a:cxn ang="0">
                <a:pos x="40" y="20"/>
              </a:cxn>
              <a:cxn ang="0">
                <a:pos x="40" y="20"/>
              </a:cxn>
              <a:cxn ang="0">
                <a:pos x="40" y="20"/>
              </a:cxn>
              <a:cxn ang="0">
                <a:pos x="5" y="103"/>
              </a:cxn>
              <a:cxn ang="0">
                <a:pos x="0" y="103"/>
              </a:cxn>
              <a:cxn ang="0">
                <a:pos x="0" y="103"/>
              </a:cxn>
            </a:cxnLst>
            <a:rect l="0" t="0" r="r" b="b"/>
            <a:pathLst>
              <a:path w="163" h="157">
                <a:moveTo>
                  <a:pt x="40" y="20"/>
                </a:moveTo>
                <a:lnTo>
                  <a:pt x="42" y="17"/>
                </a:lnTo>
                <a:lnTo>
                  <a:pt x="45" y="17"/>
                </a:lnTo>
                <a:lnTo>
                  <a:pt x="45" y="15"/>
                </a:lnTo>
                <a:lnTo>
                  <a:pt x="47" y="12"/>
                </a:lnTo>
                <a:lnTo>
                  <a:pt x="49" y="12"/>
                </a:lnTo>
                <a:lnTo>
                  <a:pt x="54" y="7"/>
                </a:lnTo>
                <a:lnTo>
                  <a:pt x="59" y="0"/>
                </a:lnTo>
                <a:lnTo>
                  <a:pt x="62" y="2"/>
                </a:lnTo>
                <a:lnTo>
                  <a:pt x="64" y="2"/>
                </a:lnTo>
                <a:lnTo>
                  <a:pt x="67" y="2"/>
                </a:lnTo>
                <a:lnTo>
                  <a:pt x="67" y="12"/>
                </a:lnTo>
                <a:lnTo>
                  <a:pt x="69" y="15"/>
                </a:lnTo>
                <a:lnTo>
                  <a:pt x="72" y="17"/>
                </a:lnTo>
                <a:lnTo>
                  <a:pt x="76" y="15"/>
                </a:lnTo>
                <a:lnTo>
                  <a:pt x="79" y="15"/>
                </a:lnTo>
                <a:lnTo>
                  <a:pt x="86" y="15"/>
                </a:lnTo>
                <a:lnTo>
                  <a:pt x="91" y="17"/>
                </a:lnTo>
                <a:lnTo>
                  <a:pt x="96" y="22"/>
                </a:lnTo>
                <a:lnTo>
                  <a:pt x="101" y="27"/>
                </a:lnTo>
                <a:lnTo>
                  <a:pt x="104" y="30"/>
                </a:lnTo>
                <a:lnTo>
                  <a:pt x="106" y="30"/>
                </a:lnTo>
                <a:lnTo>
                  <a:pt x="111" y="30"/>
                </a:lnTo>
                <a:lnTo>
                  <a:pt x="113" y="32"/>
                </a:lnTo>
                <a:lnTo>
                  <a:pt x="118" y="30"/>
                </a:lnTo>
                <a:lnTo>
                  <a:pt x="121" y="32"/>
                </a:lnTo>
                <a:lnTo>
                  <a:pt x="123" y="32"/>
                </a:lnTo>
                <a:lnTo>
                  <a:pt x="126" y="32"/>
                </a:lnTo>
                <a:lnTo>
                  <a:pt x="131" y="25"/>
                </a:lnTo>
                <a:lnTo>
                  <a:pt x="133" y="22"/>
                </a:lnTo>
                <a:lnTo>
                  <a:pt x="136" y="22"/>
                </a:lnTo>
                <a:lnTo>
                  <a:pt x="138" y="22"/>
                </a:lnTo>
                <a:lnTo>
                  <a:pt x="138" y="20"/>
                </a:lnTo>
                <a:lnTo>
                  <a:pt x="145" y="20"/>
                </a:lnTo>
                <a:lnTo>
                  <a:pt x="148" y="22"/>
                </a:lnTo>
                <a:lnTo>
                  <a:pt x="150" y="25"/>
                </a:lnTo>
                <a:lnTo>
                  <a:pt x="153" y="25"/>
                </a:lnTo>
                <a:lnTo>
                  <a:pt x="158" y="25"/>
                </a:lnTo>
                <a:lnTo>
                  <a:pt x="163" y="25"/>
                </a:lnTo>
                <a:lnTo>
                  <a:pt x="148" y="39"/>
                </a:lnTo>
                <a:lnTo>
                  <a:pt x="148" y="101"/>
                </a:lnTo>
                <a:lnTo>
                  <a:pt x="160" y="111"/>
                </a:lnTo>
                <a:lnTo>
                  <a:pt x="160" y="111"/>
                </a:lnTo>
                <a:lnTo>
                  <a:pt x="153" y="116"/>
                </a:lnTo>
                <a:lnTo>
                  <a:pt x="153" y="118"/>
                </a:lnTo>
                <a:lnTo>
                  <a:pt x="150" y="118"/>
                </a:lnTo>
                <a:lnTo>
                  <a:pt x="153" y="121"/>
                </a:lnTo>
                <a:lnTo>
                  <a:pt x="145" y="123"/>
                </a:lnTo>
                <a:lnTo>
                  <a:pt x="143" y="125"/>
                </a:lnTo>
                <a:lnTo>
                  <a:pt x="138" y="125"/>
                </a:lnTo>
                <a:lnTo>
                  <a:pt x="138" y="128"/>
                </a:lnTo>
                <a:lnTo>
                  <a:pt x="138" y="128"/>
                </a:lnTo>
                <a:lnTo>
                  <a:pt x="136" y="130"/>
                </a:lnTo>
                <a:lnTo>
                  <a:pt x="136" y="133"/>
                </a:lnTo>
                <a:lnTo>
                  <a:pt x="136" y="133"/>
                </a:lnTo>
                <a:lnTo>
                  <a:pt x="133" y="138"/>
                </a:lnTo>
                <a:lnTo>
                  <a:pt x="131" y="140"/>
                </a:lnTo>
                <a:lnTo>
                  <a:pt x="131" y="143"/>
                </a:lnTo>
                <a:lnTo>
                  <a:pt x="128" y="148"/>
                </a:lnTo>
                <a:lnTo>
                  <a:pt x="123" y="157"/>
                </a:lnTo>
                <a:lnTo>
                  <a:pt x="118" y="157"/>
                </a:lnTo>
                <a:lnTo>
                  <a:pt x="118" y="157"/>
                </a:lnTo>
                <a:lnTo>
                  <a:pt x="99" y="145"/>
                </a:lnTo>
                <a:lnTo>
                  <a:pt x="99" y="143"/>
                </a:lnTo>
                <a:lnTo>
                  <a:pt x="96" y="140"/>
                </a:lnTo>
                <a:lnTo>
                  <a:pt x="99" y="140"/>
                </a:lnTo>
                <a:lnTo>
                  <a:pt x="94" y="135"/>
                </a:lnTo>
                <a:lnTo>
                  <a:pt x="37" y="101"/>
                </a:lnTo>
                <a:lnTo>
                  <a:pt x="35" y="101"/>
                </a:lnTo>
                <a:lnTo>
                  <a:pt x="37" y="86"/>
                </a:lnTo>
                <a:lnTo>
                  <a:pt x="37" y="81"/>
                </a:lnTo>
                <a:lnTo>
                  <a:pt x="42" y="79"/>
                </a:lnTo>
                <a:lnTo>
                  <a:pt x="42" y="76"/>
                </a:lnTo>
                <a:lnTo>
                  <a:pt x="45" y="74"/>
                </a:lnTo>
                <a:lnTo>
                  <a:pt x="47" y="71"/>
                </a:lnTo>
                <a:lnTo>
                  <a:pt x="49" y="69"/>
                </a:lnTo>
                <a:lnTo>
                  <a:pt x="47" y="66"/>
                </a:lnTo>
                <a:lnTo>
                  <a:pt x="54" y="66"/>
                </a:lnTo>
                <a:lnTo>
                  <a:pt x="54" y="64"/>
                </a:lnTo>
                <a:lnTo>
                  <a:pt x="54" y="62"/>
                </a:lnTo>
                <a:lnTo>
                  <a:pt x="59" y="57"/>
                </a:lnTo>
                <a:lnTo>
                  <a:pt x="59" y="54"/>
                </a:lnTo>
                <a:lnTo>
                  <a:pt x="57" y="52"/>
                </a:lnTo>
                <a:lnTo>
                  <a:pt x="54" y="49"/>
                </a:lnTo>
                <a:lnTo>
                  <a:pt x="57" y="47"/>
                </a:lnTo>
                <a:lnTo>
                  <a:pt x="54" y="47"/>
                </a:lnTo>
                <a:lnTo>
                  <a:pt x="52" y="44"/>
                </a:lnTo>
                <a:lnTo>
                  <a:pt x="52" y="39"/>
                </a:lnTo>
                <a:lnTo>
                  <a:pt x="47" y="37"/>
                </a:lnTo>
                <a:lnTo>
                  <a:pt x="47" y="34"/>
                </a:lnTo>
                <a:lnTo>
                  <a:pt x="47" y="30"/>
                </a:lnTo>
                <a:lnTo>
                  <a:pt x="45" y="30"/>
                </a:lnTo>
                <a:lnTo>
                  <a:pt x="45" y="27"/>
                </a:lnTo>
                <a:lnTo>
                  <a:pt x="42" y="27"/>
                </a:lnTo>
                <a:lnTo>
                  <a:pt x="42" y="22"/>
                </a:lnTo>
                <a:lnTo>
                  <a:pt x="40" y="20"/>
                </a:lnTo>
                <a:lnTo>
                  <a:pt x="40" y="20"/>
                </a:lnTo>
                <a:lnTo>
                  <a:pt x="40" y="20"/>
                </a:lnTo>
                <a:lnTo>
                  <a:pt x="40" y="20"/>
                </a:lnTo>
                <a:lnTo>
                  <a:pt x="40" y="20"/>
                </a:lnTo>
                <a:close/>
                <a:moveTo>
                  <a:pt x="0" y="103"/>
                </a:moveTo>
                <a:lnTo>
                  <a:pt x="5" y="103"/>
                </a:lnTo>
                <a:lnTo>
                  <a:pt x="13" y="103"/>
                </a:lnTo>
                <a:lnTo>
                  <a:pt x="0" y="103"/>
                </a:lnTo>
                <a:lnTo>
                  <a:pt x="0" y="103"/>
                </a:lnTo>
                <a:lnTo>
                  <a:pt x="0" y="10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3" name="Freeform 112"/>
          <p:cNvSpPr>
            <a:spLocks/>
          </p:cNvSpPr>
          <p:nvPr/>
        </p:nvSpPr>
        <p:spPr bwMode="auto">
          <a:xfrm>
            <a:off x="5496112" y="4346461"/>
            <a:ext cx="148417" cy="135171"/>
          </a:xfrm>
          <a:custGeom>
            <a:avLst/>
            <a:gdLst/>
            <a:ahLst/>
            <a:cxnLst>
              <a:cxn ang="0">
                <a:pos x="69" y="61"/>
              </a:cxn>
              <a:cxn ang="0">
                <a:pos x="74" y="56"/>
              </a:cxn>
              <a:cxn ang="0">
                <a:pos x="79" y="51"/>
              </a:cxn>
              <a:cxn ang="0">
                <a:pos x="79" y="46"/>
              </a:cxn>
              <a:cxn ang="0">
                <a:pos x="86" y="44"/>
              </a:cxn>
              <a:cxn ang="0">
                <a:pos x="91" y="37"/>
              </a:cxn>
              <a:cxn ang="0">
                <a:pos x="89" y="32"/>
              </a:cxn>
              <a:cxn ang="0">
                <a:pos x="89" y="27"/>
              </a:cxn>
              <a:cxn ang="0">
                <a:pos x="84" y="24"/>
              </a:cxn>
              <a:cxn ang="0">
                <a:pos x="79" y="17"/>
              </a:cxn>
              <a:cxn ang="0">
                <a:pos x="79" y="10"/>
              </a:cxn>
              <a:cxn ang="0">
                <a:pos x="77" y="7"/>
              </a:cxn>
              <a:cxn ang="0">
                <a:pos x="74" y="2"/>
              </a:cxn>
              <a:cxn ang="0">
                <a:pos x="69" y="2"/>
              </a:cxn>
              <a:cxn ang="0">
                <a:pos x="64" y="7"/>
              </a:cxn>
              <a:cxn ang="0">
                <a:pos x="54" y="7"/>
              </a:cxn>
              <a:cxn ang="0">
                <a:pos x="49" y="7"/>
              </a:cxn>
              <a:cxn ang="0">
                <a:pos x="45" y="7"/>
              </a:cxn>
              <a:cxn ang="0">
                <a:pos x="45" y="12"/>
              </a:cxn>
              <a:cxn ang="0">
                <a:pos x="37" y="12"/>
              </a:cxn>
              <a:cxn ang="0">
                <a:pos x="35" y="7"/>
              </a:cxn>
              <a:cxn ang="0">
                <a:pos x="30" y="7"/>
              </a:cxn>
              <a:cxn ang="0">
                <a:pos x="25" y="7"/>
              </a:cxn>
              <a:cxn ang="0">
                <a:pos x="25" y="12"/>
              </a:cxn>
              <a:cxn ang="0">
                <a:pos x="25" y="12"/>
              </a:cxn>
              <a:cxn ang="0">
                <a:pos x="22" y="17"/>
              </a:cxn>
              <a:cxn ang="0">
                <a:pos x="20" y="27"/>
              </a:cxn>
              <a:cxn ang="0">
                <a:pos x="22" y="32"/>
              </a:cxn>
              <a:cxn ang="0">
                <a:pos x="25" y="37"/>
              </a:cxn>
              <a:cxn ang="0">
                <a:pos x="17" y="49"/>
              </a:cxn>
              <a:cxn ang="0">
                <a:pos x="10" y="56"/>
              </a:cxn>
              <a:cxn ang="0">
                <a:pos x="3" y="69"/>
              </a:cxn>
              <a:cxn ang="0">
                <a:pos x="3" y="78"/>
              </a:cxn>
              <a:cxn ang="0">
                <a:pos x="0" y="88"/>
              </a:cxn>
              <a:cxn ang="0">
                <a:pos x="0" y="88"/>
              </a:cxn>
              <a:cxn ang="0">
                <a:pos x="8" y="86"/>
              </a:cxn>
              <a:cxn ang="0">
                <a:pos x="10" y="88"/>
              </a:cxn>
              <a:cxn ang="0">
                <a:pos x="13" y="88"/>
              </a:cxn>
              <a:cxn ang="0">
                <a:pos x="15" y="86"/>
              </a:cxn>
              <a:cxn ang="0">
                <a:pos x="17" y="83"/>
              </a:cxn>
              <a:cxn ang="0">
                <a:pos x="20" y="83"/>
              </a:cxn>
              <a:cxn ang="0">
                <a:pos x="32" y="83"/>
              </a:cxn>
              <a:cxn ang="0">
                <a:pos x="67" y="81"/>
              </a:cxn>
              <a:cxn ang="0">
                <a:pos x="69" y="66"/>
              </a:cxn>
            </a:cxnLst>
            <a:rect l="0" t="0" r="r" b="b"/>
            <a:pathLst>
              <a:path w="91" h="88">
                <a:moveTo>
                  <a:pt x="69" y="66"/>
                </a:moveTo>
                <a:lnTo>
                  <a:pt x="69" y="61"/>
                </a:lnTo>
                <a:lnTo>
                  <a:pt x="74" y="59"/>
                </a:lnTo>
                <a:lnTo>
                  <a:pt x="74" y="56"/>
                </a:lnTo>
                <a:lnTo>
                  <a:pt x="77" y="54"/>
                </a:lnTo>
                <a:lnTo>
                  <a:pt x="79" y="51"/>
                </a:lnTo>
                <a:lnTo>
                  <a:pt x="81" y="49"/>
                </a:lnTo>
                <a:lnTo>
                  <a:pt x="79" y="46"/>
                </a:lnTo>
                <a:lnTo>
                  <a:pt x="86" y="46"/>
                </a:lnTo>
                <a:lnTo>
                  <a:pt x="86" y="44"/>
                </a:lnTo>
                <a:lnTo>
                  <a:pt x="86" y="42"/>
                </a:lnTo>
                <a:lnTo>
                  <a:pt x="91" y="37"/>
                </a:lnTo>
                <a:lnTo>
                  <a:pt x="91" y="34"/>
                </a:lnTo>
                <a:lnTo>
                  <a:pt x="89" y="32"/>
                </a:lnTo>
                <a:lnTo>
                  <a:pt x="86" y="29"/>
                </a:lnTo>
                <a:lnTo>
                  <a:pt x="89" y="27"/>
                </a:lnTo>
                <a:lnTo>
                  <a:pt x="86" y="27"/>
                </a:lnTo>
                <a:lnTo>
                  <a:pt x="84" y="24"/>
                </a:lnTo>
                <a:lnTo>
                  <a:pt x="84" y="19"/>
                </a:lnTo>
                <a:lnTo>
                  <a:pt x="79" y="17"/>
                </a:lnTo>
                <a:lnTo>
                  <a:pt x="79" y="14"/>
                </a:lnTo>
                <a:lnTo>
                  <a:pt x="79" y="10"/>
                </a:lnTo>
                <a:lnTo>
                  <a:pt x="77" y="10"/>
                </a:lnTo>
                <a:lnTo>
                  <a:pt x="77" y="7"/>
                </a:lnTo>
                <a:lnTo>
                  <a:pt x="74" y="7"/>
                </a:lnTo>
                <a:lnTo>
                  <a:pt x="74" y="2"/>
                </a:lnTo>
                <a:lnTo>
                  <a:pt x="72" y="0"/>
                </a:lnTo>
                <a:lnTo>
                  <a:pt x="69" y="2"/>
                </a:lnTo>
                <a:lnTo>
                  <a:pt x="67" y="5"/>
                </a:lnTo>
                <a:lnTo>
                  <a:pt x="64" y="7"/>
                </a:lnTo>
                <a:lnTo>
                  <a:pt x="59" y="7"/>
                </a:lnTo>
                <a:lnTo>
                  <a:pt x="54" y="7"/>
                </a:lnTo>
                <a:lnTo>
                  <a:pt x="52" y="7"/>
                </a:lnTo>
                <a:lnTo>
                  <a:pt x="49" y="7"/>
                </a:lnTo>
                <a:lnTo>
                  <a:pt x="47" y="10"/>
                </a:lnTo>
                <a:lnTo>
                  <a:pt x="45" y="7"/>
                </a:lnTo>
                <a:lnTo>
                  <a:pt x="45" y="10"/>
                </a:lnTo>
                <a:lnTo>
                  <a:pt x="45" y="12"/>
                </a:lnTo>
                <a:lnTo>
                  <a:pt x="42" y="12"/>
                </a:lnTo>
                <a:lnTo>
                  <a:pt x="37" y="12"/>
                </a:lnTo>
                <a:lnTo>
                  <a:pt x="37" y="10"/>
                </a:lnTo>
                <a:lnTo>
                  <a:pt x="35" y="7"/>
                </a:lnTo>
                <a:lnTo>
                  <a:pt x="32" y="10"/>
                </a:lnTo>
                <a:lnTo>
                  <a:pt x="30" y="7"/>
                </a:lnTo>
                <a:lnTo>
                  <a:pt x="25" y="7"/>
                </a:lnTo>
                <a:lnTo>
                  <a:pt x="25" y="7"/>
                </a:lnTo>
                <a:lnTo>
                  <a:pt x="25" y="10"/>
                </a:lnTo>
                <a:lnTo>
                  <a:pt x="25" y="12"/>
                </a:lnTo>
                <a:lnTo>
                  <a:pt x="25" y="12"/>
                </a:lnTo>
                <a:lnTo>
                  <a:pt x="25" y="12"/>
                </a:lnTo>
                <a:lnTo>
                  <a:pt x="22" y="14"/>
                </a:lnTo>
                <a:lnTo>
                  <a:pt x="22" y="17"/>
                </a:lnTo>
                <a:lnTo>
                  <a:pt x="22" y="22"/>
                </a:lnTo>
                <a:lnTo>
                  <a:pt x="20" y="27"/>
                </a:lnTo>
                <a:lnTo>
                  <a:pt x="20" y="29"/>
                </a:lnTo>
                <a:lnTo>
                  <a:pt x="22" y="32"/>
                </a:lnTo>
                <a:lnTo>
                  <a:pt x="25" y="34"/>
                </a:lnTo>
                <a:lnTo>
                  <a:pt x="25" y="37"/>
                </a:lnTo>
                <a:lnTo>
                  <a:pt x="25" y="39"/>
                </a:lnTo>
                <a:lnTo>
                  <a:pt x="17" y="49"/>
                </a:lnTo>
                <a:lnTo>
                  <a:pt x="13" y="54"/>
                </a:lnTo>
                <a:lnTo>
                  <a:pt x="10" y="56"/>
                </a:lnTo>
                <a:lnTo>
                  <a:pt x="5" y="66"/>
                </a:lnTo>
                <a:lnTo>
                  <a:pt x="3" y="69"/>
                </a:lnTo>
                <a:lnTo>
                  <a:pt x="3" y="73"/>
                </a:lnTo>
                <a:lnTo>
                  <a:pt x="3" y="78"/>
                </a:lnTo>
                <a:lnTo>
                  <a:pt x="0" y="83"/>
                </a:lnTo>
                <a:lnTo>
                  <a:pt x="0" y="88"/>
                </a:lnTo>
                <a:lnTo>
                  <a:pt x="0" y="88"/>
                </a:lnTo>
                <a:lnTo>
                  <a:pt x="0" y="88"/>
                </a:lnTo>
                <a:lnTo>
                  <a:pt x="3" y="88"/>
                </a:lnTo>
                <a:lnTo>
                  <a:pt x="8" y="86"/>
                </a:lnTo>
                <a:lnTo>
                  <a:pt x="8" y="88"/>
                </a:lnTo>
                <a:lnTo>
                  <a:pt x="10" y="88"/>
                </a:lnTo>
                <a:lnTo>
                  <a:pt x="13" y="88"/>
                </a:lnTo>
                <a:lnTo>
                  <a:pt x="13" y="88"/>
                </a:lnTo>
                <a:lnTo>
                  <a:pt x="13" y="86"/>
                </a:lnTo>
                <a:lnTo>
                  <a:pt x="15" y="86"/>
                </a:lnTo>
                <a:lnTo>
                  <a:pt x="15" y="86"/>
                </a:lnTo>
                <a:lnTo>
                  <a:pt x="17" y="83"/>
                </a:lnTo>
                <a:lnTo>
                  <a:pt x="17" y="83"/>
                </a:lnTo>
                <a:lnTo>
                  <a:pt x="20" y="83"/>
                </a:lnTo>
                <a:lnTo>
                  <a:pt x="32" y="83"/>
                </a:lnTo>
                <a:lnTo>
                  <a:pt x="32" y="83"/>
                </a:lnTo>
                <a:lnTo>
                  <a:pt x="45" y="83"/>
                </a:lnTo>
                <a:lnTo>
                  <a:pt x="67" y="81"/>
                </a:lnTo>
                <a:lnTo>
                  <a:pt x="69" y="66"/>
                </a:lnTo>
                <a:lnTo>
                  <a:pt x="69" y="6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4" name="Freeform 113"/>
          <p:cNvSpPr>
            <a:spLocks/>
          </p:cNvSpPr>
          <p:nvPr/>
        </p:nvSpPr>
        <p:spPr bwMode="auto">
          <a:xfrm>
            <a:off x="5119360" y="4183641"/>
            <a:ext cx="329454" cy="207366"/>
          </a:xfrm>
          <a:custGeom>
            <a:avLst/>
            <a:gdLst/>
            <a:ahLst/>
            <a:cxnLst>
              <a:cxn ang="0">
                <a:pos x="128" y="5"/>
              </a:cxn>
              <a:cxn ang="0">
                <a:pos x="138" y="20"/>
              </a:cxn>
              <a:cxn ang="0">
                <a:pos x="135" y="29"/>
              </a:cxn>
              <a:cxn ang="0">
                <a:pos x="143" y="34"/>
              </a:cxn>
              <a:cxn ang="0">
                <a:pos x="148" y="42"/>
              </a:cxn>
              <a:cxn ang="0">
                <a:pos x="160" y="47"/>
              </a:cxn>
              <a:cxn ang="0">
                <a:pos x="167" y="52"/>
              </a:cxn>
              <a:cxn ang="0">
                <a:pos x="162" y="59"/>
              </a:cxn>
              <a:cxn ang="0">
                <a:pos x="172" y="61"/>
              </a:cxn>
              <a:cxn ang="0">
                <a:pos x="180" y="71"/>
              </a:cxn>
              <a:cxn ang="0">
                <a:pos x="187" y="79"/>
              </a:cxn>
              <a:cxn ang="0">
                <a:pos x="194" y="84"/>
              </a:cxn>
              <a:cxn ang="0">
                <a:pos x="202" y="93"/>
              </a:cxn>
              <a:cxn ang="0">
                <a:pos x="194" y="93"/>
              </a:cxn>
              <a:cxn ang="0">
                <a:pos x="180" y="93"/>
              </a:cxn>
              <a:cxn ang="0">
                <a:pos x="172" y="91"/>
              </a:cxn>
              <a:cxn ang="0">
                <a:pos x="167" y="91"/>
              </a:cxn>
              <a:cxn ang="0">
                <a:pos x="157" y="96"/>
              </a:cxn>
              <a:cxn ang="0">
                <a:pos x="153" y="96"/>
              </a:cxn>
              <a:cxn ang="0">
                <a:pos x="143" y="98"/>
              </a:cxn>
              <a:cxn ang="0">
                <a:pos x="130" y="98"/>
              </a:cxn>
              <a:cxn ang="0">
                <a:pos x="121" y="103"/>
              </a:cxn>
              <a:cxn ang="0">
                <a:pos x="118" y="108"/>
              </a:cxn>
              <a:cxn ang="0">
                <a:pos x="108" y="106"/>
              </a:cxn>
              <a:cxn ang="0">
                <a:pos x="96" y="103"/>
              </a:cxn>
              <a:cxn ang="0">
                <a:pos x="86" y="98"/>
              </a:cxn>
              <a:cxn ang="0">
                <a:pos x="76" y="93"/>
              </a:cxn>
              <a:cxn ang="0">
                <a:pos x="69" y="96"/>
              </a:cxn>
              <a:cxn ang="0">
                <a:pos x="66" y="103"/>
              </a:cxn>
              <a:cxn ang="0">
                <a:pos x="64" y="111"/>
              </a:cxn>
              <a:cxn ang="0">
                <a:pos x="62" y="116"/>
              </a:cxn>
              <a:cxn ang="0">
                <a:pos x="54" y="113"/>
              </a:cxn>
              <a:cxn ang="0">
                <a:pos x="39" y="118"/>
              </a:cxn>
              <a:cxn ang="0">
                <a:pos x="25" y="135"/>
              </a:cxn>
              <a:cxn ang="0">
                <a:pos x="25" y="128"/>
              </a:cxn>
              <a:cxn ang="0">
                <a:pos x="12" y="113"/>
              </a:cxn>
              <a:cxn ang="0">
                <a:pos x="2" y="103"/>
              </a:cxn>
              <a:cxn ang="0">
                <a:pos x="0" y="86"/>
              </a:cxn>
              <a:cxn ang="0">
                <a:pos x="2" y="74"/>
              </a:cxn>
              <a:cxn ang="0">
                <a:pos x="12" y="59"/>
              </a:cxn>
              <a:cxn ang="0">
                <a:pos x="17" y="54"/>
              </a:cxn>
              <a:cxn ang="0">
                <a:pos x="27" y="57"/>
              </a:cxn>
              <a:cxn ang="0">
                <a:pos x="34" y="49"/>
              </a:cxn>
              <a:cxn ang="0">
                <a:pos x="42" y="52"/>
              </a:cxn>
              <a:cxn ang="0">
                <a:pos x="64" y="44"/>
              </a:cxn>
              <a:cxn ang="0">
                <a:pos x="69" y="37"/>
              </a:cxn>
              <a:cxn ang="0">
                <a:pos x="71" y="32"/>
              </a:cxn>
              <a:cxn ang="0">
                <a:pos x="86" y="32"/>
              </a:cxn>
              <a:cxn ang="0">
                <a:pos x="96" y="25"/>
              </a:cxn>
              <a:cxn ang="0">
                <a:pos x="98" y="17"/>
              </a:cxn>
              <a:cxn ang="0">
                <a:pos x="108" y="10"/>
              </a:cxn>
              <a:cxn ang="0">
                <a:pos x="113" y="2"/>
              </a:cxn>
              <a:cxn ang="0">
                <a:pos x="125" y="0"/>
              </a:cxn>
            </a:cxnLst>
            <a:rect l="0" t="0" r="r" b="b"/>
            <a:pathLst>
              <a:path w="202" h="135">
                <a:moveTo>
                  <a:pt x="125" y="0"/>
                </a:moveTo>
                <a:lnTo>
                  <a:pt x="128" y="0"/>
                </a:lnTo>
                <a:lnTo>
                  <a:pt x="128" y="2"/>
                </a:lnTo>
                <a:lnTo>
                  <a:pt x="128" y="5"/>
                </a:lnTo>
                <a:lnTo>
                  <a:pt x="130" y="7"/>
                </a:lnTo>
                <a:lnTo>
                  <a:pt x="130" y="7"/>
                </a:lnTo>
                <a:lnTo>
                  <a:pt x="135" y="15"/>
                </a:lnTo>
                <a:lnTo>
                  <a:pt x="138" y="20"/>
                </a:lnTo>
                <a:lnTo>
                  <a:pt x="138" y="22"/>
                </a:lnTo>
                <a:lnTo>
                  <a:pt x="138" y="25"/>
                </a:lnTo>
                <a:lnTo>
                  <a:pt x="138" y="27"/>
                </a:lnTo>
                <a:lnTo>
                  <a:pt x="135" y="29"/>
                </a:lnTo>
                <a:lnTo>
                  <a:pt x="135" y="34"/>
                </a:lnTo>
                <a:lnTo>
                  <a:pt x="138" y="37"/>
                </a:lnTo>
                <a:lnTo>
                  <a:pt x="143" y="37"/>
                </a:lnTo>
                <a:lnTo>
                  <a:pt x="143" y="34"/>
                </a:lnTo>
                <a:lnTo>
                  <a:pt x="148" y="34"/>
                </a:lnTo>
                <a:lnTo>
                  <a:pt x="150" y="37"/>
                </a:lnTo>
                <a:lnTo>
                  <a:pt x="148" y="39"/>
                </a:lnTo>
                <a:lnTo>
                  <a:pt x="148" y="42"/>
                </a:lnTo>
                <a:lnTo>
                  <a:pt x="153" y="44"/>
                </a:lnTo>
                <a:lnTo>
                  <a:pt x="155" y="44"/>
                </a:lnTo>
                <a:lnTo>
                  <a:pt x="157" y="44"/>
                </a:lnTo>
                <a:lnTo>
                  <a:pt x="160" y="47"/>
                </a:lnTo>
                <a:lnTo>
                  <a:pt x="160" y="49"/>
                </a:lnTo>
                <a:lnTo>
                  <a:pt x="165" y="49"/>
                </a:lnTo>
                <a:lnTo>
                  <a:pt x="167" y="49"/>
                </a:lnTo>
                <a:lnTo>
                  <a:pt x="167" y="52"/>
                </a:lnTo>
                <a:lnTo>
                  <a:pt x="167" y="54"/>
                </a:lnTo>
                <a:lnTo>
                  <a:pt x="165" y="57"/>
                </a:lnTo>
                <a:lnTo>
                  <a:pt x="165" y="57"/>
                </a:lnTo>
                <a:lnTo>
                  <a:pt x="162" y="59"/>
                </a:lnTo>
                <a:lnTo>
                  <a:pt x="167" y="61"/>
                </a:lnTo>
                <a:lnTo>
                  <a:pt x="170" y="61"/>
                </a:lnTo>
                <a:lnTo>
                  <a:pt x="170" y="61"/>
                </a:lnTo>
                <a:lnTo>
                  <a:pt x="172" y="61"/>
                </a:lnTo>
                <a:lnTo>
                  <a:pt x="175" y="61"/>
                </a:lnTo>
                <a:lnTo>
                  <a:pt x="180" y="66"/>
                </a:lnTo>
                <a:lnTo>
                  <a:pt x="180" y="66"/>
                </a:lnTo>
                <a:lnTo>
                  <a:pt x="180" y="71"/>
                </a:lnTo>
                <a:lnTo>
                  <a:pt x="182" y="74"/>
                </a:lnTo>
                <a:lnTo>
                  <a:pt x="185" y="74"/>
                </a:lnTo>
                <a:lnTo>
                  <a:pt x="187" y="76"/>
                </a:lnTo>
                <a:lnTo>
                  <a:pt x="187" y="79"/>
                </a:lnTo>
                <a:lnTo>
                  <a:pt x="187" y="79"/>
                </a:lnTo>
                <a:lnTo>
                  <a:pt x="192" y="81"/>
                </a:lnTo>
                <a:lnTo>
                  <a:pt x="194" y="84"/>
                </a:lnTo>
                <a:lnTo>
                  <a:pt x="194" y="84"/>
                </a:lnTo>
                <a:lnTo>
                  <a:pt x="194" y="88"/>
                </a:lnTo>
                <a:lnTo>
                  <a:pt x="197" y="91"/>
                </a:lnTo>
                <a:lnTo>
                  <a:pt x="199" y="93"/>
                </a:lnTo>
                <a:lnTo>
                  <a:pt x="202" y="93"/>
                </a:lnTo>
                <a:lnTo>
                  <a:pt x="202" y="96"/>
                </a:lnTo>
                <a:lnTo>
                  <a:pt x="199" y="93"/>
                </a:lnTo>
                <a:lnTo>
                  <a:pt x="197" y="93"/>
                </a:lnTo>
                <a:lnTo>
                  <a:pt x="194" y="93"/>
                </a:lnTo>
                <a:lnTo>
                  <a:pt x="189" y="96"/>
                </a:lnTo>
                <a:lnTo>
                  <a:pt x="187" y="93"/>
                </a:lnTo>
                <a:lnTo>
                  <a:pt x="182" y="93"/>
                </a:lnTo>
                <a:lnTo>
                  <a:pt x="180" y="93"/>
                </a:lnTo>
                <a:lnTo>
                  <a:pt x="177" y="93"/>
                </a:lnTo>
                <a:lnTo>
                  <a:pt x="177" y="91"/>
                </a:lnTo>
                <a:lnTo>
                  <a:pt x="175" y="91"/>
                </a:lnTo>
                <a:lnTo>
                  <a:pt x="172" y="91"/>
                </a:lnTo>
                <a:lnTo>
                  <a:pt x="170" y="88"/>
                </a:lnTo>
                <a:lnTo>
                  <a:pt x="167" y="91"/>
                </a:lnTo>
                <a:lnTo>
                  <a:pt x="167" y="91"/>
                </a:lnTo>
                <a:lnTo>
                  <a:pt x="167" y="91"/>
                </a:lnTo>
                <a:lnTo>
                  <a:pt x="165" y="96"/>
                </a:lnTo>
                <a:lnTo>
                  <a:pt x="165" y="96"/>
                </a:lnTo>
                <a:lnTo>
                  <a:pt x="162" y="96"/>
                </a:lnTo>
                <a:lnTo>
                  <a:pt x="157" y="96"/>
                </a:lnTo>
                <a:lnTo>
                  <a:pt x="157" y="96"/>
                </a:lnTo>
                <a:lnTo>
                  <a:pt x="155" y="96"/>
                </a:lnTo>
                <a:lnTo>
                  <a:pt x="155" y="96"/>
                </a:lnTo>
                <a:lnTo>
                  <a:pt x="153" y="96"/>
                </a:lnTo>
                <a:lnTo>
                  <a:pt x="153" y="93"/>
                </a:lnTo>
                <a:lnTo>
                  <a:pt x="150" y="93"/>
                </a:lnTo>
                <a:lnTo>
                  <a:pt x="145" y="96"/>
                </a:lnTo>
                <a:lnTo>
                  <a:pt x="143" y="98"/>
                </a:lnTo>
                <a:lnTo>
                  <a:pt x="140" y="98"/>
                </a:lnTo>
                <a:lnTo>
                  <a:pt x="135" y="101"/>
                </a:lnTo>
                <a:lnTo>
                  <a:pt x="133" y="101"/>
                </a:lnTo>
                <a:lnTo>
                  <a:pt x="130" y="98"/>
                </a:lnTo>
                <a:lnTo>
                  <a:pt x="128" y="98"/>
                </a:lnTo>
                <a:lnTo>
                  <a:pt x="125" y="98"/>
                </a:lnTo>
                <a:lnTo>
                  <a:pt x="123" y="101"/>
                </a:lnTo>
                <a:lnTo>
                  <a:pt x="121" y="103"/>
                </a:lnTo>
                <a:lnTo>
                  <a:pt x="121" y="106"/>
                </a:lnTo>
                <a:lnTo>
                  <a:pt x="121" y="106"/>
                </a:lnTo>
                <a:lnTo>
                  <a:pt x="121" y="108"/>
                </a:lnTo>
                <a:lnTo>
                  <a:pt x="118" y="108"/>
                </a:lnTo>
                <a:lnTo>
                  <a:pt x="116" y="108"/>
                </a:lnTo>
                <a:lnTo>
                  <a:pt x="113" y="106"/>
                </a:lnTo>
                <a:lnTo>
                  <a:pt x="111" y="106"/>
                </a:lnTo>
                <a:lnTo>
                  <a:pt x="108" y="106"/>
                </a:lnTo>
                <a:lnTo>
                  <a:pt x="106" y="106"/>
                </a:lnTo>
                <a:lnTo>
                  <a:pt x="103" y="106"/>
                </a:lnTo>
                <a:lnTo>
                  <a:pt x="101" y="106"/>
                </a:lnTo>
                <a:lnTo>
                  <a:pt x="96" y="103"/>
                </a:lnTo>
                <a:lnTo>
                  <a:pt x="93" y="103"/>
                </a:lnTo>
                <a:lnTo>
                  <a:pt x="93" y="103"/>
                </a:lnTo>
                <a:lnTo>
                  <a:pt x="89" y="101"/>
                </a:lnTo>
                <a:lnTo>
                  <a:pt x="86" y="98"/>
                </a:lnTo>
                <a:lnTo>
                  <a:pt x="81" y="96"/>
                </a:lnTo>
                <a:lnTo>
                  <a:pt x="79" y="96"/>
                </a:lnTo>
                <a:lnTo>
                  <a:pt x="76" y="93"/>
                </a:lnTo>
                <a:lnTo>
                  <a:pt x="76" y="93"/>
                </a:lnTo>
                <a:lnTo>
                  <a:pt x="76" y="96"/>
                </a:lnTo>
                <a:lnTo>
                  <a:pt x="74" y="93"/>
                </a:lnTo>
                <a:lnTo>
                  <a:pt x="71" y="96"/>
                </a:lnTo>
                <a:lnTo>
                  <a:pt x="69" y="96"/>
                </a:lnTo>
                <a:lnTo>
                  <a:pt x="66" y="98"/>
                </a:lnTo>
                <a:lnTo>
                  <a:pt x="66" y="101"/>
                </a:lnTo>
                <a:lnTo>
                  <a:pt x="66" y="101"/>
                </a:lnTo>
                <a:lnTo>
                  <a:pt x="66" y="103"/>
                </a:lnTo>
                <a:lnTo>
                  <a:pt x="64" y="103"/>
                </a:lnTo>
                <a:lnTo>
                  <a:pt x="62" y="106"/>
                </a:lnTo>
                <a:lnTo>
                  <a:pt x="62" y="106"/>
                </a:lnTo>
                <a:lnTo>
                  <a:pt x="64" y="111"/>
                </a:lnTo>
                <a:lnTo>
                  <a:pt x="64" y="111"/>
                </a:lnTo>
                <a:lnTo>
                  <a:pt x="64" y="113"/>
                </a:lnTo>
                <a:lnTo>
                  <a:pt x="64" y="116"/>
                </a:lnTo>
                <a:lnTo>
                  <a:pt x="62" y="116"/>
                </a:lnTo>
                <a:lnTo>
                  <a:pt x="59" y="116"/>
                </a:lnTo>
                <a:lnTo>
                  <a:pt x="57" y="116"/>
                </a:lnTo>
                <a:lnTo>
                  <a:pt x="57" y="113"/>
                </a:lnTo>
                <a:lnTo>
                  <a:pt x="54" y="113"/>
                </a:lnTo>
                <a:lnTo>
                  <a:pt x="52" y="113"/>
                </a:lnTo>
                <a:lnTo>
                  <a:pt x="49" y="116"/>
                </a:lnTo>
                <a:lnTo>
                  <a:pt x="47" y="116"/>
                </a:lnTo>
                <a:lnTo>
                  <a:pt x="39" y="118"/>
                </a:lnTo>
                <a:lnTo>
                  <a:pt x="39" y="118"/>
                </a:lnTo>
                <a:lnTo>
                  <a:pt x="37" y="120"/>
                </a:lnTo>
                <a:lnTo>
                  <a:pt x="32" y="123"/>
                </a:lnTo>
                <a:lnTo>
                  <a:pt x="25" y="135"/>
                </a:lnTo>
                <a:lnTo>
                  <a:pt x="25" y="135"/>
                </a:lnTo>
                <a:lnTo>
                  <a:pt x="25" y="133"/>
                </a:lnTo>
                <a:lnTo>
                  <a:pt x="25" y="130"/>
                </a:lnTo>
                <a:lnTo>
                  <a:pt x="25" y="128"/>
                </a:lnTo>
                <a:lnTo>
                  <a:pt x="20" y="123"/>
                </a:lnTo>
                <a:lnTo>
                  <a:pt x="17" y="123"/>
                </a:lnTo>
                <a:lnTo>
                  <a:pt x="15" y="118"/>
                </a:lnTo>
                <a:lnTo>
                  <a:pt x="12" y="113"/>
                </a:lnTo>
                <a:lnTo>
                  <a:pt x="10" y="108"/>
                </a:lnTo>
                <a:lnTo>
                  <a:pt x="7" y="106"/>
                </a:lnTo>
                <a:lnTo>
                  <a:pt x="2" y="103"/>
                </a:lnTo>
                <a:lnTo>
                  <a:pt x="2" y="103"/>
                </a:lnTo>
                <a:lnTo>
                  <a:pt x="2" y="96"/>
                </a:lnTo>
                <a:lnTo>
                  <a:pt x="2" y="93"/>
                </a:lnTo>
                <a:lnTo>
                  <a:pt x="0" y="88"/>
                </a:lnTo>
                <a:lnTo>
                  <a:pt x="0" y="86"/>
                </a:lnTo>
                <a:lnTo>
                  <a:pt x="0" y="81"/>
                </a:lnTo>
                <a:lnTo>
                  <a:pt x="0" y="79"/>
                </a:lnTo>
                <a:lnTo>
                  <a:pt x="0" y="76"/>
                </a:lnTo>
                <a:lnTo>
                  <a:pt x="2" y="74"/>
                </a:lnTo>
                <a:lnTo>
                  <a:pt x="5" y="71"/>
                </a:lnTo>
                <a:lnTo>
                  <a:pt x="7" y="66"/>
                </a:lnTo>
                <a:lnTo>
                  <a:pt x="10" y="61"/>
                </a:lnTo>
                <a:lnTo>
                  <a:pt x="12" y="59"/>
                </a:lnTo>
                <a:lnTo>
                  <a:pt x="15" y="57"/>
                </a:lnTo>
                <a:lnTo>
                  <a:pt x="17" y="54"/>
                </a:lnTo>
                <a:lnTo>
                  <a:pt x="17" y="52"/>
                </a:lnTo>
                <a:lnTo>
                  <a:pt x="17" y="54"/>
                </a:lnTo>
                <a:lnTo>
                  <a:pt x="20" y="57"/>
                </a:lnTo>
                <a:lnTo>
                  <a:pt x="22" y="57"/>
                </a:lnTo>
                <a:lnTo>
                  <a:pt x="25" y="57"/>
                </a:lnTo>
                <a:lnTo>
                  <a:pt x="27" y="57"/>
                </a:lnTo>
                <a:lnTo>
                  <a:pt x="30" y="54"/>
                </a:lnTo>
                <a:lnTo>
                  <a:pt x="30" y="49"/>
                </a:lnTo>
                <a:lnTo>
                  <a:pt x="32" y="49"/>
                </a:lnTo>
                <a:lnTo>
                  <a:pt x="34" y="49"/>
                </a:lnTo>
                <a:lnTo>
                  <a:pt x="34" y="54"/>
                </a:lnTo>
                <a:lnTo>
                  <a:pt x="37" y="54"/>
                </a:lnTo>
                <a:lnTo>
                  <a:pt x="39" y="54"/>
                </a:lnTo>
                <a:lnTo>
                  <a:pt x="42" y="52"/>
                </a:lnTo>
                <a:lnTo>
                  <a:pt x="47" y="49"/>
                </a:lnTo>
                <a:lnTo>
                  <a:pt x="52" y="47"/>
                </a:lnTo>
                <a:lnTo>
                  <a:pt x="59" y="44"/>
                </a:lnTo>
                <a:lnTo>
                  <a:pt x="64" y="44"/>
                </a:lnTo>
                <a:lnTo>
                  <a:pt x="66" y="42"/>
                </a:lnTo>
                <a:lnTo>
                  <a:pt x="71" y="39"/>
                </a:lnTo>
                <a:lnTo>
                  <a:pt x="71" y="37"/>
                </a:lnTo>
                <a:lnTo>
                  <a:pt x="69" y="37"/>
                </a:lnTo>
                <a:lnTo>
                  <a:pt x="66" y="34"/>
                </a:lnTo>
                <a:lnTo>
                  <a:pt x="66" y="32"/>
                </a:lnTo>
                <a:lnTo>
                  <a:pt x="69" y="29"/>
                </a:lnTo>
                <a:lnTo>
                  <a:pt x="71" y="32"/>
                </a:lnTo>
                <a:lnTo>
                  <a:pt x="74" y="29"/>
                </a:lnTo>
                <a:lnTo>
                  <a:pt x="76" y="32"/>
                </a:lnTo>
                <a:lnTo>
                  <a:pt x="81" y="32"/>
                </a:lnTo>
                <a:lnTo>
                  <a:pt x="86" y="32"/>
                </a:lnTo>
                <a:lnTo>
                  <a:pt x="91" y="32"/>
                </a:lnTo>
                <a:lnTo>
                  <a:pt x="93" y="29"/>
                </a:lnTo>
                <a:lnTo>
                  <a:pt x="96" y="27"/>
                </a:lnTo>
                <a:lnTo>
                  <a:pt x="96" y="25"/>
                </a:lnTo>
                <a:lnTo>
                  <a:pt x="96" y="22"/>
                </a:lnTo>
                <a:lnTo>
                  <a:pt x="96" y="20"/>
                </a:lnTo>
                <a:lnTo>
                  <a:pt x="98" y="20"/>
                </a:lnTo>
                <a:lnTo>
                  <a:pt x="98" y="17"/>
                </a:lnTo>
                <a:lnTo>
                  <a:pt x="101" y="15"/>
                </a:lnTo>
                <a:lnTo>
                  <a:pt x="103" y="15"/>
                </a:lnTo>
                <a:lnTo>
                  <a:pt x="103" y="15"/>
                </a:lnTo>
                <a:lnTo>
                  <a:pt x="108" y="10"/>
                </a:lnTo>
                <a:lnTo>
                  <a:pt x="108" y="10"/>
                </a:lnTo>
                <a:lnTo>
                  <a:pt x="108" y="7"/>
                </a:lnTo>
                <a:lnTo>
                  <a:pt x="108" y="5"/>
                </a:lnTo>
                <a:lnTo>
                  <a:pt x="113" y="2"/>
                </a:lnTo>
                <a:lnTo>
                  <a:pt x="116" y="0"/>
                </a:lnTo>
                <a:lnTo>
                  <a:pt x="121" y="0"/>
                </a:lnTo>
                <a:lnTo>
                  <a:pt x="121" y="2"/>
                </a:lnTo>
                <a:lnTo>
                  <a:pt x="125" y="0"/>
                </a:lnTo>
                <a:lnTo>
                  <a:pt x="125" y="0"/>
                </a:lnTo>
                <a:lnTo>
                  <a:pt x="125"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5" name="Freeform 114"/>
          <p:cNvSpPr>
            <a:spLocks/>
          </p:cNvSpPr>
          <p:nvPr/>
        </p:nvSpPr>
        <p:spPr bwMode="auto">
          <a:xfrm>
            <a:off x="4982360" y="3632203"/>
            <a:ext cx="393061" cy="344073"/>
          </a:xfrm>
          <a:custGeom>
            <a:avLst/>
            <a:gdLst/>
            <a:ahLst/>
            <a:cxnLst>
              <a:cxn ang="0">
                <a:pos x="227" y="216"/>
              </a:cxn>
              <a:cxn ang="0">
                <a:pos x="234" y="64"/>
              </a:cxn>
              <a:cxn ang="0">
                <a:pos x="229" y="52"/>
              </a:cxn>
              <a:cxn ang="0">
                <a:pos x="234" y="42"/>
              </a:cxn>
              <a:cxn ang="0">
                <a:pos x="232" y="32"/>
              </a:cxn>
              <a:cxn ang="0">
                <a:pos x="234" y="24"/>
              </a:cxn>
              <a:cxn ang="0">
                <a:pos x="232" y="17"/>
              </a:cxn>
              <a:cxn ang="0">
                <a:pos x="224" y="17"/>
              </a:cxn>
              <a:cxn ang="0">
                <a:pos x="212" y="15"/>
              </a:cxn>
              <a:cxn ang="0">
                <a:pos x="205" y="12"/>
              </a:cxn>
              <a:cxn ang="0">
                <a:pos x="205" y="10"/>
              </a:cxn>
              <a:cxn ang="0">
                <a:pos x="197" y="5"/>
              </a:cxn>
              <a:cxn ang="0">
                <a:pos x="187" y="2"/>
              </a:cxn>
              <a:cxn ang="0">
                <a:pos x="185" y="5"/>
              </a:cxn>
              <a:cxn ang="0">
                <a:pos x="180" y="2"/>
              </a:cxn>
              <a:cxn ang="0">
                <a:pos x="168" y="5"/>
              </a:cxn>
              <a:cxn ang="0">
                <a:pos x="158" y="12"/>
              </a:cxn>
              <a:cxn ang="0">
                <a:pos x="155" y="17"/>
              </a:cxn>
              <a:cxn ang="0">
                <a:pos x="158" y="29"/>
              </a:cxn>
              <a:cxn ang="0">
                <a:pos x="158" y="39"/>
              </a:cxn>
              <a:cxn ang="0">
                <a:pos x="153" y="44"/>
              </a:cxn>
              <a:cxn ang="0">
                <a:pos x="146" y="52"/>
              </a:cxn>
              <a:cxn ang="0">
                <a:pos x="133" y="44"/>
              </a:cxn>
              <a:cxn ang="0">
                <a:pos x="121" y="37"/>
              </a:cxn>
              <a:cxn ang="0">
                <a:pos x="104" y="29"/>
              </a:cxn>
              <a:cxn ang="0">
                <a:pos x="96" y="32"/>
              </a:cxn>
              <a:cxn ang="0">
                <a:pos x="86" y="20"/>
              </a:cxn>
              <a:cxn ang="0">
                <a:pos x="82" y="10"/>
              </a:cxn>
              <a:cxn ang="0">
                <a:pos x="67" y="5"/>
              </a:cxn>
              <a:cxn ang="0">
                <a:pos x="54" y="2"/>
              </a:cxn>
              <a:cxn ang="0">
                <a:pos x="35" y="2"/>
              </a:cxn>
              <a:cxn ang="0">
                <a:pos x="30" y="0"/>
              </a:cxn>
              <a:cxn ang="0">
                <a:pos x="30" y="7"/>
              </a:cxn>
              <a:cxn ang="0">
                <a:pos x="27" y="12"/>
              </a:cxn>
              <a:cxn ang="0">
                <a:pos x="18" y="22"/>
              </a:cxn>
              <a:cxn ang="0">
                <a:pos x="13" y="24"/>
              </a:cxn>
              <a:cxn ang="0">
                <a:pos x="10" y="27"/>
              </a:cxn>
              <a:cxn ang="0">
                <a:pos x="10" y="34"/>
              </a:cxn>
              <a:cxn ang="0">
                <a:pos x="10" y="39"/>
              </a:cxn>
              <a:cxn ang="0">
                <a:pos x="10" y="42"/>
              </a:cxn>
              <a:cxn ang="0">
                <a:pos x="5" y="47"/>
              </a:cxn>
              <a:cxn ang="0">
                <a:pos x="3" y="47"/>
              </a:cxn>
              <a:cxn ang="0">
                <a:pos x="0" y="49"/>
              </a:cxn>
              <a:cxn ang="0">
                <a:pos x="3" y="54"/>
              </a:cxn>
              <a:cxn ang="0">
                <a:pos x="5" y="69"/>
              </a:cxn>
              <a:cxn ang="0">
                <a:pos x="5" y="76"/>
              </a:cxn>
              <a:cxn ang="0">
                <a:pos x="8" y="88"/>
              </a:cxn>
              <a:cxn ang="0">
                <a:pos x="5" y="98"/>
              </a:cxn>
              <a:cxn ang="0">
                <a:pos x="8" y="108"/>
              </a:cxn>
              <a:cxn ang="0">
                <a:pos x="3" y="111"/>
              </a:cxn>
              <a:cxn ang="0">
                <a:pos x="0" y="115"/>
              </a:cxn>
              <a:cxn ang="0">
                <a:pos x="5" y="123"/>
              </a:cxn>
              <a:cxn ang="0">
                <a:pos x="10" y="128"/>
              </a:cxn>
              <a:cxn ang="0">
                <a:pos x="10" y="135"/>
              </a:cxn>
              <a:cxn ang="0">
                <a:pos x="13" y="140"/>
              </a:cxn>
              <a:cxn ang="0">
                <a:pos x="15" y="145"/>
              </a:cxn>
              <a:cxn ang="0">
                <a:pos x="27" y="145"/>
              </a:cxn>
              <a:cxn ang="0">
                <a:pos x="32" y="150"/>
              </a:cxn>
              <a:cxn ang="0">
                <a:pos x="37" y="160"/>
              </a:cxn>
              <a:cxn ang="0">
                <a:pos x="40" y="162"/>
              </a:cxn>
              <a:cxn ang="0">
                <a:pos x="69" y="172"/>
              </a:cxn>
              <a:cxn ang="0">
                <a:pos x="227" y="224"/>
              </a:cxn>
              <a:cxn ang="0">
                <a:pos x="227" y="224"/>
              </a:cxn>
            </a:cxnLst>
            <a:rect l="0" t="0" r="r" b="b"/>
            <a:pathLst>
              <a:path w="241" h="224">
                <a:moveTo>
                  <a:pt x="227" y="224"/>
                </a:moveTo>
                <a:lnTo>
                  <a:pt x="227" y="216"/>
                </a:lnTo>
                <a:lnTo>
                  <a:pt x="241" y="216"/>
                </a:lnTo>
                <a:lnTo>
                  <a:pt x="234" y="64"/>
                </a:lnTo>
                <a:lnTo>
                  <a:pt x="232" y="54"/>
                </a:lnTo>
                <a:lnTo>
                  <a:pt x="229" y="52"/>
                </a:lnTo>
                <a:lnTo>
                  <a:pt x="232" y="47"/>
                </a:lnTo>
                <a:lnTo>
                  <a:pt x="234" y="42"/>
                </a:lnTo>
                <a:lnTo>
                  <a:pt x="234" y="37"/>
                </a:lnTo>
                <a:lnTo>
                  <a:pt x="232" y="32"/>
                </a:lnTo>
                <a:lnTo>
                  <a:pt x="234" y="27"/>
                </a:lnTo>
                <a:lnTo>
                  <a:pt x="234" y="24"/>
                </a:lnTo>
                <a:lnTo>
                  <a:pt x="234" y="20"/>
                </a:lnTo>
                <a:lnTo>
                  <a:pt x="232" y="17"/>
                </a:lnTo>
                <a:lnTo>
                  <a:pt x="229" y="17"/>
                </a:lnTo>
                <a:lnTo>
                  <a:pt x="224" y="17"/>
                </a:lnTo>
                <a:lnTo>
                  <a:pt x="214" y="15"/>
                </a:lnTo>
                <a:lnTo>
                  <a:pt x="212" y="15"/>
                </a:lnTo>
                <a:lnTo>
                  <a:pt x="209" y="15"/>
                </a:lnTo>
                <a:lnTo>
                  <a:pt x="205" y="12"/>
                </a:lnTo>
                <a:lnTo>
                  <a:pt x="202" y="10"/>
                </a:lnTo>
                <a:lnTo>
                  <a:pt x="205" y="10"/>
                </a:lnTo>
                <a:lnTo>
                  <a:pt x="202" y="7"/>
                </a:lnTo>
                <a:lnTo>
                  <a:pt x="197" y="5"/>
                </a:lnTo>
                <a:lnTo>
                  <a:pt x="192" y="5"/>
                </a:lnTo>
                <a:lnTo>
                  <a:pt x="187" y="2"/>
                </a:lnTo>
                <a:lnTo>
                  <a:pt x="187" y="2"/>
                </a:lnTo>
                <a:lnTo>
                  <a:pt x="185" y="5"/>
                </a:lnTo>
                <a:lnTo>
                  <a:pt x="182" y="2"/>
                </a:lnTo>
                <a:lnTo>
                  <a:pt x="180" y="2"/>
                </a:lnTo>
                <a:lnTo>
                  <a:pt x="175" y="5"/>
                </a:lnTo>
                <a:lnTo>
                  <a:pt x="168" y="5"/>
                </a:lnTo>
                <a:lnTo>
                  <a:pt x="163" y="7"/>
                </a:lnTo>
                <a:lnTo>
                  <a:pt x="158" y="12"/>
                </a:lnTo>
                <a:lnTo>
                  <a:pt x="158" y="17"/>
                </a:lnTo>
                <a:lnTo>
                  <a:pt x="155" y="17"/>
                </a:lnTo>
                <a:lnTo>
                  <a:pt x="155" y="24"/>
                </a:lnTo>
                <a:lnTo>
                  <a:pt x="158" y="29"/>
                </a:lnTo>
                <a:lnTo>
                  <a:pt x="160" y="37"/>
                </a:lnTo>
                <a:lnTo>
                  <a:pt x="158" y="39"/>
                </a:lnTo>
                <a:lnTo>
                  <a:pt x="153" y="44"/>
                </a:lnTo>
                <a:lnTo>
                  <a:pt x="153" y="44"/>
                </a:lnTo>
                <a:lnTo>
                  <a:pt x="148" y="49"/>
                </a:lnTo>
                <a:lnTo>
                  <a:pt x="146" y="52"/>
                </a:lnTo>
                <a:lnTo>
                  <a:pt x="138" y="49"/>
                </a:lnTo>
                <a:lnTo>
                  <a:pt x="133" y="44"/>
                </a:lnTo>
                <a:lnTo>
                  <a:pt x="128" y="39"/>
                </a:lnTo>
                <a:lnTo>
                  <a:pt x="121" y="37"/>
                </a:lnTo>
                <a:lnTo>
                  <a:pt x="109" y="32"/>
                </a:lnTo>
                <a:lnTo>
                  <a:pt x="104" y="29"/>
                </a:lnTo>
                <a:lnTo>
                  <a:pt x="101" y="32"/>
                </a:lnTo>
                <a:lnTo>
                  <a:pt x="96" y="32"/>
                </a:lnTo>
                <a:lnTo>
                  <a:pt x="91" y="29"/>
                </a:lnTo>
                <a:lnTo>
                  <a:pt x="86" y="20"/>
                </a:lnTo>
                <a:lnTo>
                  <a:pt x="86" y="15"/>
                </a:lnTo>
                <a:lnTo>
                  <a:pt x="82" y="10"/>
                </a:lnTo>
                <a:lnTo>
                  <a:pt x="72" y="7"/>
                </a:lnTo>
                <a:lnTo>
                  <a:pt x="67" y="5"/>
                </a:lnTo>
                <a:lnTo>
                  <a:pt x="59" y="5"/>
                </a:lnTo>
                <a:lnTo>
                  <a:pt x="54" y="2"/>
                </a:lnTo>
                <a:lnTo>
                  <a:pt x="42" y="5"/>
                </a:lnTo>
                <a:lnTo>
                  <a:pt x="35" y="2"/>
                </a:lnTo>
                <a:lnTo>
                  <a:pt x="32" y="0"/>
                </a:lnTo>
                <a:lnTo>
                  <a:pt x="30" y="0"/>
                </a:lnTo>
                <a:lnTo>
                  <a:pt x="30" y="0"/>
                </a:lnTo>
                <a:lnTo>
                  <a:pt x="30" y="7"/>
                </a:lnTo>
                <a:lnTo>
                  <a:pt x="30" y="7"/>
                </a:lnTo>
                <a:lnTo>
                  <a:pt x="27" y="12"/>
                </a:lnTo>
                <a:lnTo>
                  <a:pt x="18" y="20"/>
                </a:lnTo>
                <a:lnTo>
                  <a:pt x="18" y="22"/>
                </a:lnTo>
                <a:lnTo>
                  <a:pt x="15" y="24"/>
                </a:lnTo>
                <a:lnTo>
                  <a:pt x="13" y="24"/>
                </a:lnTo>
                <a:lnTo>
                  <a:pt x="10" y="27"/>
                </a:lnTo>
                <a:lnTo>
                  <a:pt x="10" y="27"/>
                </a:lnTo>
                <a:lnTo>
                  <a:pt x="10" y="29"/>
                </a:lnTo>
                <a:lnTo>
                  <a:pt x="10" y="34"/>
                </a:lnTo>
                <a:lnTo>
                  <a:pt x="10" y="39"/>
                </a:lnTo>
                <a:lnTo>
                  <a:pt x="10" y="39"/>
                </a:lnTo>
                <a:lnTo>
                  <a:pt x="10" y="42"/>
                </a:lnTo>
                <a:lnTo>
                  <a:pt x="10" y="42"/>
                </a:lnTo>
                <a:lnTo>
                  <a:pt x="8" y="44"/>
                </a:lnTo>
                <a:lnTo>
                  <a:pt x="5" y="47"/>
                </a:lnTo>
                <a:lnTo>
                  <a:pt x="5" y="47"/>
                </a:lnTo>
                <a:lnTo>
                  <a:pt x="3" y="47"/>
                </a:lnTo>
                <a:lnTo>
                  <a:pt x="3" y="47"/>
                </a:lnTo>
                <a:lnTo>
                  <a:pt x="0" y="49"/>
                </a:lnTo>
                <a:lnTo>
                  <a:pt x="0" y="54"/>
                </a:lnTo>
                <a:lnTo>
                  <a:pt x="3" y="54"/>
                </a:lnTo>
                <a:lnTo>
                  <a:pt x="5" y="59"/>
                </a:lnTo>
                <a:lnTo>
                  <a:pt x="5" y="69"/>
                </a:lnTo>
                <a:lnTo>
                  <a:pt x="5" y="74"/>
                </a:lnTo>
                <a:lnTo>
                  <a:pt x="5" y="76"/>
                </a:lnTo>
                <a:lnTo>
                  <a:pt x="5" y="83"/>
                </a:lnTo>
                <a:lnTo>
                  <a:pt x="8" y="88"/>
                </a:lnTo>
                <a:lnTo>
                  <a:pt x="5" y="96"/>
                </a:lnTo>
                <a:lnTo>
                  <a:pt x="5" y="98"/>
                </a:lnTo>
                <a:lnTo>
                  <a:pt x="8" y="101"/>
                </a:lnTo>
                <a:lnTo>
                  <a:pt x="8" y="108"/>
                </a:lnTo>
                <a:lnTo>
                  <a:pt x="5" y="108"/>
                </a:lnTo>
                <a:lnTo>
                  <a:pt x="3" y="111"/>
                </a:lnTo>
                <a:lnTo>
                  <a:pt x="0" y="113"/>
                </a:lnTo>
                <a:lnTo>
                  <a:pt x="0" y="115"/>
                </a:lnTo>
                <a:lnTo>
                  <a:pt x="3" y="118"/>
                </a:lnTo>
                <a:lnTo>
                  <a:pt x="5" y="123"/>
                </a:lnTo>
                <a:lnTo>
                  <a:pt x="10" y="128"/>
                </a:lnTo>
                <a:lnTo>
                  <a:pt x="10" y="128"/>
                </a:lnTo>
                <a:lnTo>
                  <a:pt x="10" y="133"/>
                </a:lnTo>
                <a:lnTo>
                  <a:pt x="10" y="135"/>
                </a:lnTo>
                <a:lnTo>
                  <a:pt x="10" y="138"/>
                </a:lnTo>
                <a:lnTo>
                  <a:pt x="13" y="140"/>
                </a:lnTo>
                <a:lnTo>
                  <a:pt x="13" y="143"/>
                </a:lnTo>
                <a:lnTo>
                  <a:pt x="15" y="145"/>
                </a:lnTo>
                <a:lnTo>
                  <a:pt x="20" y="145"/>
                </a:lnTo>
                <a:lnTo>
                  <a:pt x="27" y="145"/>
                </a:lnTo>
                <a:lnTo>
                  <a:pt x="30" y="147"/>
                </a:lnTo>
                <a:lnTo>
                  <a:pt x="32" y="150"/>
                </a:lnTo>
                <a:lnTo>
                  <a:pt x="35" y="157"/>
                </a:lnTo>
                <a:lnTo>
                  <a:pt x="37" y="160"/>
                </a:lnTo>
                <a:lnTo>
                  <a:pt x="37" y="162"/>
                </a:lnTo>
                <a:lnTo>
                  <a:pt x="40" y="162"/>
                </a:lnTo>
                <a:lnTo>
                  <a:pt x="67" y="170"/>
                </a:lnTo>
                <a:lnTo>
                  <a:pt x="69" y="172"/>
                </a:lnTo>
                <a:lnTo>
                  <a:pt x="101" y="160"/>
                </a:lnTo>
                <a:lnTo>
                  <a:pt x="227" y="224"/>
                </a:lnTo>
                <a:lnTo>
                  <a:pt x="227" y="224"/>
                </a:lnTo>
                <a:lnTo>
                  <a:pt x="227" y="224"/>
                </a:lnTo>
                <a:lnTo>
                  <a:pt x="227" y="22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6" name="Freeform 115"/>
          <p:cNvSpPr>
            <a:spLocks noEditPoints="1"/>
          </p:cNvSpPr>
          <p:nvPr/>
        </p:nvSpPr>
        <p:spPr bwMode="auto">
          <a:xfrm>
            <a:off x="4935063" y="3518536"/>
            <a:ext cx="96227" cy="185861"/>
          </a:xfrm>
          <a:custGeom>
            <a:avLst/>
            <a:gdLst/>
            <a:ahLst/>
            <a:cxnLst>
              <a:cxn ang="0">
                <a:pos x="34" y="121"/>
              </a:cxn>
              <a:cxn ang="0">
                <a:pos x="37" y="118"/>
              </a:cxn>
              <a:cxn ang="0">
                <a:pos x="39" y="116"/>
              </a:cxn>
              <a:cxn ang="0">
                <a:pos x="39" y="113"/>
              </a:cxn>
              <a:cxn ang="0">
                <a:pos x="39" y="103"/>
              </a:cxn>
              <a:cxn ang="0">
                <a:pos x="39" y="101"/>
              </a:cxn>
              <a:cxn ang="0">
                <a:pos x="44" y="98"/>
              </a:cxn>
              <a:cxn ang="0">
                <a:pos x="47" y="94"/>
              </a:cxn>
              <a:cxn ang="0">
                <a:pos x="59" y="81"/>
              </a:cxn>
              <a:cxn ang="0">
                <a:pos x="59" y="74"/>
              </a:cxn>
              <a:cxn ang="0">
                <a:pos x="56" y="74"/>
              </a:cxn>
              <a:cxn ang="0">
                <a:pos x="52" y="69"/>
              </a:cxn>
              <a:cxn ang="0">
                <a:pos x="49" y="66"/>
              </a:cxn>
              <a:cxn ang="0">
                <a:pos x="49" y="66"/>
              </a:cxn>
              <a:cxn ang="0">
                <a:pos x="44" y="66"/>
              </a:cxn>
              <a:cxn ang="0">
                <a:pos x="42" y="66"/>
              </a:cxn>
              <a:cxn ang="0">
                <a:pos x="34" y="57"/>
              </a:cxn>
              <a:cxn ang="0">
                <a:pos x="44" y="47"/>
              </a:cxn>
              <a:cxn ang="0">
                <a:pos x="49" y="42"/>
              </a:cxn>
              <a:cxn ang="0">
                <a:pos x="49" y="39"/>
              </a:cxn>
              <a:cxn ang="0">
                <a:pos x="49" y="35"/>
              </a:cxn>
              <a:cxn ang="0">
                <a:pos x="44" y="30"/>
              </a:cxn>
              <a:cxn ang="0">
                <a:pos x="42" y="20"/>
              </a:cxn>
              <a:cxn ang="0">
                <a:pos x="44" y="15"/>
              </a:cxn>
              <a:cxn ang="0">
                <a:pos x="47" y="7"/>
              </a:cxn>
              <a:cxn ang="0">
                <a:pos x="42" y="10"/>
              </a:cxn>
              <a:cxn ang="0">
                <a:pos x="37" y="12"/>
              </a:cxn>
              <a:cxn ang="0">
                <a:pos x="34" y="5"/>
              </a:cxn>
              <a:cxn ang="0">
                <a:pos x="32" y="0"/>
              </a:cxn>
              <a:cxn ang="0">
                <a:pos x="29" y="3"/>
              </a:cxn>
              <a:cxn ang="0">
                <a:pos x="22" y="3"/>
              </a:cxn>
              <a:cxn ang="0">
                <a:pos x="12" y="7"/>
              </a:cxn>
              <a:cxn ang="0">
                <a:pos x="12" y="10"/>
              </a:cxn>
              <a:cxn ang="0">
                <a:pos x="12" y="17"/>
              </a:cxn>
              <a:cxn ang="0">
                <a:pos x="10" y="30"/>
              </a:cxn>
              <a:cxn ang="0">
                <a:pos x="12" y="37"/>
              </a:cxn>
              <a:cxn ang="0">
                <a:pos x="12" y="37"/>
              </a:cxn>
              <a:cxn ang="0">
                <a:pos x="12" y="42"/>
              </a:cxn>
              <a:cxn ang="0">
                <a:pos x="10" y="49"/>
              </a:cxn>
              <a:cxn ang="0">
                <a:pos x="7" y="52"/>
              </a:cxn>
              <a:cxn ang="0">
                <a:pos x="2" y="57"/>
              </a:cxn>
              <a:cxn ang="0">
                <a:pos x="0" y="66"/>
              </a:cxn>
              <a:cxn ang="0">
                <a:pos x="2" y="71"/>
              </a:cxn>
              <a:cxn ang="0">
                <a:pos x="5" y="74"/>
              </a:cxn>
              <a:cxn ang="0">
                <a:pos x="10" y="81"/>
              </a:cxn>
              <a:cxn ang="0">
                <a:pos x="15" y="86"/>
              </a:cxn>
              <a:cxn ang="0">
                <a:pos x="22" y="91"/>
              </a:cxn>
              <a:cxn ang="0">
                <a:pos x="32" y="121"/>
              </a:cxn>
              <a:cxn ang="0">
                <a:pos x="44" y="62"/>
              </a:cxn>
              <a:cxn ang="0">
                <a:pos x="49" y="62"/>
              </a:cxn>
              <a:cxn ang="0">
                <a:pos x="47" y="64"/>
              </a:cxn>
              <a:cxn ang="0">
                <a:pos x="44" y="62"/>
              </a:cxn>
            </a:cxnLst>
            <a:rect l="0" t="0" r="r" b="b"/>
            <a:pathLst>
              <a:path w="59" h="121">
                <a:moveTo>
                  <a:pt x="32" y="121"/>
                </a:moveTo>
                <a:lnTo>
                  <a:pt x="34" y="121"/>
                </a:lnTo>
                <a:lnTo>
                  <a:pt x="34" y="121"/>
                </a:lnTo>
                <a:lnTo>
                  <a:pt x="37" y="118"/>
                </a:lnTo>
                <a:lnTo>
                  <a:pt x="39" y="116"/>
                </a:lnTo>
                <a:lnTo>
                  <a:pt x="39" y="116"/>
                </a:lnTo>
                <a:lnTo>
                  <a:pt x="39" y="113"/>
                </a:lnTo>
                <a:lnTo>
                  <a:pt x="39" y="113"/>
                </a:lnTo>
                <a:lnTo>
                  <a:pt x="39" y="108"/>
                </a:lnTo>
                <a:lnTo>
                  <a:pt x="39" y="103"/>
                </a:lnTo>
                <a:lnTo>
                  <a:pt x="39" y="101"/>
                </a:lnTo>
                <a:lnTo>
                  <a:pt x="39" y="101"/>
                </a:lnTo>
                <a:lnTo>
                  <a:pt x="42" y="98"/>
                </a:lnTo>
                <a:lnTo>
                  <a:pt x="44" y="98"/>
                </a:lnTo>
                <a:lnTo>
                  <a:pt x="47" y="96"/>
                </a:lnTo>
                <a:lnTo>
                  <a:pt x="47" y="94"/>
                </a:lnTo>
                <a:lnTo>
                  <a:pt x="56" y="86"/>
                </a:lnTo>
                <a:lnTo>
                  <a:pt x="59" y="81"/>
                </a:lnTo>
                <a:lnTo>
                  <a:pt x="59" y="81"/>
                </a:lnTo>
                <a:lnTo>
                  <a:pt x="59" y="74"/>
                </a:lnTo>
                <a:lnTo>
                  <a:pt x="59" y="74"/>
                </a:lnTo>
                <a:lnTo>
                  <a:pt x="56" y="74"/>
                </a:lnTo>
                <a:lnTo>
                  <a:pt x="52" y="71"/>
                </a:lnTo>
                <a:lnTo>
                  <a:pt x="52" y="69"/>
                </a:lnTo>
                <a:lnTo>
                  <a:pt x="52" y="66"/>
                </a:lnTo>
                <a:lnTo>
                  <a:pt x="49" y="66"/>
                </a:lnTo>
                <a:lnTo>
                  <a:pt x="49" y="66"/>
                </a:lnTo>
                <a:lnTo>
                  <a:pt x="49" y="66"/>
                </a:lnTo>
                <a:lnTo>
                  <a:pt x="47" y="69"/>
                </a:lnTo>
                <a:lnTo>
                  <a:pt x="44" y="66"/>
                </a:lnTo>
                <a:lnTo>
                  <a:pt x="44" y="64"/>
                </a:lnTo>
                <a:lnTo>
                  <a:pt x="42" y="66"/>
                </a:lnTo>
                <a:lnTo>
                  <a:pt x="37" y="62"/>
                </a:lnTo>
                <a:lnTo>
                  <a:pt x="34" y="57"/>
                </a:lnTo>
                <a:lnTo>
                  <a:pt x="37" y="52"/>
                </a:lnTo>
                <a:lnTo>
                  <a:pt x="44" y="47"/>
                </a:lnTo>
                <a:lnTo>
                  <a:pt x="49" y="42"/>
                </a:lnTo>
                <a:lnTo>
                  <a:pt x="49" y="42"/>
                </a:lnTo>
                <a:lnTo>
                  <a:pt x="49" y="39"/>
                </a:lnTo>
                <a:lnTo>
                  <a:pt x="49" y="39"/>
                </a:lnTo>
                <a:lnTo>
                  <a:pt x="49" y="37"/>
                </a:lnTo>
                <a:lnTo>
                  <a:pt x="49" y="35"/>
                </a:lnTo>
                <a:lnTo>
                  <a:pt x="49" y="30"/>
                </a:lnTo>
                <a:lnTo>
                  <a:pt x="44" y="30"/>
                </a:lnTo>
                <a:lnTo>
                  <a:pt x="39" y="22"/>
                </a:lnTo>
                <a:lnTo>
                  <a:pt x="42" y="20"/>
                </a:lnTo>
                <a:lnTo>
                  <a:pt x="44" y="17"/>
                </a:lnTo>
                <a:lnTo>
                  <a:pt x="44" y="15"/>
                </a:lnTo>
                <a:lnTo>
                  <a:pt x="47" y="10"/>
                </a:lnTo>
                <a:lnTo>
                  <a:pt x="47" y="7"/>
                </a:lnTo>
                <a:lnTo>
                  <a:pt x="47" y="5"/>
                </a:lnTo>
                <a:lnTo>
                  <a:pt x="42" y="10"/>
                </a:lnTo>
                <a:lnTo>
                  <a:pt x="39" y="12"/>
                </a:lnTo>
                <a:lnTo>
                  <a:pt x="37" y="12"/>
                </a:lnTo>
                <a:lnTo>
                  <a:pt x="34" y="5"/>
                </a:lnTo>
                <a:lnTo>
                  <a:pt x="34" y="5"/>
                </a:lnTo>
                <a:lnTo>
                  <a:pt x="34" y="3"/>
                </a:lnTo>
                <a:lnTo>
                  <a:pt x="32" y="0"/>
                </a:lnTo>
                <a:lnTo>
                  <a:pt x="29" y="3"/>
                </a:lnTo>
                <a:lnTo>
                  <a:pt x="29" y="3"/>
                </a:lnTo>
                <a:lnTo>
                  <a:pt x="27" y="3"/>
                </a:lnTo>
                <a:lnTo>
                  <a:pt x="22" y="3"/>
                </a:lnTo>
                <a:lnTo>
                  <a:pt x="17" y="5"/>
                </a:lnTo>
                <a:lnTo>
                  <a:pt x="12" y="7"/>
                </a:lnTo>
                <a:lnTo>
                  <a:pt x="12" y="7"/>
                </a:lnTo>
                <a:lnTo>
                  <a:pt x="12" y="10"/>
                </a:lnTo>
                <a:lnTo>
                  <a:pt x="12" y="12"/>
                </a:lnTo>
                <a:lnTo>
                  <a:pt x="12" y="17"/>
                </a:lnTo>
                <a:lnTo>
                  <a:pt x="12" y="22"/>
                </a:lnTo>
                <a:lnTo>
                  <a:pt x="10" y="30"/>
                </a:lnTo>
                <a:lnTo>
                  <a:pt x="10" y="35"/>
                </a:lnTo>
                <a:lnTo>
                  <a:pt x="12" y="37"/>
                </a:lnTo>
                <a:lnTo>
                  <a:pt x="12" y="37"/>
                </a:lnTo>
                <a:lnTo>
                  <a:pt x="12" y="37"/>
                </a:lnTo>
                <a:lnTo>
                  <a:pt x="10" y="39"/>
                </a:lnTo>
                <a:lnTo>
                  <a:pt x="12" y="42"/>
                </a:lnTo>
                <a:lnTo>
                  <a:pt x="12" y="44"/>
                </a:lnTo>
                <a:lnTo>
                  <a:pt x="10" y="49"/>
                </a:lnTo>
                <a:lnTo>
                  <a:pt x="7" y="52"/>
                </a:lnTo>
                <a:lnTo>
                  <a:pt x="7" y="52"/>
                </a:lnTo>
                <a:lnTo>
                  <a:pt x="5" y="54"/>
                </a:lnTo>
                <a:lnTo>
                  <a:pt x="2" y="57"/>
                </a:lnTo>
                <a:lnTo>
                  <a:pt x="0" y="64"/>
                </a:lnTo>
                <a:lnTo>
                  <a:pt x="0" y="66"/>
                </a:lnTo>
                <a:lnTo>
                  <a:pt x="2" y="69"/>
                </a:lnTo>
                <a:lnTo>
                  <a:pt x="2" y="71"/>
                </a:lnTo>
                <a:lnTo>
                  <a:pt x="5" y="74"/>
                </a:lnTo>
                <a:lnTo>
                  <a:pt x="5" y="74"/>
                </a:lnTo>
                <a:lnTo>
                  <a:pt x="10" y="79"/>
                </a:lnTo>
                <a:lnTo>
                  <a:pt x="10" y="81"/>
                </a:lnTo>
                <a:lnTo>
                  <a:pt x="15" y="84"/>
                </a:lnTo>
                <a:lnTo>
                  <a:pt x="15" y="86"/>
                </a:lnTo>
                <a:lnTo>
                  <a:pt x="17" y="86"/>
                </a:lnTo>
                <a:lnTo>
                  <a:pt x="22" y="91"/>
                </a:lnTo>
                <a:lnTo>
                  <a:pt x="32" y="121"/>
                </a:lnTo>
                <a:lnTo>
                  <a:pt x="32" y="121"/>
                </a:lnTo>
                <a:lnTo>
                  <a:pt x="32" y="121"/>
                </a:lnTo>
                <a:close/>
                <a:moveTo>
                  <a:pt x="44" y="62"/>
                </a:moveTo>
                <a:lnTo>
                  <a:pt x="47" y="62"/>
                </a:lnTo>
                <a:lnTo>
                  <a:pt x="49" y="62"/>
                </a:lnTo>
                <a:lnTo>
                  <a:pt x="49" y="64"/>
                </a:lnTo>
                <a:lnTo>
                  <a:pt x="47" y="64"/>
                </a:lnTo>
                <a:lnTo>
                  <a:pt x="44" y="62"/>
                </a:lnTo>
                <a:lnTo>
                  <a:pt x="44" y="6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7" name="Freeform 116"/>
          <p:cNvSpPr>
            <a:spLocks/>
          </p:cNvSpPr>
          <p:nvPr/>
        </p:nvSpPr>
        <p:spPr bwMode="auto">
          <a:xfrm>
            <a:off x="4542002" y="3526217"/>
            <a:ext cx="505596" cy="460811"/>
          </a:xfrm>
          <a:custGeom>
            <a:avLst/>
            <a:gdLst/>
            <a:ahLst/>
            <a:cxnLst>
              <a:cxn ang="0">
                <a:pos x="307" y="229"/>
              </a:cxn>
              <a:cxn ang="0">
                <a:pos x="300" y="216"/>
              </a:cxn>
              <a:cxn ang="0">
                <a:pos x="285" y="214"/>
              </a:cxn>
              <a:cxn ang="0">
                <a:pos x="280" y="207"/>
              </a:cxn>
              <a:cxn ang="0">
                <a:pos x="280" y="197"/>
              </a:cxn>
              <a:cxn ang="0">
                <a:pos x="273" y="187"/>
              </a:cxn>
              <a:cxn ang="0">
                <a:pos x="273" y="180"/>
              </a:cxn>
              <a:cxn ang="0">
                <a:pos x="278" y="170"/>
              </a:cxn>
              <a:cxn ang="0">
                <a:pos x="278" y="157"/>
              </a:cxn>
              <a:cxn ang="0">
                <a:pos x="275" y="143"/>
              </a:cxn>
              <a:cxn ang="0">
                <a:pos x="273" y="123"/>
              </a:cxn>
              <a:cxn ang="0">
                <a:pos x="273" y="116"/>
              </a:cxn>
              <a:cxn ang="0">
                <a:pos x="256" y="81"/>
              </a:cxn>
              <a:cxn ang="0">
                <a:pos x="251" y="74"/>
              </a:cxn>
              <a:cxn ang="0">
                <a:pos x="243" y="66"/>
              </a:cxn>
              <a:cxn ang="0">
                <a:pos x="241" y="59"/>
              </a:cxn>
              <a:cxn ang="0">
                <a:pos x="248" y="47"/>
              </a:cxn>
              <a:cxn ang="0">
                <a:pos x="253" y="39"/>
              </a:cxn>
              <a:cxn ang="0">
                <a:pos x="253" y="32"/>
              </a:cxn>
              <a:cxn ang="0">
                <a:pos x="251" y="30"/>
              </a:cxn>
              <a:cxn ang="0">
                <a:pos x="253" y="12"/>
              </a:cxn>
              <a:cxn ang="0">
                <a:pos x="253" y="2"/>
              </a:cxn>
              <a:cxn ang="0">
                <a:pos x="246" y="2"/>
              </a:cxn>
              <a:cxn ang="0">
                <a:pos x="233" y="0"/>
              </a:cxn>
              <a:cxn ang="0">
                <a:pos x="224" y="5"/>
              </a:cxn>
              <a:cxn ang="0">
                <a:pos x="219" y="0"/>
              </a:cxn>
              <a:cxn ang="0">
                <a:pos x="214" y="5"/>
              </a:cxn>
              <a:cxn ang="0">
                <a:pos x="206" y="7"/>
              </a:cxn>
              <a:cxn ang="0">
                <a:pos x="197" y="5"/>
              </a:cxn>
              <a:cxn ang="0">
                <a:pos x="187" y="5"/>
              </a:cxn>
              <a:cxn ang="0">
                <a:pos x="182" y="2"/>
              </a:cxn>
              <a:cxn ang="0">
                <a:pos x="172" y="5"/>
              </a:cxn>
              <a:cxn ang="0">
                <a:pos x="162" y="7"/>
              </a:cxn>
              <a:cxn ang="0">
                <a:pos x="150" y="7"/>
              </a:cxn>
              <a:cxn ang="0">
                <a:pos x="138" y="15"/>
              </a:cxn>
              <a:cxn ang="0">
                <a:pos x="130" y="22"/>
              </a:cxn>
              <a:cxn ang="0">
                <a:pos x="125" y="22"/>
              </a:cxn>
              <a:cxn ang="0">
                <a:pos x="118" y="25"/>
              </a:cxn>
              <a:cxn ang="0">
                <a:pos x="113" y="30"/>
              </a:cxn>
              <a:cxn ang="0">
                <a:pos x="101" y="34"/>
              </a:cxn>
              <a:cxn ang="0">
                <a:pos x="106" y="39"/>
              </a:cxn>
              <a:cxn ang="0">
                <a:pos x="106" y="49"/>
              </a:cxn>
              <a:cxn ang="0">
                <a:pos x="108" y="69"/>
              </a:cxn>
              <a:cxn ang="0">
                <a:pos x="113" y="76"/>
              </a:cxn>
              <a:cxn ang="0">
                <a:pos x="118" y="79"/>
              </a:cxn>
              <a:cxn ang="0">
                <a:pos x="113" y="89"/>
              </a:cxn>
              <a:cxn ang="0">
                <a:pos x="88" y="93"/>
              </a:cxn>
              <a:cxn ang="0">
                <a:pos x="83" y="106"/>
              </a:cxn>
              <a:cxn ang="0">
                <a:pos x="56" y="125"/>
              </a:cxn>
              <a:cxn ang="0">
                <a:pos x="32" y="135"/>
              </a:cxn>
              <a:cxn ang="0">
                <a:pos x="15" y="138"/>
              </a:cxn>
              <a:cxn ang="0">
                <a:pos x="0" y="150"/>
              </a:cxn>
              <a:cxn ang="0">
                <a:pos x="0" y="167"/>
              </a:cxn>
              <a:cxn ang="0">
                <a:pos x="56" y="204"/>
              </a:cxn>
              <a:cxn ang="0">
                <a:pos x="160" y="278"/>
              </a:cxn>
              <a:cxn ang="0">
                <a:pos x="172" y="283"/>
              </a:cxn>
              <a:cxn ang="0">
                <a:pos x="182" y="290"/>
              </a:cxn>
              <a:cxn ang="0">
                <a:pos x="182" y="300"/>
              </a:cxn>
              <a:cxn ang="0">
                <a:pos x="199" y="298"/>
              </a:cxn>
              <a:cxn ang="0">
                <a:pos x="221" y="293"/>
              </a:cxn>
              <a:cxn ang="0">
                <a:pos x="310" y="231"/>
              </a:cxn>
            </a:cxnLst>
            <a:rect l="0" t="0" r="r" b="b"/>
            <a:pathLst>
              <a:path w="310" h="300">
                <a:moveTo>
                  <a:pt x="310" y="231"/>
                </a:moveTo>
                <a:lnTo>
                  <a:pt x="307" y="231"/>
                </a:lnTo>
                <a:lnTo>
                  <a:pt x="307" y="229"/>
                </a:lnTo>
                <a:lnTo>
                  <a:pt x="305" y="226"/>
                </a:lnTo>
                <a:lnTo>
                  <a:pt x="302" y="219"/>
                </a:lnTo>
                <a:lnTo>
                  <a:pt x="300" y="216"/>
                </a:lnTo>
                <a:lnTo>
                  <a:pt x="297" y="214"/>
                </a:lnTo>
                <a:lnTo>
                  <a:pt x="290" y="214"/>
                </a:lnTo>
                <a:lnTo>
                  <a:pt x="285" y="214"/>
                </a:lnTo>
                <a:lnTo>
                  <a:pt x="283" y="212"/>
                </a:lnTo>
                <a:lnTo>
                  <a:pt x="283" y="209"/>
                </a:lnTo>
                <a:lnTo>
                  <a:pt x="280" y="207"/>
                </a:lnTo>
                <a:lnTo>
                  <a:pt x="280" y="204"/>
                </a:lnTo>
                <a:lnTo>
                  <a:pt x="280" y="202"/>
                </a:lnTo>
                <a:lnTo>
                  <a:pt x="280" y="197"/>
                </a:lnTo>
                <a:lnTo>
                  <a:pt x="280" y="197"/>
                </a:lnTo>
                <a:lnTo>
                  <a:pt x="275" y="192"/>
                </a:lnTo>
                <a:lnTo>
                  <a:pt x="273" y="187"/>
                </a:lnTo>
                <a:lnTo>
                  <a:pt x="270" y="184"/>
                </a:lnTo>
                <a:lnTo>
                  <a:pt x="270" y="182"/>
                </a:lnTo>
                <a:lnTo>
                  <a:pt x="273" y="180"/>
                </a:lnTo>
                <a:lnTo>
                  <a:pt x="275" y="177"/>
                </a:lnTo>
                <a:lnTo>
                  <a:pt x="278" y="177"/>
                </a:lnTo>
                <a:lnTo>
                  <a:pt x="278" y="170"/>
                </a:lnTo>
                <a:lnTo>
                  <a:pt x="275" y="167"/>
                </a:lnTo>
                <a:lnTo>
                  <a:pt x="275" y="165"/>
                </a:lnTo>
                <a:lnTo>
                  <a:pt x="278" y="157"/>
                </a:lnTo>
                <a:lnTo>
                  <a:pt x="275" y="152"/>
                </a:lnTo>
                <a:lnTo>
                  <a:pt x="275" y="145"/>
                </a:lnTo>
                <a:lnTo>
                  <a:pt x="275" y="143"/>
                </a:lnTo>
                <a:lnTo>
                  <a:pt x="275" y="138"/>
                </a:lnTo>
                <a:lnTo>
                  <a:pt x="275" y="128"/>
                </a:lnTo>
                <a:lnTo>
                  <a:pt x="273" y="123"/>
                </a:lnTo>
                <a:lnTo>
                  <a:pt x="270" y="123"/>
                </a:lnTo>
                <a:lnTo>
                  <a:pt x="270" y="118"/>
                </a:lnTo>
                <a:lnTo>
                  <a:pt x="273" y="116"/>
                </a:lnTo>
                <a:lnTo>
                  <a:pt x="263" y="86"/>
                </a:lnTo>
                <a:lnTo>
                  <a:pt x="258" y="81"/>
                </a:lnTo>
                <a:lnTo>
                  <a:pt x="256" y="81"/>
                </a:lnTo>
                <a:lnTo>
                  <a:pt x="256" y="79"/>
                </a:lnTo>
                <a:lnTo>
                  <a:pt x="251" y="76"/>
                </a:lnTo>
                <a:lnTo>
                  <a:pt x="251" y="74"/>
                </a:lnTo>
                <a:lnTo>
                  <a:pt x="246" y="69"/>
                </a:lnTo>
                <a:lnTo>
                  <a:pt x="246" y="69"/>
                </a:lnTo>
                <a:lnTo>
                  <a:pt x="243" y="66"/>
                </a:lnTo>
                <a:lnTo>
                  <a:pt x="243" y="64"/>
                </a:lnTo>
                <a:lnTo>
                  <a:pt x="241" y="61"/>
                </a:lnTo>
                <a:lnTo>
                  <a:pt x="241" y="59"/>
                </a:lnTo>
                <a:lnTo>
                  <a:pt x="243" y="52"/>
                </a:lnTo>
                <a:lnTo>
                  <a:pt x="246" y="49"/>
                </a:lnTo>
                <a:lnTo>
                  <a:pt x="248" y="47"/>
                </a:lnTo>
                <a:lnTo>
                  <a:pt x="248" y="47"/>
                </a:lnTo>
                <a:lnTo>
                  <a:pt x="251" y="44"/>
                </a:lnTo>
                <a:lnTo>
                  <a:pt x="253" y="39"/>
                </a:lnTo>
                <a:lnTo>
                  <a:pt x="253" y="37"/>
                </a:lnTo>
                <a:lnTo>
                  <a:pt x="251" y="34"/>
                </a:lnTo>
                <a:lnTo>
                  <a:pt x="253" y="32"/>
                </a:lnTo>
                <a:lnTo>
                  <a:pt x="253" y="32"/>
                </a:lnTo>
                <a:lnTo>
                  <a:pt x="253" y="32"/>
                </a:lnTo>
                <a:lnTo>
                  <a:pt x="251" y="30"/>
                </a:lnTo>
                <a:lnTo>
                  <a:pt x="251" y="25"/>
                </a:lnTo>
                <a:lnTo>
                  <a:pt x="253" y="17"/>
                </a:lnTo>
                <a:lnTo>
                  <a:pt x="253" y="12"/>
                </a:lnTo>
                <a:lnTo>
                  <a:pt x="253" y="7"/>
                </a:lnTo>
                <a:lnTo>
                  <a:pt x="253" y="5"/>
                </a:lnTo>
                <a:lnTo>
                  <a:pt x="253" y="2"/>
                </a:lnTo>
                <a:lnTo>
                  <a:pt x="253" y="2"/>
                </a:lnTo>
                <a:lnTo>
                  <a:pt x="248" y="2"/>
                </a:lnTo>
                <a:lnTo>
                  <a:pt x="246" y="2"/>
                </a:lnTo>
                <a:lnTo>
                  <a:pt x="241" y="5"/>
                </a:lnTo>
                <a:lnTo>
                  <a:pt x="236" y="2"/>
                </a:lnTo>
                <a:lnTo>
                  <a:pt x="233" y="0"/>
                </a:lnTo>
                <a:lnTo>
                  <a:pt x="233" y="2"/>
                </a:lnTo>
                <a:lnTo>
                  <a:pt x="229" y="5"/>
                </a:lnTo>
                <a:lnTo>
                  <a:pt x="224" y="5"/>
                </a:lnTo>
                <a:lnTo>
                  <a:pt x="224" y="2"/>
                </a:lnTo>
                <a:lnTo>
                  <a:pt x="221" y="0"/>
                </a:lnTo>
                <a:lnTo>
                  <a:pt x="219" y="0"/>
                </a:lnTo>
                <a:lnTo>
                  <a:pt x="219" y="2"/>
                </a:lnTo>
                <a:lnTo>
                  <a:pt x="214" y="2"/>
                </a:lnTo>
                <a:lnTo>
                  <a:pt x="214" y="5"/>
                </a:lnTo>
                <a:lnTo>
                  <a:pt x="211" y="5"/>
                </a:lnTo>
                <a:lnTo>
                  <a:pt x="209" y="5"/>
                </a:lnTo>
                <a:lnTo>
                  <a:pt x="206" y="7"/>
                </a:lnTo>
                <a:lnTo>
                  <a:pt x="201" y="7"/>
                </a:lnTo>
                <a:lnTo>
                  <a:pt x="201" y="5"/>
                </a:lnTo>
                <a:lnTo>
                  <a:pt x="197" y="5"/>
                </a:lnTo>
                <a:lnTo>
                  <a:pt x="194" y="2"/>
                </a:lnTo>
                <a:lnTo>
                  <a:pt x="189" y="5"/>
                </a:lnTo>
                <a:lnTo>
                  <a:pt x="187" y="5"/>
                </a:lnTo>
                <a:lnTo>
                  <a:pt x="184" y="5"/>
                </a:lnTo>
                <a:lnTo>
                  <a:pt x="182" y="2"/>
                </a:lnTo>
                <a:lnTo>
                  <a:pt x="182" y="2"/>
                </a:lnTo>
                <a:lnTo>
                  <a:pt x="179" y="7"/>
                </a:lnTo>
                <a:lnTo>
                  <a:pt x="177" y="7"/>
                </a:lnTo>
                <a:lnTo>
                  <a:pt x="172" y="5"/>
                </a:lnTo>
                <a:lnTo>
                  <a:pt x="170" y="10"/>
                </a:lnTo>
                <a:lnTo>
                  <a:pt x="167" y="10"/>
                </a:lnTo>
                <a:lnTo>
                  <a:pt x="162" y="7"/>
                </a:lnTo>
                <a:lnTo>
                  <a:pt x="160" y="7"/>
                </a:lnTo>
                <a:lnTo>
                  <a:pt x="155" y="10"/>
                </a:lnTo>
                <a:lnTo>
                  <a:pt x="150" y="7"/>
                </a:lnTo>
                <a:lnTo>
                  <a:pt x="142" y="15"/>
                </a:lnTo>
                <a:lnTo>
                  <a:pt x="138" y="15"/>
                </a:lnTo>
                <a:lnTo>
                  <a:pt x="138" y="15"/>
                </a:lnTo>
                <a:lnTo>
                  <a:pt x="133" y="17"/>
                </a:lnTo>
                <a:lnTo>
                  <a:pt x="133" y="20"/>
                </a:lnTo>
                <a:lnTo>
                  <a:pt x="130" y="22"/>
                </a:lnTo>
                <a:lnTo>
                  <a:pt x="130" y="22"/>
                </a:lnTo>
                <a:lnTo>
                  <a:pt x="128" y="22"/>
                </a:lnTo>
                <a:lnTo>
                  <a:pt x="125" y="22"/>
                </a:lnTo>
                <a:lnTo>
                  <a:pt x="125" y="22"/>
                </a:lnTo>
                <a:lnTo>
                  <a:pt x="123" y="25"/>
                </a:lnTo>
                <a:lnTo>
                  <a:pt x="118" y="25"/>
                </a:lnTo>
                <a:lnTo>
                  <a:pt x="115" y="25"/>
                </a:lnTo>
                <a:lnTo>
                  <a:pt x="113" y="27"/>
                </a:lnTo>
                <a:lnTo>
                  <a:pt x="113" y="30"/>
                </a:lnTo>
                <a:lnTo>
                  <a:pt x="110" y="32"/>
                </a:lnTo>
                <a:lnTo>
                  <a:pt x="106" y="34"/>
                </a:lnTo>
                <a:lnTo>
                  <a:pt x="101" y="34"/>
                </a:lnTo>
                <a:lnTo>
                  <a:pt x="103" y="37"/>
                </a:lnTo>
                <a:lnTo>
                  <a:pt x="103" y="37"/>
                </a:lnTo>
                <a:lnTo>
                  <a:pt x="106" y="39"/>
                </a:lnTo>
                <a:lnTo>
                  <a:pt x="106" y="42"/>
                </a:lnTo>
                <a:lnTo>
                  <a:pt x="106" y="44"/>
                </a:lnTo>
                <a:lnTo>
                  <a:pt x="106" y="49"/>
                </a:lnTo>
                <a:lnTo>
                  <a:pt x="106" y="54"/>
                </a:lnTo>
                <a:lnTo>
                  <a:pt x="106" y="57"/>
                </a:lnTo>
                <a:lnTo>
                  <a:pt x="108" y="69"/>
                </a:lnTo>
                <a:lnTo>
                  <a:pt x="110" y="74"/>
                </a:lnTo>
                <a:lnTo>
                  <a:pt x="110" y="76"/>
                </a:lnTo>
                <a:lnTo>
                  <a:pt x="113" y="76"/>
                </a:lnTo>
                <a:lnTo>
                  <a:pt x="115" y="79"/>
                </a:lnTo>
                <a:lnTo>
                  <a:pt x="115" y="79"/>
                </a:lnTo>
                <a:lnTo>
                  <a:pt x="118" y="79"/>
                </a:lnTo>
                <a:lnTo>
                  <a:pt x="115" y="84"/>
                </a:lnTo>
                <a:lnTo>
                  <a:pt x="115" y="84"/>
                </a:lnTo>
                <a:lnTo>
                  <a:pt x="113" y="89"/>
                </a:lnTo>
                <a:lnTo>
                  <a:pt x="96" y="89"/>
                </a:lnTo>
                <a:lnTo>
                  <a:pt x="93" y="89"/>
                </a:lnTo>
                <a:lnTo>
                  <a:pt x="88" y="93"/>
                </a:lnTo>
                <a:lnTo>
                  <a:pt x="86" y="96"/>
                </a:lnTo>
                <a:lnTo>
                  <a:pt x="83" y="101"/>
                </a:lnTo>
                <a:lnTo>
                  <a:pt x="83" y="106"/>
                </a:lnTo>
                <a:lnTo>
                  <a:pt x="83" y="108"/>
                </a:lnTo>
                <a:lnTo>
                  <a:pt x="71" y="116"/>
                </a:lnTo>
                <a:lnTo>
                  <a:pt x="56" y="125"/>
                </a:lnTo>
                <a:lnTo>
                  <a:pt x="42" y="133"/>
                </a:lnTo>
                <a:lnTo>
                  <a:pt x="37" y="135"/>
                </a:lnTo>
                <a:lnTo>
                  <a:pt x="32" y="135"/>
                </a:lnTo>
                <a:lnTo>
                  <a:pt x="27" y="135"/>
                </a:lnTo>
                <a:lnTo>
                  <a:pt x="24" y="135"/>
                </a:lnTo>
                <a:lnTo>
                  <a:pt x="15" y="138"/>
                </a:lnTo>
                <a:lnTo>
                  <a:pt x="10" y="140"/>
                </a:lnTo>
                <a:lnTo>
                  <a:pt x="7" y="143"/>
                </a:lnTo>
                <a:lnTo>
                  <a:pt x="0" y="150"/>
                </a:lnTo>
                <a:lnTo>
                  <a:pt x="0" y="162"/>
                </a:lnTo>
                <a:lnTo>
                  <a:pt x="0" y="162"/>
                </a:lnTo>
                <a:lnTo>
                  <a:pt x="0" y="167"/>
                </a:lnTo>
                <a:lnTo>
                  <a:pt x="0" y="167"/>
                </a:lnTo>
                <a:lnTo>
                  <a:pt x="0" y="167"/>
                </a:lnTo>
                <a:lnTo>
                  <a:pt x="56" y="204"/>
                </a:lnTo>
                <a:lnTo>
                  <a:pt x="56" y="204"/>
                </a:lnTo>
                <a:lnTo>
                  <a:pt x="157" y="271"/>
                </a:lnTo>
                <a:lnTo>
                  <a:pt x="160" y="278"/>
                </a:lnTo>
                <a:lnTo>
                  <a:pt x="162" y="280"/>
                </a:lnTo>
                <a:lnTo>
                  <a:pt x="167" y="280"/>
                </a:lnTo>
                <a:lnTo>
                  <a:pt x="172" y="283"/>
                </a:lnTo>
                <a:lnTo>
                  <a:pt x="174" y="285"/>
                </a:lnTo>
                <a:lnTo>
                  <a:pt x="179" y="288"/>
                </a:lnTo>
                <a:lnTo>
                  <a:pt x="182" y="290"/>
                </a:lnTo>
                <a:lnTo>
                  <a:pt x="182" y="293"/>
                </a:lnTo>
                <a:lnTo>
                  <a:pt x="179" y="298"/>
                </a:lnTo>
                <a:lnTo>
                  <a:pt x="182" y="300"/>
                </a:lnTo>
                <a:lnTo>
                  <a:pt x="184" y="300"/>
                </a:lnTo>
                <a:lnTo>
                  <a:pt x="192" y="300"/>
                </a:lnTo>
                <a:lnTo>
                  <a:pt x="199" y="298"/>
                </a:lnTo>
                <a:lnTo>
                  <a:pt x="199" y="298"/>
                </a:lnTo>
                <a:lnTo>
                  <a:pt x="199" y="298"/>
                </a:lnTo>
                <a:lnTo>
                  <a:pt x="221" y="293"/>
                </a:lnTo>
                <a:lnTo>
                  <a:pt x="241" y="275"/>
                </a:lnTo>
                <a:lnTo>
                  <a:pt x="310" y="231"/>
                </a:lnTo>
                <a:lnTo>
                  <a:pt x="310" y="231"/>
                </a:lnTo>
                <a:lnTo>
                  <a:pt x="310" y="23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Freeform 117"/>
          <p:cNvSpPr>
            <a:spLocks/>
          </p:cNvSpPr>
          <p:nvPr/>
        </p:nvSpPr>
        <p:spPr bwMode="auto">
          <a:xfrm>
            <a:off x="4440882" y="3556937"/>
            <a:ext cx="293572" cy="218117"/>
          </a:xfrm>
          <a:custGeom>
            <a:avLst/>
            <a:gdLst/>
            <a:ahLst/>
            <a:cxnLst>
              <a:cxn ang="0">
                <a:pos x="62" y="130"/>
              </a:cxn>
              <a:cxn ang="0">
                <a:pos x="72" y="120"/>
              </a:cxn>
              <a:cxn ang="0">
                <a:pos x="86" y="115"/>
              </a:cxn>
              <a:cxn ang="0">
                <a:pos x="94" y="115"/>
              </a:cxn>
              <a:cxn ang="0">
                <a:pos x="104" y="113"/>
              </a:cxn>
              <a:cxn ang="0">
                <a:pos x="133" y="96"/>
              </a:cxn>
              <a:cxn ang="0">
                <a:pos x="145" y="86"/>
              </a:cxn>
              <a:cxn ang="0">
                <a:pos x="148" y="76"/>
              </a:cxn>
              <a:cxn ang="0">
                <a:pos x="155" y="69"/>
              </a:cxn>
              <a:cxn ang="0">
                <a:pos x="175" y="69"/>
              </a:cxn>
              <a:cxn ang="0">
                <a:pos x="177" y="64"/>
              </a:cxn>
              <a:cxn ang="0">
                <a:pos x="177" y="59"/>
              </a:cxn>
              <a:cxn ang="0">
                <a:pos x="175" y="56"/>
              </a:cxn>
              <a:cxn ang="0">
                <a:pos x="172" y="54"/>
              </a:cxn>
              <a:cxn ang="0">
                <a:pos x="168" y="37"/>
              </a:cxn>
              <a:cxn ang="0">
                <a:pos x="168" y="29"/>
              </a:cxn>
              <a:cxn ang="0">
                <a:pos x="168" y="22"/>
              </a:cxn>
              <a:cxn ang="0">
                <a:pos x="165" y="17"/>
              </a:cxn>
              <a:cxn ang="0">
                <a:pos x="163" y="14"/>
              </a:cxn>
              <a:cxn ang="0">
                <a:pos x="153" y="14"/>
              </a:cxn>
              <a:cxn ang="0">
                <a:pos x="150" y="10"/>
              </a:cxn>
              <a:cxn ang="0">
                <a:pos x="148" y="7"/>
              </a:cxn>
              <a:cxn ang="0">
                <a:pos x="140" y="12"/>
              </a:cxn>
              <a:cxn ang="0">
                <a:pos x="133" y="10"/>
              </a:cxn>
              <a:cxn ang="0">
                <a:pos x="126" y="12"/>
              </a:cxn>
              <a:cxn ang="0">
                <a:pos x="118" y="7"/>
              </a:cxn>
              <a:cxn ang="0">
                <a:pos x="116" y="5"/>
              </a:cxn>
              <a:cxn ang="0">
                <a:pos x="116" y="2"/>
              </a:cxn>
              <a:cxn ang="0">
                <a:pos x="111" y="2"/>
              </a:cxn>
              <a:cxn ang="0">
                <a:pos x="109" y="2"/>
              </a:cxn>
              <a:cxn ang="0">
                <a:pos x="104" y="14"/>
              </a:cxn>
              <a:cxn ang="0">
                <a:pos x="101" y="24"/>
              </a:cxn>
              <a:cxn ang="0">
                <a:pos x="91" y="34"/>
              </a:cxn>
              <a:cxn ang="0">
                <a:pos x="86" y="37"/>
              </a:cxn>
              <a:cxn ang="0">
                <a:pos x="77" y="44"/>
              </a:cxn>
              <a:cxn ang="0">
                <a:pos x="69" y="49"/>
              </a:cxn>
              <a:cxn ang="0">
                <a:pos x="62" y="54"/>
              </a:cxn>
              <a:cxn ang="0">
                <a:pos x="57" y="64"/>
              </a:cxn>
              <a:cxn ang="0">
                <a:pos x="52" y="73"/>
              </a:cxn>
              <a:cxn ang="0">
                <a:pos x="47" y="83"/>
              </a:cxn>
              <a:cxn ang="0">
                <a:pos x="47" y="96"/>
              </a:cxn>
              <a:cxn ang="0">
                <a:pos x="49" y="98"/>
              </a:cxn>
              <a:cxn ang="0">
                <a:pos x="40" y="113"/>
              </a:cxn>
              <a:cxn ang="0">
                <a:pos x="35" y="123"/>
              </a:cxn>
              <a:cxn ang="0">
                <a:pos x="20" y="132"/>
              </a:cxn>
              <a:cxn ang="0">
                <a:pos x="0" y="142"/>
              </a:cxn>
              <a:cxn ang="0">
                <a:pos x="62" y="142"/>
              </a:cxn>
              <a:cxn ang="0">
                <a:pos x="62" y="142"/>
              </a:cxn>
            </a:cxnLst>
            <a:rect l="0" t="0" r="r" b="b"/>
            <a:pathLst>
              <a:path w="180" h="142">
                <a:moveTo>
                  <a:pt x="62" y="142"/>
                </a:moveTo>
                <a:lnTo>
                  <a:pt x="62" y="130"/>
                </a:lnTo>
                <a:lnTo>
                  <a:pt x="69" y="123"/>
                </a:lnTo>
                <a:lnTo>
                  <a:pt x="72" y="120"/>
                </a:lnTo>
                <a:lnTo>
                  <a:pt x="77" y="118"/>
                </a:lnTo>
                <a:lnTo>
                  <a:pt x="86" y="115"/>
                </a:lnTo>
                <a:lnTo>
                  <a:pt x="89" y="115"/>
                </a:lnTo>
                <a:lnTo>
                  <a:pt x="94" y="115"/>
                </a:lnTo>
                <a:lnTo>
                  <a:pt x="99" y="115"/>
                </a:lnTo>
                <a:lnTo>
                  <a:pt x="104" y="113"/>
                </a:lnTo>
                <a:lnTo>
                  <a:pt x="118" y="105"/>
                </a:lnTo>
                <a:lnTo>
                  <a:pt x="133" y="96"/>
                </a:lnTo>
                <a:lnTo>
                  <a:pt x="145" y="88"/>
                </a:lnTo>
                <a:lnTo>
                  <a:pt x="145" y="86"/>
                </a:lnTo>
                <a:lnTo>
                  <a:pt x="145" y="81"/>
                </a:lnTo>
                <a:lnTo>
                  <a:pt x="148" y="76"/>
                </a:lnTo>
                <a:lnTo>
                  <a:pt x="150" y="73"/>
                </a:lnTo>
                <a:lnTo>
                  <a:pt x="155" y="69"/>
                </a:lnTo>
                <a:lnTo>
                  <a:pt x="158" y="69"/>
                </a:lnTo>
                <a:lnTo>
                  <a:pt x="175" y="69"/>
                </a:lnTo>
                <a:lnTo>
                  <a:pt x="177" y="64"/>
                </a:lnTo>
                <a:lnTo>
                  <a:pt x="177" y="64"/>
                </a:lnTo>
                <a:lnTo>
                  <a:pt x="180" y="59"/>
                </a:lnTo>
                <a:lnTo>
                  <a:pt x="177" y="59"/>
                </a:lnTo>
                <a:lnTo>
                  <a:pt x="177" y="59"/>
                </a:lnTo>
                <a:lnTo>
                  <a:pt x="175" y="56"/>
                </a:lnTo>
                <a:lnTo>
                  <a:pt x="172" y="56"/>
                </a:lnTo>
                <a:lnTo>
                  <a:pt x="172" y="54"/>
                </a:lnTo>
                <a:lnTo>
                  <a:pt x="170" y="49"/>
                </a:lnTo>
                <a:lnTo>
                  <a:pt x="168" y="37"/>
                </a:lnTo>
                <a:lnTo>
                  <a:pt x="168" y="34"/>
                </a:lnTo>
                <a:lnTo>
                  <a:pt x="168" y="29"/>
                </a:lnTo>
                <a:lnTo>
                  <a:pt x="168" y="24"/>
                </a:lnTo>
                <a:lnTo>
                  <a:pt x="168" y="22"/>
                </a:lnTo>
                <a:lnTo>
                  <a:pt x="168" y="19"/>
                </a:lnTo>
                <a:lnTo>
                  <a:pt x="165" y="17"/>
                </a:lnTo>
                <a:lnTo>
                  <a:pt x="165" y="17"/>
                </a:lnTo>
                <a:lnTo>
                  <a:pt x="163" y="14"/>
                </a:lnTo>
                <a:lnTo>
                  <a:pt x="160" y="14"/>
                </a:lnTo>
                <a:lnTo>
                  <a:pt x="153" y="14"/>
                </a:lnTo>
                <a:lnTo>
                  <a:pt x="150" y="12"/>
                </a:lnTo>
                <a:lnTo>
                  <a:pt x="150" y="10"/>
                </a:lnTo>
                <a:lnTo>
                  <a:pt x="148" y="7"/>
                </a:lnTo>
                <a:lnTo>
                  <a:pt x="148" y="7"/>
                </a:lnTo>
                <a:lnTo>
                  <a:pt x="145" y="12"/>
                </a:lnTo>
                <a:lnTo>
                  <a:pt x="140" y="12"/>
                </a:lnTo>
                <a:lnTo>
                  <a:pt x="136" y="12"/>
                </a:lnTo>
                <a:lnTo>
                  <a:pt x="133" y="10"/>
                </a:lnTo>
                <a:lnTo>
                  <a:pt x="131" y="12"/>
                </a:lnTo>
                <a:lnTo>
                  <a:pt x="126" y="12"/>
                </a:lnTo>
                <a:lnTo>
                  <a:pt x="121" y="12"/>
                </a:lnTo>
                <a:lnTo>
                  <a:pt x="118" y="7"/>
                </a:lnTo>
                <a:lnTo>
                  <a:pt x="116" y="7"/>
                </a:lnTo>
                <a:lnTo>
                  <a:pt x="116" y="5"/>
                </a:lnTo>
                <a:lnTo>
                  <a:pt x="116" y="2"/>
                </a:lnTo>
                <a:lnTo>
                  <a:pt x="116" y="2"/>
                </a:lnTo>
                <a:lnTo>
                  <a:pt x="113" y="0"/>
                </a:lnTo>
                <a:lnTo>
                  <a:pt x="111" y="2"/>
                </a:lnTo>
                <a:lnTo>
                  <a:pt x="111" y="2"/>
                </a:lnTo>
                <a:lnTo>
                  <a:pt x="109" y="2"/>
                </a:lnTo>
                <a:lnTo>
                  <a:pt x="106" y="5"/>
                </a:lnTo>
                <a:lnTo>
                  <a:pt x="104" y="14"/>
                </a:lnTo>
                <a:lnTo>
                  <a:pt x="101" y="19"/>
                </a:lnTo>
                <a:lnTo>
                  <a:pt x="101" y="24"/>
                </a:lnTo>
                <a:lnTo>
                  <a:pt x="99" y="29"/>
                </a:lnTo>
                <a:lnTo>
                  <a:pt x="91" y="34"/>
                </a:lnTo>
                <a:lnTo>
                  <a:pt x="89" y="34"/>
                </a:lnTo>
                <a:lnTo>
                  <a:pt x="86" y="37"/>
                </a:lnTo>
                <a:lnTo>
                  <a:pt x="81" y="39"/>
                </a:lnTo>
                <a:lnTo>
                  <a:pt x="77" y="44"/>
                </a:lnTo>
                <a:lnTo>
                  <a:pt x="74" y="44"/>
                </a:lnTo>
                <a:lnTo>
                  <a:pt x="69" y="49"/>
                </a:lnTo>
                <a:lnTo>
                  <a:pt x="64" y="49"/>
                </a:lnTo>
                <a:lnTo>
                  <a:pt x="62" y="54"/>
                </a:lnTo>
                <a:lnTo>
                  <a:pt x="54" y="59"/>
                </a:lnTo>
                <a:lnTo>
                  <a:pt x="57" y="64"/>
                </a:lnTo>
                <a:lnTo>
                  <a:pt x="57" y="66"/>
                </a:lnTo>
                <a:lnTo>
                  <a:pt x="52" y="73"/>
                </a:lnTo>
                <a:lnTo>
                  <a:pt x="47" y="81"/>
                </a:lnTo>
                <a:lnTo>
                  <a:pt x="47" y="83"/>
                </a:lnTo>
                <a:lnTo>
                  <a:pt x="49" y="88"/>
                </a:lnTo>
                <a:lnTo>
                  <a:pt x="47" y="96"/>
                </a:lnTo>
                <a:lnTo>
                  <a:pt x="49" y="96"/>
                </a:lnTo>
                <a:lnTo>
                  <a:pt x="49" y="98"/>
                </a:lnTo>
                <a:lnTo>
                  <a:pt x="49" y="103"/>
                </a:lnTo>
                <a:lnTo>
                  <a:pt x="40" y="113"/>
                </a:lnTo>
                <a:lnTo>
                  <a:pt x="40" y="118"/>
                </a:lnTo>
                <a:lnTo>
                  <a:pt x="35" y="123"/>
                </a:lnTo>
                <a:lnTo>
                  <a:pt x="30" y="123"/>
                </a:lnTo>
                <a:lnTo>
                  <a:pt x="20" y="132"/>
                </a:lnTo>
                <a:lnTo>
                  <a:pt x="3" y="135"/>
                </a:lnTo>
                <a:lnTo>
                  <a:pt x="0" y="142"/>
                </a:lnTo>
                <a:lnTo>
                  <a:pt x="62" y="142"/>
                </a:lnTo>
                <a:lnTo>
                  <a:pt x="62" y="142"/>
                </a:lnTo>
                <a:lnTo>
                  <a:pt x="62" y="142"/>
                </a:lnTo>
                <a:lnTo>
                  <a:pt x="62" y="14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Freeform 118"/>
          <p:cNvSpPr>
            <a:spLocks/>
          </p:cNvSpPr>
          <p:nvPr/>
        </p:nvSpPr>
        <p:spPr bwMode="auto">
          <a:xfrm>
            <a:off x="4336501" y="3775055"/>
            <a:ext cx="205501" cy="155140"/>
          </a:xfrm>
          <a:custGeom>
            <a:avLst/>
            <a:gdLst/>
            <a:ahLst/>
            <a:cxnLst>
              <a:cxn ang="0">
                <a:pos x="126" y="5"/>
              </a:cxn>
              <a:cxn ang="0">
                <a:pos x="126" y="0"/>
              </a:cxn>
              <a:cxn ang="0">
                <a:pos x="64" y="0"/>
              </a:cxn>
              <a:cxn ang="0">
                <a:pos x="57" y="8"/>
              </a:cxn>
              <a:cxn ang="0">
                <a:pos x="57" y="13"/>
              </a:cxn>
              <a:cxn ang="0">
                <a:pos x="54" y="13"/>
              </a:cxn>
              <a:cxn ang="0">
                <a:pos x="45" y="20"/>
              </a:cxn>
              <a:cxn ang="0">
                <a:pos x="45" y="22"/>
              </a:cxn>
              <a:cxn ang="0">
                <a:pos x="40" y="25"/>
              </a:cxn>
              <a:cxn ang="0">
                <a:pos x="40" y="30"/>
              </a:cxn>
              <a:cxn ang="0">
                <a:pos x="30" y="42"/>
              </a:cxn>
              <a:cxn ang="0">
                <a:pos x="30" y="47"/>
              </a:cxn>
              <a:cxn ang="0">
                <a:pos x="22" y="54"/>
              </a:cxn>
              <a:cxn ang="0">
                <a:pos x="20" y="54"/>
              </a:cxn>
              <a:cxn ang="0">
                <a:pos x="18" y="64"/>
              </a:cxn>
              <a:cxn ang="0">
                <a:pos x="18" y="67"/>
              </a:cxn>
              <a:cxn ang="0">
                <a:pos x="10" y="74"/>
              </a:cxn>
              <a:cxn ang="0">
                <a:pos x="10" y="77"/>
              </a:cxn>
              <a:cxn ang="0">
                <a:pos x="13" y="77"/>
              </a:cxn>
              <a:cxn ang="0">
                <a:pos x="10" y="79"/>
              </a:cxn>
              <a:cxn ang="0">
                <a:pos x="5" y="86"/>
              </a:cxn>
              <a:cxn ang="0">
                <a:pos x="3" y="86"/>
              </a:cxn>
              <a:cxn ang="0">
                <a:pos x="0" y="89"/>
              </a:cxn>
              <a:cxn ang="0">
                <a:pos x="0" y="94"/>
              </a:cxn>
              <a:cxn ang="0">
                <a:pos x="0" y="96"/>
              </a:cxn>
              <a:cxn ang="0">
                <a:pos x="0" y="101"/>
              </a:cxn>
              <a:cxn ang="0">
                <a:pos x="62" y="101"/>
              </a:cxn>
              <a:cxn ang="0">
                <a:pos x="62" y="74"/>
              </a:cxn>
              <a:cxn ang="0">
                <a:pos x="64" y="69"/>
              </a:cxn>
              <a:cxn ang="0">
                <a:pos x="67" y="67"/>
              </a:cxn>
              <a:cxn ang="0">
                <a:pos x="72" y="67"/>
              </a:cxn>
              <a:cxn ang="0">
                <a:pos x="77" y="67"/>
              </a:cxn>
              <a:cxn ang="0">
                <a:pos x="77" y="25"/>
              </a:cxn>
              <a:cxn ang="0">
                <a:pos x="126" y="27"/>
              </a:cxn>
              <a:cxn ang="0">
                <a:pos x="126" y="5"/>
              </a:cxn>
              <a:cxn ang="0">
                <a:pos x="126" y="5"/>
              </a:cxn>
              <a:cxn ang="0">
                <a:pos x="126" y="5"/>
              </a:cxn>
            </a:cxnLst>
            <a:rect l="0" t="0" r="r" b="b"/>
            <a:pathLst>
              <a:path w="126" h="101">
                <a:moveTo>
                  <a:pt x="126" y="5"/>
                </a:moveTo>
                <a:lnTo>
                  <a:pt x="126" y="0"/>
                </a:lnTo>
                <a:lnTo>
                  <a:pt x="64" y="0"/>
                </a:lnTo>
                <a:lnTo>
                  <a:pt x="57" y="8"/>
                </a:lnTo>
                <a:lnTo>
                  <a:pt x="57" y="13"/>
                </a:lnTo>
                <a:lnTo>
                  <a:pt x="54" y="13"/>
                </a:lnTo>
                <a:lnTo>
                  <a:pt x="45" y="20"/>
                </a:lnTo>
                <a:lnTo>
                  <a:pt x="45" y="22"/>
                </a:lnTo>
                <a:lnTo>
                  <a:pt x="40" y="25"/>
                </a:lnTo>
                <a:lnTo>
                  <a:pt x="40" y="30"/>
                </a:lnTo>
                <a:lnTo>
                  <a:pt x="30" y="42"/>
                </a:lnTo>
                <a:lnTo>
                  <a:pt x="30" y="47"/>
                </a:lnTo>
                <a:lnTo>
                  <a:pt x="22" y="54"/>
                </a:lnTo>
                <a:lnTo>
                  <a:pt x="20" y="54"/>
                </a:lnTo>
                <a:lnTo>
                  <a:pt x="18" y="64"/>
                </a:lnTo>
                <a:lnTo>
                  <a:pt x="18" y="67"/>
                </a:lnTo>
                <a:lnTo>
                  <a:pt x="10" y="74"/>
                </a:lnTo>
                <a:lnTo>
                  <a:pt x="10" y="77"/>
                </a:lnTo>
                <a:lnTo>
                  <a:pt x="13" y="77"/>
                </a:lnTo>
                <a:lnTo>
                  <a:pt x="10" y="79"/>
                </a:lnTo>
                <a:lnTo>
                  <a:pt x="5" y="86"/>
                </a:lnTo>
                <a:lnTo>
                  <a:pt x="3" y="86"/>
                </a:lnTo>
                <a:lnTo>
                  <a:pt x="0" y="89"/>
                </a:lnTo>
                <a:lnTo>
                  <a:pt x="0" y="94"/>
                </a:lnTo>
                <a:lnTo>
                  <a:pt x="0" y="96"/>
                </a:lnTo>
                <a:lnTo>
                  <a:pt x="0" y="101"/>
                </a:lnTo>
                <a:lnTo>
                  <a:pt x="62" y="101"/>
                </a:lnTo>
                <a:lnTo>
                  <a:pt x="62" y="74"/>
                </a:lnTo>
                <a:lnTo>
                  <a:pt x="64" y="69"/>
                </a:lnTo>
                <a:lnTo>
                  <a:pt x="67" y="67"/>
                </a:lnTo>
                <a:lnTo>
                  <a:pt x="72" y="67"/>
                </a:lnTo>
                <a:lnTo>
                  <a:pt x="77" y="67"/>
                </a:lnTo>
                <a:lnTo>
                  <a:pt x="77" y="25"/>
                </a:lnTo>
                <a:lnTo>
                  <a:pt x="126" y="27"/>
                </a:lnTo>
                <a:lnTo>
                  <a:pt x="126" y="5"/>
                </a:lnTo>
                <a:lnTo>
                  <a:pt x="126" y="5"/>
                </a:lnTo>
                <a:lnTo>
                  <a:pt x="126"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Freeform 119"/>
          <p:cNvSpPr>
            <a:spLocks/>
          </p:cNvSpPr>
          <p:nvPr/>
        </p:nvSpPr>
        <p:spPr bwMode="auto">
          <a:xfrm>
            <a:off x="4333238" y="3782734"/>
            <a:ext cx="300095" cy="305672"/>
          </a:xfrm>
          <a:custGeom>
            <a:avLst/>
            <a:gdLst/>
            <a:ahLst/>
            <a:cxnLst>
              <a:cxn ang="0">
                <a:pos x="64" y="96"/>
              </a:cxn>
              <a:cxn ang="0">
                <a:pos x="66" y="64"/>
              </a:cxn>
              <a:cxn ang="0">
                <a:pos x="74" y="62"/>
              </a:cxn>
              <a:cxn ang="0">
                <a:pos x="79" y="20"/>
              </a:cxn>
              <a:cxn ang="0">
                <a:pos x="128" y="0"/>
              </a:cxn>
              <a:cxn ang="0">
                <a:pos x="184" y="37"/>
              </a:cxn>
              <a:cxn ang="0">
                <a:pos x="165" y="37"/>
              </a:cxn>
              <a:cxn ang="0">
                <a:pos x="182" y="177"/>
              </a:cxn>
              <a:cxn ang="0">
                <a:pos x="123" y="190"/>
              </a:cxn>
              <a:cxn ang="0">
                <a:pos x="118" y="187"/>
              </a:cxn>
              <a:cxn ang="0">
                <a:pos x="113" y="190"/>
              </a:cxn>
              <a:cxn ang="0">
                <a:pos x="113" y="185"/>
              </a:cxn>
              <a:cxn ang="0">
                <a:pos x="101" y="187"/>
              </a:cxn>
              <a:cxn ang="0">
                <a:pos x="96" y="192"/>
              </a:cxn>
              <a:cxn ang="0">
                <a:pos x="93" y="185"/>
              </a:cxn>
              <a:cxn ang="0">
                <a:pos x="83" y="185"/>
              </a:cxn>
              <a:cxn ang="0">
                <a:pos x="83" y="192"/>
              </a:cxn>
              <a:cxn ang="0">
                <a:pos x="79" y="197"/>
              </a:cxn>
              <a:cxn ang="0">
                <a:pos x="74" y="199"/>
              </a:cxn>
              <a:cxn ang="0">
                <a:pos x="69" y="195"/>
              </a:cxn>
              <a:cxn ang="0">
                <a:pos x="66" y="192"/>
              </a:cxn>
              <a:cxn ang="0">
                <a:pos x="61" y="187"/>
              </a:cxn>
              <a:cxn ang="0">
                <a:pos x="59" y="180"/>
              </a:cxn>
              <a:cxn ang="0">
                <a:pos x="54" y="180"/>
              </a:cxn>
              <a:cxn ang="0">
                <a:pos x="52" y="180"/>
              </a:cxn>
              <a:cxn ang="0">
                <a:pos x="49" y="177"/>
              </a:cxn>
              <a:cxn ang="0">
                <a:pos x="42" y="172"/>
              </a:cxn>
              <a:cxn ang="0">
                <a:pos x="32" y="170"/>
              </a:cxn>
              <a:cxn ang="0">
                <a:pos x="15" y="175"/>
              </a:cxn>
              <a:cxn ang="0">
                <a:pos x="10" y="177"/>
              </a:cxn>
              <a:cxn ang="0">
                <a:pos x="7" y="172"/>
              </a:cxn>
              <a:cxn ang="0">
                <a:pos x="15" y="158"/>
              </a:cxn>
              <a:cxn ang="0">
                <a:pos x="12" y="131"/>
              </a:cxn>
              <a:cxn ang="0">
                <a:pos x="10" y="123"/>
              </a:cxn>
              <a:cxn ang="0">
                <a:pos x="12" y="118"/>
              </a:cxn>
              <a:cxn ang="0">
                <a:pos x="12" y="113"/>
              </a:cxn>
              <a:cxn ang="0">
                <a:pos x="7" y="108"/>
              </a:cxn>
              <a:cxn ang="0">
                <a:pos x="5" y="104"/>
              </a:cxn>
              <a:cxn ang="0">
                <a:pos x="0" y="101"/>
              </a:cxn>
              <a:cxn ang="0">
                <a:pos x="2" y="96"/>
              </a:cxn>
            </a:cxnLst>
            <a:rect l="0" t="0" r="r" b="b"/>
            <a:pathLst>
              <a:path w="184" h="199">
                <a:moveTo>
                  <a:pt x="2" y="96"/>
                </a:moveTo>
                <a:lnTo>
                  <a:pt x="64" y="96"/>
                </a:lnTo>
                <a:lnTo>
                  <a:pt x="64" y="69"/>
                </a:lnTo>
                <a:lnTo>
                  <a:pt x="66" y="64"/>
                </a:lnTo>
                <a:lnTo>
                  <a:pt x="69" y="62"/>
                </a:lnTo>
                <a:lnTo>
                  <a:pt x="74" y="62"/>
                </a:lnTo>
                <a:lnTo>
                  <a:pt x="79" y="62"/>
                </a:lnTo>
                <a:lnTo>
                  <a:pt x="79" y="20"/>
                </a:lnTo>
                <a:lnTo>
                  <a:pt x="128" y="22"/>
                </a:lnTo>
                <a:lnTo>
                  <a:pt x="128" y="0"/>
                </a:lnTo>
                <a:lnTo>
                  <a:pt x="184" y="37"/>
                </a:lnTo>
                <a:lnTo>
                  <a:pt x="184" y="37"/>
                </a:lnTo>
                <a:lnTo>
                  <a:pt x="184" y="37"/>
                </a:lnTo>
                <a:lnTo>
                  <a:pt x="165" y="37"/>
                </a:lnTo>
                <a:lnTo>
                  <a:pt x="177" y="172"/>
                </a:lnTo>
                <a:lnTo>
                  <a:pt x="182" y="177"/>
                </a:lnTo>
                <a:lnTo>
                  <a:pt x="177" y="190"/>
                </a:lnTo>
                <a:lnTo>
                  <a:pt x="123" y="190"/>
                </a:lnTo>
                <a:lnTo>
                  <a:pt x="120" y="190"/>
                </a:lnTo>
                <a:lnTo>
                  <a:pt x="118" y="187"/>
                </a:lnTo>
                <a:lnTo>
                  <a:pt x="115" y="187"/>
                </a:lnTo>
                <a:lnTo>
                  <a:pt x="113" y="190"/>
                </a:lnTo>
                <a:lnTo>
                  <a:pt x="113" y="190"/>
                </a:lnTo>
                <a:lnTo>
                  <a:pt x="113" y="185"/>
                </a:lnTo>
                <a:lnTo>
                  <a:pt x="108" y="182"/>
                </a:lnTo>
                <a:lnTo>
                  <a:pt x="101" y="187"/>
                </a:lnTo>
                <a:lnTo>
                  <a:pt x="96" y="195"/>
                </a:lnTo>
                <a:lnTo>
                  <a:pt x="96" y="192"/>
                </a:lnTo>
                <a:lnTo>
                  <a:pt x="93" y="187"/>
                </a:lnTo>
                <a:lnTo>
                  <a:pt x="93" y="185"/>
                </a:lnTo>
                <a:lnTo>
                  <a:pt x="88" y="185"/>
                </a:lnTo>
                <a:lnTo>
                  <a:pt x="83" y="185"/>
                </a:lnTo>
                <a:lnTo>
                  <a:pt x="83" y="192"/>
                </a:lnTo>
                <a:lnTo>
                  <a:pt x="83" y="192"/>
                </a:lnTo>
                <a:lnTo>
                  <a:pt x="81" y="197"/>
                </a:lnTo>
                <a:lnTo>
                  <a:pt x="79" y="197"/>
                </a:lnTo>
                <a:lnTo>
                  <a:pt x="74" y="199"/>
                </a:lnTo>
                <a:lnTo>
                  <a:pt x="74" y="199"/>
                </a:lnTo>
                <a:lnTo>
                  <a:pt x="74" y="197"/>
                </a:lnTo>
                <a:lnTo>
                  <a:pt x="69" y="195"/>
                </a:lnTo>
                <a:lnTo>
                  <a:pt x="66" y="195"/>
                </a:lnTo>
                <a:lnTo>
                  <a:pt x="66" y="192"/>
                </a:lnTo>
                <a:lnTo>
                  <a:pt x="61" y="190"/>
                </a:lnTo>
                <a:lnTo>
                  <a:pt x="61" y="187"/>
                </a:lnTo>
                <a:lnTo>
                  <a:pt x="59" y="185"/>
                </a:lnTo>
                <a:lnTo>
                  <a:pt x="59" y="180"/>
                </a:lnTo>
                <a:lnTo>
                  <a:pt x="56" y="180"/>
                </a:lnTo>
                <a:lnTo>
                  <a:pt x="54" y="180"/>
                </a:lnTo>
                <a:lnTo>
                  <a:pt x="54" y="180"/>
                </a:lnTo>
                <a:lnTo>
                  <a:pt x="52" y="180"/>
                </a:lnTo>
                <a:lnTo>
                  <a:pt x="49" y="180"/>
                </a:lnTo>
                <a:lnTo>
                  <a:pt x="49" y="177"/>
                </a:lnTo>
                <a:lnTo>
                  <a:pt x="44" y="172"/>
                </a:lnTo>
                <a:lnTo>
                  <a:pt x="42" y="172"/>
                </a:lnTo>
                <a:lnTo>
                  <a:pt x="34" y="170"/>
                </a:lnTo>
                <a:lnTo>
                  <a:pt x="32" y="170"/>
                </a:lnTo>
                <a:lnTo>
                  <a:pt x="22" y="172"/>
                </a:lnTo>
                <a:lnTo>
                  <a:pt x="15" y="175"/>
                </a:lnTo>
                <a:lnTo>
                  <a:pt x="12" y="177"/>
                </a:lnTo>
                <a:lnTo>
                  <a:pt x="10" y="177"/>
                </a:lnTo>
                <a:lnTo>
                  <a:pt x="7" y="180"/>
                </a:lnTo>
                <a:lnTo>
                  <a:pt x="7" y="172"/>
                </a:lnTo>
                <a:lnTo>
                  <a:pt x="10" y="163"/>
                </a:lnTo>
                <a:lnTo>
                  <a:pt x="15" y="158"/>
                </a:lnTo>
                <a:lnTo>
                  <a:pt x="15" y="148"/>
                </a:lnTo>
                <a:lnTo>
                  <a:pt x="12" y="131"/>
                </a:lnTo>
                <a:lnTo>
                  <a:pt x="7" y="123"/>
                </a:lnTo>
                <a:lnTo>
                  <a:pt x="10" y="123"/>
                </a:lnTo>
                <a:lnTo>
                  <a:pt x="12" y="123"/>
                </a:lnTo>
                <a:lnTo>
                  <a:pt x="12" y="118"/>
                </a:lnTo>
                <a:lnTo>
                  <a:pt x="12" y="113"/>
                </a:lnTo>
                <a:lnTo>
                  <a:pt x="12" y="113"/>
                </a:lnTo>
                <a:lnTo>
                  <a:pt x="10" y="106"/>
                </a:lnTo>
                <a:lnTo>
                  <a:pt x="7" y="108"/>
                </a:lnTo>
                <a:lnTo>
                  <a:pt x="5" y="106"/>
                </a:lnTo>
                <a:lnTo>
                  <a:pt x="5" y="104"/>
                </a:lnTo>
                <a:lnTo>
                  <a:pt x="0" y="106"/>
                </a:lnTo>
                <a:lnTo>
                  <a:pt x="0" y="101"/>
                </a:lnTo>
                <a:lnTo>
                  <a:pt x="2" y="99"/>
                </a:lnTo>
                <a:lnTo>
                  <a:pt x="2" y="96"/>
                </a:lnTo>
                <a:lnTo>
                  <a:pt x="2" y="9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Freeform 120"/>
          <p:cNvSpPr>
            <a:spLocks/>
          </p:cNvSpPr>
          <p:nvPr/>
        </p:nvSpPr>
        <p:spPr bwMode="auto">
          <a:xfrm>
            <a:off x="4453930" y="3839568"/>
            <a:ext cx="412632" cy="359433"/>
          </a:xfrm>
          <a:custGeom>
            <a:avLst/>
            <a:gdLst/>
            <a:ahLst/>
            <a:cxnLst>
              <a:cxn ang="0">
                <a:pos x="7" y="160"/>
              </a:cxn>
              <a:cxn ang="0">
                <a:pos x="9" y="148"/>
              </a:cxn>
              <a:cxn ang="0">
                <a:pos x="19" y="150"/>
              </a:cxn>
              <a:cxn ang="0">
                <a:pos x="27" y="150"/>
              </a:cxn>
              <a:cxn ang="0">
                <a:pos x="39" y="153"/>
              </a:cxn>
              <a:cxn ang="0">
                <a:pos x="44" y="150"/>
              </a:cxn>
              <a:cxn ang="0">
                <a:pos x="103" y="153"/>
              </a:cxn>
              <a:cxn ang="0">
                <a:pos x="91" y="0"/>
              </a:cxn>
              <a:cxn ang="0">
                <a:pos x="214" y="74"/>
              </a:cxn>
              <a:cxn ang="0">
                <a:pos x="226" y="79"/>
              </a:cxn>
              <a:cxn ang="0">
                <a:pos x="236" y="86"/>
              </a:cxn>
              <a:cxn ang="0">
                <a:pos x="236" y="96"/>
              </a:cxn>
              <a:cxn ang="0">
                <a:pos x="253" y="94"/>
              </a:cxn>
              <a:cxn ang="0">
                <a:pos x="251" y="138"/>
              </a:cxn>
              <a:cxn ang="0">
                <a:pos x="246" y="148"/>
              </a:cxn>
              <a:cxn ang="0">
                <a:pos x="228" y="155"/>
              </a:cxn>
              <a:cxn ang="0">
                <a:pos x="216" y="158"/>
              </a:cxn>
              <a:cxn ang="0">
                <a:pos x="196" y="160"/>
              </a:cxn>
              <a:cxn ang="0">
                <a:pos x="192" y="160"/>
              </a:cxn>
              <a:cxn ang="0">
                <a:pos x="182" y="158"/>
              </a:cxn>
              <a:cxn ang="0">
                <a:pos x="164" y="165"/>
              </a:cxn>
              <a:cxn ang="0">
                <a:pos x="142" y="180"/>
              </a:cxn>
              <a:cxn ang="0">
                <a:pos x="128" y="182"/>
              </a:cxn>
              <a:cxn ang="0">
                <a:pos x="123" y="192"/>
              </a:cxn>
              <a:cxn ang="0">
                <a:pos x="115" y="207"/>
              </a:cxn>
              <a:cxn ang="0">
                <a:pos x="108" y="214"/>
              </a:cxn>
              <a:cxn ang="0">
                <a:pos x="105" y="221"/>
              </a:cxn>
              <a:cxn ang="0">
                <a:pos x="105" y="229"/>
              </a:cxn>
              <a:cxn ang="0">
                <a:pos x="96" y="231"/>
              </a:cxn>
              <a:cxn ang="0">
                <a:pos x="88" y="231"/>
              </a:cxn>
              <a:cxn ang="0">
                <a:pos x="81" y="231"/>
              </a:cxn>
              <a:cxn ang="0">
                <a:pos x="69" y="234"/>
              </a:cxn>
              <a:cxn ang="0">
                <a:pos x="64" y="229"/>
              </a:cxn>
              <a:cxn ang="0">
                <a:pos x="64" y="224"/>
              </a:cxn>
              <a:cxn ang="0">
                <a:pos x="56" y="226"/>
              </a:cxn>
              <a:cxn ang="0">
                <a:pos x="61" y="217"/>
              </a:cxn>
              <a:cxn ang="0">
                <a:pos x="56" y="209"/>
              </a:cxn>
              <a:cxn ang="0">
                <a:pos x="51" y="202"/>
              </a:cxn>
              <a:cxn ang="0">
                <a:pos x="44" y="202"/>
              </a:cxn>
              <a:cxn ang="0">
                <a:pos x="34" y="207"/>
              </a:cxn>
              <a:cxn ang="0">
                <a:pos x="24" y="207"/>
              </a:cxn>
              <a:cxn ang="0">
                <a:pos x="17" y="207"/>
              </a:cxn>
              <a:cxn ang="0">
                <a:pos x="19" y="202"/>
              </a:cxn>
              <a:cxn ang="0">
                <a:pos x="14" y="194"/>
              </a:cxn>
              <a:cxn ang="0">
                <a:pos x="12" y="190"/>
              </a:cxn>
              <a:cxn ang="0">
                <a:pos x="7" y="187"/>
              </a:cxn>
              <a:cxn ang="0">
                <a:pos x="2" y="177"/>
              </a:cxn>
              <a:cxn ang="0">
                <a:pos x="2" y="165"/>
              </a:cxn>
            </a:cxnLst>
            <a:rect l="0" t="0" r="r" b="b"/>
            <a:pathLst>
              <a:path w="253" h="234">
                <a:moveTo>
                  <a:pt x="0" y="162"/>
                </a:moveTo>
                <a:lnTo>
                  <a:pt x="5" y="160"/>
                </a:lnTo>
                <a:lnTo>
                  <a:pt x="7" y="160"/>
                </a:lnTo>
                <a:lnTo>
                  <a:pt x="9" y="155"/>
                </a:lnTo>
                <a:lnTo>
                  <a:pt x="9" y="155"/>
                </a:lnTo>
                <a:lnTo>
                  <a:pt x="9" y="148"/>
                </a:lnTo>
                <a:lnTo>
                  <a:pt x="14" y="148"/>
                </a:lnTo>
                <a:lnTo>
                  <a:pt x="19" y="148"/>
                </a:lnTo>
                <a:lnTo>
                  <a:pt x="19" y="150"/>
                </a:lnTo>
                <a:lnTo>
                  <a:pt x="22" y="155"/>
                </a:lnTo>
                <a:lnTo>
                  <a:pt x="22" y="158"/>
                </a:lnTo>
                <a:lnTo>
                  <a:pt x="27" y="150"/>
                </a:lnTo>
                <a:lnTo>
                  <a:pt x="34" y="145"/>
                </a:lnTo>
                <a:lnTo>
                  <a:pt x="39" y="148"/>
                </a:lnTo>
                <a:lnTo>
                  <a:pt x="39" y="153"/>
                </a:lnTo>
                <a:lnTo>
                  <a:pt x="39" y="153"/>
                </a:lnTo>
                <a:lnTo>
                  <a:pt x="41" y="150"/>
                </a:lnTo>
                <a:lnTo>
                  <a:pt x="44" y="150"/>
                </a:lnTo>
                <a:lnTo>
                  <a:pt x="46" y="153"/>
                </a:lnTo>
                <a:lnTo>
                  <a:pt x="49" y="153"/>
                </a:lnTo>
                <a:lnTo>
                  <a:pt x="103" y="153"/>
                </a:lnTo>
                <a:lnTo>
                  <a:pt x="108" y="140"/>
                </a:lnTo>
                <a:lnTo>
                  <a:pt x="103" y="135"/>
                </a:lnTo>
                <a:lnTo>
                  <a:pt x="91" y="0"/>
                </a:lnTo>
                <a:lnTo>
                  <a:pt x="110" y="0"/>
                </a:lnTo>
                <a:lnTo>
                  <a:pt x="211" y="67"/>
                </a:lnTo>
                <a:lnTo>
                  <a:pt x="214" y="74"/>
                </a:lnTo>
                <a:lnTo>
                  <a:pt x="216" y="76"/>
                </a:lnTo>
                <a:lnTo>
                  <a:pt x="221" y="76"/>
                </a:lnTo>
                <a:lnTo>
                  <a:pt x="226" y="79"/>
                </a:lnTo>
                <a:lnTo>
                  <a:pt x="228" y="81"/>
                </a:lnTo>
                <a:lnTo>
                  <a:pt x="233" y="84"/>
                </a:lnTo>
                <a:lnTo>
                  <a:pt x="236" y="86"/>
                </a:lnTo>
                <a:lnTo>
                  <a:pt x="236" y="89"/>
                </a:lnTo>
                <a:lnTo>
                  <a:pt x="233" y="94"/>
                </a:lnTo>
                <a:lnTo>
                  <a:pt x="236" y="96"/>
                </a:lnTo>
                <a:lnTo>
                  <a:pt x="238" y="96"/>
                </a:lnTo>
                <a:lnTo>
                  <a:pt x="246" y="96"/>
                </a:lnTo>
                <a:lnTo>
                  <a:pt x="253" y="94"/>
                </a:lnTo>
                <a:lnTo>
                  <a:pt x="253" y="94"/>
                </a:lnTo>
                <a:lnTo>
                  <a:pt x="251" y="123"/>
                </a:lnTo>
                <a:lnTo>
                  <a:pt x="251" y="138"/>
                </a:lnTo>
                <a:lnTo>
                  <a:pt x="248" y="140"/>
                </a:lnTo>
                <a:lnTo>
                  <a:pt x="248" y="145"/>
                </a:lnTo>
                <a:lnTo>
                  <a:pt x="246" y="148"/>
                </a:lnTo>
                <a:lnTo>
                  <a:pt x="238" y="153"/>
                </a:lnTo>
                <a:lnTo>
                  <a:pt x="233" y="155"/>
                </a:lnTo>
                <a:lnTo>
                  <a:pt x="228" y="155"/>
                </a:lnTo>
                <a:lnTo>
                  <a:pt x="226" y="158"/>
                </a:lnTo>
                <a:lnTo>
                  <a:pt x="221" y="158"/>
                </a:lnTo>
                <a:lnTo>
                  <a:pt x="216" y="158"/>
                </a:lnTo>
                <a:lnTo>
                  <a:pt x="211" y="160"/>
                </a:lnTo>
                <a:lnTo>
                  <a:pt x="206" y="160"/>
                </a:lnTo>
                <a:lnTo>
                  <a:pt x="196" y="160"/>
                </a:lnTo>
                <a:lnTo>
                  <a:pt x="194" y="160"/>
                </a:lnTo>
                <a:lnTo>
                  <a:pt x="194" y="160"/>
                </a:lnTo>
                <a:lnTo>
                  <a:pt x="192" y="160"/>
                </a:lnTo>
                <a:lnTo>
                  <a:pt x="189" y="160"/>
                </a:lnTo>
                <a:lnTo>
                  <a:pt x="184" y="158"/>
                </a:lnTo>
                <a:lnTo>
                  <a:pt x="182" y="158"/>
                </a:lnTo>
                <a:lnTo>
                  <a:pt x="174" y="160"/>
                </a:lnTo>
                <a:lnTo>
                  <a:pt x="169" y="162"/>
                </a:lnTo>
                <a:lnTo>
                  <a:pt x="164" y="165"/>
                </a:lnTo>
                <a:lnTo>
                  <a:pt x="152" y="172"/>
                </a:lnTo>
                <a:lnTo>
                  <a:pt x="145" y="177"/>
                </a:lnTo>
                <a:lnTo>
                  <a:pt x="142" y="180"/>
                </a:lnTo>
                <a:lnTo>
                  <a:pt x="135" y="182"/>
                </a:lnTo>
                <a:lnTo>
                  <a:pt x="132" y="182"/>
                </a:lnTo>
                <a:lnTo>
                  <a:pt x="128" y="182"/>
                </a:lnTo>
                <a:lnTo>
                  <a:pt x="128" y="185"/>
                </a:lnTo>
                <a:lnTo>
                  <a:pt x="125" y="185"/>
                </a:lnTo>
                <a:lnTo>
                  <a:pt x="123" y="192"/>
                </a:lnTo>
                <a:lnTo>
                  <a:pt x="123" y="194"/>
                </a:lnTo>
                <a:lnTo>
                  <a:pt x="118" y="199"/>
                </a:lnTo>
                <a:lnTo>
                  <a:pt x="115" y="207"/>
                </a:lnTo>
                <a:lnTo>
                  <a:pt x="110" y="209"/>
                </a:lnTo>
                <a:lnTo>
                  <a:pt x="108" y="212"/>
                </a:lnTo>
                <a:lnTo>
                  <a:pt x="108" y="214"/>
                </a:lnTo>
                <a:lnTo>
                  <a:pt x="110" y="219"/>
                </a:lnTo>
                <a:lnTo>
                  <a:pt x="105" y="219"/>
                </a:lnTo>
                <a:lnTo>
                  <a:pt x="105" y="221"/>
                </a:lnTo>
                <a:lnTo>
                  <a:pt x="108" y="224"/>
                </a:lnTo>
                <a:lnTo>
                  <a:pt x="105" y="229"/>
                </a:lnTo>
                <a:lnTo>
                  <a:pt x="105" y="229"/>
                </a:lnTo>
                <a:lnTo>
                  <a:pt x="103" y="234"/>
                </a:lnTo>
                <a:lnTo>
                  <a:pt x="98" y="234"/>
                </a:lnTo>
                <a:lnTo>
                  <a:pt x="96" y="231"/>
                </a:lnTo>
                <a:lnTo>
                  <a:pt x="96" y="229"/>
                </a:lnTo>
                <a:lnTo>
                  <a:pt x="93" y="229"/>
                </a:lnTo>
                <a:lnTo>
                  <a:pt x="88" y="231"/>
                </a:lnTo>
                <a:lnTo>
                  <a:pt x="88" y="231"/>
                </a:lnTo>
                <a:lnTo>
                  <a:pt x="86" y="234"/>
                </a:lnTo>
                <a:lnTo>
                  <a:pt x="81" y="231"/>
                </a:lnTo>
                <a:lnTo>
                  <a:pt x="76" y="231"/>
                </a:lnTo>
                <a:lnTo>
                  <a:pt x="73" y="231"/>
                </a:lnTo>
                <a:lnTo>
                  <a:pt x="69" y="234"/>
                </a:lnTo>
                <a:lnTo>
                  <a:pt x="69" y="231"/>
                </a:lnTo>
                <a:lnTo>
                  <a:pt x="69" y="229"/>
                </a:lnTo>
                <a:lnTo>
                  <a:pt x="64" y="229"/>
                </a:lnTo>
                <a:lnTo>
                  <a:pt x="64" y="229"/>
                </a:lnTo>
                <a:lnTo>
                  <a:pt x="64" y="226"/>
                </a:lnTo>
                <a:lnTo>
                  <a:pt x="64" y="224"/>
                </a:lnTo>
                <a:lnTo>
                  <a:pt x="61" y="224"/>
                </a:lnTo>
                <a:lnTo>
                  <a:pt x="59" y="224"/>
                </a:lnTo>
                <a:lnTo>
                  <a:pt x="56" y="226"/>
                </a:lnTo>
                <a:lnTo>
                  <a:pt x="59" y="221"/>
                </a:lnTo>
                <a:lnTo>
                  <a:pt x="61" y="217"/>
                </a:lnTo>
                <a:lnTo>
                  <a:pt x="61" y="217"/>
                </a:lnTo>
                <a:lnTo>
                  <a:pt x="56" y="214"/>
                </a:lnTo>
                <a:lnTo>
                  <a:pt x="56" y="214"/>
                </a:lnTo>
                <a:lnTo>
                  <a:pt x="56" y="209"/>
                </a:lnTo>
                <a:lnTo>
                  <a:pt x="56" y="207"/>
                </a:lnTo>
                <a:lnTo>
                  <a:pt x="51" y="204"/>
                </a:lnTo>
                <a:lnTo>
                  <a:pt x="51" y="202"/>
                </a:lnTo>
                <a:lnTo>
                  <a:pt x="49" y="202"/>
                </a:lnTo>
                <a:lnTo>
                  <a:pt x="46" y="204"/>
                </a:lnTo>
                <a:lnTo>
                  <a:pt x="44" y="202"/>
                </a:lnTo>
                <a:lnTo>
                  <a:pt x="39" y="202"/>
                </a:lnTo>
                <a:lnTo>
                  <a:pt x="37" y="207"/>
                </a:lnTo>
                <a:lnTo>
                  <a:pt x="34" y="207"/>
                </a:lnTo>
                <a:lnTo>
                  <a:pt x="32" y="209"/>
                </a:lnTo>
                <a:lnTo>
                  <a:pt x="29" y="209"/>
                </a:lnTo>
                <a:lnTo>
                  <a:pt x="24" y="207"/>
                </a:lnTo>
                <a:lnTo>
                  <a:pt x="22" y="207"/>
                </a:lnTo>
                <a:lnTo>
                  <a:pt x="19" y="207"/>
                </a:lnTo>
                <a:lnTo>
                  <a:pt x="17" y="207"/>
                </a:lnTo>
                <a:lnTo>
                  <a:pt x="17" y="207"/>
                </a:lnTo>
                <a:lnTo>
                  <a:pt x="19" y="204"/>
                </a:lnTo>
                <a:lnTo>
                  <a:pt x="19" y="202"/>
                </a:lnTo>
                <a:lnTo>
                  <a:pt x="14" y="199"/>
                </a:lnTo>
                <a:lnTo>
                  <a:pt x="14" y="197"/>
                </a:lnTo>
                <a:lnTo>
                  <a:pt x="14" y="194"/>
                </a:lnTo>
                <a:lnTo>
                  <a:pt x="14" y="194"/>
                </a:lnTo>
                <a:lnTo>
                  <a:pt x="12" y="192"/>
                </a:lnTo>
                <a:lnTo>
                  <a:pt x="12" y="190"/>
                </a:lnTo>
                <a:lnTo>
                  <a:pt x="9" y="187"/>
                </a:lnTo>
                <a:lnTo>
                  <a:pt x="9" y="187"/>
                </a:lnTo>
                <a:lnTo>
                  <a:pt x="7" y="187"/>
                </a:lnTo>
                <a:lnTo>
                  <a:pt x="5" y="182"/>
                </a:lnTo>
                <a:lnTo>
                  <a:pt x="2" y="180"/>
                </a:lnTo>
                <a:lnTo>
                  <a:pt x="2" y="177"/>
                </a:lnTo>
                <a:lnTo>
                  <a:pt x="2" y="170"/>
                </a:lnTo>
                <a:lnTo>
                  <a:pt x="2" y="167"/>
                </a:lnTo>
                <a:lnTo>
                  <a:pt x="2" y="165"/>
                </a:lnTo>
                <a:lnTo>
                  <a:pt x="0" y="162"/>
                </a:lnTo>
                <a:lnTo>
                  <a:pt x="0" y="16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2" name="Freeform 121"/>
          <p:cNvSpPr>
            <a:spLocks/>
          </p:cNvSpPr>
          <p:nvPr/>
        </p:nvSpPr>
        <p:spPr bwMode="auto">
          <a:xfrm>
            <a:off x="4625180" y="4082262"/>
            <a:ext cx="194085" cy="132099"/>
          </a:xfrm>
          <a:custGeom>
            <a:avLst/>
            <a:gdLst/>
            <a:ahLst/>
            <a:cxnLst>
              <a:cxn ang="0">
                <a:pos x="3" y="66"/>
              </a:cxn>
              <a:cxn ang="0">
                <a:pos x="0" y="61"/>
              </a:cxn>
              <a:cxn ang="0">
                <a:pos x="3" y="56"/>
              </a:cxn>
              <a:cxn ang="0">
                <a:pos x="5" y="51"/>
              </a:cxn>
              <a:cxn ang="0">
                <a:pos x="13" y="41"/>
              </a:cxn>
              <a:cxn ang="0">
                <a:pos x="18" y="34"/>
              </a:cxn>
              <a:cxn ang="0">
                <a:pos x="23" y="27"/>
              </a:cxn>
              <a:cxn ang="0">
                <a:pos x="27" y="24"/>
              </a:cxn>
              <a:cxn ang="0">
                <a:pos x="37" y="22"/>
              </a:cxn>
              <a:cxn ang="0">
                <a:pos x="47" y="14"/>
              </a:cxn>
              <a:cxn ang="0">
                <a:pos x="64" y="4"/>
              </a:cxn>
              <a:cxn ang="0">
                <a:pos x="77" y="0"/>
              </a:cxn>
              <a:cxn ang="0">
                <a:pos x="84" y="2"/>
              </a:cxn>
              <a:cxn ang="0">
                <a:pos x="89" y="2"/>
              </a:cxn>
              <a:cxn ang="0">
                <a:pos x="87" y="7"/>
              </a:cxn>
              <a:cxn ang="0">
                <a:pos x="84" y="17"/>
              </a:cxn>
              <a:cxn ang="0">
                <a:pos x="99" y="32"/>
              </a:cxn>
              <a:cxn ang="0">
                <a:pos x="111" y="32"/>
              </a:cxn>
              <a:cxn ang="0">
                <a:pos x="114" y="34"/>
              </a:cxn>
              <a:cxn ang="0">
                <a:pos x="116" y="39"/>
              </a:cxn>
              <a:cxn ang="0">
                <a:pos x="116" y="46"/>
              </a:cxn>
              <a:cxn ang="0">
                <a:pos x="119" y="49"/>
              </a:cxn>
              <a:cxn ang="0">
                <a:pos x="111" y="54"/>
              </a:cxn>
              <a:cxn ang="0">
                <a:pos x="106" y="54"/>
              </a:cxn>
              <a:cxn ang="0">
                <a:pos x="101" y="59"/>
              </a:cxn>
              <a:cxn ang="0">
                <a:pos x="101" y="63"/>
              </a:cxn>
              <a:cxn ang="0">
                <a:pos x="96" y="66"/>
              </a:cxn>
              <a:cxn ang="0">
                <a:pos x="79" y="61"/>
              </a:cxn>
              <a:cxn ang="0">
                <a:pos x="77" y="61"/>
              </a:cxn>
              <a:cxn ang="0">
                <a:pos x="69" y="63"/>
              </a:cxn>
              <a:cxn ang="0">
                <a:pos x="57" y="63"/>
              </a:cxn>
              <a:cxn ang="0">
                <a:pos x="45" y="66"/>
              </a:cxn>
              <a:cxn ang="0">
                <a:pos x="37" y="68"/>
              </a:cxn>
              <a:cxn ang="0">
                <a:pos x="40" y="76"/>
              </a:cxn>
              <a:cxn ang="0">
                <a:pos x="42" y="83"/>
              </a:cxn>
              <a:cxn ang="0">
                <a:pos x="37" y="81"/>
              </a:cxn>
              <a:cxn ang="0">
                <a:pos x="32" y="83"/>
              </a:cxn>
              <a:cxn ang="0">
                <a:pos x="23" y="83"/>
              </a:cxn>
              <a:cxn ang="0">
                <a:pos x="18" y="78"/>
              </a:cxn>
              <a:cxn ang="0">
                <a:pos x="15" y="78"/>
              </a:cxn>
              <a:cxn ang="0">
                <a:pos x="5" y="73"/>
              </a:cxn>
              <a:cxn ang="0">
                <a:pos x="0" y="71"/>
              </a:cxn>
            </a:cxnLst>
            <a:rect l="0" t="0" r="r" b="b"/>
            <a:pathLst>
              <a:path w="119" h="86">
                <a:moveTo>
                  <a:pt x="0" y="71"/>
                </a:moveTo>
                <a:lnTo>
                  <a:pt x="3" y="66"/>
                </a:lnTo>
                <a:lnTo>
                  <a:pt x="0" y="63"/>
                </a:lnTo>
                <a:lnTo>
                  <a:pt x="0" y="61"/>
                </a:lnTo>
                <a:lnTo>
                  <a:pt x="5" y="61"/>
                </a:lnTo>
                <a:lnTo>
                  <a:pt x="3" y="56"/>
                </a:lnTo>
                <a:lnTo>
                  <a:pt x="3" y="54"/>
                </a:lnTo>
                <a:lnTo>
                  <a:pt x="5" y="51"/>
                </a:lnTo>
                <a:lnTo>
                  <a:pt x="10" y="49"/>
                </a:lnTo>
                <a:lnTo>
                  <a:pt x="13" y="41"/>
                </a:lnTo>
                <a:lnTo>
                  <a:pt x="18" y="36"/>
                </a:lnTo>
                <a:lnTo>
                  <a:pt x="18" y="34"/>
                </a:lnTo>
                <a:lnTo>
                  <a:pt x="20" y="27"/>
                </a:lnTo>
                <a:lnTo>
                  <a:pt x="23" y="27"/>
                </a:lnTo>
                <a:lnTo>
                  <a:pt x="23" y="24"/>
                </a:lnTo>
                <a:lnTo>
                  <a:pt x="27" y="24"/>
                </a:lnTo>
                <a:lnTo>
                  <a:pt x="30" y="24"/>
                </a:lnTo>
                <a:lnTo>
                  <a:pt x="37" y="22"/>
                </a:lnTo>
                <a:lnTo>
                  <a:pt x="40" y="19"/>
                </a:lnTo>
                <a:lnTo>
                  <a:pt x="47" y="14"/>
                </a:lnTo>
                <a:lnTo>
                  <a:pt x="59" y="7"/>
                </a:lnTo>
                <a:lnTo>
                  <a:pt x="64" y="4"/>
                </a:lnTo>
                <a:lnTo>
                  <a:pt x="69" y="2"/>
                </a:lnTo>
                <a:lnTo>
                  <a:pt x="77" y="0"/>
                </a:lnTo>
                <a:lnTo>
                  <a:pt x="79" y="0"/>
                </a:lnTo>
                <a:lnTo>
                  <a:pt x="84" y="2"/>
                </a:lnTo>
                <a:lnTo>
                  <a:pt x="87" y="2"/>
                </a:lnTo>
                <a:lnTo>
                  <a:pt x="89" y="2"/>
                </a:lnTo>
                <a:lnTo>
                  <a:pt x="87" y="4"/>
                </a:lnTo>
                <a:lnTo>
                  <a:pt x="87" y="7"/>
                </a:lnTo>
                <a:lnTo>
                  <a:pt x="84" y="12"/>
                </a:lnTo>
                <a:lnTo>
                  <a:pt x="84" y="17"/>
                </a:lnTo>
                <a:lnTo>
                  <a:pt x="99" y="27"/>
                </a:lnTo>
                <a:lnTo>
                  <a:pt x="99" y="32"/>
                </a:lnTo>
                <a:lnTo>
                  <a:pt x="106" y="36"/>
                </a:lnTo>
                <a:lnTo>
                  <a:pt x="111" y="32"/>
                </a:lnTo>
                <a:lnTo>
                  <a:pt x="114" y="34"/>
                </a:lnTo>
                <a:lnTo>
                  <a:pt x="114" y="34"/>
                </a:lnTo>
                <a:lnTo>
                  <a:pt x="116" y="36"/>
                </a:lnTo>
                <a:lnTo>
                  <a:pt x="116" y="39"/>
                </a:lnTo>
                <a:lnTo>
                  <a:pt x="114" y="41"/>
                </a:lnTo>
                <a:lnTo>
                  <a:pt x="116" y="46"/>
                </a:lnTo>
                <a:lnTo>
                  <a:pt x="119" y="46"/>
                </a:lnTo>
                <a:lnTo>
                  <a:pt x="119" y="49"/>
                </a:lnTo>
                <a:lnTo>
                  <a:pt x="114" y="51"/>
                </a:lnTo>
                <a:lnTo>
                  <a:pt x="111" y="54"/>
                </a:lnTo>
                <a:lnTo>
                  <a:pt x="106" y="56"/>
                </a:lnTo>
                <a:lnTo>
                  <a:pt x="106" y="54"/>
                </a:lnTo>
                <a:lnTo>
                  <a:pt x="101" y="56"/>
                </a:lnTo>
                <a:lnTo>
                  <a:pt x="101" y="59"/>
                </a:lnTo>
                <a:lnTo>
                  <a:pt x="99" y="61"/>
                </a:lnTo>
                <a:lnTo>
                  <a:pt x="101" y="63"/>
                </a:lnTo>
                <a:lnTo>
                  <a:pt x="96" y="63"/>
                </a:lnTo>
                <a:lnTo>
                  <a:pt x="96" y="66"/>
                </a:lnTo>
                <a:lnTo>
                  <a:pt x="79" y="61"/>
                </a:lnTo>
                <a:lnTo>
                  <a:pt x="79" y="61"/>
                </a:lnTo>
                <a:lnTo>
                  <a:pt x="79" y="61"/>
                </a:lnTo>
                <a:lnTo>
                  <a:pt x="77" y="61"/>
                </a:lnTo>
                <a:lnTo>
                  <a:pt x="74" y="63"/>
                </a:lnTo>
                <a:lnTo>
                  <a:pt x="69" y="63"/>
                </a:lnTo>
                <a:lnTo>
                  <a:pt x="64" y="63"/>
                </a:lnTo>
                <a:lnTo>
                  <a:pt x="57" y="63"/>
                </a:lnTo>
                <a:lnTo>
                  <a:pt x="55" y="66"/>
                </a:lnTo>
                <a:lnTo>
                  <a:pt x="45" y="66"/>
                </a:lnTo>
                <a:lnTo>
                  <a:pt x="37" y="66"/>
                </a:lnTo>
                <a:lnTo>
                  <a:pt x="37" y="68"/>
                </a:lnTo>
                <a:lnTo>
                  <a:pt x="40" y="73"/>
                </a:lnTo>
                <a:lnTo>
                  <a:pt x="40" y="76"/>
                </a:lnTo>
                <a:lnTo>
                  <a:pt x="42" y="78"/>
                </a:lnTo>
                <a:lnTo>
                  <a:pt x="42" y="83"/>
                </a:lnTo>
                <a:lnTo>
                  <a:pt x="40" y="83"/>
                </a:lnTo>
                <a:lnTo>
                  <a:pt x="37" y="81"/>
                </a:lnTo>
                <a:lnTo>
                  <a:pt x="35" y="81"/>
                </a:lnTo>
                <a:lnTo>
                  <a:pt x="32" y="83"/>
                </a:lnTo>
                <a:lnTo>
                  <a:pt x="27" y="86"/>
                </a:lnTo>
                <a:lnTo>
                  <a:pt x="23" y="83"/>
                </a:lnTo>
                <a:lnTo>
                  <a:pt x="23" y="81"/>
                </a:lnTo>
                <a:lnTo>
                  <a:pt x="18" y="78"/>
                </a:lnTo>
                <a:lnTo>
                  <a:pt x="15" y="78"/>
                </a:lnTo>
                <a:lnTo>
                  <a:pt x="15" y="78"/>
                </a:lnTo>
                <a:lnTo>
                  <a:pt x="13" y="78"/>
                </a:lnTo>
                <a:lnTo>
                  <a:pt x="5" y="73"/>
                </a:lnTo>
                <a:lnTo>
                  <a:pt x="3" y="71"/>
                </a:lnTo>
                <a:lnTo>
                  <a:pt x="0" y="71"/>
                </a:lnTo>
                <a:lnTo>
                  <a:pt x="0" y="7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3" name="Freeform 122"/>
          <p:cNvSpPr>
            <a:spLocks/>
          </p:cNvSpPr>
          <p:nvPr/>
        </p:nvSpPr>
        <p:spPr bwMode="auto">
          <a:xfrm>
            <a:off x="4320192" y="4043861"/>
            <a:ext cx="164727" cy="113667"/>
          </a:xfrm>
          <a:custGeom>
            <a:avLst/>
            <a:gdLst/>
            <a:ahLst/>
            <a:cxnLst>
              <a:cxn ang="0">
                <a:pos x="18" y="7"/>
              </a:cxn>
              <a:cxn ang="0">
                <a:pos x="23" y="5"/>
              </a:cxn>
              <a:cxn ang="0">
                <a:pos x="40" y="0"/>
              </a:cxn>
              <a:cxn ang="0">
                <a:pos x="50" y="2"/>
              </a:cxn>
              <a:cxn ang="0">
                <a:pos x="57" y="7"/>
              </a:cxn>
              <a:cxn ang="0">
                <a:pos x="60" y="10"/>
              </a:cxn>
              <a:cxn ang="0">
                <a:pos x="62" y="10"/>
              </a:cxn>
              <a:cxn ang="0">
                <a:pos x="67" y="10"/>
              </a:cxn>
              <a:cxn ang="0">
                <a:pos x="69" y="17"/>
              </a:cxn>
              <a:cxn ang="0">
                <a:pos x="74" y="22"/>
              </a:cxn>
              <a:cxn ang="0">
                <a:pos x="77" y="25"/>
              </a:cxn>
              <a:cxn ang="0">
                <a:pos x="82" y="29"/>
              </a:cxn>
              <a:cxn ang="0">
                <a:pos x="84" y="34"/>
              </a:cxn>
              <a:cxn ang="0">
                <a:pos x="84" y="44"/>
              </a:cxn>
              <a:cxn ang="0">
                <a:pos x="87" y="49"/>
              </a:cxn>
              <a:cxn ang="0">
                <a:pos x="91" y="54"/>
              </a:cxn>
              <a:cxn ang="0">
                <a:pos x="94" y="57"/>
              </a:cxn>
              <a:cxn ang="0">
                <a:pos x="96" y="61"/>
              </a:cxn>
              <a:cxn ang="0">
                <a:pos x="96" y="64"/>
              </a:cxn>
              <a:cxn ang="0">
                <a:pos x="101" y="69"/>
              </a:cxn>
              <a:cxn ang="0">
                <a:pos x="99" y="74"/>
              </a:cxn>
              <a:cxn ang="0">
                <a:pos x="96" y="71"/>
              </a:cxn>
              <a:cxn ang="0">
                <a:pos x="91" y="69"/>
              </a:cxn>
              <a:cxn ang="0">
                <a:pos x="84" y="69"/>
              </a:cxn>
              <a:cxn ang="0">
                <a:pos x="77" y="66"/>
              </a:cxn>
              <a:cxn ang="0">
                <a:pos x="60" y="64"/>
              </a:cxn>
              <a:cxn ang="0">
                <a:pos x="57" y="64"/>
              </a:cxn>
              <a:cxn ang="0">
                <a:pos x="40" y="61"/>
              </a:cxn>
              <a:cxn ang="0">
                <a:pos x="32" y="69"/>
              </a:cxn>
              <a:cxn ang="0">
                <a:pos x="15" y="69"/>
              </a:cxn>
              <a:cxn ang="0">
                <a:pos x="13" y="66"/>
              </a:cxn>
              <a:cxn ang="0">
                <a:pos x="13" y="66"/>
              </a:cxn>
              <a:cxn ang="0">
                <a:pos x="18" y="64"/>
              </a:cxn>
              <a:cxn ang="0">
                <a:pos x="10" y="64"/>
              </a:cxn>
              <a:cxn ang="0">
                <a:pos x="10" y="61"/>
              </a:cxn>
              <a:cxn ang="0">
                <a:pos x="13" y="57"/>
              </a:cxn>
              <a:cxn ang="0">
                <a:pos x="25" y="54"/>
              </a:cxn>
              <a:cxn ang="0">
                <a:pos x="30" y="49"/>
              </a:cxn>
              <a:cxn ang="0">
                <a:pos x="32" y="52"/>
              </a:cxn>
              <a:cxn ang="0">
                <a:pos x="37" y="49"/>
              </a:cxn>
              <a:cxn ang="0">
                <a:pos x="45" y="52"/>
              </a:cxn>
              <a:cxn ang="0">
                <a:pos x="52" y="54"/>
              </a:cxn>
              <a:cxn ang="0">
                <a:pos x="57" y="52"/>
              </a:cxn>
              <a:cxn ang="0">
                <a:pos x="55" y="52"/>
              </a:cxn>
              <a:cxn ang="0">
                <a:pos x="45" y="47"/>
              </a:cxn>
              <a:cxn ang="0">
                <a:pos x="37" y="44"/>
              </a:cxn>
              <a:cxn ang="0">
                <a:pos x="30" y="44"/>
              </a:cxn>
              <a:cxn ang="0">
                <a:pos x="23" y="49"/>
              </a:cxn>
              <a:cxn ang="0">
                <a:pos x="13" y="49"/>
              </a:cxn>
              <a:cxn ang="0">
                <a:pos x="15" y="47"/>
              </a:cxn>
              <a:cxn ang="0">
                <a:pos x="13" y="44"/>
              </a:cxn>
              <a:cxn ang="0">
                <a:pos x="10" y="42"/>
              </a:cxn>
              <a:cxn ang="0">
                <a:pos x="0" y="29"/>
              </a:cxn>
              <a:cxn ang="0">
                <a:pos x="15" y="15"/>
              </a:cxn>
              <a:cxn ang="0">
                <a:pos x="15" y="10"/>
              </a:cxn>
            </a:cxnLst>
            <a:rect l="0" t="0" r="r" b="b"/>
            <a:pathLst>
              <a:path w="101" h="74">
                <a:moveTo>
                  <a:pt x="15" y="10"/>
                </a:moveTo>
                <a:lnTo>
                  <a:pt x="18" y="7"/>
                </a:lnTo>
                <a:lnTo>
                  <a:pt x="20" y="7"/>
                </a:lnTo>
                <a:lnTo>
                  <a:pt x="23" y="5"/>
                </a:lnTo>
                <a:lnTo>
                  <a:pt x="30" y="2"/>
                </a:lnTo>
                <a:lnTo>
                  <a:pt x="40" y="0"/>
                </a:lnTo>
                <a:lnTo>
                  <a:pt x="42" y="0"/>
                </a:lnTo>
                <a:lnTo>
                  <a:pt x="50" y="2"/>
                </a:lnTo>
                <a:lnTo>
                  <a:pt x="52" y="2"/>
                </a:lnTo>
                <a:lnTo>
                  <a:pt x="57" y="7"/>
                </a:lnTo>
                <a:lnTo>
                  <a:pt x="57" y="10"/>
                </a:lnTo>
                <a:lnTo>
                  <a:pt x="60" y="10"/>
                </a:lnTo>
                <a:lnTo>
                  <a:pt x="62" y="10"/>
                </a:lnTo>
                <a:lnTo>
                  <a:pt x="62" y="10"/>
                </a:lnTo>
                <a:lnTo>
                  <a:pt x="64" y="10"/>
                </a:lnTo>
                <a:lnTo>
                  <a:pt x="67" y="10"/>
                </a:lnTo>
                <a:lnTo>
                  <a:pt x="67" y="15"/>
                </a:lnTo>
                <a:lnTo>
                  <a:pt x="69" y="17"/>
                </a:lnTo>
                <a:lnTo>
                  <a:pt x="69" y="20"/>
                </a:lnTo>
                <a:lnTo>
                  <a:pt x="74" y="22"/>
                </a:lnTo>
                <a:lnTo>
                  <a:pt x="74" y="25"/>
                </a:lnTo>
                <a:lnTo>
                  <a:pt x="77" y="25"/>
                </a:lnTo>
                <a:lnTo>
                  <a:pt x="82" y="27"/>
                </a:lnTo>
                <a:lnTo>
                  <a:pt x="82" y="29"/>
                </a:lnTo>
                <a:lnTo>
                  <a:pt x="84" y="32"/>
                </a:lnTo>
                <a:lnTo>
                  <a:pt x="84" y="34"/>
                </a:lnTo>
                <a:lnTo>
                  <a:pt x="84" y="37"/>
                </a:lnTo>
                <a:lnTo>
                  <a:pt x="84" y="44"/>
                </a:lnTo>
                <a:lnTo>
                  <a:pt x="84" y="47"/>
                </a:lnTo>
                <a:lnTo>
                  <a:pt x="87" y="49"/>
                </a:lnTo>
                <a:lnTo>
                  <a:pt x="89" y="54"/>
                </a:lnTo>
                <a:lnTo>
                  <a:pt x="91" y="54"/>
                </a:lnTo>
                <a:lnTo>
                  <a:pt x="91" y="54"/>
                </a:lnTo>
                <a:lnTo>
                  <a:pt x="94" y="57"/>
                </a:lnTo>
                <a:lnTo>
                  <a:pt x="94" y="59"/>
                </a:lnTo>
                <a:lnTo>
                  <a:pt x="96" y="61"/>
                </a:lnTo>
                <a:lnTo>
                  <a:pt x="96" y="61"/>
                </a:lnTo>
                <a:lnTo>
                  <a:pt x="96" y="64"/>
                </a:lnTo>
                <a:lnTo>
                  <a:pt x="96" y="66"/>
                </a:lnTo>
                <a:lnTo>
                  <a:pt x="101" y="69"/>
                </a:lnTo>
                <a:lnTo>
                  <a:pt x="101" y="71"/>
                </a:lnTo>
                <a:lnTo>
                  <a:pt x="99" y="74"/>
                </a:lnTo>
                <a:lnTo>
                  <a:pt x="99" y="71"/>
                </a:lnTo>
                <a:lnTo>
                  <a:pt x="96" y="71"/>
                </a:lnTo>
                <a:lnTo>
                  <a:pt x="94" y="69"/>
                </a:lnTo>
                <a:lnTo>
                  <a:pt x="91" y="69"/>
                </a:lnTo>
                <a:lnTo>
                  <a:pt x="89" y="69"/>
                </a:lnTo>
                <a:lnTo>
                  <a:pt x="84" y="69"/>
                </a:lnTo>
                <a:lnTo>
                  <a:pt x="79" y="69"/>
                </a:lnTo>
                <a:lnTo>
                  <a:pt x="77" y="66"/>
                </a:lnTo>
                <a:lnTo>
                  <a:pt x="69" y="64"/>
                </a:lnTo>
                <a:lnTo>
                  <a:pt x="60" y="64"/>
                </a:lnTo>
                <a:lnTo>
                  <a:pt x="57" y="64"/>
                </a:lnTo>
                <a:lnTo>
                  <a:pt x="57" y="64"/>
                </a:lnTo>
                <a:lnTo>
                  <a:pt x="55" y="61"/>
                </a:lnTo>
                <a:lnTo>
                  <a:pt x="40" y="61"/>
                </a:lnTo>
                <a:lnTo>
                  <a:pt x="35" y="64"/>
                </a:lnTo>
                <a:lnTo>
                  <a:pt x="32" y="69"/>
                </a:lnTo>
                <a:lnTo>
                  <a:pt x="20" y="66"/>
                </a:lnTo>
                <a:lnTo>
                  <a:pt x="15" y="69"/>
                </a:lnTo>
                <a:lnTo>
                  <a:pt x="13" y="69"/>
                </a:lnTo>
                <a:lnTo>
                  <a:pt x="13" y="66"/>
                </a:lnTo>
                <a:lnTo>
                  <a:pt x="10" y="64"/>
                </a:lnTo>
                <a:lnTo>
                  <a:pt x="13" y="66"/>
                </a:lnTo>
                <a:lnTo>
                  <a:pt x="15" y="66"/>
                </a:lnTo>
                <a:lnTo>
                  <a:pt x="18" y="64"/>
                </a:lnTo>
                <a:lnTo>
                  <a:pt x="13" y="61"/>
                </a:lnTo>
                <a:lnTo>
                  <a:pt x="10" y="64"/>
                </a:lnTo>
                <a:lnTo>
                  <a:pt x="8" y="64"/>
                </a:lnTo>
                <a:lnTo>
                  <a:pt x="10" y="61"/>
                </a:lnTo>
                <a:lnTo>
                  <a:pt x="10" y="57"/>
                </a:lnTo>
                <a:lnTo>
                  <a:pt x="13" y="57"/>
                </a:lnTo>
                <a:lnTo>
                  <a:pt x="23" y="57"/>
                </a:lnTo>
                <a:lnTo>
                  <a:pt x="25" y="54"/>
                </a:lnTo>
                <a:lnTo>
                  <a:pt x="28" y="52"/>
                </a:lnTo>
                <a:lnTo>
                  <a:pt x="30" y="49"/>
                </a:lnTo>
                <a:lnTo>
                  <a:pt x="32" y="52"/>
                </a:lnTo>
                <a:lnTo>
                  <a:pt x="32" y="52"/>
                </a:lnTo>
                <a:lnTo>
                  <a:pt x="35" y="49"/>
                </a:lnTo>
                <a:lnTo>
                  <a:pt x="37" y="49"/>
                </a:lnTo>
                <a:lnTo>
                  <a:pt x="40" y="52"/>
                </a:lnTo>
                <a:lnTo>
                  <a:pt x="45" y="52"/>
                </a:lnTo>
                <a:lnTo>
                  <a:pt x="47" y="52"/>
                </a:lnTo>
                <a:lnTo>
                  <a:pt x="52" y="54"/>
                </a:lnTo>
                <a:lnTo>
                  <a:pt x="57" y="54"/>
                </a:lnTo>
                <a:lnTo>
                  <a:pt x="57" y="52"/>
                </a:lnTo>
                <a:lnTo>
                  <a:pt x="57" y="52"/>
                </a:lnTo>
                <a:lnTo>
                  <a:pt x="55" y="52"/>
                </a:lnTo>
                <a:lnTo>
                  <a:pt x="50" y="47"/>
                </a:lnTo>
                <a:lnTo>
                  <a:pt x="45" y="47"/>
                </a:lnTo>
                <a:lnTo>
                  <a:pt x="40" y="44"/>
                </a:lnTo>
                <a:lnTo>
                  <a:pt x="37" y="44"/>
                </a:lnTo>
                <a:lnTo>
                  <a:pt x="35" y="42"/>
                </a:lnTo>
                <a:lnTo>
                  <a:pt x="30" y="44"/>
                </a:lnTo>
                <a:lnTo>
                  <a:pt x="25" y="49"/>
                </a:lnTo>
                <a:lnTo>
                  <a:pt x="23" y="49"/>
                </a:lnTo>
                <a:lnTo>
                  <a:pt x="20" y="49"/>
                </a:lnTo>
                <a:lnTo>
                  <a:pt x="13" y="49"/>
                </a:lnTo>
                <a:lnTo>
                  <a:pt x="13" y="49"/>
                </a:lnTo>
                <a:lnTo>
                  <a:pt x="15" y="47"/>
                </a:lnTo>
                <a:lnTo>
                  <a:pt x="10" y="44"/>
                </a:lnTo>
                <a:lnTo>
                  <a:pt x="13" y="44"/>
                </a:lnTo>
                <a:lnTo>
                  <a:pt x="13" y="42"/>
                </a:lnTo>
                <a:lnTo>
                  <a:pt x="10" y="42"/>
                </a:lnTo>
                <a:lnTo>
                  <a:pt x="5" y="34"/>
                </a:lnTo>
                <a:lnTo>
                  <a:pt x="0" y="29"/>
                </a:lnTo>
                <a:lnTo>
                  <a:pt x="10" y="22"/>
                </a:lnTo>
                <a:lnTo>
                  <a:pt x="15" y="15"/>
                </a:lnTo>
                <a:lnTo>
                  <a:pt x="15" y="10"/>
                </a:lnTo>
                <a:lnTo>
                  <a:pt x="15" y="1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4" name="Freeform 123"/>
          <p:cNvSpPr>
            <a:spLocks/>
          </p:cNvSpPr>
          <p:nvPr/>
        </p:nvSpPr>
        <p:spPr bwMode="auto">
          <a:xfrm>
            <a:off x="4333238" y="4108375"/>
            <a:ext cx="79917" cy="23041"/>
          </a:xfrm>
          <a:custGeom>
            <a:avLst/>
            <a:gdLst/>
            <a:ahLst/>
            <a:cxnLst>
              <a:cxn ang="0">
                <a:pos x="2" y="15"/>
              </a:cxn>
              <a:cxn ang="0">
                <a:pos x="5" y="15"/>
              </a:cxn>
              <a:cxn ang="0">
                <a:pos x="15" y="15"/>
              </a:cxn>
              <a:cxn ang="0">
                <a:pos x="17" y="12"/>
              </a:cxn>
              <a:cxn ang="0">
                <a:pos x="20" y="10"/>
              </a:cxn>
              <a:cxn ang="0">
                <a:pos x="22" y="7"/>
              </a:cxn>
              <a:cxn ang="0">
                <a:pos x="24" y="10"/>
              </a:cxn>
              <a:cxn ang="0">
                <a:pos x="24" y="10"/>
              </a:cxn>
              <a:cxn ang="0">
                <a:pos x="27" y="7"/>
              </a:cxn>
              <a:cxn ang="0">
                <a:pos x="29" y="7"/>
              </a:cxn>
              <a:cxn ang="0">
                <a:pos x="32" y="10"/>
              </a:cxn>
              <a:cxn ang="0">
                <a:pos x="37" y="10"/>
              </a:cxn>
              <a:cxn ang="0">
                <a:pos x="39" y="10"/>
              </a:cxn>
              <a:cxn ang="0">
                <a:pos x="44" y="12"/>
              </a:cxn>
              <a:cxn ang="0">
                <a:pos x="49" y="12"/>
              </a:cxn>
              <a:cxn ang="0">
                <a:pos x="49" y="10"/>
              </a:cxn>
              <a:cxn ang="0">
                <a:pos x="49" y="10"/>
              </a:cxn>
              <a:cxn ang="0">
                <a:pos x="47" y="10"/>
              </a:cxn>
              <a:cxn ang="0">
                <a:pos x="42" y="5"/>
              </a:cxn>
              <a:cxn ang="0">
                <a:pos x="37" y="5"/>
              </a:cxn>
              <a:cxn ang="0">
                <a:pos x="32" y="2"/>
              </a:cxn>
              <a:cxn ang="0">
                <a:pos x="29" y="2"/>
              </a:cxn>
              <a:cxn ang="0">
                <a:pos x="27" y="0"/>
              </a:cxn>
              <a:cxn ang="0">
                <a:pos x="22" y="2"/>
              </a:cxn>
              <a:cxn ang="0">
                <a:pos x="17" y="7"/>
              </a:cxn>
              <a:cxn ang="0">
                <a:pos x="15" y="7"/>
              </a:cxn>
              <a:cxn ang="0">
                <a:pos x="12" y="7"/>
              </a:cxn>
              <a:cxn ang="0">
                <a:pos x="5" y="7"/>
              </a:cxn>
              <a:cxn ang="0">
                <a:pos x="5" y="10"/>
              </a:cxn>
              <a:cxn ang="0">
                <a:pos x="10" y="12"/>
              </a:cxn>
              <a:cxn ang="0">
                <a:pos x="12" y="12"/>
              </a:cxn>
              <a:cxn ang="0">
                <a:pos x="10" y="15"/>
              </a:cxn>
              <a:cxn ang="0">
                <a:pos x="7" y="15"/>
              </a:cxn>
              <a:cxn ang="0">
                <a:pos x="2" y="10"/>
              </a:cxn>
              <a:cxn ang="0">
                <a:pos x="0" y="12"/>
              </a:cxn>
              <a:cxn ang="0">
                <a:pos x="2" y="15"/>
              </a:cxn>
              <a:cxn ang="0">
                <a:pos x="2" y="15"/>
              </a:cxn>
              <a:cxn ang="0">
                <a:pos x="2" y="15"/>
              </a:cxn>
            </a:cxnLst>
            <a:rect l="0" t="0" r="r" b="b"/>
            <a:pathLst>
              <a:path w="49" h="15">
                <a:moveTo>
                  <a:pt x="2" y="15"/>
                </a:moveTo>
                <a:lnTo>
                  <a:pt x="5" y="15"/>
                </a:lnTo>
                <a:lnTo>
                  <a:pt x="15" y="15"/>
                </a:lnTo>
                <a:lnTo>
                  <a:pt x="17" y="12"/>
                </a:lnTo>
                <a:lnTo>
                  <a:pt x="20" y="10"/>
                </a:lnTo>
                <a:lnTo>
                  <a:pt x="22" y="7"/>
                </a:lnTo>
                <a:lnTo>
                  <a:pt x="24" y="10"/>
                </a:lnTo>
                <a:lnTo>
                  <a:pt x="24" y="10"/>
                </a:lnTo>
                <a:lnTo>
                  <a:pt x="27" y="7"/>
                </a:lnTo>
                <a:lnTo>
                  <a:pt x="29" y="7"/>
                </a:lnTo>
                <a:lnTo>
                  <a:pt x="32" y="10"/>
                </a:lnTo>
                <a:lnTo>
                  <a:pt x="37" y="10"/>
                </a:lnTo>
                <a:lnTo>
                  <a:pt x="39" y="10"/>
                </a:lnTo>
                <a:lnTo>
                  <a:pt x="44" y="12"/>
                </a:lnTo>
                <a:lnTo>
                  <a:pt x="49" y="12"/>
                </a:lnTo>
                <a:lnTo>
                  <a:pt x="49" y="10"/>
                </a:lnTo>
                <a:lnTo>
                  <a:pt x="49" y="10"/>
                </a:lnTo>
                <a:lnTo>
                  <a:pt x="47" y="10"/>
                </a:lnTo>
                <a:lnTo>
                  <a:pt x="42" y="5"/>
                </a:lnTo>
                <a:lnTo>
                  <a:pt x="37" y="5"/>
                </a:lnTo>
                <a:lnTo>
                  <a:pt x="32" y="2"/>
                </a:lnTo>
                <a:lnTo>
                  <a:pt x="29" y="2"/>
                </a:lnTo>
                <a:lnTo>
                  <a:pt x="27" y="0"/>
                </a:lnTo>
                <a:lnTo>
                  <a:pt x="22" y="2"/>
                </a:lnTo>
                <a:lnTo>
                  <a:pt x="17" y="7"/>
                </a:lnTo>
                <a:lnTo>
                  <a:pt x="15" y="7"/>
                </a:lnTo>
                <a:lnTo>
                  <a:pt x="12" y="7"/>
                </a:lnTo>
                <a:lnTo>
                  <a:pt x="5" y="7"/>
                </a:lnTo>
                <a:lnTo>
                  <a:pt x="5" y="10"/>
                </a:lnTo>
                <a:lnTo>
                  <a:pt x="10" y="12"/>
                </a:lnTo>
                <a:lnTo>
                  <a:pt x="12" y="12"/>
                </a:lnTo>
                <a:lnTo>
                  <a:pt x="10" y="15"/>
                </a:lnTo>
                <a:lnTo>
                  <a:pt x="7" y="15"/>
                </a:lnTo>
                <a:lnTo>
                  <a:pt x="2" y="10"/>
                </a:lnTo>
                <a:lnTo>
                  <a:pt x="0" y="12"/>
                </a:lnTo>
                <a:lnTo>
                  <a:pt x="2" y="15"/>
                </a:lnTo>
                <a:lnTo>
                  <a:pt x="2" y="15"/>
                </a:lnTo>
                <a:lnTo>
                  <a:pt x="2" y="1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5" name="Freeform 124"/>
          <p:cNvSpPr>
            <a:spLocks/>
          </p:cNvSpPr>
          <p:nvPr/>
        </p:nvSpPr>
        <p:spPr bwMode="auto">
          <a:xfrm>
            <a:off x="4341395" y="4137560"/>
            <a:ext cx="76655" cy="46081"/>
          </a:xfrm>
          <a:custGeom>
            <a:avLst/>
            <a:gdLst/>
            <a:ahLst/>
            <a:cxnLst>
              <a:cxn ang="0">
                <a:pos x="0" y="8"/>
              </a:cxn>
              <a:cxn ang="0">
                <a:pos x="2" y="8"/>
              </a:cxn>
              <a:cxn ang="0">
                <a:pos x="7" y="5"/>
              </a:cxn>
              <a:cxn ang="0">
                <a:pos x="19" y="8"/>
              </a:cxn>
              <a:cxn ang="0">
                <a:pos x="22" y="3"/>
              </a:cxn>
              <a:cxn ang="0">
                <a:pos x="27" y="0"/>
              </a:cxn>
              <a:cxn ang="0">
                <a:pos x="42" y="0"/>
              </a:cxn>
              <a:cxn ang="0">
                <a:pos x="44" y="3"/>
              </a:cxn>
              <a:cxn ang="0">
                <a:pos x="44" y="8"/>
              </a:cxn>
              <a:cxn ang="0">
                <a:pos x="44" y="10"/>
              </a:cxn>
              <a:cxn ang="0">
                <a:pos x="44" y="15"/>
              </a:cxn>
              <a:cxn ang="0">
                <a:pos x="47" y="18"/>
              </a:cxn>
              <a:cxn ang="0">
                <a:pos x="47" y="20"/>
              </a:cxn>
              <a:cxn ang="0">
                <a:pos x="44" y="23"/>
              </a:cxn>
              <a:cxn ang="0">
                <a:pos x="39" y="23"/>
              </a:cxn>
              <a:cxn ang="0">
                <a:pos x="34" y="25"/>
              </a:cxn>
              <a:cxn ang="0">
                <a:pos x="32" y="25"/>
              </a:cxn>
              <a:cxn ang="0">
                <a:pos x="29" y="30"/>
              </a:cxn>
              <a:cxn ang="0">
                <a:pos x="24" y="30"/>
              </a:cxn>
              <a:cxn ang="0">
                <a:pos x="24" y="30"/>
              </a:cxn>
              <a:cxn ang="0">
                <a:pos x="24" y="27"/>
              </a:cxn>
              <a:cxn ang="0">
                <a:pos x="19" y="27"/>
              </a:cxn>
              <a:cxn ang="0">
                <a:pos x="22" y="23"/>
              </a:cxn>
              <a:cxn ang="0">
                <a:pos x="19" y="23"/>
              </a:cxn>
              <a:cxn ang="0">
                <a:pos x="22" y="23"/>
              </a:cxn>
              <a:cxn ang="0">
                <a:pos x="19" y="20"/>
              </a:cxn>
              <a:cxn ang="0">
                <a:pos x="17" y="20"/>
              </a:cxn>
              <a:cxn ang="0">
                <a:pos x="17" y="20"/>
              </a:cxn>
              <a:cxn ang="0">
                <a:pos x="24" y="18"/>
              </a:cxn>
              <a:cxn ang="0">
                <a:pos x="24" y="18"/>
              </a:cxn>
              <a:cxn ang="0">
                <a:pos x="22" y="15"/>
              </a:cxn>
              <a:cxn ang="0">
                <a:pos x="17" y="15"/>
              </a:cxn>
              <a:cxn ang="0">
                <a:pos x="15" y="18"/>
              </a:cxn>
              <a:cxn ang="0">
                <a:pos x="12" y="18"/>
              </a:cxn>
              <a:cxn ang="0">
                <a:pos x="10" y="15"/>
              </a:cxn>
              <a:cxn ang="0">
                <a:pos x="7" y="15"/>
              </a:cxn>
              <a:cxn ang="0">
                <a:pos x="5" y="13"/>
              </a:cxn>
              <a:cxn ang="0">
                <a:pos x="7" y="10"/>
              </a:cxn>
              <a:cxn ang="0">
                <a:pos x="5" y="10"/>
              </a:cxn>
              <a:cxn ang="0">
                <a:pos x="0" y="10"/>
              </a:cxn>
              <a:cxn ang="0">
                <a:pos x="0" y="8"/>
              </a:cxn>
              <a:cxn ang="0">
                <a:pos x="0" y="8"/>
              </a:cxn>
              <a:cxn ang="0">
                <a:pos x="0" y="8"/>
              </a:cxn>
            </a:cxnLst>
            <a:rect l="0" t="0" r="r" b="b"/>
            <a:pathLst>
              <a:path w="47" h="30">
                <a:moveTo>
                  <a:pt x="0" y="8"/>
                </a:moveTo>
                <a:lnTo>
                  <a:pt x="2" y="8"/>
                </a:lnTo>
                <a:lnTo>
                  <a:pt x="7" y="5"/>
                </a:lnTo>
                <a:lnTo>
                  <a:pt x="19" y="8"/>
                </a:lnTo>
                <a:lnTo>
                  <a:pt x="22" y="3"/>
                </a:lnTo>
                <a:lnTo>
                  <a:pt x="27" y="0"/>
                </a:lnTo>
                <a:lnTo>
                  <a:pt x="42" y="0"/>
                </a:lnTo>
                <a:lnTo>
                  <a:pt x="44" y="3"/>
                </a:lnTo>
                <a:lnTo>
                  <a:pt x="44" y="8"/>
                </a:lnTo>
                <a:lnTo>
                  <a:pt x="44" y="10"/>
                </a:lnTo>
                <a:lnTo>
                  <a:pt x="44" y="15"/>
                </a:lnTo>
                <a:lnTo>
                  <a:pt x="47" y="18"/>
                </a:lnTo>
                <a:lnTo>
                  <a:pt x="47" y="20"/>
                </a:lnTo>
                <a:lnTo>
                  <a:pt x="44" y="23"/>
                </a:lnTo>
                <a:lnTo>
                  <a:pt x="39" y="23"/>
                </a:lnTo>
                <a:lnTo>
                  <a:pt x="34" y="25"/>
                </a:lnTo>
                <a:lnTo>
                  <a:pt x="32" y="25"/>
                </a:lnTo>
                <a:lnTo>
                  <a:pt x="29" y="30"/>
                </a:lnTo>
                <a:lnTo>
                  <a:pt x="24" y="30"/>
                </a:lnTo>
                <a:lnTo>
                  <a:pt x="24" y="30"/>
                </a:lnTo>
                <a:lnTo>
                  <a:pt x="24" y="27"/>
                </a:lnTo>
                <a:lnTo>
                  <a:pt x="19" y="27"/>
                </a:lnTo>
                <a:lnTo>
                  <a:pt x="22" y="23"/>
                </a:lnTo>
                <a:lnTo>
                  <a:pt x="19" y="23"/>
                </a:lnTo>
                <a:lnTo>
                  <a:pt x="22" y="23"/>
                </a:lnTo>
                <a:lnTo>
                  <a:pt x="19" y="20"/>
                </a:lnTo>
                <a:lnTo>
                  <a:pt x="17" y="20"/>
                </a:lnTo>
                <a:lnTo>
                  <a:pt x="17" y="20"/>
                </a:lnTo>
                <a:lnTo>
                  <a:pt x="24" y="18"/>
                </a:lnTo>
                <a:lnTo>
                  <a:pt x="24" y="18"/>
                </a:lnTo>
                <a:lnTo>
                  <a:pt x="22" y="15"/>
                </a:lnTo>
                <a:lnTo>
                  <a:pt x="17" y="15"/>
                </a:lnTo>
                <a:lnTo>
                  <a:pt x="15" y="18"/>
                </a:lnTo>
                <a:lnTo>
                  <a:pt x="12" y="18"/>
                </a:lnTo>
                <a:lnTo>
                  <a:pt x="10" y="15"/>
                </a:lnTo>
                <a:lnTo>
                  <a:pt x="7" y="15"/>
                </a:lnTo>
                <a:lnTo>
                  <a:pt x="5" y="13"/>
                </a:lnTo>
                <a:lnTo>
                  <a:pt x="7" y="10"/>
                </a:lnTo>
                <a:lnTo>
                  <a:pt x="5" y="10"/>
                </a:lnTo>
                <a:lnTo>
                  <a:pt x="0" y="10"/>
                </a:lnTo>
                <a:lnTo>
                  <a:pt x="0" y="8"/>
                </a:lnTo>
                <a:lnTo>
                  <a:pt x="0" y="8"/>
                </a:lnTo>
                <a:lnTo>
                  <a:pt x="0" y="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6" name="Freeform 125"/>
          <p:cNvSpPr>
            <a:spLocks/>
          </p:cNvSpPr>
          <p:nvPr/>
        </p:nvSpPr>
        <p:spPr bwMode="auto">
          <a:xfrm>
            <a:off x="4388692" y="4142167"/>
            <a:ext cx="177775" cy="165892"/>
          </a:xfrm>
          <a:custGeom>
            <a:avLst/>
            <a:gdLst/>
            <a:ahLst/>
            <a:cxnLst>
              <a:cxn ang="0">
                <a:pos x="3" y="22"/>
              </a:cxn>
              <a:cxn ang="0">
                <a:pos x="10" y="20"/>
              </a:cxn>
              <a:cxn ang="0">
                <a:pos x="18" y="17"/>
              </a:cxn>
              <a:cxn ang="0">
                <a:pos x="15" y="12"/>
              </a:cxn>
              <a:cxn ang="0">
                <a:pos x="15" y="5"/>
              </a:cxn>
              <a:cxn ang="0">
                <a:pos x="18" y="0"/>
              </a:cxn>
              <a:cxn ang="0">
                <a:pos x="35" y="2"/>
              </a:cxn>
              <a:cxn ang="0">
                <a:pos x="42" y="5"/>
              </a:cxn>
              <a:cxn ang="0">
                <a:pos x="49" y="5"/>
              </a:cxn>
              <a:cxn ang="0">
                <a:pos x="54" y="7"/>
              </a:cxn>
              <a:cxn ang="0">
                <a:pos x="57" y="10"/>
              </a:cxn>
              <a:cxn ang="0">
                <a:pos x="62" y="10"/>
              </a:cxn>
              <a:cxn ang="0">
                <a:pos x="69" y="12"/>
              </a:cxn>
              <a:cxn ang="0">
                <a:pos x="74" y="10"/>
              </a:cxn>
              <a:cxn ang="0">
                <a:pos x="79" y="5"/>
              </a:cxn>
              <a:cxn ang="0">
                <a:pos x="86" y="7"/>
              </a:cxn>
              <a:cxn ang="0">
                <a:pos x="91" y="5"/>
              </a:cxn>
              <a:cxn ang="0">
                <a:pos x="96" y="10"/>
              </a:cxn>
              <a:cxn ang="0">
                <a:pos x="96" y="17"/>
              </a:cxn>
              <a:cxn ang="0">
                <a:pos x="101" y="20"/>
              </a:cxn>
              <a:cxn ang="0">
                <a:pos x="99" y="24"/>
              </a:cxn>
              <a:cxn ang="0">
                <a:pos x="99" y="27"/>
              </a:cxn>
              <a:cxn ang="0">
                <a:pos x="104" y="27"/>
              </a:cxn>
              <a:cxn ang="0">
                <a:pos x="104" y="32"/>
              </a:cxn>
              <a:cxn ang="0">
                <a:pos x="109" y="32"/>
              </a:cxn>
              <a:cxn ang="0">
                <a:pos x="109" y="37"/>
              </a:cxn>
              <a:cxn ang="0">
                <a:pos x="104" y="39"/>
              </a:cxn>
              <a:cxn ang="0">
                <a:pos x="104" y="44"/>
              </a:cxn>
              <a:cxn ang="0">
                <a:pos x="104" y="52"/>
              </a:cxn>
              <a:cxn ang="0">
                <a:pos x="106" y="59"/>
              </a:cxn>
              <a:cxn ang="0">
                <a:pos x="106" y="64"/>
              </a:cxn>
              <a:cxn ang="0">
                <a:pos x="104" y="64"/>
              </a:cxn>
              <a:cxn ang="0">
                <a:pos x="106" y="71"/>
              </a:cxn>
              <a:cxn ang="0">
                <a:pos x="106" y="76"/>
              </a:cxn>
              <a:cxn ang="0">
                <a:pos x="99" y="86"/>
              </a:cxn>
              <a:cxn ang="0">
                <a:pos x="99" y="91"/>
              </a:cxn>
              <a:cxn ang="0">
                <a:pos x="96" y="98"/>
              </a:cxn>
              <a:cxn ang="0">
                <a:pos x="72" y="108"/>
              </a:cxn>
              <a:cxn ang="0">
                <a:pos x="64" y="103"/>
              </a:cxn>
              <a:cxn ang="0">
                <a:pos x="57" y="96"/>
              </a:cxn>
              <a:cxn ang="0">
                <a:pos x="57" y="93"/>
              </a:cxn>
              <a:cxn ang="0">
                <a:pos x="67" y="69"/>
              </a:cxn>
              <a:cxn ang="0">
                <a:pos x="64" y="66"/>
              </a:cxn>
              <a:cxn ang="0">
                <a:pos x="67" y="61"/>
              </a:cxn>
              <a:cxn ang="0">
                <a:pos x="64" y="56"/>
              </a:cxn>
              <a:cxn ang="0">
                <a:pos x="59" y="47"/>
              </a:cxn>
              <a:cxn ang="0">
                <a:pos x="57" y="42"/>
              </a:cxn>
              <a:cxn ang="0">
                <a:pos x="40" y="42"/>
              </a:cxn>
              <a:cxn ang="0">
                <a:pos x="32" y="49"/>
              </a:cxn>
              <a:cxn ang="0">
                <a:pos x="27" y="54"/>
              </a:cxn>
              <a:cxn ang="0">
                <a:pos x="22" y="52"/>
              </a:cxn>
              <a:cxn ang="0">
                <a:pos x="18" y="44"/>
              </a:cxn>
              <a:cxn ang="0">
                <a:pos x="13" y="44"/>
              </a:cxn>
              <a:cxn ang="0">
                <a:pos x="15" y="39"/>
              </a:cxn>
              <a:cxn ang="0">
                <a:pos x="10" y="42"/>
              </a:cxn>
              <a:cxn ang="0">
                <a:pos x="5" y="39"/>
              </a:cxn>
              <a:cxn ang="0">
                <a:pos x="3" y="29"/>
              </a:cxn>
              <a:cxn ang="0">
                <a:pos x="0" y="27"/>
              </a:cxn>
            </a:cxnLst>
            <a:rect l="0" t="0" r="r" b="b"/>
            <a:pathLst>
              <a:path w="109" h="108">
                <a:moveTo>
                  <a:pt x="0" y="27"/>
                </a:moveTo>
                <a:lnTo>
                  <a:pt x="3" y="22"/>
                </a:lnTo>
                <a:lnTo>
                  <a:pt x="5" y="22"/>
                </a:lnTo>
                <a:lnTo>
                  <a:pt x="10" y="20"/>
                </a:lnTo>
                <a:lnTo>
                  <a:pt x="15" y="20"/>
                </a:lnTo>
                <a:lnTo>
                  <a:pt x="18" y="17"/>
                </a:lnTo>
                <a:lnTo>
                  <a:pt x="18" y="15"/>
                </a:lnTo>
                <a:lnTo>
                  <a:pt x="15" y="12"/>
                </a:lnTo>
                <a:lnTo>
                  <a:pt x="15" y="7"/>
                </a:lnTo>
                <a:lnTo>
                  <a:pt x="15" y="5"/>
                </a:lnTo>
                <a:lnTo>
                  <a:pt x="15" y="0"/>
                </a:lnTo>
                <a:lnTo>
                  <a:pt x="18" y="0"/>
                </a:lnTo>
                <a:lnTo>
                  <a:pt x="27" y="0"/>
                </a:lnTo>
                <a:lnTo>
                  <a:pt x="35" y="2"/>
                </a:lnTo>
                <a:lnTo>
                  <a:pt x="37" y="5"/>
                </a:lnTo>
                <a:lnTo>
                  <a:pt x="42" y="5"/>
                </a:lnTo>
                <a:lnTo>
                  <a:pt x="47" y="5"/>
                </a:lnTo>
                <a:lnTo>
                  <a:pt x="49" y="5"/>
                </a:lnTo>
                <a:lnTo>
                  <a:pt x="52" y="5"/>
                </a:lnTo>
                <a:lnTo>
                  <a:pt x="54" y="7"/>
                </a:lnTo>
                <a:lnTo>
                  <a:pt x="57" y="7"/>
                </a:lnTo>
                <a:lnTo>
                  <a:pt x="57" y="10"/>
                </a:lnTo>
                <a:lnTo>
                  <a:pt x="59" y="10"/>
                </a:lnTo>
                <a:lnTo>
                  <a:pt x="62" y="10"/>
                </a:lnTo>
                <a:lnTo>
                  <a:pt x="64" y="10"/>
                </a:lnTo>
                <a:lnTo>
                  <a:pt x="69" y="12"/>
                </a:lnTo>
                <a:lnTo>
                  <a:pt x="72" y="12"/>
                </a:lnTo>
                <a:lnTo>
                  <a:pt x="74" y="10"/>
                </a:lnTo>
                <a:lnTo>
                  <a:pt x="77" y="10"/>
                </a:lnTo>
                <a:lnTo>
                  <a:pt x="79" y="5"/>
                </a:lnTo>
                <a:lnTo>
                  <a:pt x="84" y="5"/>
                </a:lnTo>
                <a:lnTo>
                  <a:pt x="86" y="7"/>
                </a:lnTo>
                <a:lnTo>
                  <a:pt x="89" y="5"/>
                </a:lnTo>
                <a:lnTo>
                  <a:pt x="91" y="5"/>
                </a:lnTo>
                <a:lnTo>
                  <a:pt x="91" y="7"/>
                </a:lnTo>
                <a:lnTo>
                  <a:pt x="96" y="10"/>
                </a:lnTo>
                <a:lnTo>
                  <a:pt x="96" y="12"/>
                </a:lnTo>
                <a:lnTo>
                  <a:pt x="96" y="17"/>
                </a:lnTo>
                <a:lnTo>
                  <a:pt x="96" y="17"/>
                </a:lnTo>
                <a:lnTo>
                  <a:pt x="101" y="20"/>
                </a:lnTo>
                <a:lnTo>
                  <a:pt x="101" y="20"/>
                </a:lnTo>
                <a:lnTo>
                  <a:pt x="99" y="24"/>
                </a:lnTo>
                <a:lnTo>
                  <a:pt x="96" y="29"/>
                </a:lnTo>
                <a:lnTo>
                  <a:pt x="99" y="27"/>
                </a:lnTo>
                <a:lnTo>
                  <a:pt x="101" y="27"/>
                </a:lnTo>
                <a:lnTo>
                  <a:pt x="104" y="27"/>
                </a:lnTo>
                <a:lnTo>
                  <a:pt x="104" y="29"/>
                </a:lnTo>
                <a:lnTo>
                  <a:pt x="104" y="32"/>
                </a:lnTo>
                <a:lnTo>
                  <a:pt x="104" y="32"/>
                </a:lnTo>
                <a:lnTo>
                  <a:pt x="109" y="32"/>
                </a:lnTo>
                <a:lnTo>
                  <a:pt x="109" y="34"/>
                </a:lnTo>
                <a:lnTo>
                  <a:pt x="109" y="37"/>
                </a:lnTo>
                <a:lnTo>
                  <a:pt x="109" y="37"/>
                </a:lnTo>
                <a:lnTo>
                  <a:pt x="104" y="39"/>
                </a:lnTo>
                <a:lnTo>
                  <a:pt x="104" y="42"/>
                </a:lnTo>
                <a:lnTo>
                  <a:pt x="104" y="44"/>
                </a:lnTo>
                <a:lnTo>
                  <a:pt x="104" y="49"/>
                </a:lnTo>
                <a:lnTo>
                  <a:pt x="104" y="52"/>
                </a:lnTo>
                <a:lnTo>
                  <a:pt x="104" y="59"/>
                </a:lnTo>
                <a:lnTo>
                  <a:pt x="106" y="59"/>
                </a:lnTo>
                <a:lnTo>
                  <a:pt x="109" y="61"/>
                </a:lnTo>
                <a:lnTo>
                  <a:pt x="106" y="64"/>
                </a:lnTo>
                <a:lnTo>
                  <a:pt x="104" y="64"/>
                </a:lnTo>
                <a:lnTo>
                  <a:pt x="104" y="64"/>
                </a:lnTo>
                <a:lnTo>
                  <a:pt x="104" y="66"/>
                </a:lnTo>
                <a:lnTo>
                  <a:pt x="106" y="71"/>
                </a:lnTo>
                <a:lnTo>
                  <a:pt x="106" y="71"/>
                </a:lnTo>
                <a:lnTo>
                  <a:pt x="106" y="76"/>
                </a:lnTo>
                <a:lnTo>
                  <a:pt x="101" y="84"/>
                </a:lnTo>
                <a:lnTo>
                  <a:pt x="99" y="86"/>
                </a:lnTo>
                <a:lnTo>
                  <a:pt x="99" y="86"/>
                </a:lnTo>
                <a:lnTo>
                  <a:pt x="99" y="91"/>
                </a:lnTo>
                <a:lnTo>
                  <a:pt x="96" y="96"/>
                </a:lnTo>
                <a:lnTo>
                  <a:pt x="96" y="98"/>
                </a:lnTo>
                <a:lnTo>
                  <a:pt x="96" y="98"/>
                </a:lnTo>
                <a:lnTo>
                  <a:pt x="72" y="108"/>
                </a:lnTo>
                <a:lnTo>
                  <a:pt x="67" y="103"/>
                </a:lnTo>
                <a:lnTo>
                  <a:pt x="64" y="103"/>
                </a:lnTo>
                <a:lnTo>
                  <a:pt x="59" y="98"/>
                </a:lnTo>
                <a:lnTo>
                  <a:pt x="57" y="96"/>
                </a:lnTo>
                <a:lnTo>
                  <a:pt x="59" y="93"/>
                </a:lnTo>
                <a:lnTo>
                  <a:pt x="57" y="93"/>
                </a:lnTo>
                <a:lnTo>
                  <a:pt x="64" y="88"/>
                </a:lnTo>
                <a:lnTo>
                  <a:pt x="67" y="69"/>
                </a:lnTo>
                <a:lnTo>
                  <a:pt x="67" y="66"/>
                </a:lnTo>
                <a:lnTo>
                  <a:pt x="64" y="66"/>
                </a:lnTo>
                <a:lnTo>
                  <a:pt x="64" y="64"/>
                </a:lnTo>
                <a:lnTo>
                  <a:pt x="67" y="61"/>
                </a:lnTo>
                <a:lnTo>
                  <a:pt x="67" y="59"/>
                </a:lnTo>
                <a:lnTo>
                  <a:pt x="64" y="56"/>
                </a:lnTo>
                <a:lnTo>
                  <a:pt x="64" y="54"/>
                </a:lnTo>
                <a:lnTo>
                  <a:pt x="59" y="47"/>
                </a:lnTo>
                <a:lnTo>
                  <a:pt x="59" y="44"/>
                </a:lnTo>
                <a:lnTo>
                  <a:pt x="57" y="42"/>
                </a:lnTo>
                <a:lnTo>
                  <a:pt x="45" y="42"/>
                </a:lnTo>
                <a:lnTo>
                  <a:pt x="40" y="42"/>
                </a:lnTo>
                <a:lnTo>
                  <a:pt x="37" y="44"/>
                </a:lnTo>
                <a:lnTo>
                  <a:pt x="32" y="49"/>
                </a:lnTo>
                <a:lnTo>
                  <a:pt x="32" y="52"/>
                </a:lnTo>
                <a:lnTo>
                  <a:pt x="27" y="54"/>
                </a:lnTo>
                <a:lnTo>
                  <a:pt x="25" y="54"/>
                </a:lnTo>
                <a:lnTo>
                  <a:pt x="22" y="52"/>
                </a:lnTo>
                <a:lnTo>
                  <a:pt x="20" y="49"/>
                </a:lnTo>
                <a:lnTo>
                  <a:pt x="18" y="44"/>
                </a:lnTo>
                <a:lnTo>
                  <a:pt x="15" y="44"/>
                </a:lnTo>
                <a:lnTo>
                  <a:pt x="13" y="44"/>
                </a:lnTo>
                <a:lnTo>
                  <a:pt x="13" y="42"/>
                </a:lnTo>
                <a:lnTo>
                  <a:pt x="15" y="39"/>
                </a:lnTo>
                <a:lnTo>
                  <a:pt x="13" y="39"/>
                </a:lnTo>
                <a:lnTo>
                  <a:pt x="10" y="42"/>
                </a:lnTo>
                <a:lnTo>
                  <a:pt x="8" y="39"/>
                </a:lnTo>
                <a:lnTo>
                  <a:pt x="5" y="39"/>
                </a:lnTo>
                <a:lnTo>
                  <a:pt x="0" y="34"/>
                </a:lnTo>
                <a:lnTo>
                  <a:pt x="3" y="29"/>
                </a:lnTo>
                <a:lnTo>
                  <a:pt x="0" y="27"/>
                </a:lnTo>
                <a:lnTo>
                  <a:pt x="0" y="27"/>
                </a:lnTo>
                <a:lnTo>
                  <a:pt x="0" y="2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7" name="Freeform 126"/>
          <p:cNvSpPr>
            <a:spLocks noEditPoints="1"/>
          </p:cNvSpPr>
          <p:nvPr/>
        </p:nvSpPr>
        <p:spPr bwMode="auto">
          <a:xfrm>
            <a:off x="4429466" y="4206681"/>
            <a:ext cx="68501" cy="78338"/>
          </a:xfrm>
          <a:custGeom>
            <a:avLst/>
            <a:gdLst/>
            <a:ahLst/>
            <a:cxnLst>
              <a:cxn ang="0">
                <a:pos x="10" y="44"/>
              </a:cxn>
              <a:cxn ang="0">
                <a:pos x="10" y="42"/>
              </a:cxn>
              <a:cxn ang="0">
                <a:pos x="10" y="42"/>
              </a:cxn>
              <a:cxn ang="0">
                <a:pos x="7" y="39"/>
              </a:cxn>
              <a:cxn ang="0">
                <a:pos x="7" y="42"/>
              </a:cxn>
              <a:cxn ang="0">
                <a:pos x="7" y="42"/>
              </a:cxn>
              <a:cxn ang="0">
                <a:pos x="10" y="44"/>
              </a:cxn>
              <a:cxn ang="0">
                <a:pos x="10" y="44"/>
              </a:cxn>
              <a:cxn ang="0">
                <a:pos x="10" y="44"/>
              </a:cxn>
              <a:cxn ang="0">
                <a:pos x="10" y="44"/>
              </a:cxn>
              <a:cxn ang="0">
                <a:pos x="0" y="12"/>
              </a:cxn>
              <a:cxn ang="0">
                <a:pos x="2" y="12"/>
              </a:cxn>
              <a:cxn ang="0">
                <a:pos x="7" y="10"/>
              </a:cxn>
              <a:cxn ang="0">
                <a:pos x="7" y="7"/>
              </a:cxn>
              <a:cxn ang="0">
                <a:pos x="12" y="2"/>
              </a:cxn>
              <a:cxn ang="0">
                <a:pos x="15" y="0"/>
              </a:cxn>
              <a:cxn ang="0">
                <a:pos x="20" y="0"/>
              </a:cxn>
              <a:cxn ang="0">
                <a:pos x="32" y="0"/>
              </a:cxn>
              <a:cxn ang="0">
                <a:pos x="34" y="2"/>
              </a:cxn>
              <a:cxn ang="0">
                <a:pos x="34" y="5"/>
              </a:cxn>
              <a:cxn ang="0">
                <a:pos x="39" y="12"/>
              </a:cxn>
              <a:cxn ang="0">
                <a:pos x="39" y="14"/>
              </a:cxn>
              <a:cxn ang="0">
                <a:pos x="42" y="17"/>
              </a:cxn>
              <a:cxn ang="0">
                <a:pos x="42" y="19"/>
              </a:cxn>
              <a:cxn ang="0">
                <a:pos x="39" y="22"/>
              </a:cxn>
              <a:cxn ang="0">
                <a:pos x="39" y="24"/>
              </a:cxn>
              <a:cxn ang="0">
                <a:pos x="42" y="24"/>
              </a:cxn>
              <a:cxn ang="0">
                <a:pos x="42" y="27"/>
              </a:cxn>
              <a:cxn ang="0">
                <a:pos x="39" y="46"/>
              </a:cxn>
              <a:cxn ang="0">
                <a:pos x="32" y="51"/>
              </a:cxn>
              <a:cxn ang="0">
                <a:pos x="32" y="51"/>
              </a:cxn>
              <a:cxn ang="0">
                <a:pos x="24" y="51"/>
              </a:cxn>
              <a:cxn ang="0">
                <a:pos x="17" y="46"/>
              </a:cxn>
              <a:cxn ang="0">
                <a:pos x="15" y="46"/>
              </a:cxn>
              <a:cxn ang="0">
                <a:pos x="15" y="44"/>
              </a:cxn>
              <a:cxn ang="0">
                <a:pos x="12" y="42"/>
              </a:cxn>
              <a:cxn ang="0">
                <a:pos x="10" y="39"/>
              </a:cxn>
              <a:cxn ang="0">
                <a:pos x="12" y="37"/>
              </a:cxn>
              <a:cxn ang="0">
                <a:pos x="12" y="37"/>
              </a:cxn>
              <a:cxn ang="0">
                <a:pos x="7" y="37"/>
              </a:cxn>
              <a:cxn ang="0">
                <a:pos x="5" y="34"/>
              </a:cxn>
              <a:cxn ang="0">
                <a:pos x="5" y="29"/>
              </a:cxn>
              <a:cxn ang="0">
                <a:pos x="2" y="24"/>
              </a:cxn>
              <a:cxn ang="0">
                <a:pos x="0" y="24"/>
              </a:cxn>
              <a:cxn ang="0">
                <a:pos x="0" y="22"/>
              </a:cxn>
              <a:cxn ang="0">
                <a:pos x="2" y="19"/>
              </a:cxn>
              <a:cxn ang="0">
                <a:pos x="0" y="17"/>
              </a:cxn>
              <a:cxn ang="0">
                <a:pos x="0" y="14"/>
              </a:cxn>
              <a:cxn ang="0">
                <a:pos x="0" y="12"/>
              </a:cxn>
              <a:cxn ang="0">
                <a:pos x="0" y="12"/>
              </a:cxn>
              <a:cxn ang="0">
                <a:pos x="0" y="12"/>
              </a:cxn>
            </a:cxnLst>
            <a:rect l="0" t="0" r="r" b="b"/>
            <a:pathLst>
              <a:path w="42" h="51">
                <a:moveTo>
                  <a:pt x="10" y="44"/>
                </a:moveTo>
                <a:lnTo>
                  <a:pt x="10" y="42"/>
                </a:lnTo>
                <a:lnTo>
                  <a:pt x="10" y="42"/>
                </a:lnTo>
                <a:lnTo>
                  <a:pt x="7" y="39"/>
                </a:lnTo>
                <a:lnTo>
                  <a:pt x="7" y="42"/>
                </a:lnTo>
                <a:lnTo>
                  <a:pt x="7" y="42"/>
                </a:lnTo>
                <a:lnTo>
                  <a:pt x="10" y="44"/>
                </a:lnTo>
                <a:lnTo>
                  <a:pt x="10" y="44"/>
                </a:lnTo>
                <a:lnTo>
                  <a:pt x="10" y="44"/>
                </a:lnTo>
                <a:lnTo>
                  <a:pt x="10" y="44"/>
                </a:lnTo>
                <a:close/>
                <a:moveTo>
                  <a:pt x="0" y="12"/>
                </a:moveTo>
                <a:lnTo>
                  <a:pt x="2" y="12"/>
                </a:lnTo>
                <a:lnTo>
                  <a:pt x="7" y="10"/>
                </a:lnTo>
                <a:lnTo>
                  <a:pt x="7" y="7"/>
                </a:lnTo>
                <a:lnTo>
                  <a:pt x="12" y="2"/>
                </a:lnTo>
                <a:lnTo>
                  <a:pt x="15" y="0"/>
                </a:lnTo>
                <a:lnTo>
                  <a:pt x="20" y="0"/>
                </a:lnTo>
                <a:lnTo>
                  <a:pt x="32" y="0"/>
                </a:lnTo>
                <a:lnTo>
                  <a:pt x="34" y="2"/>
                </a:lnTo>
                <a:lnTo>
                  <a:pt x="34" y="5"/>
                </a:lnTo>
                <a:lnTo>
                  <a:pt x="39" y="12"/>
                </a:lnTo>
                <a:lnTo>
                  <a:pt x="39" y="14"/>
                </a:lnTo>
                <a:lnTo>
                  <a:pt x="42" y="17"/>
                </a:lnTo>
                <a:lnTo>
                  <a:pt x="42" y="19"/>
                </a:lnTo>
                <a:lnTo>
                  <a:pt x="39" y="22"/>
                </a:lnTo>
                <a:lnTo>
                  <a:pt x="39" y="24"/>
                </a:lnTo>
                <a:lnTo>
                  <a:pt x="42" y="24"/>
                </a:lnTo>
                <a:lnTo>
                  <a:pt x="42" y="27"/>
                </a:lnTo>
                <a:lnTo>
                  <a:pt x="39" y="46"/>
                </a:lnTo>
                <a:lnTo>
                  <a:pt x="32" y="51"/>
                </a:lnTo>
                <a:lnTo>
                  <a:pt x="32" y="51"/>
                </a:lnTo>
                <a:lnTo>
                  <a:pt x="24" y="51"/>
                </a:lnTo>
                <a:lnTo>
                  <a:pt x="17" y="46"/>
                </a:lnTo>
                <a:lnTo>
                  <a:pt x="15" y="46"/>
                </a:lnTo>
                <a:lnTo>
                  <a:pt x="15" y="44"/>
                </a:lnTo>
                <a:lnTo>
                  <a:pt x="12" y="42"/>
                </a:lnTo>
                <a:lnTo>
                  <a:pt x="10" y="39"/>
                </a:lnTo>
                <a:lnTo>
                  <a:pt x="12" y="37"/>
                </a:lnTo>
                <a:lnTo>
                  <a:pt x="12" y="37"/>
                </a:lnTo>
                <a:lnTo>
                  <a:pt x="7" y="37"/>
                </a:lnTo>
                <a:lnTo>
                  <a:pt x="5" y="34"/>
                </a:lnTo>
                <a:lnTo>
                  <a:pt x="5" y="29"/>
                </a:lnTo>
                <a:lnTo>
                  <a:pt x="2" y="24"/>
                </a:lnTo>
                <a:lnTo>
                  <a:pt x="0" y="24"/>
                </a:lnTo>
                <a:lnTo>
                  <a:pt x="0" y="22"/>
                </a:lnTo>
                <a:lnTo>
                  <a:pt x="2" y="19"/>
                </a:lnTo>
                <a:lnTo>
                  <a:pt x="0" y="17"/>
                </a:lnTo>
                <a:lnTo>
                  <a:pt x="0" y="14"/>
                </a:lnTo>
                <a:lnTo>
                  <a:pt x="0" y="12"/>
                </a:lnTo>
                <a:lnTo>
                  <a:pt x="0" y="12"/>
                </a:lnTo>
                <a:lnTo>
                  <a:pt x="0" y="1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8" name="Freeform 127"/>
          <p:cNvSpPr>
            <a:spLocks/>
          </p:cNvSpPr>
          <p:nvPr/>
        </p:nvSpPr>
        <p:spPr bwMode="auto">
          <a:xfrm>
            <a:off x="4473501" y="4240474"/>
            <a:ext cx="99489" cy="105987"/>
          </a:xfrm>
          <a:custGeom>
            <a:avLst/>
            <a:gdLst/>
            <a:ahLst/>
            <a:cxnLst>
              <a:cxn ang="0">
                <a:pos x="0" y="29"/>
              </a:cxn>
              <a:cxn ang="0">
                <a:pos x="0" y="27"/>
              </a:cxn>
              <a:cxn ang="0">
                <a:pos x="2" y="22"/>
              </a:cxn>
              <a:cxn ang="0">
                <a:pos x="5" y="20"/>
              </a:cxn>
              <a:cxn ang="0">
                <a:pos x="10" y="17"/>
              </a:cxn>
              <a:cxn ang="0">
                <a:pos x="10" y="15"/>
              </a:cxn>
              <a:cxn ang="0">
                <a:pos x="10" y="10"/>
              </a:cxn>
              <a:cxn ang="0">
                <a:pos x="12" y="10"/>
              </a:cxn>
              <a:cxn ang="0">
                <a:pos x="12" y="7"/>
              </a:cxn>
              <a:cxn ang="0">
                <a:pos x="12" y="5"/>
              </a:cxn>
              <a:cxn ang="0">
                <a:pos x="17" y="2"/>
              </a:cxn>
              <a:cxn ang="0">
                <a:pos x="20" y="2"/>
              </a:cxn>
              <a:cxn ang="0">
                <a:pos x="25" y="0"/>
              </a:cxn>
              <a:cxn ang="0">
                <a:pos x="27" y="2"/>
              </a:cxn>
              <a:cxn ang="0">
                <a:pos x="29" y="5"/>
              </a:cxn>
              <a:cxn ang="0">
                <a:pos x="32" y="7"/>
              </a:cxn>
              <a:cxn ang="0">
                <a:pos x="32" y="12"/>
              </a:cxn>
              <a:cxn ang="0">
                <a:pos x="32" y="17"/>
              </a:cxn>
              <a:cxn ang="0">
                <a:pos x="37" y="22"/>
              </a:cxn>
              <a:cxn ang="0">
                <a:pos x="37" y="20"/>
              </a:cxn>
              <a:cxn ang="0">
                <a:pos x="42" y="17"/>
              </a:cxn>
              <a:cxn ang="0">
                <a:pos x="44" y="17"/>
              </a:cxn>
              <a:cxn ang="0">
                <a:pos x="47" y="20"/>
              </a:cxn>
              <a:cxn ang="0">
                <a:pos x="47" y="22"/>
              </a:cxn>
              <a:cxn ang="0">
                <a:pos x="47" y="22"/>
              </a:cxn>
              <a:cxn ang="0">
                <a:pos x="47" y="27"/>
              </a:cxn>
              <a:cxn ang="0">
                <a:pos x="44" y="32"/>
              </a:cxn>
              <a:cxn ang="0">
                <a:pos x="44" y="34"/>
              </a:cxn>
              <a:cxn ang="0">
                <a:pos x="44" y="37"/>
              </a:cxn>
              <a:cxn ang="0">
                <a:pos x="47" y="37"/>
              </a:cxn>
              <a:cxn ang="0">
                <a:pos x="47" y="37"/>
              </a:cxn>
              <a:cxn ang="0">
                <a:pos x="49" y="37"/>
              </a:cxn>
              <a:cxn ang="0">
                <a:pos x="52" y="39"/>
              </a:cxn>
              <a:cxn ang="0">
                <a:pos x="54" y="39"/>
              </a:cxn>
              <a:cxn ang="0">
                <a:pos x="57" y="39"/>
              </a:cxn>
              <a:cxn ang="0">
                <a:pos x="57" y="42"/>
              </a:cxn>
              <a:cxn ang="0">
                <a:pos x="59" y="44"/>
              </a:cxn>
              <a:cxn ang="0">
                <a:pos x="61" y="44"/>
              </a:cxn>
              <a:cxn ang="0">
                <a:pos x="61" y="47"/>
              </a:cxn>
              <a:cxn ang="0">
                <a:pos x="59" y="49"/>
              </a:cxn>
              <a:cxn ang="0">
                <a:pos x="61" y="51"/>
              </a:cxn>
              <a:cxn ang="0">
                <a:pos x="59" y="54"/>
              </a:cxn>
              <a:cxn ang="0">
                <a:pos x="59" y="56"/>
              </a:cxn>
              <a:cxn ang="0">
                <a:pos x="59" y="59"/>
              </a:cxn>
              <a:cxn ang="0">
                <a:pos x="59" y="61"/>
              </a:cxn>
              <a:cxn ang="0">
                <a:pos x="61" y="64"/>
              </a:cxn>
              <a:cxn ang="0">
                <a:pos x="61" y="69"/>
              </a:cxn>
              <a:cxn ang="0">
                <a:pos x="44" y="61"/>
              </a:cxn>
              <a:cxn ang="0">
                <a:pos x="34" y="54"/>
              </a:cxn>
              <a:cxn ang="0">
                <a:pos x="29" y="54"/>
              </a:cxn>
              <a:cxn ang="0">
                <a:pos x="20" y="44"/>
              </a:cxn>
              <a:cxn ang="0">
                <a:pos x="15" y="39"/>
              </a:cxn>
              <a:cxn ang="0">
                <a:pos x="12" y="39"/>
              </a:cxn>
              <a:cxn ang="0">
                <a:pos x="7" y="34"/>
              </a:cxn>
              <a:cxn ang="0">
                <a:pos x="5" y="32"/>
              </a:cxn>
              <a:cxn ang="0">
                <a:pos x="7" y="29"/>
              </a:cxn>
              <a:cxn ang="0">
                <a:pos x="5" y="29"/>
              </a:cxn>
              <a:cxn ang="0">
                <a:pos x="0" y="29"/>
              </a:cxn>
              <a:cxn ang="0">
                <a:pos x="0" y="29"/>
              </a:cxn>
            </a:cxnLst>
            <a:rect l="0" t="0" r="r" b="b"/>
            <a:pathLst>
              <a:path w="61" h="69">
                <a:moveTo>
                  <a:pt x="0" y="29"/>
                </a:moveTo>
                <a:lnTo>
                  <a:pt x="0" y="27"/>
                </a:lnTo>
                <a:lnTo>
                  <a:pt x="2" y="22"/>
                </a:lnTo>
                <a:lnTo>
                  <a:pt x="5" y="20"/>
                </a:lnTo>
                <a:lnTo>
                  <a:pt x="10" y="17"/>
                </a:lnTo>
                <a:lnTo>
                  <a:pt x="10" y="15"/>
                </a:lnTo>
                <a:lnTo>
                  <a:pt x="10" y="10"/>
                </a:lnTo>
                <a:lnTo>
                  <a:pt x="12" y="10"/>
                </a:lnTo>
                <a:lnTo>
                  <a:pt x="12" y="7"/>
                </a:lnTo>
                <a:lnTo>
                  <a:pt x="12" y="5"/>
                </a:lnTo>
                <a:lnTo>
                  <a:pt x="17" y="2"/>
                </a:lnTo>
                <a:lnTo>
                  <a:pt x="20" y="2"/>
                </a:lnTo>
                <a:lnTo>
                  <a:pt x="25" y="0"/>
                </a:lnTo>
                <a:lnTo>
                  <a:pt x="27" y="2"/>
                </a:lnTo>
                <a:lnTo>
                  <a:pt x="29" y="5"/>
                </a:lnTo>
                <a:lnTo>
                  <a:pt x="32" y="7"/>
                </a:lnTo>
                <a:lnTo>
                  <a:pt x="32" y="12"/>
                </a:lnTo>
                <a:lnTo>
                  <a:pt x="32" y="17"/>
                </a:lnTo>
                <a:lnTo>
                  <a:pt x="37" y="22"/>
                </a:lnTo>
                <a:lnTo>
                  <a:pt x="37" y="20"/>
                </a:lnTo>
                <a:lnTo>
                  <a:pt x="42" y="17"/>
                </a:lnTo>
                <a:lnTo>
                  <a:pt x="44" y="17"/>
                </a:lnTo>
                <a:lnTo>
                  <a:pt x="47" y="20"/>
                </a:lnTo>
                <a:lnTo>
                  <a:pt x="47" y="22"/>
                </a:lnTo>
                <a:lnTo>
                  <a:pt x="47" y="22"/>
                </a:lnTo>
                <a:lnTo>
                  <a:pt x="47" y="27"/>
                </a:lnTo>
                <a:lnTo>
                  <a:pt x="44" y="32"/>
                </a:lnTo>
                <a:lnTo>
                  <a:pt x="44" y="34"/>
                </a:lnTo>
                <a:lnTo>
                  <a:pt x="44" y="37"/>
                </a:lnTo>
                <a:lnTo>
                  <a:pt x="47" y="37"/>
                </a:lnTo>
                <a:lnTo>
                  <a:pt x="47" y="37"/>
                </a:lnTo>
                <a:lnTo>
                  <a:pt x="49" y="37"/>
                </a:lnTo>
                <a:lnTo>
                  <a:pt x="52" y="39"/>
                </a:lnTo>
                <a:lnTo>
                  <a:pt x="54" y="39"/>
                </a:lnTo>
                <a:lnTo>
                  <a:pt x="57" y="39"/>
                </a:lnTo>
                <a:lnTo>
                  <a:pt x="57" y="42"/>
                </a:lnTo>
                <a:lnTo>
                  <a:pt x="59" y="44"/>
                </a:lnTo>
                <a:lnTo>
                  <a:pt x="61" y="44"/>
                </a:lnTo>
                <a:lnTo>
                  <a:pt x="61" y="47"/>
                </a:lnTo>
                <a:lnTo>
                  <a:pt x="59" y="49"/>
                </a:lnTo>
                <a:lnTo>
                  <a:pt x="61" y="51"/>
                </a:lnTo>
                <a:lnTo>
                  <a:pt x="59" y="54"/>
                </a:lnTo>
                <a:lnTo>
                  <a:pt x="59" y="56"/>
                </a:lnTo>
                <a:lnTo>
                  <a:pt x="59" y="59"/>
                </a:lnTo>
                <a:lnTo>
                  <a:pt x="59" y="61"/>
                </a:lnTo>
                <a:lnTo>
                  <a:pt x="61" y="64"/>
                </a:lnTo>
                <a:lnTo>
                  <a:pt x="61" y="69"/>
                </a:lnTo>
                <a:lnTo>
                  <a:pt x="44" y="61"/>
                </a:lnTo>
                <a:lnTo>
                  <a:pt x="34" y="54"/>
                </a:lnTo>
                <a:lnTo>
                  <a:pt x="29" y="54"/>
                </a:lnTo>
                <a:lnTo>
                  <a:pt x="20" y="44"/>
                </a:lnTo>
                <a:lnTo>
                  <a:pt x="15" y="39"/>
                </a:lnTo>
                <a:lnTo>
                  <a:pt x="12" y="39"/>
                </a:lnTo>
                <a:lnTo>
                  <a:pt x="7" y="34"/>
                </a:lnTo>
                <a:lnTo>
                  <a:pt x="5" y="32"/>
                </a:lnTo>
                <a:lnTo>
                  <a:pt x="7" y="29"/>
                </a:lnTo>
                <a:lnTo>
                  <a:pt x="5" y="29"/>
                </a:lnTo>
                <a:lnTo>
                  <a:pt x="0" y="29"/>
                </a:lnTo>
                <a:lnTo>
                  <a:pt x="0" y="2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9" name="Freeform 128"/>
          <p:cNvSpPr>
            <a:spLocks/>
          </p:cNvSpPr>
          <p:nvPr/>
        </p:nvSpPr>
        <p:spPr bwMode="auto">
          <a:xfrm>
            <a:off x="4545263" y="4191321"/>
            <a:ext cx="156572" cy="155140"/>
          </a:xfrm>
          <a:custGeom>
            <a:avLst/>
            <a:gdLst/>
            <a:ahLst/>
            <a:cxnLst>
              <a:cxn ang="0">
                <a:pos x="17" y="96"/>
              </a:cxn>
              <a:cxn ang="0">
                <a:pos x="15" y="91"/>
              </a:cxn>
              <a:cxn ang="0">
                <a:pos x="15" y="86"/>
              </a:cxn>
              <a:cxn ang="0">
                <a:pos x="15" y="81"/>
              </a:cxn>
              <a:cxn ang="0">
                <a:pos x="17" y="76"/>
              </a:cxn>
              <a:cxn ang="0">
                <a:pos x="13" y="74"/>
              </a:cxn>
              <a:cxn ang="0">
                <a:pos x="10" y="71"/>
              </a:cxn>
              <a:cxn ang="0">
                <a:pos x="5" y="69"/>
              </a:cxn>
              <a:cxn ang="0">
                <a:pos x="3" y="69"/>
              </a:cxn>
              <a:cxn ang="0">
                <a:pos x="0" y="66"/>
              </a:cxn>
              <a:cxn ang="0">
                <a:pos x="3" y="59"/>
              </a:cxn>
              <a:cxn ang="0">
                <a:pos x="3" y="54"/>
              </a:cxn>
              <a:cxn ang="0">
                <a:pos x="10" y="44"/>
              </a:cxn>
              <a:cxn ang="0">
                <a:pos x="10" y="39"/>
              </a:cxn>
              <a:cxn ang="0">
                <a:pos x="8" y="32"/>
              </a:cxn>
              <a:cxn ang="0">
                <a:pos x="10" y="32"/>
              </a:cxn>
              <a:cxn ang="0">
                <a:pos x="10" y="27"/>
              </a:cxn>
              <a:cxn ang="0">
                <a:pos x="8" y="20"/>
              </a:cxn>
              <a:cxn ang="0">
                <a:pos x="8" y="12"/>
              </a:cxn>
              <a:cxn ang="0">
                <a:pos x="8" y="7"/>
              </a:cxn>
              <a:cxn ang="0">
                <a:pos x="17" y="2"/>
              </a:cxn>
              <a:cxn ang="0">
                <a:pos x="25" y="2"/>
              </a:cxn>
              <a:cxn ang="0">
                <a:pos x="32" y="2"/>
              </a:cxn>
              <a:cxn ang="0">
                <a:pos x="37" y="0"/>
              </a:cxn>
              <a:cxn ang="0">
                <a:pos x="40" y="2"/>
              </a:cxn>
              <a:cxn ang="0">
                <a:pos x="47" y="5"/>
              </a:cxn>
              <a:cxn ang="0">
                <a:pos x="52" y="0"/>
              </a:cxn>
              <a:cxn ang="0">
                <a:pos x="62" y="7"/>
              </a:cxn>
              <a:cxn ang="0">
                <a:pos x="64" y="7"/>
              </a:cxn>
              <a:cxn ang="0">
                <a:pos x="72" y="10"/>
              </a:cxn>
              <a:cxn ang="0">
                <a:pos x="76" y="15"/>
              </a:cxn>
              <a:cxn ang="0">
                <a:pos x="84" y="10"/>
              </a:cxn>
              <a:cxn ang="0">
                <a:pos x="89" y="12"/>
              </a:cxn>
              <a:cxn ang="0">
                <a:pos x="91" y="15"/>
              </a:cxn>
              <a:cxn ang="0">
                <a:pos x="91" y="22"/>
              </a:cxn>
              <a:cxn ang="0">
                <a:pos x="94" y="27"/>
              </a:cxn>
              <a:cxn ang="0">
                <a:pos x="94" y="34"/>
              </a:cxn>
              <a:cxn ang="0">
                <a:pos x="91" y="39"/>
              </a:cxn>
              <a:cxn ang="0">
                <a:pos x="86" y="49"/>
              </a:cxn>
              <a:cxn ang="0">
                <a:pos x="84" y="56"/>
              </a:cxn>
              <a:cxn ang="0">
                <a:pos x="84" y="64"/>
              </a:cxn>
              <a:cxn ang="0">
                <a:pos x="81" y="66"/>
              </a:cxn>
              <a:cxn ang="0">
                <a:pos x="86" y="74"/>
              </a:cxn>
              <a:cxn ang="0">
                <a:pos x="91" y="79"/>
              </a:cxn>
              <a:cxn ang="0">
                <a:pos x="91" y="86"/>
              </a:cxn>
              <a:cxn ang="0">
                <a:pos x="86" y="86"/>
              </a:cxn>
              <a:cxn ang="0">
                <a:pos x="84" y="83"/>
              </a:cxn>
              <a:cxn ang="0">
                <a:pos x="79" y="88"/>
              </a:cxn>
              <a:cxn ang="0">
                <a:pos x="64" y="88"/>
              </a:cxn>
              <a:cxn ang="0">
                <a:pos x="40" y="88"/>
              </a:cxn>
              <a:cxn ang="0">
                <a:pos x="27" y="93"/>
              </a:cxn>
              <a:cxn ang="0">
                <a:pos x="22" y="96"/>
              </a:cxn>
              <a:cxn ang="0">
                <a:pos x="17" y="101"/>
              </a:cxn>
            </a:cxnLst>
            <a:rect l="0" t="0" r="r" b="b"/>
            <a:pathLst>
              <a:path w="96" h="101">
                <a:moveTo>
                  <a:pt x="17" y="101"/>
                </a:moveTo>
                <a:lnTo>
                  <a:pt x="17" y="96"/>
                </a:lnTo>
                <a:lnTo>
                  <a:pt x="15" y="93"/>
                </a:lnTo>
                <a:lnTo>
                  <a:pt x="15" y="91"/>
                </a:lnTo>
                <a:lnTo>
                  <a:pt x="15" y="88"/>
                </a:lnTo>
                <a:lnTo>
                  <a:pt x="15" y="86"/>
                </a:lnTo>
                <a:lnTo>
                  <a:pt x="17" y="83"/>
                </a:lnTo>
                <a:lnTo>
                  <a:pt x="15" y="81"/>
                </a:lnTo>
                <a:lnTo>
                  <a:pt x="17" y="79"/>
                </a:lnTo>
                <a:lnTo>
                  <a:pt x="17" y="76"/>
                </a:lnTo>
                <a:lnTo>
                  <a:pt x="15" y="76"/>
                </a:lnTo>
                <a:lnTo>
                  <a:pt x="13" y="74"/>
                </a:lnTo>
                <a:lnTo>
                  <a:pt x="13" y="71"/>
                </a:lnTo>
                <a:lnTo>
                  <a:pt x="10" y="71"/>
                </a:lnTo>
                <a:lnTo>
                  <a:pt x="8" y="71"/>
                </a:lnTo>
                <a:lnTo>
                  <a:pt x="5" y="69"/>
                </a:lnTo>
                <a:lnTo>
                  <a:pt x="3" y="69"/>
                </a:lnTo>
                <a:lnTo>
                  <a:pt x="3" y="69"/>
                </a:lnTo>
                <a:lnTo>
                  <a:pt x="0" y="69"/>
                </a:lnTo>
                <a:lnTo>
                  <a:pt x="0" y="66"/>
                </a:lnTo>
                <a:lnTo>
                  <a:pt x="0" y="64"/>
                </a:lnTo>
                <a:lnTo>
                  <a:pt x="3" y="59"/>
                </a:lnTo>
                <a:lnTo>
                  <a:pt x="3" y="54"/>
                </a:lnTo>
                <a:lnTo>
                  <a:pt x="3" y="54"/>
                </a:lnTo>
                <a:lnTo>
                  <a:pt x="5" y="52"/>
                </a:lnTo>
                <a:lnTo>
                  <a:pt x="10" y="44"/>
                </a:lnTo>
                <a:lnTo>
                  <a:pt x="10" y="39"/>
                </a:lnTo>
                <a:lnTo>
                  <a:pt x="10" y="39"/>
                </a:lnTo>
                <a:lnTo>
                  <a:pt x="8" y="34"/>
                </a:lnTo>
                <a:lnTo>
                  <a:pt x="8" y="32"/>
                </a:lnTo>
                <a:lnTo>
                  <a:pt x="8" y="32"/>
                </a:lnTo>
                <a:lnTo>
                  <a:pt x="10" y="32"/>
                </a:lnTo>
                <a:lnTo>
                  <a:pt x="13" y="29"/>
                </a:lnTo>
                <a:lnTo>
                  <a:pt x="10" y="27"/>
                </a:lnTo>
                <a:lnTo>
                  <a:pt x="8" y="27"/>
                </a:lnTo>
                <a:lnTo>
                  <a:pt x="8" y="20"/>
                </a:lnTo>
                <a:lnTo>
                  <a:pt x="8" y="17"/>
                </a:lnTo>
                <a:lnTo>
                  <a:pt x="8" y="12"/>
                </a:lnTo>
                <a:lnTo>
                  <a:pt x="8" y="10"/>
                </a:lnTo>
                <a:lnTo>
                  <a:pt x="8" y="7"/>
                </a:lnTo>
                <a:lnTo>
                  <a:pt x="13" y="5"/>
                </a:lnTo>
                <a:lnTo>
                  <a:pt x="17" y="2"/>
                </a:lnTo>
                <a:lnTo>
                  <a:pt x="20" y="2"/>
                </a:lnTo>
                <a:lnTo>
                  <a:pt x="25" y="2"/>
                </a:lnTo>
                <a:lnTo>
                  <a:pt x="30" y="5"/>
                </a:lnTo>
                <a:lnTo>
                  <a:pt x="32" y="2"/>
                </a:lnTo>
                <a:lnTo>
                  <a:pt x="32" y="2"/>
                </a:lnTo>
                <a:lnTo>
                  <a:pt x="37" y="0"/>
                </a:lnTo>
                <a:lnTo>
                  <a:pt x="40" y="0"/>
                </a:lnTo>
                <a:lnTo>
                  <a:pt x="40" y="2"/>
                </a:lnTo>
                <a:lnTo>
                  <a:pt x="42" y="5"/>
                </a:lnTo>
                <a:lnTo>
                  <a:pt x="47" y="5"/>
                </a:lnTo>
                <a:lnTo>
                  <a:pt x="49" y="0"/>
                </a:lnTo>
                <a:lnTo>
                  <a:pt x="52" y="0"/>
                </a:lnTo>
                <a:lnTo>
                  <a:pt x="54" y="2"/>
                </a:lnTo>
                <a:lnTo>
                  <a:pt x="62" y="7"/>
                </a:lnTo>
                <a:lnTo>
                  <a:pt x="64" y="7"/>
                </a:lnTo>
                <a:lnTo>
                  <a:pt x="64" y="7"/>
                </a:lnTo>
                <a:lnTo>
                  <a:pt x="67" y="7"/>
                </a:lnTo>
                <a:lnTo>
                  <a:pt x="72" y="10"/>
                </a:lnTo>
                <a:lnTo>
                  <a:pt x="72" y="12"/>
                </a:lnTo>
                <a:lnTo>
                  <a:pt x="76" y="15"/>
                </a:lnTo>
                <a:lnTo>
                  <a:pt x="81" y="12"/>
                </a:lnTo>
                <a:lnTo>
                  <a:pt x="84" y="10"/>
                </a:lnTo>
                <a:lnTo>
                  <a:pt x="86" y="10"/>
                </a:lnTo>
                <a:lnTo>
                  <a:pt x="89" y="12"/>
                </a:lnTo>
                <a:lnTo>
                  <a:pt x="91" y="12"/>
                </a:lnTo>
                <a:lnTo>
                  <a:pt x="91" y="15"/>
                </a:lnTo>
                <a:lnTo>
                  <a:pt x="91" y="20"/>
                </a:lnTo>
                <a:lnTo>
                  <a:pt x="91" y="22"/>
                </a:lnTo>
                <a:lnTo>
                  <a:pt x="91" y="24"/>
                </a:lnTo>
                <a:lnTo>
                  <a:pt x="94" y="27"/>
                </a:lnTo>
                <a:lnTo>
                  <a:pt x="96" y="32"/>
                </a:lnTo>
                <a:lnTo>
                  <a:pt x="94" y="34"/>
                </a:lnTo>
                <a:lnTo>
                  <a:pt x="94" y="37"/>
                </a:lnTo>
                <a:lnTo>
                  <a:pt x="91" y="39"/>
                </a:lnTo>
                <a:lnTo>
                  <a:pt x="86" y="47"/>
                </a:lnTo>
                <a:lnTo>
                  <a:pt x="86" y="49"/>
                </a:lnTo>
                <a:lnTo>
                  <a:pt x="86" y="52"/>
                </a:lnTo>
                <a:lnTo>
                  <a:pt x="84" y="56"/>
                </a:lnTo>
                <a:lnTo>
                  <a:pt x="84" y="59"/>
                </a:lnTo>
                <a:lnTo>
                  <a:pt x="84" y="64"/>
                </a:lnTo>
                <a:lnTo>
                  <a:pt x="81" y="66"/>
                </a:lnTo>
                <a:lnTo>
                  <a:pt x="81" y="66"/>
                </a:lnTo>
                <a:lnTo>
                  <a:pt x="84" y="69"/>
                </a:lnTo>
                <a:lnTo>
                  <a:pt x="86" y="74"/>
                </a:lnTo>
                <a:lnTo>
                  <a:pt x="86" y="79"/>
                </a:lnTo>
                <a:lnTo>
                  <a:pt x="91" y="79"/>
                </a:lnTo>
                <a:lnTo>
                  <a:pt x="91" y="81"/>
                </a:lnTo>
                <a:lnTo>
                  <a:pt x="91" y="86"/>
                </a:lnTo>
                <a:lnTo>
                  <a:pt x="89" y="86"/>
                </a:lnTo>
                <a:lnTo>
                  <a:pt x="86" y="86"/>
                </a:lnTo>
                <a:lnTo>
                  <a:pt x="86" y="88"/>
                </a:lnTo>
                <a:lnTo>
                  <a:pt x="84" y="83"/>
                </a:lnTo>
                <a:lnTo>
                  <a:pt x="81" y="86"/>
                </a:lnTo>
                <a:lnTo>
                  <a:pt x="79" y="88"/>
                </a:lnTo>
                <a:lnTo>
                  <a:pt x="72" y="86"/>
                </a:lnTo>
                <a:lnTo>
                  <a:pt x="64" y="88"/>
                </a:lnTo>
                <a:lnTo>
                  <a:pt x="45" y="88"/>
                </a:lnTo>
                <a:lnTo>
                  <a:pt x="40" y="88"/>
                </a:lnTo>
                <a:lnTo>
                  <a:pt x="40" y="91"/>
                </a:lnTo>
                <a:lnTo>
                  <a:pt x="27" y="93"/>
                </a:lnTo>
                <a:lnTo>
                  <a:pt x="27" y="96"/>
                </a:lnTo>
                <a:lnTo>
                  <a:pt x="22" y="96"/>
                </a:lnTo>
                <a:lnTo>
                  <a:pt x="17" y="101"/>
                </a:lnTo>
                <a:lnTo>
                  <a:pt x="17" y="101"/>
                </a:lnTo>
                <a:lnTo>
                  <a:pt x="17" y="10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0" name="Freeform 129"/>
          <p:cNvSpPr>
            <a:spLocks/>
          </p:cNvSpPr>
          <p:nvPr/>
        </p:nvSpPr>
        <p:spPr bwMode="auto">
          <a:xfrm>
            <a:off x="4677372" y="4175960"/>
            <a:ext cx="109275" cy="158212"/>
          </a:xfrm>
          <a:custGeom>
            <a:avLst/>
            <a:gdLst/>
            <a:ahLst/>
            <a:cxnLst>
              <a:cxn ang="0">
                <a:pos x="5" y="96"/>
              </a:cxn>
              <a:cxn ang="0">
                <a:pos x="10" y="96"/>
              </a:cxn>
              <a:cxn ang="0">
                <a:pos x="10" y="89"/>
              </a:cxn>
              <a:cxn ang="0">
                <a:pos x="5" y="84"/>
              </a:cxn>
              <a:cxn ang="0">
                <a:pos x="0" y="76"/>
              </a:cxn>
              <a:cxn ang="0">
                <a:pos x="3" y="74"/>
              </a:cxn>
              <a:cxn ang="0">
                <a:pos x="3" y="66"/>
              </a:cxn>
              <a:cxn ang="0">
                <a:pos x="5" y="59"/>
              </a:cxn>
              <a:cxn ang="0">
                <a:pos x="10" y="49"/>
              </a:cxn>
              <a:cxn ang="0">
                <a:pos x="13" y="44"/>
              </a:cxn>
              <a:cxn ang="0">
                <a:pos x="13" y="37"/>
              </a:cxn>
              <a:cxn ang="0">
                <a:pos x="10" y="32"/>
              </a:cxn>
              <a:cxn ang="0">
                <a:pos x="10" y="25"/>
              </a:cxn>
              <a:cxn ang="0">
                <a:pos x="8" y="15"/>
              </a:cxn>
              <a:cxn ang="0">
                <a:pos x="5" y="7"/>
              </a:cxn>
              <a:cxn ang="0">
                <a:pos x="13" y="5"/>
              </a:cxn>
              <a:cxn ang="0">
                <a:pos x="25" y="2"/>
              </a:cxn>
              <a:cxn ang="0">
                <a:pos x="37" y="2"/>
              </a:cxn>
              <a:cxn ang="0">
                <a:pos x="45" y="0"/>
              </a:cxn>
              <a:cxn ang="0">
                <a:pos x="47" y="5"/>
              </a:cxn>
              <a:cxn ang="0">
                <a:pos x="50" y="10"/>
              </a:cxn>
              <a:cxn ang="0">
                <a:pos x="55" y="15"/>
              </a:cxn>
              <a:cxn ang="0">
                <a:pos x="57" y="20"/>
              </a:cxn>
              <a:cxn ang="0">
                <a:pos x="59" y="27"/>
              </a:cxn>
              <a:cxn ang="0">
                <a:pos x="59" y="32"/>
              </a:cxn>
              <a:cxn ang="0">
                <a:pos x="59" y="37"/>
              </a:cxn>
              <a:cxn ang="0">
                <a:pos x="59" y="42"/>
              </a:cxn>
              <a:cxn ang="0">
                <a:pos x="59" y="47"/>
              </a:cxn>
              <a:cxn ang="0">
                <a:pos x="62" y="54"/>
              </a:cxn>
              <a:cxn ang="0">
                <a:pos x="59" y="66"/>
              </a:cxn>
              <a:cxn ang="0">
                <a:pos x="59" y="71"/>
              </a:cxn>
              <a:cxn ang="0">
                <a:pos x="62" y="79"/>
              </a:cxn>
              <a:cxn ang="0">
                <a:pos x="64" y="81"/>
              </a:cxn>
              <a:cxn ang="0">
                <a:pos x="57" y="86"/>
              </a:cxn>
              <a:cxn ang="0">
                <a:pos x="42" y="96"/>
              </a:cxn>
              <a:cxn ang="0">
                <a:pos x="20" y="103"/>
              </a:cxn>
              <a:cxn ang="0">
                <a:pos x="5" y="98"/>
              </a:cxn>
              <a:cxn ang="0">
                <a:pos x="5" y="98"/>
              </a:cxn>
            </a:cxnLst>
            <a:rect l="0" t="0" r="r" b="b"/>
            <a:pathLst>
              <a:path w="67" h="103">
                <a:moveTo>
                  <a:pt x="5" y="98"/>
                </a:moveTo>
                <a:lnTo>
                  <a:pt x="5" y="96"/>
                </a:lnTo>
                <a:lnTo>
                  <a:pt x="8" y="96"/>
                </a:lnTo>
                <a:lnTo>
                  <a:pt x="10" y="96"/>
                </a:lnTo>
                <a:lnTo>
                  <a:pt x="10" y="91"/>
                </a:lnTo>
                <a:lnTo>
                  <a:pt x="10" y="89"/>
                </a:lnTo>
                <a:lnTo>
                  <a:pt x="5" y="89"/>
                </a:lnTo>
                <a:lnTo>
                  <a:pt x="5" y="84"/>
                </a:lnTo>
                <a:lnTo>
                  <a:pt x="3" y="79"/>
                </a:lnTo>
                <a:lnTo>
                  <a:pt x="0" y="76"/>
                </a:lnTo>
                <a:lnTo>
                  <a:pt x="0" y="76"/>
                </a:lnTo>
                <a:lnTo>
                  <a:pt x="3" y="74"/>
                </a:lnTo>
                <a:lnTo>
                  <a:pt x="3" y="69"/>
                </a:lnTo>
                <a:lnTo>
                  <a:pt x="3" y="66"/>
                </a:lnTo>
                <a:lnTo>
                  <a:pt x="5" y="62"/>
                </a:lnTo>
                <a:lnTo>
                  <a:pt x="5" y="59"/>
                </a:lnTo>
                <a:lnTo>
                  <a:pt x="5" y="57"/>
                </a:lnTo>
                <a:lnTo>
                  <a:pt x="10" y="49"/>
                </a:lnTo>
                <a:lnTo>
                  <a:pt x="13" y="47"/>
                </a:lnTo>
                <a:lnTo>
                  <a:pt x="13" y="44"/>
                </a:lnTo>
                <a:lnTo>
                  <a:pt x="15" y="42"/>
                </a:lnTo>
                <a:lnTo>
                  <a:pt x="13" y="37"/>
                </a:lnTo>
                <a:lnTo>
                  <a:pt x="10" y="34"/>
                </a:lnTo>
                <a:lnTo>
                  <a:pt x="10" y="32"/>
                </a:lnTo>
                <a:lnTo>
                  <a:pt x="10" y="30"/>
                </a:lnTo>
                <a:lnTo>
                  <a:pt x="10" y="25"/>
                </a:lnTo>
                <a:lnTo>
                  <a:pt x="10" y="17"/>
                </a:lnTo>
                <a:lnTo>
                  <a:pt x="8" y="15"/>
                </a:lnTo>
                <a:lnTo>
                  <a:pt x="8" y="12"/>
                </a:lnTo>
                <a:lnTo>
                  <a:pt x="5" y="7"/>
                </a:lnTo>
                <a:lnTo>
                  <a:pt x="5" y="5"/>
                </a:lnTo>
                <a:lnTo>
                  <a:pt x="13" y="5"/>
                </a:lnTo>
                <a:lnTo>
                  <a:pt x="23" y="5"/>
                </a:lnTo>
                <a:lnTo>
                  <a:pt x="25" y="2"/>
                </a:lnTo>
                <a:lnTo>
                  <a:pt x="32" y="2"/>
                </a:lnTo>
                <a:lnTo>
                  <a:pt x="37" y="2"/>
                </a:lnTo>
                <a:lnTo>
                  <a:pt x="42" y="2"/>
                </a:lnTo>
                <a:lnTo>
                  <a:pt x="45" y="0"/>
                </a:lnTo>
                <a:lnTo>
                  <a:pt x="47" y="0"/>
                </a:lnTo>
                <a:lnTo>
                  <a:pt x="47" y="5"/>
                </a:lnTo>
                <a:lnTo>
                  <a:pt x="50" y="7"/>
                </a:lnTo>
                <a:lnTo>
                  <a:pt x="50" y="10"/>
                </a:lnTo>
                <a:lnTo>
                  <a:pt x="52" y="12"/>
                </a:lnTo>
                <a:lnTo>
                  <a:pt x="55" y="15"/>
                </a:lnTo>
                <a:lnTo>
                  <a:pt x="57" y="17"/>
                </a:lnTo>
                <a:lnTo>
                  <a:pt x="57" y="20"/>
                </a:lnTo>
                <a:lnTo>
                  <a:pt x="57" y="27"/>
                </a:lnTo>
                <a:lnTo>
                  <a:pt x="59" y="27"/>
                </a:lnTo>
                <a:lnTo>
                  <a:pt x="59" y="27"/>
                </a:lnTo>
                <a:lnTo>
                  <a:pt x="59" y="32"/>
                </a:lnTo>
                <a:lnTo>
                  <a:pt x="59" y="34"/>
                </a:lnTo>
                <a:lnTo>
                  <a:pt x="59" y="37"/>
                </a:lnTo>
                <a:lnTo>
                  <a:pt x="59" y="39"/>
                </a:lnTo>
                <a:lnTo>
                  <a:pt x="59" y="42"/>
                </a:lnTo>
                <a:lnTo>
                  <a:pt x="59" y="44"/>
                </a:lnTo>
                <a:lnTo>
                  <a:pt x="59" y="47"/>
                </a:lnTo>
                <a:lnTo>
                  <a:pt x="59" y="52"/>
                </a:lnTo>
                <a:lnTo>
                  <a:pt x="62" y="54"/>
                </a:lnTo>
                <a:lnTo>
                  <a:pt x="62" y="64"/>
                </a:lnTo>
                <a:lnTo>
                  <a:pt x="59" y="66"/>
                </a:lnTo>
                <a:lnTo>
                  <a:pt x="59" y="69"/>
                </a:lnTo>
                <a:lnTo>
                  <a:pt x="59" y="71"/>
                </a:lnTo>
                <a:lnTo>
                  <a:pt x="59" y="76"/>
                </a:lnTo>
                <a:lnTo>
                  <a:pt x="62" y="79"/>
                </a:lnTo>
                <a:lnTo>
                  <a:pt x="62" y="81"/>
                </a:lnTo>
                <a:lnTo>
                  <a:pt x="64" y="81"/>
                </a:lnTo>
                <a:lnTo>
                  <a:pt x="67" y="84"/>
                </a:lnTo>
                <a:lnTo>
                  <a:pt x="57" y="86"/>
                </a:lnTo>
                <a:lnTo>
                  <a:pt x="50" y="89"/>
                </a:lnTo>
                <a:lnTo>
                  <a:pt x="42" y="96"/>
                </a:lnTo>
                <a:lnTo>
                  <a:pt x="32" y="96"/>
                </a:lnTo>
                <a:lnTo>
                  <a:pt x="20" y="103"/>
                </a:lnTo>
                <a:lnTo>
                  <a:pt x="13" y="101"/>
                </a:lnTo>
                <a:lnTo>
                  <a:pt x="5" y="98"/>
                </a:lnTo>
                <a:lnTo>
                  <a:pt x="5" y="98"/>
                </a:lnTo>
                <a:lnTo>
                  <a:pt x="5" y="9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1" name="Freeform 130"/>
          <p:cNvSpPr>
            <a:spLocks/>
          </p:cNvSpPr>
          <p:nvPr/>
        </p:nvSpPr>
        <p:spPr bwMode="auto">
          <a:xfrm>
            <a:off x="4754026" y="4175960"/>
            <a:ext cx="48928" cy="129027"/>
          </a:xfrm>
          <a:custGeom>
            <a:avLst/>
            <a:gdLst/>
            <a:ahLst/>
            <a:cxnLst>
              <a:cxn ang="0">
                <a:pos x="17" y="5"/>
              </a:cxn>
              <a:cxn ang="0">
                <a:pos x="0" y="0"/>
              </a:cxn>
              <a:cxn ang="0">
                <a:pos x="0" y="0"/>
              </a:cxn>
              <a:cxn ang="0">
                <a:pos x="0" y="5"/>
              </a:cxn>
              <a:cxn ang="0">
                <a:pos x="3" y="7"/>
              </a:cxn>
              <a:cxn ang="0">
                <a:pos x="3" y="10"/>
              </a:cxn>
              <a:cxn ang="0">
                <a:pos x="5" y="12"/>
              </a:cxn>
              <a:cxn ang="0">
                <a:pos x="8" y="15"/>
              </a:cxn>
              <a:cxn ang="0">
                <a:pos x="10" y="17"/>
              </a:cxn>
              <a:cxn ang="0">
                <a:pos x="10" y="20"/>
              </a:cxn>
              <a:cxn ang="0">
                <a:pos x="10" y="27"/>
              </a:cxn>
              <a:cxn ang="0">
                <a:pos x="12" y="27"/>
              </a:cxn>
              <a:cxn ang="0">
                <a:pos x="12" y="27"/>
              </a:cxn>
              <a:cxn ang="0">
                <a:pos x="12" y="32"/>
              </a:cxn>
              <a:cxn ang="0">
                <a:pos x="12" y="34"/>
              </a:cxn>
              <a:cxn ang="0">
                <a:pos x="12" y="37"/>
              </a:cxn>
              <a:cxn ang="0">
                <a:pos x="12" y="39"/>
              </a:cxn>
              <a:cxn ang="0">
                <a:pos x="12" y="42"/>
              </a:cxn>
              <a:cxn ang="0">
                <a:pos x="12" y="44"/>
              </a:cxn>
              <a:cxn ang="0">
                <a:pos x="12" y="47"/>
              </a:cxn>
              <a:cxn ang="0">
                <a:pos x="12" y="52"/>
              </a:cxn>
              <a:cxn ang="0">
                <a:pos x="15" y="54"/>
              </a:cxn>
              <a:cxn ang="0">
                <a:pos x="15" y="64"/>
              </a:cxn>
              <a:cxn ang="0">
                <a:pos x="12" y="66"/>
              </a:cxn>
              <a:cxn ang="0">
                <a:pos x="12" y="69"/>
              </a:cxn>
              <a:cxn ang="0">
                <a:pos x="12" y="71"/>
              </a:cxn>
              <a:cxn ang="0">
                <a:pos x="12" y="76"/>
              </a:cxn>
              <a:cxn ang="0">
                <a:pos x="15" y="79"/>
              </a:cxn>
              <a:cxn ang="0">
                <a:pos x="15" y="81"/>
              </a:cxn>
              <a:cxn ang="0">
                <a:pos x="17" y="81"/>
              </a:cxn>
              <a:cxn ang="0">
                <a:pos x="20" y="84"/>
              </a:cxn>
              <a:cxn ang="0">
                <a:pos x="20" y="84"/>
              </a:cxn>
              <a:cxn ang="0">
                <a:pos x="30" y="79"/>
              </a:cxn>
              <a:cxn ang="0">
                <a:pos x="30" y="79"/>
              </a:cxn>
              <a:cxn ang="0">
                <a:pos x="30" y="76"/>
              </a:cxn>
              <a:cxn ang="0">
                <a:pos x="30" y="74"/>
              </a:cxn>
              <a:cxn ang="0">
                <a:pos x="30" y="69"/>
              </a:cxn>
              <a:cxn ang="0">
                <a:pos x="27" y="64"/>
              </a:cxn>
              <a:cxn ang="0">
                <a:pos x="27" y="47"/>
              </a:cxn>
              <a:cxn ang="0">
                <a:pos x="27" y="44"/>
              </a:cxn>
              <a:cxn ang="0">
                <a:pos x="30" y="42"/>
              </a:cxn>
              <a:cxn ang="0">
                <a:pos x="30" y="37"/>
              </a:cxn>
              <a:cxn ang="0">
                <a:pos x="30" y="34"/>
              </a:cxn>
              <a:cxn ang="0">
                <a:pos x="30" y="32"/>
              </a:cxn>
              <a:cxn ang="0">
                <a:pos x="27" y="25"/>
              </a:cxn>
              <a:cxn ang="0">
                <a:pos x="25" y="17"/>
              </a:cxn>
              <a:cxn ang="0">
                <a:pos x="22" y="15"/>
              </a:cxn>
              <a:cxn ang="0">
                <a:pos x="20" y="12"/>
              </a:cxn>
              <a:cxn ang="0">
                <a:pos x="17" y="12"/>
              </a:cxn>
              <a:cxn ang="0">
                <a:pos x="15" y="7"/>
              </a:cxn>
              <a:cxn ang="0">
                <a:pos x="17" y="5"/>
              </a:cxn>
              <a:cxn ang="0">
                <a:pos x="17" y="5"/>
              </a:cxn>
            </a:cxnLst>
            <a:rect l="0" t="0" r="r" b="b"/>
            <a:pathLst>
              <a:path w="30" h="84">
                <a:moveTo>
                  <a:pt x="17" y="5"/>
                </a:moveTo>
                <a:lnTo>
                  <a:pt x="0" y="0"/>
                </a:lnTo>
                <a:lnTo>
                  <a:pt x="0" y="0"/>
                </a:lnTo>
                <a:lnTo>
                  <a:pt x="0" y="5"/>
                </a:lnTo>
                <a:lnTo>
                  <a:pt x="3" y="7"/>
                </a:lnTo>
                <a:lnTo>
                  <a:pt x="3" y="10"/>
                </a:lnTo>
                <a:lnTo>
                  <a:pt x="5" y="12"/>
                </a:lnTo>
                <a:lnTo>
                  <a:pt x="8" y="15"/>
                </a:lnTo>
                <a:lnTo>
                  <a:pt x="10" y="17"/>
                </a:lnTo>
                <a:lnTo>
                  <a:pt x="10" y="20"/>
                </a:lnTo>
                <a:lnTo>
                  <a:pt x="10" y="27"/>
                </a:lnTo>
                <a:lnTo>
                  <a:pt x="12" y="27"/>
                </a:lnTo>
                <a:lnTo>
                  <a:pt x="12" y="27"/>
                </a:lnTo>
                <a:lnTo>
                  <a:pt x="12" y="32"/>
                </a:lnTo>
                <a:lnTo>
                  <a:pt x="12" y="34"/>
                </a:lnTo>
                <a:lnTo>
                  <a:pt x="12" y="37"/>
                </a:lnTo>
                <a:lnTo>
                  <a:pt x="12" y="39"/>
                </a:lnTo>
                <a:lnTo>
                  <a:pt x="12" y="42"/>
                </a:lnTo>
                <a:lnTo>
                  <a:pt x="12" y="44"/>
                </a:lnTo>
                <a:lnTo>
                  <a:pt x="12" y="47"/>
                </a:lnTo>
                <a:lnTo>
                  <a:pt x="12" y="52"/>
                </a:lnTo>
                <a:lnTo>
                  <a:pt x="15" y="54"/>
                </a:lnTo>
                <a:lnTo>
                  <a:pt x="15" y="64"/>
                </a:lnTo>
                <a:lnTo>
                  <a:pt x="12" y="66"/>
                </a:lnTo>
                <a:lnTo>
                  <a:pt x="12" y="69"/>
                </a:lnTo>
                <a:lnTo>
                  <a:pt x="12" y="71"/>
                </a:lnTo>
                <a:lnTo>
                  <a:pt x="12" y="76"/>
                </a:lnTo>
                <a:lnTo>
                  <a:pt x="15" y="79"/>
                </a:lnTo>
                <a:lnTo>
                  <a:pt x="15" y="81"/>
                </a:lnTo>
                <a:lnTo>
                  <a:pt x="17" y="81"/>
                </a:lnTo>
                <a:lnTo>
                  <a:pt x="20" y="84"/>
                </a:lnTo>
                <a:lnTo>
                  <a:pt x="20" y="84"/>
                </a:lnTo>
                <a:lnTo>
                  <a:pt x="30" y="79"/>
                </a:lnTo>
                <a:lnTo>
                  <a:pt x="30" y="79"/>
                </a:lnTo>
                <a:lnTo>
                  <a:pt x="30" y="76"/>
                </a:lnTo>
                <a:lnTo>
                  <a:pt x="30" y="74"/>
                </a:lnTo>
                <a:lnTo>
                  <a:pt x="30" y="69"/>
                </a:lnTo>
                <a:lnTo>
                  <a:pt x="27" y="64"/>
                </a:lnTo>
                <a:lnTo>
                  <a:pt x="27" y="47"/>
                </a:lnTo>
                <a:lnTo>
                  <a:pt x="27" y="44"/>
                </a:lnTo>
                <a:lnTo>
                  <a:pt x="30" y="42"/>
                </a:lnTo>
                <a:lnTo>
                  <a:pt x="30" y="37"/>
                </a:lnTo>
                <a:lnTo>
                  <a:pt x="30" y="34"/>
                </a:lnTo>
                <a:lnTo>
                  <a:pt x="30" y="32"/>
                </a:lnTo>
                <a:lnTo>
                  <a:pt x="27" y="25"/>
                </a:lnTo>
                <a:lnTo>
                  <a:pt x="25" y="17"/>
                </a:lnTo>
                <a:lnTo>
                  <a:pt x="22" y="15"/>
                </a:lnTo>
                <a:lnTo>
                  <a:pt x="20" y="12"/>
                </a:lnTo>
                <a:lnTo>
                  <a:pt x="17" y="12"/>
                </a:lnTo>
                <a:lnTo>
                  <a:pt x="15" y="7"/>
                </a:lnTo>
                <a:lnTo>
                  <a:pt x="17" y="5"/>
                </a:lnTo>
                <a:lnTo>
                  <a:pt x="17"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2" name="Freeform 131"/>
          <p:cNvSpPr>
            <a:spLocks/>
          </p:cNvSpPr>
          <p:nvPr/>
        </p:nvSpPr>
        <p:spPr bwMode="auto">
          <a:xfrm>
            <a:off x="4778490" y="4145239"/>
            <a:ext cx="79917" cy="155140"/>
          </a:xfrm>
          <a:custGeom>
            <a:avLst/>
            <a:gdLst/>
            <a:ahLst/>
            <a:cxnLst>
              <a:cxn ang="0">
                <a:pos x="25" y="8"/>
              </a:cxn>
              <a:cxn ang="0">
                <a:pos x="17" y="13"/>
              </a:cxn>
              <a:cxn ang="0">
                <a:pos x="12" y="13"/>
              </a:cxn>
              <a:cxn ang="0">
                <a:pos x="7" y="18"/>
              </a:cxn>
              <a:cxn ang="0">
                <a:pos x="7" y="22"/>
              </a:cxn>
              <a:cxn ang="0">
                <a:pos x="0" y="27"/>
              </a:cxn>
              <a:cxn ang="0">
                <a:pos x="5" y="32"/>
              </a:cxn>
              <a:cxn ang="0">
                <a:pos x="10" y="37"/>
              </a:cxn>
              <a:cxn ang="0">
                <a:pos x="15" y="52"/>
              </a:cxn>
              <a:cxn ang="0">
                <a:pos x="15" y="57"/>
              </a:cxn>
              <a:cxn ang="0">
                <a:pos x="12" y="64"/>
              </a:cxn>
              <a:cxn ang="0">
                <a:pos x="12" y="84"/>
              </a:cxn>
              <a:cxn ang="0">
                <a:pos x="15" y="94"/>
              </a:cxn>
              <a:cxn ang="0">
                <a:pos x="15" y="99"/>
              </a:cxn>
              <a:cxn ang="0">
                <a:pos x="32" y="96"/>
              </a:cxn>
              <a:cxn ang="0">
                <a:pos x="32" y="94"/>
              </a:cxn>
              <a:cxn ang="0">
                <a:pos x="32" y="84"/>
              </a:cxn>
              <a:cxn ang="0">
                <a:pos x="32" y="74"/>
              </a:cxn>
              <a:cxn ang="0">
                <a:pos x="32" y="72"/>
              </a:cxn>
              <a:cxn ang="0">
                <a:pos x="32" y="69"/>
              </a:cxn>
              <a:cxn ang="0">
                <a:pos x="32" y="64"/>
              </a:cxn>
              <a:cxn ang="0">
                <a:pos x="32" y="59"/>
              </a:cxn>
              <a:cxn ang="0">
                <a:pos x="32" y="54"/>
              </a:cxn>
              <a:cxn ang="0">
                <a:pos x="37" y="52"/>
              </a:cxn>
              <a:cxn ang="0">
                <a:pos x="39" y="50"/>
              </a:cxn>
              <a:cxn ang="0">
                <a:pos x="42" y="42"/>
              </a:cxn>
              <a:cxn ang="0">
                <a:pos x="47" y="42"/>
              </a:cxn>
              <a:cxn ang="0">
                <a:pos x="44" y="37"/>
              </a:cxn>
              <a:cxn ang="0">
                <a:pos x="47" y="32"/>
              </a:cxn>
              <a:cxn ang="0">
                <a:pos x="49" y="30"/>
              </a:cxn>
              <a:cxn ang="0">
                <a:pos x="49" y="22"/>
              </a:cxn>
              <a:cxn ang="0">
                <a:pos x="44" y="15"/>
              </a:cxn>
              <a:cxn ang="0">
                <a:pos x="44" y="13"/>
              </a:cxn>
              <a:cxn ang="0">
                <a:pos x="37" y="8"/>
              </a:cxn>
              <a:cxn ang="0">
                <a:pos x="29" y="0"/>
              </a:cxn>
              <a:cxn ang="0">
                <a:pos x="29" y="3"/>
              </a:cxn>
              <a:cxn ang="0">
                <a:pos x="25" y="5"/>
              </a:cxn>
            </a:cxnLst>
            <a:rect l="0" t="0" r="r" b="b"/>
            <a:pathLst>
              <a:path w="49" h="101">
                <a:moveTo>
                  <a:pt x="25" y="5"/>
                </a:moveTo>
                <a:lnTo>
                  <a:pt x="25" y="8"/>
                </a:lnTo>
                <a:lnTo>
                  <a:pt x="20" y="10"/>
                </a:lnTo>
                <a:lnTo>
                  <a:pt x="17" y="13"/>
                </a:lnTo>
                <a:lnTo>
                  <a:pt x="12" y="15"/>
                </a:lnTo>
                <a:lnTo>
                  <a:pt x="12" y="13"/>
                </a:lnTo>
                <a:lnTo>
                  <a:pt x="7" y="15"/>
                </a:lnTo>
                <a:lnTo>
                  <a:pt x="7" y="18"/>
                </a:lnTo>
                <a:lnTo>
                  <a:pt x="5" y="20"/>
                </a:lnTo>
                <a:lnTo>
                  <a:pt x="7" y="22"/>
                </a:lnTo>
                <a:lnTo>
                  <a:pt x="2" y="22"/>
                </a:lnTo>
                <a:lnTo>
                  <a:pt x="0" y="27"/>
                </a:lnTo>
                <a:lnTo>
                  <a:pt x="2" y="32"/>
                </a:lnTo>
                <a:lnTo>
                  <a:pt x="5" y="32"/>
                </a:lnTo>
                <a:lnTo>
                  <a:pt x="7" y="35"/>
                </a:lnTo>
                <a:lnTo>
                  <a:pt x="10" y="37"/>
                </a:lnTo>
                <a:lnTo>
                  <a:pt x="12" y="45"/>
                </a:lnTo>
                <a:lnTo>
                  <a:pt x="15" y="52"/>
                </a:lnTo>
                <a:lnTo>
                  <a:pt x="15" y="54"/>
                </a:lnTo>
                <a:lnTo>
                  <a:pt x="15" y="57"/>
                </a:lnTo>
                <a:lnTo>
                  <a:pt x="15" y="62"/>
                </a:lnTo>
                <a:lnTo>
                  <a:pt x="12" y="64"/>
                </a:lnTo>
                <a:lnTo>
                  <a:pt x="12" y="67"/>
                </a:lnTo>
                <a:lnTo>
                  <a:pt x="12" y="84"/>
                </a:lnTo>
                <a:lnTo>
                  <a:pt x="15" y="89"/>
                </a:lnTo>
                <a:lnTo>
                  <a:pt x="15" y="94"/>
                </a:lnTo>
                <a:lnTo>
                  <a:pt x="15" y="96"/>
                </a:lnTo>
                <a:lnTo>
                  <a:pt x="15" y="99"/>
                </a:lnTo>
                <a:lnTo>
                  <a:pt x="22" y="101"/>
                </a:lnTo>
                <a:lnTo>
                  <a:pt x="32" y="96"/>
                </a:lnTo>
                <a:lnTo>
                  <a:pt x="32" y="96"/>
                </a:lnTo>
                <a:lnTo>
                  <a:pt x="32" y="94"/>
                </a:lnTo>
                <a:lnTo>
                  <a:pt x="32" y="86"/>
                </a:lnTo>
                <a:lnTo>
                  <a:pt x="32" y="84"/>
                </a:lnTo>
                <a:lnTo>
                  <a:pt x="32" y="82"/>
                </a:lnTo>
                <a:lnTo>
                  <a:pt x="32" y="74"/>
                </a:lnTo>
                <a:lnTo>
                  <a:pt x="32" y="72"/>
                </a:lnTo>
                <a:lnTo>
                  <a:pt x="32" y="72"/>
                </a:lnTo>
                <a:lnTo>
                  <a:pt x="32" y="69"/>
                </a:lnTo>
                <a:lnTo>
                  <a:pt x="32" y="69"/>
                </a:lnTo>
                <a:lnTo>
                  <a:pt x="32" y="67"/>
                </a:lnTo>
                <a:lnTo>
                  <a:pt x="32" y="64"/>
                </a:lnTo>
                <a:lnTo>
                  <a:pt x="32" y="62"/>
                </a:lnTo>
                <a:lnTo>
                  <a:pt x="32" y="59"/>
                </a:lnTo>
                <a:lnTo>
                  <a:pt x="32" y="57"/>
                </a:lnTo>
                <a:lnTo>
                  <a:pt x="32" y="54"/>
                </a:lnTo>
                <a:lnTo>
                  <a:pt x="34" y="54"/>
                </a:lnTo>
                <a:lnTo>
                  <a:pt x="37" y="52"/>
                </a:lnTo>
                <a:lnTo>
                  <a:pt x="39" y="52"/>
                </a:lnTo>
                <a:lnTo>
                  <a:pt x="39" y="50"/>
                </a:lnTo>
                <a:lnTo>
                  <a:pt x="42" y="45"/>
                </a:lnTo>
                <a:lnTo>
                  <a:pt x="42" y="42"/>
                </a:lnTo>
                <a:lnTo>
                  <a:pt x="44" y="42"/>
                </a:lnTo>
                <a:lnTo>
                  <a:pt x="47" y="42"/>
                </a:lnTo>
                <a:lnTo>
                  <a:pt x="47" y="40"/>
                </a:lnTo>
                <a:lnTo>
                  <a:pt x="44" y="37"/>
                </a:lnTo>
                <a:lnTo>
                  <a:pt x="44" y="35"/>
                </a:lnTo>
                <a:lnTo>
                  <a:pt x="47" y="32"/>
                </a:lnTo>
                <a:lnTo>
                  <a:pt x="49" y="32"/>
                </a:lnTo>
                <a:lnTo>
                  <a:pt x="49" y="30"/>
                </a:lnTo>
                <a:lnTo>
                  <a:pt x="49" y="25"/>
                </a:lnTo>
                <a:lnTo>
                  <a:pt x="49" y="22"/>
                </a:lnTo>
                <a:lnTo>
                  <a:pt x="44" y="18"/>
                </a:lnTo>
                <a:lnTo>
                  <a:pt x="44" y="15"/>
                </a:lnTo>
                <a:lnTo>
                  <a:pt x="44" y="13"/>
                </a:lnTo>
                <a:lnTo>
                  <a:pt x="44" y="13"/>
                </a:lnTo>
                <a:lnTo>
                  <a:pt x="42" y="8"/>
                </a:lnTo>
                <a:lnTo>
                  <a:pt x="37" y="8"/>
                </a:lnTo>
                <a:lnTo>
                  <a:pt x="34" y="3"/>
                </a:lnTo>
                <a:lnTo>
                  <a:pt x="29" y="0"/>
                </a:lnTo>
                <a:lnTo>
                  <a:pt x="27" y="3"/>
                </a:lnTo>
                <a:lnTo>
                  <a:pt x="29" y="3"/>
                </a:lnTo>
                <a:lnTo>
                  <a:pt x="25" y="5"/>
                </a:lnTo>
                <a:lnTo>
                  <a:pt x="25" y="5"/>
                </a:lnTo>
                <a:lnTo>
                  <a:pt x="25"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3" name="Freeform 132"/>
          <p:cNvSpPr>
            <a:spLocks noEditPoints="1"/>
          </p:cNvSpPr>
          <p:nvPr/>
        </p:nvSpPr>
        <p:spPr bwMode="auto">
          <a:xfrm>
            <a:off x="5059016" y="3877969"/>
            <a:ext cx="293572" cy="393226"/>
          </a:xfrm>
          <a:custGeom>
            <a:avLst/>
            <a:gdLst/>
            <a:ahLst/>
            <a:cxnLst>
              <a:cxn ang="0">
                <a:pos x="180" y="64"/>
              </a:cxn>
              <a:cxn ang="0">
                <a:pos x="175" y="125"/>
              </a:cxn>
              <a:cxn ang="0">
                <a:pos x="165" y="128"/>
              </a:cxn>
              <a:cxn ang="0">
                <a:pos x="165" y="137"/>
              </a:cxn>
              <a:cxn ang="0">
                <a:pos x="155" y="145"/>
              </a:cxn>
              <a:cxn ang="0">
                <a:pos x="155" y="152"/>
              </a:cxn>
              <a:cxn ang="0">
                <a:pos x="155" y="160"/>
              </a:cxn>
              <a:cxn ang="0">
                <a:pos x="148" y="169"/>
              </a:cxn>
              <a:cxn ang="0">
                <a:pos x="155" y="172"/>
              </a:cxn>
              <a:cxn ang="0">
                <a:pos x="155" y="177"/>
              </a:cxn>
              <a:cxn ang="0">
                <a:pos x="158" y="182"/>
              </a:cxn>
              <a:cxn ang="0">
                <a:pos x="162" y="192"/>
              </a:cxn>
              <a:cxn ang="0">
                <a:pos x="162" y="196"/>
              </a:cxn>
              <a:cxn ang="0">
                <a:pos x="158" y="199"/>
              </a:cxn>
              <a:cxn ang="0">
                <a:pos x="145" y="204"/>
              </a:cxn>
              <a:cxn ang="0">
                <a:pos x="145" y="209"/>
              </a:cxn>
              <a:cxn ang="0">
                <a:pos x="138" y="214"/>
              </a:cxn>
              <a:cxn ang="0">
                <a:pos x="133" y="219"/>
              </a:cxn>
              <a:cxn ang="0">
                <a:pos x="133" y="226"/>
              </a:cxn>
              <a:cxn ang="0">
                <a:pos x="123" y="231"/>
              </a:cxn>
              <a:cxn ang="0">
                <a:pos x="111" y="228"/>
              </a:cxn>
              <a:cxn ang="0">
                <a:pos x="103" y="231"/>
              </a:cxn>
              <a:cxn ang="0">
                <a:pos x="108" y="236"/>
              </a:cxn>
              <a:cxn ang="0">
                <a:pos x="101" y="243"/>
              </a:cxn>
              <a:cxn ang="0">
                <a:pos x="84" y="248"/>
              </a:cxn>
              <a:cxn ang="0">
                <a:pos x="74" y="253"/>
              </a:cxn>
              <a:cxn ang="0">
                <a:pos x="69" y="248"/>
              </a:cxn>
              <a:cxn ang="0">
                <a:pos x="64" y="256"/>
              </a:cxn>
              <a:cxn ang="0">
                <a:pos x="57" y="256"/>
              </a:cxn>
              <a:cxn ang="0">
                <a:pos x="54" y="248"/>
              </a:cxn>
              <a:cxn ang="0">
                <a:pos x="47" y="238"/>
              </a:cxn>
              <a:cxn ang="0">
                <a:pos x="32" y="226"/>
              </a:cxn>
              <a:cxn ang="0">
                <a:pos x="30" y="224"/>
              </a:cxn>
              <a:cxn ang="0">
                <a:pos x="30" y="216"/>
              </a:cxn>
              <a:cxn ang="0">
                <a:pos x="37" y="216"/>
              </a:cxn>
              <a:cxn ang="0">
                <a:pos x="44" y="216"/>
              </a:cxn>
              <a:cxn ang="0">
                <a:pos x="52" y="216"/>
              </a:cxn>
              <a:cxn ang="0">
                <a:pos x="47" y="211"/>
              </a:cxn>
              <a:cxn ang="0">
                <a:pos x="42" y="204"/>
              </a:cxn>
              <a:cxn ang="0">
                <a:pos x="44" y="194"/>
              </a:cxn>
              <a:cxn ang="0">
                <a:pos x="44" y="189"/>
              </a:cxn>
              <a:cxn ang="0">
                <a:pos x="42" y="182"/>
              </a:cxn>
              <a:cxn ang="0">
                <a:pos x="35" y="172"/>
              </a:cxn>
              <a:cxn ang="0">
                <a:pos x="25" y="165"/>
              </a:cxn>
              <a:cxn ang="0">
                <a:pos x="17" y="137"/>
              </a:cxn>
              <a:cxn ang="0">
                <a:pos x="22" y="135"/>
              </a:cxn>
              <a:cxn ang="0">
                <a:pos x="47" y="86"/>
              </a:cxn>
              <a:cxn ang="0">
                <a:pos x="54" y="49"/>
              </a:cxn>
              <a:cxn ang="0">
                <a:pos x="47" y="29"/>
              </a:cxn>
              <a:cxn ang="0">
                <a:pos x="37" y="7"/>
              </a:cxn>
              <a:cxn ang="0">
                <a:pos x="3" y="167"/>
              </a:cxn>
              <a:cxn ang="0">
                <a:pos x="5" y="165"/>
              </a:cxn>
            </a:cxnLst>
            <a:rect l="0" t="0" r="r" b="b"/>
            <a:pathLst>
              <a:path w="180" h="256">
                <a:moveTo>
                  <a:pt x="37" y="7"/>
                </a:moveTo>
                <a:lnTo>
                  <a:pt x="54" y="0"/>
                </a:lnTo>
                <a:lnTo>
                  <a:pt x="180" y="64"/>
                </a:lnTo>
                <a:lnTo>
                  <a:pt x="180" y="123"/>
                </a:lnTo>
                <a:lnTo>
                  <a:pt x="177" y="125"/>
                </a:lnTo>
                <a:lnTo>
                  <a:pt x="175" y="125"/>
                </a:lnTo>
                <a:lnTo>
                  <a:pt x="172" y="125"/>
                </a:lnTo>
                <a:lnTo>
                  <a:pt x="167" y="125"/>
                </a:lnTo>
                <a:lnTo>
                  <a:pt x="165" y="128"/>
                </a:lnTo>
                <a:lnTo>
                  <a:pt x="165" y="130"/>
                </a:lnTo>
                <a:lnTo>
                  <a:pt x="167" y="133"/>
                </a:lnTo>
                <a:lnTo>
                  <a:pt x="165" y="137"/>
                </a:lnTo>
                <a:lnTo>
                  <a:pt x="160" y="142"/>
                </a:lnTo>
                <a:lnTo>
                  <a:pt x="158" y="142"/>
                </a:lnTo>
                <a:lnTo>
                  <a:pt x="155" y="145"/>
                </a:lnTo>
                <a:lnTo>
                  <a:pt x="155" y="147"/>
                </a:lnTo>
                <a:lnTo>
                  <a:pt x="158" y="150"/>
                </a:lnTo>
                <a:lnTo>
                  <a:pt x="155" y="152"/>
                </a:lnTo>
                <a:lnTo>
                  <a:pt x="153" y="155"/>
                </a:lnTo>
                <a:lnTo>
                  <a:pt x="153" y="157"/>
                </a:lnTo>
                <a:lnTo>
                  <a:pt x="155" y="160"/>
                </a:lnTo>
                <a:lnTo>
                  <a:pt x="155" y="162"/>
                </a:lnTo>
                <a:lnTo>
                  <a:pt x="153" y="165"/>
                </a:lnTo>
                <a:lnTo>
                  <a:pt x="148" y="169"/>
                </a:lnTo>
                <a:lnTo>
                  <a:pt x="148" y="172"/>
                </a:lnTo>
                <a:lnTo>
                  <a:pt x="150" y="174"/>
                </a:lnTo>
                <a:lnTo>
                  <a:pt x="155" y="172"/>
                </a:lnTo>
                <a:lnTo>
                  <a:pt x="155" y="172"/>
                </a:lnTo>
                <a:lnTo>
                  <a:pt x="155" y="174"/>
                </a:lnTo>
                <a:lnTo>
                  <a:pt x="155" y="177"/>
                </a:lnTo>
                <a:lnTo>
                  <a:pt x="158" y="177"/>
                </a:lnTo>
                <a:lnTo>
                  <a:pt x="155" y="179"/>
                </a:lnTo>
                <a:lnTo>
                  <a:pt x="158" y="182"/>
                </a:lnTo>
                <a:lnTo>
                  <a:pt x="158" y="187"/>
                </a:lnTo>
                <a:lnTo>
                  <a:pt x="158" y="189"/>
                </a:lnTo>
                <a:lnTo>
                  <a:pt x="162" y="192"/>
                </a:lnTo>
                <a:lnTo>
                  <a:pt x="165" y="194"/>
                </a:lnTo>
                <a:lnTo>
                  <a:pt x="162" y="194"/>
                </a:lnTo>
                <a:lnTo>
                  <a:pt x="162" y="196"/>
                </a:lnTo>
                <a:lnTo>
                  <a:pt x="162" y="199"/>
                </a:lnTo>
                <a:lnTo>
                  <a:pt x="158" y="201"/>
                </a:lnTo>
                <a:lnTo>
                  <a:pt x="158" y="199"/>
                </a:lnTo>
                <a:lnTo>
                  <a:pt x="153" y="199"/>
                </a:lnTo>
                <a:lnTo>
                  <a:pt x="150" y="201"/>
                </a:lnTo>
                <a:lnTo>
                  <a:pt x="145" y="204"/>
                </a:lnTo>
                <a:lnTo>
                  <a:pt x="145" y="206"/>
                </a:lnTo>
                <a:lnTo>
                  <a:pt x="145" y="209"/>
                </a:lnTo>
                <a:lnTo>
                  <a:pt x="145" y="209"/>
                </a:lnTo>
                <a:lnTo>
                  <a:pt x="140" y="214"/>
                </a:lnTo>
                <a:lnTo>
                  <a:pt x="140" y="214"/>
                </a:lnTo>
                <a:lnTo>
                  <a:pt x="138" y="214"/>
                </a:lnTo>
                <a:lnTo>
                  <a:pt x="135" y="216"/>
                </a:lnTo>
                <a:lnTo>
                  <a:pt x="135" y="219"/>
                </a:lnTo>
                <a:lnTo>
                  <a:pt x="133" y="219"/>
                </a:lnTo>
                <a:lnTo>
                  <a:pt x="133" y="221"/>
                </a:lnTo>
                <a:lnTo>
                  <a:pt x="133" y="224"/>
                </a:lnTo>
                <a:lnTo>
                  <a:pt x="133" y="226"/>
                </a:lnTo>
                <a:lnTo>
                  <a:pt x="130" y="228"/>
                </a:lnTo>
                <a:lnTo>
                  <a:pt x="128" y="231"/>
                </a:lnTo>
                <a:lnTo>
                  <a:pt x="123" y="231"/>
                </a:lnTo>
                <a:lnTo>
                  <a:pt x="118" y="231"/>
                </a:lnTo>
                <a:lnTo>
                  <a:pt x="113" y="231"/>
                </a:lnTo>
                <a:lnTo>
                  <a:pt x="111" y="228"/>
                </a:lnTo>
                <a:lnTo>
                  <a:pt x="108" y="231"/>
                </a:lnTo>
                <a:lnTo>
                  <a:pt x="106" y="228"/>
                </a:lnTo>
                <a:lnTo>
                  <a:pt x="103" y="231"/>
                </a:lnTo>
                <a:lnTo>
                  <a:pt x="103" y="233"/>
                </a:lnTo>
                <a:lnTo>
                  <a:pt x="106" y="236"/>
                </a:lnTo>
                <a:lnTo>
                  <a:pt x="108" y="236"/>
                </a:lnTo>
                <a:lnTo>
                  <a:pt x="108" y="238"/>
                </a:lnTo>
                <a:lnTo>
                  <a:pt x="103" y="241"/>
                </a:lnTo>
                <a:lnTo>
                  <a:pt x="101" y="243"/>
                </a:lnTo>
                <a:lnTo>
                  <a:pt x="96" y="243"/>
                </a:lnTo>
                <a:lnTo>
                  <a:pt x="89" y="246"/>
                </a:lnTo>
                <a:lnTo>
                  <a:pt x="84" y="248"/>
                </a:lnTo>
                <a:lnTo>
                  <a:pt x="79" y="251"/>
                </a:lnTo>
                <a:lnTo>
                  <a:pt x="76" y="253"/>
                </a:lnTo>
                <a:lnTo>
                  <a:pt x="74" y="253"/>
                </a:lnTo>
                <a:lnTo>
                  <a:pt x="71" y="253"/>
                </a:lnTo>
                <a:lnTo>
                  <a:pt x="71" y="248"/>
                </a:lnTo>
                <a:lnTo>
                  <a:pt x="69" y="248"/>
                </a:lnTo>
                <a:lnTo>
                  <a:pt x="67" y="248"/>
                </a:lnTo>
                <a:lnTo>
                  <a:pt x="67" y="253"/>
                </a:lnTo>
                <a:lnTo>
                  <a:pt x="64" y="256"/>
                </a:lnTo>
                <a:lnTo>
                  <a:pt x="62" y="256"/>
                </a:lnTo>
                <a:lnTo>
                  <a:pt x="59" y="256"/>
                </a:lnTo>
                <a:lnTo>
                  <a:pt x="57" y="256"/>
                </a:lnTo>
                <a:lnTo>
                  <a:pt x="54" y="253"/>
                </a:lnTo>
                <a:lnTo>
                  <a:pt x="54" y="251"/>
                </a:lnTo>
                <a:lnTo>
                  <a:pt x="54" y="248"/>
                </a:lnTo>
                <a:lnTo>
                  <a:pt x="52" y="246"/>
                </a:lnTo>
                <a:lnTo>
                  <a:pt x="49" y="241"/>
                </a:lnTo>
                <a:lnTo>
                  <a:pt x="47" y="238"/>
                </a:lnTo>
                <a:lnTo>
                  <a:pt x="39" y="233"/>
                </a:lnTo>
                <a:lnTo>
                  <a:pt x="35" y="228"/>
                </a:lnTo>
                <a:lnTo>
                  <a:pt x="32" y="226"/>
                </a:lnTo>
                <a:lnTo>
                  <a:pt x="32" y="226"/>
                </a:lnTo>
                <a:lnTo>
                  <a:pt x="30" y="224"/>
                </a:lnTo>
                <a:lnTo>
                  <a:pt x="30" y="224"/>
                </a:lnTo>
                <a:lnTo>
                  <a:pt x="30" y="219"/>
                </a:lnTo>
                <a:lnTo>
                  <a:pt x="30" y="219"/>
                </a:lnTo>
                <a:lnTo>
                  <a:pt x="30" y="216"/>
                </a:lnTo>
                <a:lnTo>
                  <a:pt x="32" y="216"/>
                </a:lnTo>
                <a:lnTo>
                  <a:pt x="35" y="216"/>
                </a:lnTo>
                <a:lnTo>
                  <a:pt x="37" y="216"/>
                </a:lnTo>
                <a:lnTo>
                  <a:pt x="39" y="216"/>
                </a:lnTo>
                <a:lnTo>
                  <a:pt x="42" y="216"/>
                </a:lnTo>
                <a:lnTo>
                  <a:pt x="44" y="216"/>
                </a:lnTo>
                <a:lnTo>
                  <a:pt x="47" y="216"/>
                </a:lnTo>
                <a:lnTo>
                  <a:pt x="49" y="216"/>
                </a:lnTo>
                <a:lnTo>
                  <a:pt x="52" y="216"/>
                </a:lnTo>
                <a:lnTo>
                  <a:pt x="52" y="216"/>
                </a:lnTo>
                <a:lnTo>
                  <a:pt x="52" y="216"/>
                </a:lnTo>
                <a:lnTo>
                  <a:pt x="47" y="211"/>
                </a:lnTo>
                <a:lnTo>
                  <a:pt x="47" y="209"/>
                </a:lnTo>
                <a:lnTo>
                  <a:pt x="44" y="209"/>
                </a:lnTo>
                <a:lnTo>
                  <a:pt x="42" y="204"/>
                </a:lnTo>
                <a:lnTo>
                  <a:pt x="42" y="201"/>
                </a:lnTo>
                <a:lnTo>
                  <a:pt x="44" y="199"/>
                </a:lnTo>
                <a:lnTo>
                  <a:pt x="44" y="194"/>
                </a:lnTo>
                <a:lnTo>
                  <a:pt x="42" y="194"/>
                </a:lnTo>
                <a:lnTo>
                  <a:pt x="42" y="192"/>
                </a:lnTo>
                <a:lnTo>
                  <a:pt x="44" y="189"/>
                </a:lnTo>
                <a:lnTo>
                  <a:pt x="44" y="187"/>
                </a:lnTo>
                <a:lnTo>
                  <a:pt x="42" y="184"/>
                </a:lnTo>
                <a:lnTo>
                  <a:pt x="42" y="182"/>
                </a:lnTo>
                <a:lnTo>
                  <a:pt x="39" y="179"/>
                </a:lnTo>
                <a:lnTo>
                  <a:pt x="39" y="174"/>
                </a:lnTo>
                <a:lnTo>
                  <a:pt x="35" y="172"/>
                </a:lnTo>
                <a:lnTo>
                  <a:pt x="27" y="167"/>
                </a:lnTo>
                <a:lnTo>
                  <a:pt x="27" y="167"/>
                </a:lnTo>
                <a:lnTo>
                  <a:pt x="25" y="165"/>
                </a:lnTo>
                <a:lnTo>
                  <a:pt x="22" y="160"/>
                </a:lnTo>
                <a:lnTo>
                  <a:pt x="20" y="157"/>
                </a:lnTo>
                <a:lnTo>
                  <a:pt x="17" y="137"/>
                </a:lnTo>
                <a:lnTo>
                  <a:pt x="20" y="137"/>
                </a:lnTo>
                <a:lnTo>
                  <a:pt x="20" y="137"/>
                </a:lnTo>
                <a:lnTo>
                  <a:pt x="22" y="135"/>
                </a:lnTo>
                <a:lnTo>
                  <a:pt x="22" y="135"/>
                </a:lnTo>
                <a:lnTo>
                  <a:pt x="49" y="108"/>
                </a:lnTo>
                <a:lnTo>
                  <a:pt x="47" y="86"/>
                </a:lnTo>
                <a:lnTo>
                  <a:pt x="52" y="56"/>
                </a:lnTo>
                <a:lnTo>
                  <a:pt x="54" y="54"/>
                </a:lnTo>
                <a:lnTo>
                  <a:pt x="54" y="49"/>
                </a:lnTo>
                <a:lnTo>
                  <a:pt x="44" y="37"/>
                </a:lnTo>
                <a:lnTo>
                  <a:pt x="44" y="34"/>
                </a:lnTo>
                <a:lnTo>
                  <a:pt x="47" y="29"/>
                </a:lnTo>
                <a:lnTo>
                  <a:pt x="37" y="10"/>
                </a:lnTo>
                <a:lnTo>
                  <a:pt x="37" y="7"/>
                </a:lnTo>
                <a:lnTo>
                  <a:pt x="37" y="7"/>
                </a:lnTo>
                <a:lnTo>
                  <a:pt x="37" y="7"/>
                </a:lnTo>
                <a:close/>
                <a:moveTo>
                  <a:pt x="5" y="165"/>
                </a:moveTo>
                <a:lnTo>
                  <a:pt x="3" y="167"/>
                </a:lnTo>
                <a:lnTo>
                  <a:pt x="0" y="169"/>
                </a:lnTo>
                <a:lnTo>
                  <a:pt x="0" y="167"/>
                </a:lnTo>
                <a:lnTo>
                  <a:pt x="5" y="165"/>
                </a:lnTo>
                <a:lnTo>
                  <a:pt x="5" y="16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4" name="Freeform 133"/>
          <p:cNvSpPr>
            <a:spLocks/>
          </p:cNvSpPr>
          <p:nvPr/>
        </p:nvSpPr>
        <p:spPr bwMode="auto">
          <a:xfrm>
            <a:off x="4762181" y="3881041"/>
            <a:ext cx="384906" cy="284168"/>
          </a:xfrm>
          <a:custGeom>
            <a:avLst/>
            <a:gdLst/>
            <a:ahLst/>
            <a:cxnLst>
              <a:cxn ang="0">
                <a:pos x="52" y="180"/>
              </a:cxn>
              <a:cxn ang="0">
                <a:pos x="44" y="175"/>
              </a:cxn>
              <a:cxn ang="0">
                <a:pos x="37" y="175"/>
              </a:cxn>
              <a:cxn ang="0">
                <a:pos x="35" y="177"/>
              </a:cxn>
              <a:cxn ang="0">
                <a:pos x="30" y="172"/>
              </a:cxn>
              <a:cxn ang="0">
                <a:pos x="32" y="167"/>
              </a:cxn>
              <a:cxn ang="0">
                <a:pos x="30" y="165"/>
              </a:cxn>
              <a:cxn ang="0">
                <a:pos x="22" y="167"/>
              </a:cxn>
              <a:cxn ang="0">
                <a:pos x="15" y="158"/>
              </a:cxn>
              <a:cxn ang="0">
                <a:pos x="0" y="143"/>
              </a:cxn>
              <a:cxn ang="0">
                <a:pos x="3" y="135"/>
              </a:cxn>
              <a:cxn ang="0">
                <a:pos x="7" y="133"/>
              </a:cxn>
              <a:cxn ang="0">
                <a:pos x="22" y="133"/>
              </a:cxn>
              <a:cxn ang="0">
                <a:pos x="32" y="131"/>
              </a:cxn>
              <a:cxn ang="0">
                <a:pos x="39" y="128"/>
              </a:cxn>
              <a:cxn ang="0">
                <a:pos x="49" y="126"/>
              </a:cxn>
              <a:cxn ang="0">
                <a:pos x="59" y="118"/>
              </a:cxn>
              <a:cxn ang="0">
                <a:pos x="62" y="111"/>
              </a:cxn>
              <a:cxn ang="0">
                <a:pos x="64" y="67"/>
              </a:cxn>
              <a:cxn ang="0">
                <a:pos x="106" y="44"/>
              </a:cxn>
              <a:cxn ang="0">
                <a:pos x="202" y="8"/>
              </a:cxn>
              <a:cxn ang="0">
                <a:pos x="219" y="5"/>
              </a:cxn>
              <a:cxn ang="0">
                <a:pos x="229" y="27"/>
              </a:cxn>
              <a:cxn ang="0">
                <a:pos x="226" y="35"/>
              </a:cxn>
              <a:cxn ang="0">
                <a:pos x="236" y="52"/>
              </a:cxn>
              <a:cxn ang="0">
                <a:pos x="229" y="84"/>
              </a:cxn>
              <a:cxn ang="0">
                <a:pos x="204" y="133"/>
              </a:cxn>
              <a:cxn ang="0">
                <a:pos x="202" y="135"/>
              </a:cxn>
              <a:cxn ang="0">
                <a:pos x="199" y="135"/>
              </a:cxn>
              <a:cxn ang="0">
                <a:pos x="199" y="155"/>
              </a:cxn>
              <a:cxn ang="0">
                <a:pos x="197" y="160"/>
              </a:cxn>
              <a:cxn ang="0">
                <a:pos x="192" y="160"/>
              </a:cxn>
              <a:cxn ang="0">
                <a:pos x="189" y="163"/>
              </a:cxn>
              <a:cxn ang="0">
                <a:pos x="187" y="163"/>
              </a:cxn>
              <a:cxn ang="0">
                <a:pos x="180" y="165"/>
              </a:cxn>
              <a:cxn ang="0">
                <a:pos x="170" y="163"/>
              </a:cxn>
              <a:cxn ang="0">
                <a:pos x="160" y="163"/>
              </a:cxn>
              <a:cxn ang="0">
                <a:pos x="148" y="163"/>
              </a:cxn>
              <a:cxn ang="0">
                <a:pos x="140" y="170"/>
              </a:cxn>
              <a:cxn ang="0">
                <a:pos x="133" y="167"/>
              </a:cxn>
              <a:cxn ang="0">
                <a:pos x="123" y="165"/>
              </a:cxn>
              <a:cxn ang="0">
                <a:pos x="121" y="163"/>
              </a:cxn>
              <a:cxn ang="0">
                <a:pos x="116" y="160"/>
              </a:cxn>
              <a:cxn ang="0">
                <a:pos x="111" y="163"/>
              </a:cxn>
              <a:cxn ang="0">
                <a:pos x="106" y="163"/>
              </a:cxn>
              <a:cxn ang="0">
                <a:pos x="103" y="165"/>
              </a:cxn>
              <a:cxn ang="0">
                <a:pos x="96" y="158"/>
              </a:cxn>
              <a:cxn ang="0">
                <a:pos x="91" y="155"/>
              </a:cxn>
              <a:cxn ang="0">
                <a:pos x="86" y="153"/>
              </a:cxn>
              <a:cxn ang="0">
                <a:pos x="79" y="153"/>
              </a:cxn>
              <a:cxn ang="0">
                <a:pos x="76" y="153"/>
              </a:cxn>
              <a:cxn ang="0">
                <a:pos x="69" y="153"/>
              </a:cxn>
              <a:cxn ang="0">
                <a:pos x="64" y="155"/>
              </a:cxn>
              <a:cxn ang="0">
                <a:pos x="62" y="155"/>
              </a:cxn>
              <a:cxn ang="0">
                <a:pos x="57" y="160"/>
              </a:cxn>
              <a:cxn ang="0">
                <a:pos x="57" y="163"/>
              </a:cxn>
              <a:cxn ang="0">
                <a:pos x="59" y="167"/>
              </a:cxn>
              <a:cxn ang="0">
                <a:pos x="59" y="170"/>
              </a:cxn>
              <a:cxn ang="0">
                <a:pos x="54" y="172"/>
              </a:cxn>
              <a:cxn ang="0">
                <a:pos x="52" y="177"/>
              </a:cxn>
              <a:cxn ang="0">
                <a:pos x="57" y="180"/>
              </a:cxn>
              <a:cxn ang="0">
                <a:pos x="54" y="185"/>
              </a:cxn>
            </a:cxnLst>
            <a:rect l="0" t="0" r="r" b="b"/>
            <a:pathLst>
              <a:path w="236" h="185">
                <a:moveTo>
                  <a:pt x="54" y="185"/>
                </a:moveTo>
                <a:lnTo>
                  <a:pt x="52" y="180"/>
                </a:lnTo>
                <a:lnTo>
                  <a:pt x="47" y="180"/>
                </a:lnTo>
                <a:lnTo>
                  <a:pt x="44" y="175"/>
                </a:lnTo>
                <a:lnTo>
                  <a:pt x="39" y="172"/>
                </a:lnTo>
                <a:lnTo>
                  <a:pt x="37" y="175"/>
                </a:lnTo>
                <a:lnTo>
                  <a:pt x="39" y="175"/>
                </a:lnTo>
                <a:lnTo>
                  <a:pt x="35" y="177"/>
                </a:lnTo>
                <a:lnTo>
                  <a:pt x="32" y="177"/>
                </a:lnTo>
                <a:lnTo>
                  <a:pt x="30" y="172"/>
                </a:lnTo>
                <a:lnTo>
                  <a:pt x="32" y="170"/>
                </a:lnTo>
                <a:lnTo>
                  <a:pt x="32" y="167"/>
                </a:lnTo>
                <a:lnTo>
                  <a:pt x="30" y="165"/>
                </a:lnTo>
                <a:lnTo>
                  <a:pt x="30" y="165"/>
                </a:lnTo>
                <a:lnTo>
                  <a:pt x="27" y="163"/>
                </a:lnTo>
                <a:lnTo>
                  <a:pt x="22" y="167"/>
                </a:lnTo>
                <a:lnTo>
                  <a:pt x="15" y="163"/>
                </a:lnTo>
                <a:lnTo>
                  <a:pt x="15" y="158"/>
                </a:lnTo>
                <a:lnTo>
                  <a:pt x="0" y="148"/>
                </a:lnTo>
                <a:lnTo>
                  <a:pt x="0" y="143"/>
                </a:lnTo>
                <a:lnTo>
                  <a:pt x="3" y="138"/>
                </a:lnTo>
                <a:lnTo>
                  <a:pt x="3" y="135"/>
                </a:lnTo>
                <a:lnTo>
                  <a:pt x="5" y="133"/>
                </a:lnTo>
                <a:lnTo>
                  <a:pt x="7" y="133"/>
                </a:lnTo>
                <a:lnTo>
                  <a:pt x="17" y="133"/>
                </a:lnTo>
                <a:lnTo>
                  <a:pt x="22" y="133"/>
                </a:lnTo>
                <a:lnTo>
                  <a:pt x="27" y="131"/>
                </a:lnTo>
                <a:lnTo>
                  <a:pt x="32" y="131"/>
                </a:lnTo>
                <a:lnTo>
                  <a:pt x="37" y="131"/>
                </a:lnTo>
                <a:lnTo>
                  <a:pt x="39" y="128"/>
                </a:lnTo>
                <a:lnTo>
                  <a:pt x="44" y="128"/>
                </a:lnTo>
                <a:lnTo>
                  <a:pt x="49" y="126"/>
                </a:lnTo>
                <a:lnTo>
                  <a:pt x="57" y="121"/>
                </a:lnTo>
                <a:lnTo>
                  <a:pt x="59" y="118"/>
                </a:lnTo>
                <a:lnTo>
                  <a:pt x="59" y="113"/>
                </a:lnTo>
                <a:lnTo>
                  <a:pt x="62" y="111"/>
                </a:lnTo>
                <a:lnTo>
                  <a:pt x="62" y="96"/>
                </a:lnTo>
                <a:lnTo>
                  <a:pt x="64" y="67"/>
                </a:lnTo>
                <a:lnTo>
                  <a:pt x="86" y="62"/>
                </a:lnTo>
                <a:lnTo>
                  <a:pt x="106" y="44"/>
                </a:lnTo>
                <a:lnTo>
                  <a:pt x="175" y="0"/>
                </a:lnTo>
                <a:lnTo>
                  <a:pt x="202" y="8"/>
                </a:lnTo>
                <a:lnTo>
                  <a:pt x="204" y="10"/>
                </a:lnTo>
                <a:lnTo>
                  <a:pt x="219" y="5"/>
                </a:lnTo>
                <a:lnTo>
                  <a:pt x="219" y="8"/>
                </a:lnTo>
                <a:lnTo>
                  <a:pt x="229" y="27"/>
                </a:lnTo>
                <a:lnTo>
                  <a:pt x="226" y="32"/>
                </a:lnTo>
                <a:lnTo>
                  <a:pt x="226" y="35"/>
                </a:lnTo>
                <a:lnTo>
                  <a:pt x="236" y="47"/>
                </a:lnTo>
                <a:lnTo>
                  <a:pt x="236" y="52"/>
                </a:lnTo>
                <a:lnTo>
                  <a:pt x="234" y="54"/>
                </a:lnTo>
                <a:lnTo>
                  <a:pt x="229" y="84"/>
                </a:lnTo>
                <a:lnTo>
                  <a:pt x="231" y="106"/>
                </a:lnTo>
                <a:lnTo>
                  <a:pt x="204" y="133"/>
                </a:lnTo>
                <a:lnTo>
                  <a:pt x="204" y="133"/>
                </a:lnTo>
                <a:lnTo>
                  <a:pt x="202" y="135"/>
                </a:lnTo>
                <a:lnTo>
                  <a:pt x="202" y="135"/>
                </a:lnTo>
                <a:lnTo>
                  <a:pt x="199" y="135"/>
                </a:lnTo>
                <a:lnTo>
                  <a:pt x="202" y="155"/>
                </a:lnTo>
                <a:lnTo>
                  <a:pt x="199" y="155"/>
                </a:lnTo>
                <a:lnTo>
                  <a:pt x="197" y="158"/>
                </a:lnTo>
                <a:lnTo>
                  <a:pt x="197" y="160"/>
                </a:lnTo>
                <a:lnTo>
                  <a:pt x="194" y="160"/>
                </a:lnTo>
                <a:lnTo>
                  <a:pt x="192" y="160"/>
                </a:lnTo>
                <a:lnTo>
                  <a:pt x="189" y="160"/>
                </a:lnTo>
                <a:lnTo>
                  <a:pt x="189" y="163"/>
                </a:lnTo>
                <a:lnTo>
                  <a:pt x="187" y="163"/>
                </a:lnTo>
                <a:lnTo>
                  <a:pt x="187" y="163"/>
                </a:lnTo>
                <a:lnTo>
                  <a:pt x="182" y="165"/>
                </a:lnTo>
                <a:lnTo>
                  <a:pt x="180" y="165"/>
                </a:lnTo>
                <a:lnTo>
                  <a:pt x="175" y="165"/>
                </a:lnTo>
                <a:lnTo>
                  <a:pt x="170" y="163"/>
                </a:lnTo>
                <a:lnTo>
                  <a:pt x="162" y="160"/>
                </a:lnTo>
                <a:lnTo>
                  <a:pt x="160" y="163"/>
                </a:lnTo>
                <a:lnTo>
                  <a:pt x="153" y="163"/>
                </a:lnTo>
                <a:lnTo>
                  <a:pt x="148" y="163"/>
                </a:lnTo>
                <a:lnTo>
                  <a:pt x="145" y="167"/>
                </a:lnTo>
                <a:lnTo>
                  <a:pt x="140" y="170"/>
                </a:lnTo>
                <a:lnTo>
                  <a:pt x="138" y="170"/>
                </a:lnTo>
                <a:lnTo>
                  <a:pt x="133" y="167"/>
                </a:lnTo>
                <a:lnTo>
                  <a:pt x="128" y="167"/>
                </a:lnTo>
                <a:lnTo>
                  <a:pt x="123" y="165"/>
                </a:lnTo>
                <a:lnTo>
                  <a:pt x="121" y="163"/>
                </a:lnTo>
                <a:lnTo>
                  <a:pt x="121" y="163"/>
                </a:lnTo>
                <a:lnTo>
                  <a:pt x="118" y="160"/>
                </a:lnTo>
                <a:lnTo>
                  <a:pt x="116" y="160"/>
                </a:lnTo>
                <a:lnTo>
                  <a:pt x="116" y="160"/>
                </a:lnTo>
                <a:lnTo>
                  <a:pt x="111" y="163"/>
                </a:lnTo>
                <a:lnTo>
                  <a:pt x="108" y="163"/>
                </a:lnTo>
                <a:lnTo>
                  <a:pt x="106" y="163"/>
                </a:lnTo>
                <a:lnTo>
                  <a:pt x="103" y="165"/>
                </a:lnTo>
                <a:lnTo>
                  <a:pt x="103" y="165"/>
                </a:lnTo>
                <a:lnTo>
                  <a:pt x="98" y="163"/>
                </a:lnTo>
                <a:lnTo>
                  <a:pt x="96" y="158"/>
                </a:lnTo>
                <a:lnTo>
                  <a:pt x="94" y="158"/>
                </a:lnTo>
                <a:lnTo>
                  <a:pt x="91" y="155"/>
                </a:lnTo>
                <a:lnTo>
                  <a:pt x="89" y="155"/>
                </a:lnTo>
                <a:lnTo>
                  <a:pt x="86" y="153"/>
                </a:lnTo>
                <a:lnTo>
                  <a:pt x="81" y="153"/>
                </a:lnTo>
                <a:lnTo>
                  <a:pt x="79" y="153"/>
                </a:lnTo>
                <a:lnTo>
                  <a:pt x="76" y="153"/>
                </a:lnTo>
                <a:lnTo>
                  <a:pt x="76" y="153"/>
                </a:lnTo>
                <a:lnTo>
                  <a:pt x="71" y="153"/>
                </a:lnTo>
                <a:lnTo>
                  <a:pt x="69" y="153"/>
                </a:lnTo>
                <a:lnTo>
                  <a:pt x="66" y="153"/>
                </a:lnTo>
                <a:lnTo>
                  <a:pt x="64" y="155"/>
                </a:lnTo>
                <a:lnTo>
                  <a:pt x="64" y="155"/>
                </a:lnTo>
                <a:lnTo>
                  <a:pt x="62" y="155"/>
                </a:lnTo>
                <a:lnTo>
                  <a:pt x="59" y="158"/>
                </a:lnTo>
                <a:lnTo>
                  <a:pt x="57" y="160"/>
                </a:lnTo>
                <a:lnTo>
                  <a:pt x="59" y="163"/>
                </a:lnTo>
                <a:lnTo>
                  <a:pt x="57" y="163"/>
                </a:lnTo>
                <a:lnTo>
                  <a:pt x="57" y="163"/>
                </a:lnTo>
                <a:lnTo>
                  <a:pt x="59" y="167"/>
                </a:lnTo>
                <a:lnTo>
                  <a:pt x="59" y="167"/>
                </a:lnTo>
                <a:lnTo>
                  <a:pt x="59" y="170"/>
                </a:lnTo>
                <a:lnTo>
                  <a:pt x="57" y="170"/>
                </a:lnTo>
                <a:lnTo>
                  <a:pt x="54" y="172"/>
                </a:lnTo>
                <a:lnTo>
                  <a:pt x="54" y="175"/>
                </a:lnTo>
                <a:lnTo>
                  <a:pt x="52" y="177"/>
                </a:lnTo>
                <a:lnTo>
                  <a:pt x="54" y="180"/>
                </a:lnTo>
                <a:lnTo>
                  <a:pt x="57" y="180"/>
                </a:lnTo>
                <a:lnTo>
                  <a:pt x="57" y="182"/>
                </a:lnTo>
                <a:lnTo>
                  <a:pt x="54" y="185"/>
                </a:lnTo>
                <a:lnTo>
                  <a:pt x="54" y="18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5" name="Freeform 134"/>
          <p:cNvSpPr>
            <a:spLocks/>
          </p:cNvSpPr>
          <p:nvPr/>
        </p:nvSpPr>
        <p:spPr bwMode="auto">
          <a:xfrm>
            <a:off x="4830681" y="4116055"/>
            <a:ext cx="288680" cy="233478"/>
          </a:xfrm>
          <a:custGeom>
            <a:avLst/>
            <a:gdLst/>
            <a:ahLst/>
            <a:cxnLst>
              <a:cxn ang="0">
                <a:pos x="165" y="10"/>
              </a:cxn>
              <a:cxn ang="0">
                <a:pos x="155" y="5"/>
              </a:cxn>
              <a:cxn ang="0">
                <a:pos x="150" y="7"/>
              </a:cxn>
              <a:cxn ang="0">
                <a:pos x="145" y="10"/>
              </a:cxn>
              <a:cxn ang="0">
                <a:pos x="138" y="12"/>
              </a:cxn>
              <a:cxn ang="0">
                <a:pos x="120" y="7"/>
              </a:cxn>
              <a:cxn ang="0">
                <a:pos x="106" y="10"/>
              </a:cxn>
              <a:cxn ang="0">
                <a:pos x="96" y="17"/>
              </a:cxn>
              <a:cxn ang="0">
                <a:pos x="81" y="12"/>
              </a:cxn>
              <a:cxn ang="0">
                <a:pos x="76" y="7"/>
              </a:cxn>
              <a:cxn ang="0">
                <a:pos x="69" y="10"/>
              </a:cxn>
              <a:cxn ang="0">
                <a:pos x="61" y="12"/>
              </a:cxn>
              <a:cxn ang="0">
                <a:pos x="54" y="5"/>
              </a:cxn>
              <a:cxn ang="0">
                <a:pos x="47" y="2"/>
              </a:cxn>
              <a:cxn ang="0">
                <a:pos x="37" y="0"/>
              </a:cxn>
              <a:cxn ang="0">
                <a:pos x="29" y="0"/>
              </a:cxn>
              <a:cxn ang="0">
                <a:pos x="22" y="2"/>
              </a:cxn>
              <a:cxn ang="0">
                <a:pos x="17" y="5"/>
              </a:cxn>
              <a:cxn ang="0">
                <a:pos x="15" y="10"/>
              </a:cxn>
              <a:cxn ang="0">
                <a:pos x="17" y="14"/>
              </a:cxn>
              <a:cxn ang="0">
                <a:pos x="12" y="19"/>
              </a:cxn>
              <a:cxn ang="0">
                <a:pos x="12" y="27"/>
              </a:cxn>
              <a:cxn ang="0">
                <a:pos x="12" y="32"/>
              </a:cxn>
              <a:cxn ang="0">
                <a:pos x="17" y="41"/>
              </a:cxn>
              <a:cxn ang="0">
                <a:pos x="17" y="51"/>
              </a:cxn>
              <a:cxn ang="0">
                <a:pos x="12" y="56"/>
              </a:cxn>
              <a:cxn ang="0">
                <a:pos x="12" y="61"/>
              </a:cxn>
              <a:cxn ang="0">
                <a:pos x="7" y="69"/>
              </a:cxn>
              <a:cxn ang="0">
                <a:pos x="2" y="73"/>
              </a:cxn>
              <a:cxn ang="0">
                <a:pos x="0" y="78"/>
              </a:cxn>
              <a:cxn ang="0">
                <a:pos x="0" y="86"/>
              </a:cxn>
              <a:cxn ang="0">
                <a:pos x="0" y="91"/>
              </a:cxn>
              <a:cxn ang="0">
                <a:pos x="0" y="101"/>
              </a:cxn>
              <a:cxn ang="0">
                <a:pos x="0" y="113"/>
              </a:cxn>
              <a:cxn ang="0">
                <a:pos x="12" y="115"/>
              </a:cxn>
              <a:cxn ang="0">
                <a:pos x="32" y="135"/>
              </a:cxn>
              <a:cxn ang="0">
                <a:pos x="37" y="147"/>
              </a:cxn>
              <a:cxn ang="0">
                <a:pos x="61" y="150"/>
              </a:cxn>
              <a:cxn ang="0">
                <a:pos x="74" y="147"/>
              </a:cxn>
              <a:cxn ang="0">
                <a:pos x="81" y="142"/>
              </a:cxn>
              <a:cxn ang="0">
                <a:pos x="86" y="145"/>
              </a:cxn>
              <a:cxn ang="0">
                <a:pos x="91" y="135"/>
              </a:cxn>
              <a:cxn ang="0">
                <a:pos x="91" y="128"/>
              </a:cxn>
              <a:cxn ang="0">
                <a:pos x="98" y="120"/>
              </a:cxn>
              <a:cxn ang="0">
                <a:pos x="103" y="113"/>
              </a:cxn>
              <a:cxn ang="0">
                <a:pos x="108" y="108"/>
              </a:cxn>
              <a:cxn ang="0">
                <a:pos x="116" y="110"/>
              </a:cxn>
              <a:cxn ang="0">
                <a:pos x="123" y="118"/>
              </a:cxn>
              <a:cxn ang="0">
                <a:pos x="130" y="113"/>
              </a:cxn>
              <a:cxn ang="0">
                <a:pos x="133" y="108"/>
              </a:cxn>
              <a:cxn ang="0">
                <a:pos x="135" y="101"/>
              </a:cxn>
              <a:cxn ang="0">
                <a:pos x="140" y="91"/>
              </a:cxn>
              <a:cxn ang="0">
                <a:pos x="150" y="81"/>
              </a:cxn>
              <a:cxn ang="0">
                <a:pos x="150" y="71"/>
              </a:cxn>
              <a:cxn ang="0">
                <a:pos x="160" y="64"/>
              </a:cxn>
              <a:cxn ang="0">
                <a:pos x="160" y="54"/>
              </a:cxn>
              <a:cxn ang="0">
                <a:pos x="165" y="44"/>
              </a:cxn>
              <a:cxn ang="0">
                <a:pos x="170" y="41"/>
              </a:cxn>
              <a:cxn ang="0">
                <a:pos x="177" y="37"/>
              </a:cxn>
              <a:cxn ang="0">
                <a:pos x="175" y="27"/>
              </a:cxn>
              <a:cxn ang="0">
                <a:pos x="170" y="19"/>
              </a:cxn>
              <a:cxn ang="0">
                <a:pos x="167" y="12"/>
              </a:cxn>
            </a:cxnLst>
            <a:rect l="0" t="0" r="r" b="b"/>
            <a:pathLst>
              <a:path w="177" h="152">
                <a:moveTo>
                  <a:pt x="167" y="12"/>
                </a:moveTo>
                <a:lnTo>
                  <a:pt x="167" y="12"/>
                </a:lnTo>
                <a:lnTo>
                  <a:pt x="165" y="10"/>
                </a:lnTo>
                <a:lnTo>
                  <a:pt x="162" y="5"/>
                </a:lnTo>
                <a:lnTo>
                  <a:pt x="157" y="2"/>
                </a:lnTo>
                <a:lnTo>
                  <a:pt x="155" y="5"/>
                </a:lnTo>
                <a:lnTo>
                  <a:pt x="155" y="7"/>
                </a:lnTo>
                <a:lnTo>
                  <a:pt x="152" y="7"/>
                </a:lnTo>
                <a:lnTo>
                  <a:pt x="150" y="7"/>
                </a:lnTo>
                <a:lnTo>
                  <a:pt x="147" y="7"/>
                </a:lnTo>
                <a:lnTo>
                  <a:pt x="147" y="10"/>
                </a:lnTo>
                <a:lnTo>
                  <a:pt x="145" y="10"/>
                </a:lnTo>
                <a:lnTo>
                  <a:pt x="143" y="12"/>
                </a:lnTo>
                <a:lnTo>
                  <a:pt x="140" y="14"/>
                </a:lnTo>
                <a:lnTo>
                  <a:pt x="138" y="12"/>
                </a:lnTo>
                <a:lnTo>
                  <a:pt x="133" y="12"/>
                </a:lnTo>
                <a:lnTo>
                  <a:pt x="128" y="10"/>
                </a:lnTo>
                <a:lnTo>
                  <a:pt x="120" y="7"/>
                </a:lnTo>
                <a:lnTo>
                  <a:pt x="118" y="10"/>
                </a:lnTo>
                <a:lnTo>
                  <a:pt x="111" y="10"/>
                </a:lnTo>
                <a:lnTo>
                  <a:pt x="106" y="10"/>
                </a:lnTo>
                <a:lnTo>
                  <a:pt x="103" y="14"/>
                </a:lnTo>
                <a:lnTo>
                  <a:pt x="98" y="17"/>
                </a:lnTo>
                <a:lnTo>
                  <a:pt x="96" y="17"/>
                </a:lnTo>
                <a:lnTo>
                  <a:pt x="91" y="14"/>
                </a:lnTo>
                <a:lnTo>
                  <a:pt x="86" y="14"/>
                </a:lnTo>
                <a:lnTo>
                  <a:pt x="81" y="12"/>
                </a:lnTo>
                <a:lnTo>
                  <a:pt x="79" y="10"/>
                </a:lnTo>
                <a:lnTo>
                  <a:pt x="79" y="10"/>
                </a:lnTo>
                <a:lnTo>
                  <a:pt x="76" y="7"/>
                </a:lnTo>
                <a:lnTo>
                  <a:pt x="74" y="7"/>
                </a:lnTo>
                <a:lnTo>
                  <a:pt x="74" y="7"/>
                </a:lnTo>
                <a:lnTo>
                  <a:pt x="69" y="10"/>
                </a:lnTo>
                <a:lnTo>
                  <a:pt x="66" y="10"/>
                </a:lnTo>
                <a:lnTo>
                  <a:pt x="64" y="10"/>
                </a:lnTo>
                <a:lnTo>
                  <a:pt x="61" y="12"/>
                </a:lnTo>
                <a:lnTo>
                  <a:pt x="61" y="12"/>
                </a:lnTo>
                <a:lnTo>
                  <a:pt x="56" y="10"/>
                </a:lnTo>
                <a:lnTo>
                  <a:pt x="54" y="5"/>
                </a:lnTo>
                <a:lnTo>
                  <a:pt x="52" y="5"/>
                </a:lnTo>
                <a:lnTo>
                  <a:pt x="49" y="2"/>
                </a:lnTo>
                <a:lnTo>
                  <a:pt x="47" y="2"/>
                </a:lnTo>
                <a:lnTo>
                  <a:pt x="44" y="0"/>
                </a:lnTo>
                <a:lnTo>
                  <a:pt x="39" y="0"/>
                </a:lnTo>
                <a:lnTo>
                  <a:pt x="37" y="0"/>
                </a:lnTo>
                <a:lnTo>
                  <a:pt x="34" y="0"/>
                </a:lnTo>
                <a:lnTo>
                  <a:pt x="34" y="0"/>
                </a:lnTo>
                <a:lnTo>
                  <a:pt x="29" y="0"/>
                </a:lnTo>
                <a:lnTo>
                  <a:pt x="27" y="0"/>
                </a:lnTo>
                <a:lnTo>
                  <a:pt x="24" y="0"/>
                </a:lnTo>
                <a:lnTo>
                  <a:pt x="22" y="2"/>
                </a:lnTo>
                <a:lnTo>
                  <a:pt x="22" y="2"/>
                </a:lnTo>
                <a:lnTo>
                  <a:pt x="20" y="2"/>
                </a:lnTo>
                <a:lnTo>
                  <a:pt x="17" y="5"/>
                </a:lnTo>
                <a:lnTo>
                  <a:pt x="15" y="7"/>
                </a:lnTo>
                <a:lnTo>
                  <a:pt x="17" y="10"/>
                </a:lnTo>
                <a:lnTo>
                  <a:pt x="15" y="10"/>
                </a:lnTo>
                <a:lnTo>
                  <a:pt x="15" y="10"/>
                </a:lnTo>
                <a:lnTo>
                  <a:pt x="17" y="14"/>
                </a:lnTo>
                <a:lnTo>
                  <a:pt x="17" y="14"/>
                </a:lnTo>
                <a:lnTo>
                  <a:pt x="17" y="17"/>
                </a:lnTo>
                <a:lnTo>
                  <a:pt x="15" y="17"/>
                </a:lnTo>
                <a:lnTo>
                  <a:pt x="12" y="19"/>
                </a:lnTo>
                <a:lnTo>
                  <a:pt x="12" y="22"/>
                </a:lnTo>
                <a:lnTo>
                  <a:pt x="10" y="24"/>
                </a:lnTo>
                <a:lnTo>
                  <a:pt x="12" y="27"/>
                </a:lnTo>
                <a:lnTo>
                  <a:pt x="15" y="27"/>
                </a:lnTo>
                <a:lnTo>
                  <a:pt x="15" y="29"/>
                </a:lnTo>
                <a:lnTo>
                  <a:pt x="12" y="32"/>
                </a:lnTo>
                <a:lnTo>
                  <a:pt x="12" y="34"/>
                </a:lnTo>
                <a:lnTo>
                  <a:pt x="12" y="37"/>
                </a:lnTo>
                <a:lnTo>
                  <a:pt x="17" y="41"/>
                </a:lnTo>
                <a:lnTo>
                  <a:pt x="17" y="44"/>
                </a:lnTo>
                <a:lnTo>
                  <a:pt x="17" y="49"/>
                </a:lnTo>
                <a:lnTo>
                  <a:pt x="17" y="51"/>
                </a:lnTo>
                <a:lnTo>
                  <a:pt x="15" y="51"/>
                </a:lnTo>
                <a:lnTo>
                  <a:pt x="12" y="54"/>
                </a:lnTo>
                <a:lnTo>
                  <a:pt x="12" y="56"/>
                </a:lnTo>
                <a:lnTo>
                  <a:pt x="15" y="59"/>
                </a:lnTo>
                <a:lnTo>
                  <a:pt x="15" y="61"/>
                </a:lnTo>
                <a:lnTo>
                  <a:pt x="12" y="61"/>
                </a:lnTo>
                <a:lnTo>
                  <a:pt x="10" y="61"/>
                </a:lnTo>
                <a:lnTo>
                  <a:pt x="10" y="64"/>
                </a:lnTo>
                <a:lnTo>
                  <a:pt x="7" y="69"/>
                </a:lnTo>
                <a:lnTo>
                  <a:pt x="7" y="71"/>
                </a:lnTo>
                <a:lnTo>
                  <a:pt x="5" y="71"/>
                </a:lnTo>
                <a:lnTo>
                  <a:pt x="2" y="73"/>
                </a:lnTo>
                <a:lnTo>
                  <a:pt x="0" y="73"/>
                </a:lnTo>
                <a:lnTo>
                  <a:pt x="0" y="76"/>
                </a:lnTo>
                <a:lnTo>
                  <a:pt x="0" y="78"/>
                </a:lnTo>
                <a:lnTo>
                  <a:pt x="0" y="81"/>
                </a:lnTo>
                <a:lnTo>
                  <a:pt x="0" y="83"/>
                </a:lnTo>
                <a:lnTo>
                  <a:pt x="0" y="86"/>
                </a:lnTo>
                <a:lnTo>
                  <a:pt x="0" y="88"/>
                </a:lnTo>
                <a:lnTo>
                  <a:pt x="0" y="88"/>
                </a:lnTo>
                <a:lnTo>
                  <a:pt x="0" y="91"/>
                </a:lnTo>
                <a:lnTo>
                  <a:pt x="0" y="91"/>
                </a:lnTo>
                <a:lnTo>
                  <a:pt x="0" y="93"/>
                </a:lnTo>
                <a:lnTo>
                  <a:pt x="0" y="101"/>
                </a:lnTo>
                <a:lnTo>
                  <a:pt x="0" y="103"/>
                </a:lnTo>
                <a:lnTo>
                  <a:pt x="0" y="105"/>
                </a:lnTo>
                <a:lnTo>
                  <a:pt x="0" y="113"/>
                </a:lnTo>
                <a:lnTo>
                  <a:pt x="0" y="115"/>
                </a:lnTo>
                <a:lnTo>
                  <a:pt x="7" y="118"/>
                </a:lnTo>
                <a:lnTo>
                  <a:pt x="12" y="115"/>
                </a:lnTo>
                <a:lnTo>
                  <a:pt x="22" y="120"/>
                </a:lnTo>
                <a:lnTo>
                  <a:pt x="29" y="128"/>
                </a:lnTo>
                <a:lnTo>
                  <a:pt x="32" y="135"/>
                </a:lnTo>
                <a:lnTo>
                  <a:pt x="32" y="140"/>
                </a:lnTo>
                <a:lnTo>
                  <a:pt x="34" y="140"/>
                </a:lnTo>
                <a:lnTo>
                  <a:pt x="37" y="147"/>
                </a:lnTo>
                <a:lnTo>
                  <a:pt x="39" y="150"/>
                </a:lnTo>
                <a:lnTo>
                  <a:pt x="47" y="152"/>
                </a:lnTo>
                <a:lnTo>
                  <a:pt x="61" y="150"/>
                </a:lnTo>
                <a:lnTo>
                  <a:pt x="64" y="150"/>
                </a:lnTo>
                <a:lnTo>
                  <a:pt x="66" y="150"/>
                </a:lnTo>
                <a:lnTo>
                  <a:pt x="74" y="147"/>
                </a:lnTo>
                <a:lnTo>
                  <a:pt x="76" y="147"/>
                </a:lnTo>
                <a:lnTo>
                  <a:pt x="79" y="147"/>
                </a:lnTo>
                <a:lnTo>
                  <a:pt x="81" y="142"/>
                </a:lnTo>
                <a:lnTo>
                  <a:pt x="84" y="145"/>
                </a:lnTo>
                <a:lnTo>
                  <a:pt x="86" y="145"/>
                </a:lnTo>
                <a:lnTo>
                  <a:pt x="86" y="145"/>
                </a:lnTo>
                <a:lnTo>
                  <a:pt x="86" y="142"/>
                </a:lnTo>
                <a:lnTo>
                  <a:pt x="88" y="137"/>
                </a:lnTo>
                <a:lnTo>
                  <a:pt x="91" y="135"/>
                </a:lnTo>
                <a:lnTo>
                  <a:pt x="91" y="130"/>
                </a:lnTo>
                <a:lnTo>
                  <a:pt x="91" y="128"/>
                </a:lnTo>
                <a:lnTo>
                  <a:pt x="91" y="128"/>
                </a:lnTo>
                <a:lnTo>
                  <a:pt x="91" y="125"/>
                </a:lnTo>
                <a:lnTo>
                  <a:pt x="93" y="123"/>
                </a:lnTo>
                <a:lnTo>
                  <a:pt x="98" y="120"/>
                </a:lnTo>
                <a:lnTo>
                  <a:pt x="98" y="118"/>
                </a:lnTo>
                <a:lnTo>
                  <a:pt x="103" y="115"/>
                </a:lnTo>
                <a:lnTo>
                  <a:pt x="103" y="113"/>
                </a:lnTo>
                <a:lnTo>
                  <a:pt x="103" y="110"/>
                </a:lnTo>
                <a:lnTo>
                  <a:pt x="108" y="110"/>
                </a:lnTo>
                <a:lnTo>
                  <a:pt x="108" y="108"/>
                </a:lnTo>
                <a:lnTo>
                  <a:pt x="108" y="108"/>
                </a:lnTo>
                <a:lnTo>
                  <a:pt x="113" y="110"/>
                </a:lnTo>
                <a:lnTo>
                  <a:pt x="116" y="110"/>
                </a:lnTo>
                <a:lnTo>
                  <a:pt x="118" y="113"/>
                </a:lnTo>
                <a:lnTo>
                  <a:pt x="120" y="115"/>
                </a:lnTo>
                <a:lnTo>
                  <a:pt x="123" y="118"/>
                </a:lnTo>
                <a:lnTo>
                  <a:pt x="123" y="118"/>
                </a:lnTo>
                <a:lnTo>
                  <a:pt x="128" y="115"/>
                </a:lnTo>
                <a:lnTo>
                  <a:pt x="130" y="113"/>
                </a:lnTo>
                <a:lnTo>
                  <a:pt x="130" y="110"/>
                </a:lnTo>
                <a:lnTo>
                  <a:pt x="130" y="108"/>
                </a:lnTo>
                <a:lnTo>
                  <a:pt x="133" y="108"/>
                </a:lnTo>
                <a:lnTo>
                  <a:pt x="135" y="105"/>
                </a:lnTo>
                <a:lnTo>
                  <a:pt x="135" y="103"/>
                </a:lnTo>
                <a:lnTo>
                  <a:pt x="135" y="101"/>
                </a:lnTo>
                <a:lnTo>
                  <a:pt x="140" y="96"/>
                </a:lnTo>
                <a:lnTo>
                  <a:pt x="140" y="93"/>
                </a:lnTo>
                <a:lnTo>
                  <a:pt x="140" y="91"/>
                </a:lnTo>
                <a:lnTo>
                  <a:pt x="143" y="88"/>
                </a:lnTo>
                <a:lnTo>
                  <a:pt x="145" y="83"/>
                </a:lnTo>
                <a:lnTo>
                  <a:pt x="150" y="81"/>
                </a:lnTo>
                <a:lnTo>
                  <a:pt x="150" y="78"/>
                </a:lnTo>
                <a:lnTo>
                  <a:pt x="150" y="76"/>
                </a:lnTo>
                <a:lnTo>
                  <a:pt x="150" y="71"/>
                </a:lnTo>
                <a:lnTo>
                  <a:pt x="152" y="69"/>
                </a:lnTo>
                <a:lnTo>
                  <a:pt x="157" y="69"/>
                </a:lnTo>
                <a:lnTo>
                  <a:pt x="160" y="64"/>
                </a:lnTo>
                <a:lnTo>
                  <a:pt x="160" y="61"/>
                </a:lnTo>
                <a:lnTo>
                  <a:pt x="160" y="56"/>
                </a:lnTo>
                <a:lnTo>
                  <a:pt x="160" y="54"/>
                </a:lnTo>
                <a:lnTo>
                  <a:pt x="160" y="51"/>
                </a:lnTo>
                <a:lnTo>
                  <a:pt x="162" y="46"/>
                </a:lnTo>
                <a:lnTo>
                  <a:pt x="165" y="44"/>
                </a:lnTo>
                <a:lnTo>
                  <a:pt x="165" y="44"/>
                </a:lnTo>
                <a:lnTo>
                  <a:pt x="167" y="41"/>
                </a:lnTo>
                <a:lnTo>
                  <a:pt x="170" y="41"/>
                </a:lnTo>
                <a:lnTo>
                  <a:pt x="172" y="39"/>
                </a:lnTo>
                <a:lnTo>
                  <a:pt x="175" y="37"/>
                </a:lnTo>
                <a:lnTo>
                  <a:pt x="177" y="37"/>
                </a:lnTo>
                <a:lnTo>
                  <a:pt x="175" y="32"/>
                </a:lnTo>
                <a:lnTo>
                  <a:pt x="175" y="29"/>
                </a:lnTo>
                <a:lnTo>
                  <a:pt x="175" y="27"/>
                </a:lnTo>
                <a:lnTo>
                  <a:pt x="172" y="27"/>
                </a:lnTo>
                <a:lnTo>
                  <a:pt x="170" y="24"/>
                </a:lnTo>
                <a:lnTo>
                  <a:pt x="170" y="19"/>
                </a:lnTo>
                <a:lnTo>
                  <a:pt x="170" y="17"/>
                </a:lnTo>
                <a:lnTo>
                  <a:pt x="167" y="12"/>
                </a:lnTo>
                <a:lnTo>
                  <a:pt x="167" y="12"/>
                </a:lnTo>
                <a:lnTo>
                  <a:pt x="167" y="1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6" name="Freeform 135"/>
          <p:cNvSpPr>
            <a:spLocks/>
          </p:cNvSpPr>
          <p:nvPr/>
        </p:nvSpPr>
        <p:spPr bwMode="auto">
          <a:xfrm>
            <a:off x="4915492" y="4440159"/>
            <a:ext cx="6524" cy="7681"/>
          </a:xfrm>
          <a:custGeom>
            <a:avLst/>
            <a:gdLst/>
            <a:ahLst/>
            <a:cxnLst>
              <a:cxn ang="0">
                <a:pos x="0" y="5"/>
              </a:cxn>
              <a:cxn ang="0">
                <a:pos x="0" y="3"/>
              </a:cxn>
              <a:cxn ang="0">
                <a:pos x="2" y="0"/>
              </a:cxn>
              <a:cxn ang="0">
                <a:pos x="4" y="3"/>
              </a:cxn>
              <a:cxn ang="0">
                <a:pos x="2" y="5"/>
              </a:cxn>
              <a:cxn ang="0">
                <a:pos x="2" y="5"/>
              </a:cxn>
              <a:cxn ang="0">
                <a:pos x="0" y="5"/>
              </a:cxn>
              <a:cxn ang="0">
                <a:pos x="0" y="5"/>
              </a:cxn>
            </a:cxnLst>
            <a:rect l="0" t="0" r="r" b="b"/>
            <a:pathLst>
              <a:path w="4" h="5">
                <a:moveTo>
                  <a:pt x="0" y="5"/>
                </a:moveTo>
                <a:lnTo>
                  <a:pt x="0" y="3"/>
                </a:lnTo>
                <a:lnTo>
                  <a:pt x="2" y="0"/>
                </a:lnTo>
                <a:lnTo>
                  <a:pt x="4" y="3"/>
                </a:lnTo>
                <a:lnTo>
                  <a:pt x="2" y="5"/>
                </a:lnTo>
                <a:lnTo>
                  <a:pt x="2" y="5"/>
                </a:lnTo>
                <a:lnTo>
                  <a:pt x="0" y="5"/>
                </a:lnTo>
                <a:lnTo>
                  <a:pt x="0"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7" name="Freeform 136"/>
          <p:cNvSpPr>
            <a:spLocks/>
          </p:cNvSpPr>
          <p:nvPr/>
        </p:nvSpPr>
        <p:spPr bwMode="auto">
          <a:xfrm>
            <a:off x="4962789" y="4357213"/>
            <a:ext cx="11417" cy="18432"/>
          </a:xfrm>
          <a:custGeom>
            <a:avLst/>
            <a:gdLst/>
            <a:ahLst/>
            <a:cxnLst>
              <a:cxn ang="0">
                <a:pos x="0" y="10"/>
              </a:cxn>
              <a:cxn ang="0">
                <a:pos x="0" y="7"/>
              </a:cxn>
              <a:cxn ang="0">
                <a:pos x="3" y="7"/>
              </a:cxn>
              <a:cxn ang="0">
                <a:pos x="3" y="3"/>
              </a:cxn>
              <a:cxn ang="0">
                <a:pos x="7" y="0"/>
              </a:cxn>
              <a:cxn ang="0">
                <a:pos x="7" y="0"/>
              </a:cxn>
              <a:cxn ang="0">
                <a:pos x="7" y="5"/>
              </a:cxn>
              <a:cxn ang="0">
                <a:pos x="5" y="12"/>
              </a:cxn>
              <a:cxn ang="0">
                <a:pos x="3" y="10"/>
              </a:cxn>
              <a:cxn ang="0">
                <a:pos x="0" y="10"/>
              </a:cxn>
              <a:cxn ang="0">
                <a:pos x="0" y="10"/>
              </a:cxn>
            </a:cxnLst>
            <a:rect l="0" t="0" r="r" b="b"/>
            <a:pathLst>
              <a:path w="7" h="12">
                <a:moveTo>
                  <a:pt x="0" y="10"/>
                </a:moveTo>
                <a:lnTo>
                  <a:pt x="0" y="7"/>
                </a:lnTo>
                <a:lnTo>
                  <a:pt x="3" y="7"/>
                </a:lnTo>
                <a:lnTo>
                  <a:pt x="3" y="3"/>
                </a:lnTo>
                <a:lnTo>
                  <a:pt x="7" y="0"/>
                </a:lnTo>
                <a:lnTo>
                  <a:pt x="7" y="0"/>
                </a:lnTo>
                <a:lnTo>
                  <a:pt x="7" y="5"/>
                </a:lnTo>
                <a:lnTo>
                  <a:pt x="5" y="12"/>
                </a:lnTo>
                <a:lnTo>
                  <a:pt x="3" y="10"/>
                </a:lnTo>
                <a:lnTo>
                  <a:pt x="0" y="10"/>
                </a:lnTo>
                <a:lnTo>
                  <a:pt x="0" y="1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8" name="Freeform 137"/>
          <p:cNvSpPr>
            <a:spLocks/>
          </p:cNvSpPr>
          <p:nvPr/>
        </p:nvSpPr>
        <p:spPr bwMode="auto">
          <a:xfrm>
            <a:off x="4970944" y="4134488"/>
            <a:ext cx="189191" cy="271879"/>
          </a:xfrm>
          <a:custGeom>
            <a:avLst/>
            <a:gdLst/>
            <a:ahLst/>
            <a:cxnLst>
              <a:cxn ang="0">
                <a:pos x="2" y="125"/>
              </a:cxn>
              <a:cxn ang="0">
                <a:pos x="5" y="116"/>
              </a:cxn>
              <a:cxn ang="0">
                <a:pos x="7" y="111"/>
              </a:cxn>
              <a:cxn ang="0">
                <a:pos x="17" y="103"/>
              </a:cxn>
              <a:cxn ang="0">
                <a:pos x="22" y="98"/>
              </a:cxn>
              <a:cxn ang="0">
                <a:pos x="27" y="98"/>
              </a:cxn>
              <a:cxn ang="0">
                <a:pos x="34" y="103"/>
              </a:cxn>
              <a:cxn ang="0">
                <a:pos x="42" y="103"/>
              </a:cxn>
              <a:cxn ang="0">
                <a:pos x="44" y="96"/>
              </a:cxn>
              <a:cxn ang="0">
                <a:pos x="49" y="91"/>
              </a:cxn>
              <a:cxn ang="0">
                <a:pos x="54" y="81"/>
              </a:cxn>
              <a:cxn ang="0">
                <a:pos x="59" y="71"/>
              </a:cxn>
              <a:cxn ang="0">
                <a:pos x="64" y="64"/>
              </a:cxn>
              <a:cxn ang="0">
                <a:pos x="71" y="57"/>
              </a:cxn>
              <a:cxn ang="0">
                <a:pos x="74" y="44"/>
              </a:cxn>
              <a:cxn ang="0">
                <a:pos x="76" y="34"/>
              </a:cxn>
              <a:cxn ang="0">
                <a:pos x="81" y="29"/>
              </a:cxn>
              <a:cxn ang="0">
                <a:pos x="89" y="25"/>
              </a:cxn>
              <a:cxn ang="0">
                <a:pos x="89" y="17"/>
              </a:cxn>
              <a:cxn ang="0">
                <a:pos x="84" y="12"/>
              </a:cxn>
              <a:cxn ang="0">
                <a:pos x="81" y="0"/>
              </a:cxn>
              <a:cxn ang="0">
                <a:pos x="93" y="12"/>
              </a:cxn>
              <a:cxn ang="0">
                <a:pos x="98" y="20"/>
              </a:cxn>
              <a:cxn ang="0">
                <a:pos x="96" y="27"/>
              </a:cxn>
              <a:cxn ang="0">
                <a:pos x="96" y="34"/>
              </a:cxn>
              <a:cxn ang="0">
                <a:pos x="101" y="42"/>
              </a:cxn>
              <a:cxn ang="0">
                <a:pos x="106" y="49"/>
              </a:cxn>
              <a:cxn ang="0">
                <a:pos x="101" y="49"/>
              </a:cxn>
              <a:cxn ang="0">
                <a:pos x="93" y="49"/>
              </a:cxn>
              <a:cxn ang="0">
                <a:pos x="86" y="49"/>
              </a:cxn>
              <a:cxn ang="0">
                <a:pos x="84" y="52"/>
              </a:cxn>
              <a:cxn ang="0">
                <a:pos x="86" y="59"/>
              </a:cxn>
              <a:cxn ang="0">
                <a:pos x="93" y="66"/>
              </a:cxn>
              <a:cxn ang="0">
                <a:pos x="106" y="79"/>
              </a:cxn>
              <a:cxn ang="0">
                <a:pos x="106" y="89"/>
              </a:cxn>
              <a:cxn ang="0">
                <a:pos x="98" y="98"/>
              </a:cxn>
              <a:cxn ang="0">
                <a:pos x="91" y="108"/>
              </a:cxn>
              <a:cxn ang="0">
                <a:pos x="91" y="118"/>
              </a:cxn>
              <a:cxn ang="0">
                <a:pos x="93" y="128"/>
              </a:cxn>
              <a:cxn ang="0">
                <a:pos x="98" y="138"/>
              </a:cxn>
              <a:cxn ang="0">
                <a:pos x="106" y="150"/>
              </a:cxn>
              <a:cxn ang="0">
                <a:pos x="116" y="160"/>
              </a:cxn>
              <a:cxn ang="0">
                <a:pos x="116" y="167"/>
              </a:cxn>
              <a:cxn ang="0">
                <a:pos x="116" y="170"/>
              </a:cxn>
              <a:cxn ang="0">
                <a:pos x="113" y="177"/>
              </a:cxn>
              <a:cxn ang="0">
                <a:pos x="111" y="177"/>
              </a:cxn>
              <a:cxn ang="0">
                <a:pos x="108" y="177"/>
              </a:cxn>
              <a:cxn ang="0">
                <a:pos x="101" y="175"/>
              </a:cxn>
              <a:cxn ang="0">
                <a:pos x="98" y="175"/>
              </a:cxn>
              <a:cxn ang="0">
                <a:pos x="93" y="175"/>
              </a:cxn>
              <a:cxn ang="0">
                <a:pos x="91" y="175"/>
              </a:cxn>
              <a:cxn ang="0">
                <a:pos x="66" y="172"/>
              </a:cxn>
              <a:cxn ang="0">
                <a:pos x="61" y="172"/>
              </a:cxn>
              <a:cxn ang="0">
                <a:pos x="57" y="172"/>
              </a:cxn>
              <a:cxn ang="0">
                <a:pos x="49" y="170"/>
              </a:cxn>
              <a:cxn ang="0">
                <a:pos x="42" y="172"/>
              </a:cxn>
              <a:cxn ang="0">
                <a:pos x="39" y="172"/>
              </a:cxn>
              <a:cxn ang="0">
                <a:pos x="20" y="172"/>
              </a:cxn>
              <a:cxn ang="0">
                <a:pos x="17" y="167"/>
              </a:cxn>
              <a:cxn ang="0">
                <a:pos x="15" y="152"/>
              </a:cxn>
              <a:cxn ang="0">
                <a:pos x="15" y="143"/>
              </a:cxn>
              <a:cxn ang="0">
                <a:pos x="5" y="143"/>
              </a:cxn>
              <a:cxn ang="0">
                <a:pos x="0" y="133"/>
              </a:cxn>
            </a:cxnLst>
            <a:rect l="0" t="0" r="r" b="b"/>
            <a:pathLst>
              <a:path w="116" h="177">
                <a:moveTo>
                  <a:pt x="0" y="133"/>
                </a:moveTo>
                <a:lnTo>
                  <a:pt x="0" y="130"/>
                </a:lnTo>
                <a:lnTo>
                  <a:pt x="2" y="125"/>
                </a:lnTo>
                <a:lnTo>
                  <a:pt x="5" y="123"/>
                </a:lnTo>
                <a:lnTo>
                  <a:pt x="5" y="118"/>
                </a:lnTo>
                <a:lnTo>
                  <a:pt x="5" y="116"/>
                </a:lnTo>
                <a:lnTo>
                  <a:pt x="5" y="116"/>
                </a:lnTo>
                <a:lnTo>
                  <a:pt x="5" y="113"/>
                </a:lnTo>
                <a:lnTo>
                  <a:pt x="7" y="111"/>
                </a:lnTo>
                <a:lnTo>
                  <a:pt x="12" y="108"/>
                </a:lnTo>
                <a:lnTo>
                  <a:pt x="12" y="106"/>
                </a:lnTo>
                <a:lnTo>
                  <a:pt x="17" y="103"/>
                </a:lnTo>
                <a:lnTo>
                  <a:pt x="17" y="101"/>
                </a:lnTo>
                <a:lnTo>
                  <a:pt x="17" y="98"/>
                </a:lnTo>
                <a:lnTo>
                  <a:pt x="22" y="98"/>
                </a:lnTo>
                <a:lnTo>
                  <a:pt x="22" y="96"/>
                </a:lnTo>
                <a:lnTo>
                  <a:pt x="22" y="96"/>
                </a:lnTo>
                <a:lnTo>
                  <a:pt x="27" y="98"/>
                </a:lnTo>
                <a:lnTo>
                  <a:pt x="30" y="98"/>
                </a:lnTo>
                <a:lnTo>
                  <a:pt x="32" y="101"/>
                </a:lnTo>
                <a:lnTo>
                  <a:pt x="34" y="103"/>
                </a:lnTo>
                <a:lnTo>
                  <a:pt x="37" y="106"/>
                </a:lnTo>
                <a:lnTo>
                  <a:pt x="37" y="106"/>
                </a:lnTo>
                <a:lnTo>
                  <a:pt x="42" y="103"/>
                </a:lnTo>
                <a:lnTo>
                  <a:pt x="44" y="101"/>
                </a:lnTo>
                <a:lnTo>
                  <a:pt x="44" y="98"/>
                </a:lnTo>
                <a:lnTo>
                  <a:pt x="44" y="96"/>
                </a:lnTo>
                <a:lnTo>
                  <a:pt x="47" y="96"/>
                </a:lnTo>
                <a:lnTo>
                  <a:pt x="49" y="93"/>
                </a:lnTo>
                <a:lnTo>
                  <a:pt x="49" y="91"/>
                </a:lnTo>
                <a:lnTo>
                  <a:pt x="49" y="89"/>
                </a:lnTo>
                <a:lnTo>
                  <a:pt x="54" y="84"/>
                </a:lnTo>
                <a:lnTo>
                  <a:pt x="54" y="81"/>
                </a:lnTo>
                <a:lnTo>
                  <a:pt x="54" y="79"/>
                </a:lnTo>
                <a:lnTo>
                  <a:pt x="57" y="76"/>
                </a:lnTo>
                <a:lnTo>
                  <a:pt x="59" y="71"/>
                </a:lnTo>
                <a:lnTo>
                  <a:pt x="64" y="69"/>
                </a:lnTo>
                <a:lnTo>
                  <a:pt x="64" y="66"/>
                </a:lnTo>
                <a:lnTo>
                  <a:pt x="64" y="64"/>
                </a:lnTo>
                <a:lnTo>
                  <a:pt x="64" y="59"/>
                </a:lnTo>
                <a:lnTo>
                  <a:pt x="66" y="57"/>
                </a:lnTo>
                <a:lnTo>
                  <a:pt x="71" y="57"/>
                </a:lnTo>
                <a:lnTo>
                  <a:pt x="74" y="52"/>
                </a:lnTo>
                <a:lnTo>
                  <a:pt x="74" y="49"/>
                </a:lnTo>
                <a:lnTo>
                  <a:pt x="74" y="44"/>
                </a:lnTo>
                <a:lnTo>
                  <a:pt x="74" y="42"/>
                </a:lnTo>
                <a:lnTo>
                  <a:pt x="74" y="39"/>
                </a:lnTo>
                <a:lnTo>
                  <a:pt x="76" y="34"/>
                </a:lnTo>
                <a:lnTo>
                  <a:pt x="79" y="32"/>
                </a:lnTo>
                <a:lnTo>
                  <a:pt x="79" y="32"/>
                </a:lnTo>
                <a:lnTo>
                  <a:pt x="81" y="29"/>
                </a:lnTo>
                <a:lnTo>
                  <a:pt x="84" y="29"/>
                </a:lnTo>
                <a:lnTo>
                  <a:pt x="86" y="27"/>
                </a:lnTo>
                <a:lnTo>
                  <a:pt x="89" y="25"/>
                </a:lnTo>
                <a:lnTo>
                  <a:pt x="91" y="25"/>
                </a:lnTo>
                <a:lnTo>
                  <a:pt x="89" y="20"/>
                </a:lnTo>
                <a:lnTo>
                  <a:pt x="89" y="17"/>
                </a:lnTo>
                <a:lnTo>
                  <a:pt x="89" y="15"/>
                </a:lnTo>
                <a:lnTo>
                  <a:pt x="86" y="15"/>
                </a:lnTo>
                <a:lnTo>
                  <a:pt x="84" y="12"/>
                </a:lnTo>
                <a:lnTo>
                  <a:pt x="84" y="7"/>
                </a:lnTo>
                <a:lnTo>
                  <a:pt x="84" y="5"/>
                </a:lnTo>
                <a:lnTo>
                  <a:pt x="81" y="0"/>
                </a:lnTo>
                <a:lnTo>
                  <a:pt x="89" y="5"/>
                </a:lnTo>
                <a:lnTo>
                  <a:pt x="93" y="7"/>
                </a:lnTo>
                <a:lnTo>
                  <a:pt x="93" y="12"/>
                </a:lnTo>
                <a:lnTo>
                  <a:pt x="96" y="15"/>
                </a:lnTo>
                <a:lnTo>
                  <a:pt x="96" y="17"/>
                </a:lnTo>
                <a:lnTo>
                  <a:pt x="98" y="20"/>
                </a:lnTo>
                <a:lnTo>
                  <a:pt x="98" y="22"/>
                </a:lnTo>
                <a:lnTo>
                  <a:pt x="96" y="25"/>
                </a:lnTo>
                <a:lnTo>
                  <a:pt x="96" y="27"/>
                </a:lnTo>
                <a:lnTo>
                  <a:pt x="98" y="27"/>
                </a:lnTo>
                <a:lnTo>
                  <a:pt x="98" y="32"/>
                </a:lnTo>
                <a:lnTo>
                  <a:pt x="96" y="34"/>
                </a:lnTo>
                <a:lnTo>
                  <a:pt x="96" y="37"/>
                </a:lnTo>
                <a:lnTo>
                  <a:pt x="98" y="42"/>
                </a:lnTo>
                <a:lnTo>
                  <a:pt x="101" y="42"/>
                </a:lnTo>
                <a:lnTo>
                  <a:pt x="101" y="44"/>
                </a:lnTo>
                <a:lnTo>
                  <a:pt x="106" y="49"/>
                </a:lnTo>
                <a:lnTo>
                  <a:pt x="106" y="49"/>
                </a:lnTo>
                <a:lnTo>
                  <a:pt x="106" y="49"/>
                </a:lnTo>
                <a:lnTo>
                  <a:pt x="103" y="49"/>
                </a:lnTo>
                <a:lnTo>
                  <a:pt x="101" y="49"/>
                </a:lnTo>
                <a:lnTo>
                  <a:pt x="98" y="49"/>
                </a:lnTo>
                <a:lnTo>
                  <a:pt x="96" y="49"/>
                </a:lnTo>
                <a:lnTo>
                  <a:pt x="93" y="49"/>
                </a:lnTo>
                <a:lnTo>
                  <a:pt x="91" y="49"/>
                </a:lnTo>
                <a:lnTo>
                  <a:pt x="89" y="49"/>
                </a:lnTo>
                <a:lnTo>
                  <a:pt x="86" y="49"/>
                </a:lnTo>
                <a:lnTo>
                  <a:pt x="84" y="49"/>
                </a:lnTo>
                <a:lnTo>
                  <a:pt x="84" y="52"/>
                </a:lnTo>
                <a:lnTo>
                  <a:pt x="84" y="52"/>
                </a:lnTo>
                <a:lnTo>
                  <a:pt x="84" y="57"/>
                </a:lnTo>
                <a:lnTo>
                  <a:pt x="84" y="57"/>
                </a:lnTo>
                <a:lnTo>
                  <a:pt x="86" y="59"/>
                </a:lnTo>
                <a:lnTo>
                  <a:pt x="86" y="59"/>
                </a:lnTo>
                <a:lnTo>
                  <a:pt x="89" y="61"/>
                </a:lnTo>
                <a:lnTo>
                  <a:pt x="93" y="66"/>
                </a:lnTo>
                <a:lnTo>
                  <a:pt x="101" y="71"/>
                </a:lnTo>
                <a:lnTo>
                  <a:pt x="103" y="74"/>
                </a:lnTo>
                <a:lnTo>
                  <a:pt x="106" y="79"/>
                </a:lnTo>
                <a:lnTo>
                  <a:pt x="108" y="81"/>
                </a:lnTo>
                <a:lnTo>
                  <a:pt x="108" y="86"/>
                </a:lnTo>
                <a:lnTo>
                  <a:pt x="106" y="89"/>
                </a:lnTo>
                <a:lnTo>
                  <a:pt x="103" y="91"/>
                </a:lnTo>
                <a:lnTo>
                  <a:pt x="101" y="93"/>
                </a:lnTo>
                <a:lnTo>
                  <a:pt x="98" y="98"/>
                </a:lnTo>
                <a:lnTo>
                  <a:pt x="96" y="103"/>
                </a:lnTo>
                <a:lnTo>
                  <a:pt x="93" y="106"/>
                </a:lnTo>
                <a:lnTo>
                  <a:pt x="91" y="108"/>
                </a:lnTo>
                <a:lnTo>
                  <a:pt x="91" y="111"/>
                </a:lnTo>
                <a:lnTo>
                  <a:pt x="91" y="113"/>
                </a:lnTo>
                <a:lnTo>
                  <a:pt x="91" y="118"/>
                </a:lnTo>
                <a:lnTo>
                  <a:pt x="91" y="120"/>
                </a:lnTo>
                <a:lnTo>
                  <a:pt x="93" y="125"/>
                </a:lnTo>
                <a:lnTo>
                  <a:pt x="93" y="128"/>
                </a:lnTo>
                <a:lnTo>
                  <a:pt x="93" y="135"/>
                </a:lnTo>
                <a:lnTo>
                  <a:pt x="93" y="135"/>
                </a:lnTo>
                <a:lnTo>
                  <a:pt x="98" y="138"/>
                </a:lnTo>
                <a:lnTo>
                  <a:pt x="101" y="140"/>
                </a:lnTo>
                <a:lnTo>
                  <a:pt x="103" y="145"/>
                </a:lnTo>
                <a:lnTo>
                  <a:pt x="106" y="150"/>
                </a:lnTo>
                <a:lnTo>
                  <a:pt x="108" y="155"/>
                </a:lnTo>
                <a:lnTo>
                  <a:pt x="111" y="155"/>
                </a:lnTo>
                <a:lnTo>
                  <a:pt x="116" y="160"/>
                </a:lnTo>
                <a:lnTo>
                  <a:pt x="116" y="162"/>
                </a:lnTo>
                <a:lnTo>
                  <a:pt x="116" y="165"/>
                </a:lnTo>
                <a:lnTo>
                  <a:pt x="116" y="167"/>
                </a:lnTo>
                <a:lnTo>
                  <a:pt x="116" y="167"/>
                </a:lnTo>
                <a:lnTo>
                  <a:pt x="116" y="167"/>
                </a:lnTo>
                <a:lnTo>
                  <a:pt x="116" y="170"/>
                </a:lnTo>
                <a:lnTo>
                  <a:pt x="113" y="172"/>
                </a:lnTo>
                <a:lnTo>
                  <a:pt x="113" y="172"/>
                </a:lnTo>
                <a:lnTo>
                  <a:pt x="113" y="177"/>
                </a:lnTo>
                <a:lnTo>
                  <a:pt x="113" y="177"/>
                </a:lnTo>
                <a:lnTo>
                  <a:pt x="113" y="177"/>
                </a:lnTo>
                <a:lnTo>
                  <a:pt x="111" y="177"/>
                </a:lnTo>
                <a:lnTo>
                  <a:pt x="111" y="177"/>
                </a:lnTo>
                <a:lnTo>
                  <a:pt x="108" y="177"/>
                </a:lnTo>
                <a:lnTo>
                  <a:pt x="108" y="177"/>
                </a:lnTo>
                <a:lnTo>
                  <a:pt x="106" y="177"/>
                </a:lnTo>
                <a:lnTo>
                  <a:pt x="103" y="177"/>
                </a:lnTo>
                <a:lnTo>
                  <a:pt x="101" y="175"/>
                </a:lnTo>
                <a:lnTo>
                  <a:pt x="101" y="175"/>
                </a:lnTo>
                <a:lnTo>
                  <a:pt x="98" y="175"/>
                </a:lnTo>
                <a:lnTo>
                  <a:pt x="98" y="175"/>
                </a:lnTo>
                <a:lnTo>
                  <a:pt x="96" y="175"/>
                </a:lnTo>
                <a:lnTo>
                  <a:pt x="96" y="175"/>
                </a:lnTo>
                <a:lnTo>
                  <a:pt x="93" y="175"/>
                </a:lnTo>
                <a:lnTo>
                  <a:pt x="91" y="172"/>
                </a:lnTo>
                <a:lnTo>
                  <a:pt x="91" y="172"/>
                </a:lnTo>
                <a:lnTo>
                  <a:pt x="91" y="175"/>
                </a:lnTo>
                <a:lnTo>
                  <a:pt x="89" y="172"/>
                </a:lnTo>
                <a:lnTo>
                  <a:pt x="69" y="172"/>
                </a:lnTo>
                <a:lnTo>
                  <a:pt x="66" y="172"/>
                </a:lnTo>
                <a:lnTo>
                  <a:pt x="66" y="172"/>
                </a:lnTo>
                <a:lnTo>
                  <a:pt x="66" y="172"/>
                </a:lnTo>
                <a:lnTo>
                  <a:pt x="61" y="172"/>
                </a:lnTo>
                <a:lnTo>
                  <a:pt x="61" y="170"/>
                </a:lnTo>
                <a:lnTo>
                  <a:pt x="59" y="170"/>
                </a:lnTo>
                <a:lnTo>
                  <a:pt x="57" y="172"/>
                </a:lnTo>
                <a:lnTo>
                  <a:pt x="54" y="170"/>
                </a:lnTo>
                <a:lnTo>
                  <a:pt x="49" y="170"/>
                </a:lnTo>
                <a:lnTo>
                  <a:pt x="49" y="170"/>
                </a:lnTo>
                <a:lnTo>
                  <a:pt x="44" y="170"/>
                </a:lnTo>
                <a:lnTo>
                  <a:pt x="44" y="172"/>
                </a:lnTo>
                <a:lnTo>
                  <a:pt x="42" y="172"/>
                </a:lnTo>
                <a:lnTo>
                  <a:pt x="39" y="172"/>
                </a:lnTo>
                <a:lnTo>
                  <a:pt x="39" y="172"/>
                </a:lnTo>
                <a:lnTo>
                  <a:pt x="39" y="172"/>
                </a:lnTo>
                <a:lnTo>
                  <a:pt x="22" y="172"/>
                </a:lnTo>
                <a:lnTo>
                  <a:pt x="20" y="172"/>
                </a:lnTo>
                <a:lnTo>
                  <a:pt x="20" y="172"/>
                </a:lnTo>
                <a:lnTo>
                  <a:pt x="17" y="172"/>
                </a:lnTo>
                <a:lnTo>
                  <a:pt x="20" y="170"/>
                </a:lnTo>
                <a:lnTo>
                  <a:pt x="17" y="167"/>
                </a:lnTo>
                <a:lnTo>
                  <a:pt x="20" y="162"/>
                </a:lnTo>
                <a:lnTo>
                  <a:pt x="17" y="157"/>
                </a:lnTo>
                <a:lnTo>
                  <a:pt x="15" y="152"/>
                </a:lnTo>
                <a:lnTo>
                  <a:pt x="15" y="148"/>
                </a:lnTo>
                <a:lnTo>
                  <a:pt x="17" y="145"/>
                </a:lnTo>
                <a:lnTo>
                  <a:pt x="15" y="143"/>
                </a:lnTo>
                <a:lnTo>
                  <a:pt x="10" y="145"/>
                </a:lnTo>
                <a:lnTo>
                  <a:pt x="7" y="143"/>
                </a:lnTo>
                <a:lnTo>
                  <a:pt x="5" y="143"/>
                </a:lnTo>
                <a:lnTo>
                  <a:pt x="5" y="133"/>
                </a:lnTo>
                <a:lnTo>
                  <a:pt x="2" y="135"/>
                </a:lnTo>
                <a:lnTo>
                  <a:pt x="0" y="133"/>
                </a:lnTo>
                <a:lnTo>
                  <a:pt x="0" y="13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9" name="Freeform 138"/>
          <p:cNvSpPr>
            <a:spLocks/>
          </p:cNvSpPr>
          <p:nvPr/>
        </p:nvSpPr>
        <p:spPr bwMode="auto">
          <a:xfrm>
            <a:off x="4970944" y="4395614"/>
            <a:ext cx="145156" cy="147460"/>
          </a:xfrm>
          <a:custGeom>
            <a:avLst/>
            <a:gdLst/>
            <a:ahLst/>
            <a:cxnLst>
              <a:cxn ang="0">
                <a:pos x="39" y="2"/>
              </a:cxn>
              <a:cxn ang="0">
                <a:pos x="44" y="2"/>
              </a:cxn>
              <a:cxn ang="0">
                <a:pos x="49" y="0"/>
              </a:cxn>
              <a:cxn ang="0">
                <a:pos x="54" y="0"/>
              </a:cxn>
              <a:cxn ang="0">
                <a:pos x="59" y="0"/>
              </a:cxn>
              <a:cxn ang="0">
                <a:pos x="61" y="2"/>
              </a:cxn>
              <a:cxn ang="0">
                <a:pos x="66" y="2"/>
              </a:cxn>
              <a:cxn ang="0">
                <a:pos x="69" y="2"/>
              </a:cxn>
              <a:cxn ang="0">
                <a:pos x="66" y="5"/>
              </a:cxn>
              <a:cxn ang="0">
                <a:pos x="69" y="12"/>
              </a:cxn>
              <a:cxn ang="0">
                <a:pos x="69" y="17"/>
              </a:cxn>
              <a:cxn ang="0">
                <a:pos x="71" y="17"/>
              </a:cxn>
              <a:cxn ang="0">
                <a:pos x="79" y="17"/>
              </a:cxn>
              <a:cxn ang="0">
                <a:pos x="86" y="14"/>
              </a:cxn>
              <a:cxn ang="0">
                <a:pos x="89" y="19"/>
              </a:cxn>
              <a:cxn ang="0">
                <a:pos x="89" y="24"/>
              </a:cxn>
              <a:cxn ang="0">
                <a:pos x="86" y="27"/>
              </a:cxn>
              <a:cxn ang="0">
                <a:pos x="81" y="32"/>
              </a:cxn>
              <a:cxn ang="0">
                <a:pos x="84" y="34"/>
              </a:cxn>
              <a:cxn ang="0">
                <a:pos x="81" y="37"/>
              </a:cxn>
              <a:cxn ang="0">
                <a:pos x="79" y="37"/>
              </a:cxn>
              <a:cxn ang="0">
                <a:pos x="81" y="39"/>
              </a:cxn>
              <a:cxn ang="0">
                <a:pos x="84" y="41"/>
              </a:cxn>
              <a:cxn ang="0">
                <a:pos x="86" y="46"/>
              </a:cxn>
              <a:cxn ang="0">
                <a:pos x="89" y="51"/>
              </a:cxn>
              <a:cxn ang="0">
                <a:pos x="84" y="69"/>
              </a:cxn>
              <a:cxn ang="0">
                <a:pos x="84" y="73"/>
              </a:cxn>
              <a:cxn ang="0">
                <a:pos x="81" y="71"/>
              </a:cxn>
              <a:cxn ang="0">
                <a:pos x="74" y="71"/>
              </a:cxn>
              <a:cxn ang="0">
                <a:pos x="71" y="71"/>
              </a:cxn>
              <a:cxn ang="0">
                <a:pos x="64" y="71"/>
              </a:cxn>
              <a:cxn ang="0">
                <a:pos x="59" y="64"/>
              </a:cxn>
              <a:cxn ang="0">
                <a:pos x="59" y="69"/>
              </a:cxn>
              <a:cxn ang="0">
                <a:pos x="52" y="71"/>
              </a:cxn>
              <a:cxn ang="0">
                <a:pos x="49" y="73"/>
              </a:cxn>
              <a:cxn ang="0">
                <a:pos x="44" y="73"/>
              </a:cxn>
              <a:cxn ang="0">
                <a:pos x="39" y="76"/>
              </a:cxn>
              <a:cxn ang="0">
                <a:pos x="42" y="81"/>
              </a:cxn>
              <a:cxn ang="0">
                <a:pos x="47" y="78"/>
              </a:cxn>
              <a:cxn ang="0">
                <a:pos x="49" y="81"/>
              </a:cxn>
              <a:cxn ang="0">
                <a:pos x="49" y="93"/>
              </a:cxn>
              <a:cxn ang="0">
                <a:pos x="44" y="88"/>
              </a:cxn>
              <a:cxn ang="0">
                <a:pos x="42" y="91"/>
              </a:cxn>
              <a:cxn ang="0">
                <a:pos x="39" y="93"/>
              </a:cxn>
              <a:cxn ang="0">
                <a:pos x="37" y="96"/>
              </a:cxn>
              <a:cxn ang="0">
                <a:pos x="32" y="93"/>
              </a:cxn>
              <a:cxn ang="0">
                <a:pos x="25" y="86"/>
              </a:cxn>
              <a:cxn ang="0">
                <a:pos x="15" y="76"/>
              </a:cxn>
              <a:cxn ang="0">
                <a:pos x="12" y="71"/>
              </a:cxn>
              <a:cxn ang="0">
                <a:pos x="7" y="66"/>
              </a:cxn>
              <a:cxn ang="0">
                <a:pos x="5" y="59"/>
              </a:cxn>
              <a:cxn ang="0">
                <a:pos x="2" y="54"/>
              </a:cxn>
              <a:cxn ang="0">
                <a:pos x="0" y="46"/>
              </a:cxn>
              <a:cxn ang="0">
                <a:pos x="7" y="44"/>
              </a:cxn>
              <a:cxn ang="0">
                <a:pos x="7" y="32"/>
              </a:cxn>
              <a:cxn ang="0">
                <a:pos x="17" y="32"/>
              </a:cxn>
              <a:cxn ang="0">
                <a:pos x="10" y="27"/>
              </a:cxn>
              <a:cxn ang="0">
                <a:pos x="12" y="22"/>
              </a:cxn>
              <a:cxn ang="0">
                <a:pos x="15" y="19"/>
              </a:cxn>
              <a:cxn ang="0">
                <a:pos x="20" y="22"/>
              </a:cxn>
              <a:cxn ang="0">
                <a:pos x="39" y="2"/>
              </a:cxn>
            </a:cxnLst>
            <a:rect l="0" t="0" r="r" b="b"/>
            <a:pathLst>
              <a:path w="89" h="96">
                <a:moveTo>
                  <a:pt x="39" y="2"/>
                </a:moveTo>
                <a:lnTo>
                  <a:pt x="39" y="2"/>
                </a:lnTo>
                <a:lnTo>
                  <a:pt x="42" y="2"/>
                </a:lnTo>
                <a:lnTo>
                  <a:pt x="44" y="2"/>
                </a:lnTo>
                <a:lnTo>
                  <a:pt x="44" y="0"/>
                </a:lnTo>
                <a:lnTo>
                  <a:pt x="49" y="0"/>
                </a:lnTo>
                <a:lnTo>
                  <a:pt x="49" y="0"/>
                </a:lnTo>
                <a:lnTo>
                  <a:pt x="54" y="0"/>
                </a:lnTo>
                <a:lnTo>
                  <a:pt x="57" y="2"/>
                </a:lnTo>
                <a:lnTo>
                  <a:pt x="59" y="0"/>
                </a:lnTo>
                <a:lnTo>
                  <a:pt x="61" y="0"/>
                </a:lnTo>
                <a:lnTo>
                  <a:pt x="61" y="2"/>
                </a:lnTo>
                <a:lnTo>
                  <a:pt x="66" y="2"/>
                </a:lnTo>
                <a:lnTo>
                  <a:pt x="66" y="2"/>
                </a:lnTo>
                <a:lnTo>
                  <a:pt x="66" y="2"/>
                </a:lnTo>
                <a:lnTo>
                  <a:pt x="69" y="2"/>
                </a:lnTo>
                <a:lnTo>
                  <a:pt x="69" y="2"/>
                </a:lnTo>
                <a:lnTo>
                  <a:pt x="66" y="5"/>
                </a:lnTo>
                <a:lnTo>
                  <a:pt x="69" y="10"/>
                </a:lnTo>
                <a:lnTo>
                  <a:pt x="69" y="12"/>
                </a:lnTo>
                <a:lnTo>
                  <a:pt x="69" y="14"/>
                </a:lnTo>
                <a:lnTo>
                  <a:pt x="69" y="17"/>
                </a:lnTo>
                <a:lnTo>
                  <a:pt x="69" y="17"/>
                </a:lnTo>
                <a:lnTo>
                  <a:pt x="71" y="17"/>
                </a:lnTo>
                <a:lnTo>
                  <a:pt x="74" y="17"/>
                </a:lnTo>
                <a:lnTo>
                  <a:pt x="79" y="17"/>
                </a:lnTo>
                <a:lnTo>
                  <a:pt x="81" y="14"/>
                </a:lnTo>
                <a:lnTo>
                  <a:pt x="86" y="14"/>
                </a:lnTo>
                <a:lnTo>
                  <a:pt x="89" y="17"/>
                </a:lnTo>
                <a:lnTo>
                  <a:pt x="89" y="19"/>
                </a:lnTo>
                <a:lnTo>
                  <a:pt x="86" y="22"/>
                </a:lnTo>
                <a:lnTo>
                  <a:pt x="89" y="24"/>
                </a:lnTo>
                <a:lnTo>
                  <a:pt x="89" y="27"/>
                </a:lnTo>
                <a:lnTo>
                  <a:pt x="86" y="27"/>
                </a:lnTo>
                <a:lnTo>
                  <a:pt x="81" y="29"/>
                </a:lnTo>
                <a:lnTo>
                  <a:pt x="81" y="32"/>
                </a:lnTo>
                <a:lnTo>
                  <a:pt x="81" y="32"/>
                </a:lnTo>
                <a:lnTo>
                  <a:pt x="84" y="34"/>
                </a:lnTo>
                <a:lnTo>
                  <a:pt x="81" y="34"/>
                </a:lnTo>
                <a:lnTo>
                  <a:pt x="81" y="37"/>
                </a:lnTo>
                <a:lnTo>
                  <a:pt x="79" y="37"/>
                </a:lnTo>
                <a:lnTo>
                  <a:pt x="79" y="37"/>
                </a:lnTo>
                <a:lnTo>
                  <a:pt x="81" y="39"/>
                </a:lnTo>
                <a:lnTo>
                  <a:pt x="81" y="39"/>
                </a:lnTo>
                <a:lnTo>
                  <a:pt x="84" y="41"/>
                </a:lnTo>
                <a:lnTo>
                  <a:pt x="84" y="41"/>
                </a:lnTo>
                <a:lnTo>
                  <a:pt x="86" y="44"/>
                </a:lnTo>
                <a:lnTo>
                  <a:pt x="86" y="46"/>
                </a:lnTo>
                <a:lnTo>
                  <a:pt x="89" y="49"/>
                </a:lnTo>
                <a:lnTo>
                  <a:pt x="89" y="51"/>
                </a:lnTo>
                <a:lnTo>
                  <a:pt x="86" y="56"/>
                </a:lnTo>
                <a:lnTo>
                  <a:pt x="84" y="69"/>
                </a:lnTo>
                <a:lnTo>
                  <a:pt x="84" y="71"/>
                </a:lnTo>
                <a:lnTo>
                  <a:pt x="84" y="73"/>
                </a:lnTo>
                <a:lnTo>
                  <a:pt x="81" y="73"/>
                </a:lnTo>
                <a:lnTo>
                  <a:pt x="81" y="71"/>
                </a:lnTo>
                <a:lnTo>
                  <a:pt x="79" y="71"/>
                </a:lnTo>
                <a:lnTo>
                  <a:pt x="74" y="71"/>
                </a:lnTo>
                <a:lnTo>
                  <a:pt x="74" y="71"/>
                </a:lnTo>
                <a:lnTo>
                  <a:pt x="71" y="71"/>
                </a:lnTo>
                <a:lnTo>
                  <a:pt x="66" y="73"/>
                </a:lnTo>
                <a:lnTo>
                  <a:pt x="64" y="71"/>
                </a:lnTo>
                <a:lnTo>
                  <a:pt x="61" y="64"/>
                </a:lnTo>
                <a:lnTo>
                  <a:pt x="59" y="64"/>
                </a:lnTo>
                <a:lnTo>
                  <a:pt x="59" y="66"/>
                </a:lnTo>
                <a:lnTo>
                  <a:pt x="59" y="69"/>
                </a:lnTo>
                <a:lnTo>
                  <a:pt x="59" y="71"/>
                </a:lnTo>
                <a:lnTo>
                  <a:pt x="52" y="71"/>
                </a:lnTo>
                <a:lnTo>
                  <a:pt x="49" y="71"/>
                </a:lnTo>
                <a:lnTo>
                  <a:pt x="49" y="73"/>
                </a:lnTo>
                <a:lnTo>
                  <a:pt x="47" y="73"/>
                </a:lnTo>
                <a:lnTo>
                  <a:pt x="44" y="73"/>
                </a:lnTo>
                <a:lnTo>
                  <a:pt x="42" y="73"/>
                </a:lnTo>
                <a:lnTo>
                  <a:pt x="39" y="76"/>
                </a:lnTo>
                <a:lnTo>
                  <a:pt x="42" y="76"/>
                </a:lnTo>
                <a:lnTo>
                  <a:pt x="42" y="81"/>
                </a:lnTo>
                <a:lnTo>
                  <a:pt x="44" y="78"/>
                </a:lnTo>
                <a:lnTo>
                  <a:pt x="47" y="78"/>
                </a:lnTo>
                <a:lnTo>
                  <a:pt x="47" y="81"/>
                </a:lnTo>
                <a:lnTo>
                  <a:pt x="49" y="81"/>
                </a:lnTo>
                <a:lnTo>
                  <a:pt x="49" y="91"/>
                </a:lnTo>
                <a:lnTo>
                  <a:pt x="49" y="93"/>
                </a:lnTo>
                <a:lnTo>
                  <a:pt x="47" y="88"/>
                </a:lnTo>
                <a:lnTo>
                  <a:pt x="44" y="88"/>
                </a:lnTo>
                <a:lnTo>
                  <a:pt x="44" y="91"/>
                </a:lnTo>
                <a:lnTo>
                  <a:pt x="42" y="91"/>
                </a:lnTo>
                <a:lnTo>
                  <a:pt x="39" y="91"/>
                </a:lnTo>
                <a:lnTo>
                  <a:pt x="39" y="93"/>
                </a:lnTo>
                <a:lnTo>
                  <a:pt x="37" y="96"/>
                </a:lnTo>
                <a:lnTo>
                  <a:pt x="37" y="96"/>
                </a:lnTo>
                <a:lnTo>
                  <a:pt x="34" y="96"/>
                </a:lnTo>
                <a:lnTo>
                  <a:pt x="32" y="93"/>
                </a:lnTo>
                <a:lnTo>
                  <a:pt x="27" y="91"/>
                </a:lnTo>
                <a:lnTo>
                  <a:pt x="25" y="86"/>
                </a:lnTo>
                <a:lnTo>
                  <a:pt x="20" y="81"/>
                </a:lnTo>
                <a:lnTo>
                  <a:pt x="15" y="76"/>
                </a:lnTo>
                <a:lnTo>
                  <a:pt x="15" y="76"/>
                </a:lnTo>
                <a:lnTo>
                  <a:pt x="12" y="71"/>
                </a:lnTo>
                <a:lnTo>
                  <a:pt x="10" y="69"/>
                </a:lnTo>
                <a:lnTo>
                  <a:pt x="7" y="66"/>
                </a:lnTo>
                <a:lnTo>
                  <a:pt x="7" y="61"/>
                </a:lnTo>
                <a:lnTo>
                  <a:pt x="5" y="59"/>
                </a:lnTo>
                <a:lnTo>
                  <a:pt x="5" y="56"/>
                </a:lnTo>
                <a:lnTo>
                  <a:pt x="2" y="54"/>
                </a:lnTo>
                <a:lnTo>
                  <a:pt x="0" y="46"/>
                </a:lnTo>
                <a:lnTo>
                  <a:pt x="0" y="46"/>
                </a:lnTo>
                <a:lnTo>
                  <a:pt x="5" y="46"/>
                </a:lnTo>
                <a:lnTo>
                  <a:pt x="7" y="44"/>
                </a:lnTo>
                <a:lnTo>
                  <a:pt x="7" y="37"/>
                </a:lnTo>
                <a:lnTo>
                  <a:pt x="7" y="32"/>
                </a:lnTo>
                <a:lnTo>
                  <a:pt x="10" y="34"/>
                </a:lnTo>
                <a:lnTo>
                  <a:pt x="17" y="32"/>
                </a:lnTo>
                <a:lnTo>
                  <a:pt x="12" y="32"/>
                </a:lnTo>
                <a:lnTo>
                  <a:pt x="10" y="27"/>
                </a:lnTo>
                <a:lnTo>
                  <a:pt x="12" y="24"/>
                </a:lnTo>
                <a:lnTo>
                  <a:pt x="12" y="22"/>
                </a:lnTo>
                <a:lnTo>
                  <a:pt x="15" y="22"/>
                </a:lnTo>
                <a:lnTo>
                  <a:pt x="15" y="19"/>
                </a:lnTo>
                <a:lnTo>
                  <a:pt x="17" y="19"/>
                </a:lnTo>
                <a:lnTo>
                  <a:pt x="20" y="22"/>
                </a:lnTo>
                <a:lnTo>
                  <a:pt x="39" y="22"/>
                </a:lnTo>
                <a:lnTo>
                  <a:pt x="39" y="2"/>
                </a:lnTo>
                <a:lnTo>
                  <a:pt x="39"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0" name="Freeform 139"/>
          <p:cNvSpPr>
            <a:spLocks/>
          </p:cNvSpPr>
          <p:nvPr/>
        </p:nvSpPr>
        <p:spPr bwMode="auto">
          <a:xfrm>
            <a:off x="4982360" y="4398686"/>
            <a:ext cx="52191" cy="30721"/>
          </a:xfrm>
          <a:custGeom>
            <a:avLst/>
            <a:gdLst/>
            <a:ahLst/>
            <a:cxnLst>
              <a:cxn ang="0">
                <a:pos x="5" y="20"/>
              </a:cxn>
              <a:cxn ang="0">
                <a:pos x="8" y="20"/>
              </a:cxn>
              <a:cxn ang="0">
                <a:pos x="8" y="17"/>
              </a:cxn>
              <a:cxn ang="0">
                <a:pos x="10" y="17"/>
              </a:cxn>
              <a:cxn ang="0">
                <a:pos x="13" y="20"/>
              </a:cxn>
              <a:cxn ang="0">
                <a:pos x="32" y="20"/>
              </a:cxn>
              <a:cxn ang="0">
                <a:pos x="32" y="0"/>
              </a:cxn>
              <a:cxn ang="0">
                <a:pos x="15" y="0"/>
              </a:cxn>
              <a:cxn ang="0">
                <a:pos x="13" y="0"/>
              </a:cxn>
              <a:cxn ang="0">
                <a:pos x="13" y="0"/>
              </a:cxn>
              <a:cxn ang="0">
                <a:pos x="10" y="0"/>
              </a:cxn>
              <a:cxn ang="0">
                <a:pos x="8" y="0"/>
              </a:cxn>
              <a:cxn ang="0">
                <a:pos x="10" y="3"/>
              </a:cxn>
              <a:cxn ang="0">
                <a:pos x="5" y="10"/>
              </a:cxn>
              <a:cxn ang="0">
                <a:pos x="0" y="17"/>
              </a:cxn>
              <a:cxn ang="0">
                <a:pos x="5" y="17"/>
              </a:cxn>
              <a:cxn ang="0">
                <a:pos x="5" y="20"/>
              </a:cxn>
              <a:cxn ang="0">
                <a:pos x="5" y="20"/>
              </a:cxn>
            </a:cxnLst>
            <a:rect l="0" t="0" r="r" b="b"/>
            <a:pathLst>
              <a:path w="32" h="20">
                <a:moveTo>
                  <a:pt x="5" y="20"/>
                </a:moveTo>
                <a:lnTo>
                  <a:pt x="8" y="20"/>
                </a:lnTo>
                <a:lnTo>
                  <a:pt x="8" y="17"/>
                </a:lnTo>
                <a:lnTo>
                  <a:pt x="10" y="17"/>
                </a:lnTo>
                <a:lnTo>
                  <a:pt x="13" y="20"/>
                </a:lnTo>
                <a:lnTo>
                  <a:pt x="32" y="20"/>
                </a:lnTo>
                <a:lnTo>
                  <a:pt x="32" y="0"/>
                </a:lnTo>
                <a:lnTo>
                  <a:pt x="15" y="0"/>
                </a:lnTo>
                <a:lnTo>
                  <a:pt x="13" y="0"/>
                </a:lnTo>
                <a:lnTo>
                  <a:pt x="13" y="0"/>
                </a:lnTo>
                <a:lnTo>
                  <a:pt x="10" y="0"/>
                </a:lnTo>
                <a:lnTo>
                  <a:pt x="8" y="0"/>
                </a:lnTo>
                <a:lnTo>
                  <a:pt x="10" y="3"/>
                </a:lnTo>
                <a:lnTo>
                  <a:pt x="5" y="10"/>
                </a:lnTo>
                <a:lnTo>
                  <a:pt x="0" y="17"/>
                </a:lnTo>
                <a:lnTo>
                  <a:pt x="5" y="17"/>
                </a:lnTo>
                <a:lnTo>
                  <a:pt x="5" y="20"/>
                </a:lnTo>
                <a:lnTo>
                  <a:pt x="5" y="2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1" name="Freeform 140"/>
          <p:cNvSpPr>
            <a:spLocks/>
          </p:cNvSpPr>
          <p:nvPr/>
        </p:nvSpPr>
        <p:spPr bwMode="auto">
          <a:xfrm>
            <a:off x="5031289" y="4357213"/>
            <a:ext cx="192453" cy="215045"/>
          </a:xfrm>
          <a:custGeom>
            <a:avLst/>
            <a:gdLst/>
            <a:ahLst/>
            <a:cxnLst>
              <a:cxn ang="0">
                <a:pos x="2" y="116"/>
              </a:cxn>
              <a:cxn ang="0">
                <a:pos x="7" y="113"/>
              </a:cxn>
              <a:cxn ang="0">
                <a:pos x="12" y="116"/>
              </a:cxn>
              <a:cxn ang="0">
                <a:pos x="10" y="103"/>
              </a:cxn>
              <a:cxn ang="0">
                <a:pos x="5" y="101"/>
              </a:cxn>
              <a:cxn ang="0">
                <a:pos x="7" y="98"/>
              </a:cxn>
              <a:cxn ang="0">
                <a:pos x="12" y="96"/>
              </a:cxn>
              <a:cxn ang="0">
                <a:pos x="22" y="94"/>
              </a:cxn>
              <a:cxn ang="0">
                <a:pos x="24" y="89"/>
              </a:cxn>
              <a:cxn ang="0">
                <a:pos x="34" y="96"/>
              </a:cxn>
              <a:cxn ang="0">
                <a:pos x="42" y="96"/>
              </a:cxn>
              <a:cxn ang="0">
                <a:pos x="47" y="98"/>
              </a:cxn>
              <a:cxn ang="0">
                <a:pos x="49" y="81"/>
              </a:cxn>
              <a:cxn ang="0">
                <a:pos x="49" y="71"/>
              </a:cxn>
              <a:cxn ang="0">
                <a:pos x="47" y="66"/>
              </a:cxn>
              <a:cxn ang="0">
                <a:pos x="42" y="62"/>
              </a:cxn>
              <a:cxn ang="0">
                <a:pos x="44" y="59"/>
              </a:cxn>
              <a:cxn ang="0">
                <a:pos x="44" y="57"/>
              </a:cxn>
              <a:cxn ang="0">
                <a:pos x="52" y="52"/>
              </a:cxn>
              <a:cxn ang="0">
                <a:pos x="52" y="44"/>
              </a:cxn>
              <a:cxn ang="0">
                <a:pos x="44" y="39"/>
              </a:cxn>
              <a:cxn ang="0">
                <a:pos x="34" y="42"/>
              </a:cxn>
              <a:cxn ang="0">
                <a:pos x="32" y="39"/>
              </a:cxn>
              <a:cxn ang="0">
                <a:pos x="29" y="30"/>
              </a:cxn>
              <a:cxn ang="0">
                <a:pos x="54" y="30"/>
              </a:cxn>
              <a:cxn ang="0">
                <a:pos x="56" y="30"/>
              </a:cxn>
              <a:cxn ang="0">
                <a:pos x="61" y="30"/>
              </a:cxn>
              <a:cxn ang="0">
                <a:pos x="64" y="30"/>
              </a:cxn>
              <a:cxn ang="0">
                <a:pos x="71" y="32"/>
              </a:cxn>
              <a:cxn ang="0">
                <a:pos x="74" y="32"/>
              </a:cxn>
              <a:cxn ang="0">
                <a:pos x="76" y="32"/>
              </a:cxn>
              <a:cxn ang="0">
                <a:pos x="79" y="25"/>
              </a:cxn>
              <a:cxn ang="0">
                <a:pos x="91" y="7"/>
              </a:cxn>
              <a:cxn ang="0">
                <a:pos x="101" y="3"/>
              </a:cxn>
              <a:cxn ang="0">
                <a:pos x="108" y="0"/>
              </a:cxn>
              <a:cxn ang="0">
                <a:pos x="113" y="3"/>
              </a:cxn>
              <a:cxn ang="0">
                <a:pos x="116" y="3"/>
              </a:cxn>
              <a:cxn ang="0">
                <a:pos x="116" y="15"/>
              </a:cxn>
              <a:cxn ang="0">
                <a:pos x="108" y="32"/>
              </a:cxn>
              <a:cxn ang="0">
                <a:pos x="106" y="39"/>
              </a:cxn>
              <a:cxn ang="0">
                <a:pos x="106" y="52"/>
              </a:cxn>
              <a:cxn ang="0">
                <a:pos x="103" y="59"/>
              </a:cxn>
              <a:cxn ang="0">
                <a:pos x="96" y="76"/>
              </a:cxn>
              <a:cxn ang="0">
                <a:pos x="88" y="79"/>
              </a:cxn>
              <a:cxn ang="0">
                <a:pos x="84" y="89"/>
              </a:cxn>
              <a:cxn ang="0">
                <a:pos x="76" y="101"/>
              </a:cxn>
              <a:cxn ang="0">
                <a:pos x="76" y="116"/>
              </a:cxn>
              <a:cxn ang="0">
                <a:pos x="71" y="123"/>
              </a:cxn>
              <a:cxn ang="0">
                <a:pos x="61" y="133"/>
              </a:cxn>
              <a:cxn ang="0">
                <a:pos x="52" y="135"/>
              </a:cxn>
              <a:cxn ang="0">
                <a:pos x="52" y="128"/>
              </a:cxn>
              <a:cxn ang="0">
                <a:pos x="44" y="130"/>
              </a:cxn>
              <a:cxn ang="0">
                <a:pos x="39" y="135"/>
              </a:cxn>
              <a:cxn ang="0">
                <a:pos x="34" y="135"/>
              </a:cxn>
              <a:cxn ang="0">
                <a:pos x="29" y="135"/>
              </a:cxn>
              <a:cxn ang="0">
                <a:pos x="27" y="130"/>
              </a:cxn>
              <a:cxn ang="0">
                <a:pos x="22" y="130"/>
              </a:cxn>
              <a:cxn ang="0">
                <a:pos x="17" y="135"/>
              </a:cxn>
              <a:cxn ang="0">
                <a:pos x="12" y="140"/>
              </a:cxn>
              <a:cxn ang="0">
                <a:pos x="10" y="133"/>
              </a:cxn>
              <a:cxn ang="0">
                <a:pos x="2" y="126"/>
              </a:cxn>
            </a:cxnLst>
            <a:rect l="0" t="0" r="r" b="b"/>
            <a:pathLst>
              <a:path w="118" h="140">
                <a:moveTo>
                  <a:pt x="0" y="121"/>
                </a:moveTo>
                <a:lnTo>
                  <a:pt x="2" y="118"/>
                </a:lnTo>
                <a:lnTo>
                  <a:pt x="2" y="116"/>
                </a:lnTo>
                <a:lnTo>
                  <a:pt x="5" y="116"/>
                </a:lnTo>
                <a:lnTo>
                  <a:pt x="7" y="116"/>
                </a:lnTo>
                <a:lnTo>
                  <a:pt x="7" y="113"/>
                </a:lnTo>
                <a:lnTo>
                  <a:pt x="10" y="113"/>
                </a:lnTo>
                <a:lnTo>
                  <a:pt x="12" y="118"/>
                </a:lnTo>
                <a:lnTo>
                  <a:pt x="12" y="116"/>
                </a:lnTo>
                <a:lnTo>
                  <a:pt x="12" y="106"/>
                </a:lnTo>
                <a:lnTo>
                  <a:pt x="10" y="106"/>
                </a:lnTo>
                <a:lnTo>
                  <a:pt x="10" y="103"/>
                </a:lnTo>
                <a:lnTo>
                  <a:pt x="7" y="103"/>
                </a:lnTo>
                <a:lnTo>
                  <a:pt x="5" y="106"/>
                </a:lnTo>
                <a:lnTo>
                  <a:pt x="5" y="101"/>
                </a:lnTo>
                <a:lnTo>
                  <a:pt x="2" y="101"/>
                </a:lnTo>
                <a:lnTo>
                  <a:pt x="5" y="98"/>
                </a:lnTo>
                <a:lnTo>
                  <a:pt x="7" y="98"/>
                </a:lnTo>
                <a:lnTo>
                  <a:pt x="10" y="98"/>
                </a:lnTo>
                <a:lnTo>
                  <a:pt x="12" y="98"/>
                </a:lnTo>
                <a:lnTo>
                  <a:pt x="12" y="96"/>
                </a:lnTo>
                <a:lnTo>
                  <a:pt x="15" y="96"/>
                </a:lnTo>
                <a:lnTo>
                  <a:pt x="22" y="96"/>
                </a:lnTo>
                <a:lnTo>
                  <a:pt x="22" y="94"/>
                </a:lnTo>
                <a:lnTo>
                  <a:pt x="22" y="91"/>
                </a:lnTo>
                <a:lnTo>
                  <a:pt x="22" y="89"/>
                </a:lnTo>
                <a:lnTo>
                  <a:pt x="24" y="89"/>
                </a:lnTo>
                <a:lnTo>
                  <a:pt x="27" y="96"/>
                </a:lnTo>
                <a:lnTo>
                  <a:pt x="29" y="98"/>
                </a:lnTo>
                <a:lnTo>
                  <a:pt x="34" y="96"/>
                </a:lnTo>
                <a:lnTo>
                  <a:pt x="37" y="96"/>
                </a:lnTo>
                <a:lnTo>
                  <a:pt x="37" y="96"/>
                </a:lnTo>
                <a:lnTo>
                  <a:pt x="42" y="96"/>
                </a:lnTo>
                <a:lnTo>
                  <a:pt x="44" y="96"/>
                </a:lnTo>
                <a:lnTo>
                  <a:pt x="44" y="98"/>
                </a:lnTo>
                <a:lnTo>
                  <a:pt x="47" y="98"/>
                </a:lnTo>
                <a:lnTo>
                  <a:pt x="47" y="96"/>
                </a:lnTo>
                <a:lnTo>
                  <a:pt x="47" y="94"/>
                </a:lnTo>
                <a:lnTo>
                  <a:pt x="49" y="81"/>
                </a:lnTo>
                <a:lnTo>
                  <a:pt x="52" y="76"/>
                </a:lnTo>
                <a:lnTo>
                  <a:pt x="52" y="74"/>
                </a:lnTo>
                <a:lnTo>
                  <a:pt x="49" y="71"/>
                </a:lnTo>
                <a:lnTo>
                  <a:pt x="49" y="69"/>
                </a:lnTo>
                <a:lnTo>
                  <a:pt x="47" y="66"/>
                </a:lnTo>
                <a:lnTo>
                  <a:pt x="47" y="66"/>
                </a:lnTo>
                <a:lnTo>
                  <a:pt x="44" y="64"/>
                </a:lnTo>
                <a:lnTo>
                  <a:pt x="44" y="64"/>
                </a:lnTo>
                <a:lnTo>
                  <a:pt x="42" y="62"/>
                </a:lnTo>
                <a:lnTo>
                  <a:pt x="42" y="62"/>
                </a:lnTo>
                <a:lnTo>
                  <a:pt x="44" y="62"/>
                </a:lnTo>
                <a:lnTo>
                  <a:pt x="44" y="59"/>
                </a:lnTo>
                <a:lnTo>
                  <a:pt x="47" y="59"/>
                </a:lnTo>
                <a:lnTo>
                  <a:pt x="44" y="57"/>
                </a:lnTo>
                <a:lnTo>
                  <a:pt x="44" y="57"/>
                </a:lnTo>
                <a:lnTo>
                  <a:pt x="44" y="54"/>
                </a:lnTo>
                <a:lnTo>
                  <a:pt x="49" y="52"/>
                </a:lnTo>
                <a:lnTo>
                  <a:pt x="52" y="52"/>
                </a:lnTo>
                <a:lnTo>
                  <a:pt x="52" y="49"/>
                </a:lnTo>
                <a:lnTo>
                  <a:pt x="49" y="47"/>
                </a:lnTo>
                <a:lnTo>
                  <a:pt x="52" y="44"/>
                </a:lnTo>
                <a:lnTo>
                  <a:pt x="52" y="42"/>
                </a:lnTo>
                <a:lnTo>
                  <a:pt x="49" y="39"/>
                </a:lnTo>
                <a:lnTo>
                  <a:pt x="44" y="39"/>
                </a:lnTo>
                <a:lnTo>
                  <a:pt x="42" y="42"/>
                </a:lnTo>
                <a:lnTo>
                  <a:pt x="37" y="42"/>
                </a:lnTo>
                <a:lnTo>
                  <a:pt x="34" y="42"/>
                </a:lnTo>
                <a:lnTo>
                  <a:pt x="32" y="42"/>
                </a:lnTo>
                <a:lnTo>
                  <a:pt x="32" y="42"/>
                </a:lnTo>
                <a:lnTo>
                  <a:pt x="32" y="39"/>
                </a:lnTo>
                <a:lnTo>
                  <a:pt x="32" y="37"/>
                </a:lnTo>
                <a:lnTo>
                  <a:pt x="32" y="35"/>
                </a:lnTo>
                <a:lnTo>
                  <a:pt x="29" y="30"/>
                </a:lnTo>
                <a:lnTo>
                  <a:pt x="32" y="27"/>
                </a:lnTo>
                <a:lnTo>
                  <a:pt x="52" y="27"/>
                </a:lnTo>
                <a:lnTo>
                  <a:pt x="54" y="30"/>
                </a:lnTo>
                <a:lnTo>
                  <a:pt x="54" y="27"/>
                </a:lnTo>
                <a:lnTo>
                  <a:pt x="54" y="27"/>
                </a:lnTo>
                <a:lnTo>
                  <a:pt x="56" y="30"/>
                </a:lnTo>
                <a:lnTo>
                  <a:pt x="59" y="30"/>
                </a:lnTo>
                <a:lnTo>
                  <a:pt x="59" y="30"/>
                </a:lnTo>
                <a:lnTo>
                  <a:pt x="61" y="30"/>
                </a:lnTo>
                <a:lnTo>
                  <a:pt x="61" y="30"/>
                </a:lnTo>
                <a:lnTo>
                  <a:pt x="64" y="30"/>
                </a:lnTo>
                <a:lnTo>
                  <a:pt x="64" y="30"/>
                </a:lnTo>
                <a:lnTo>
                  <a:pt x="66" y="32"/>
                </a:lnTo>
                <a:lnTo>
                  <a:pt x="69" y="32"/>
                </a:lnTo>
                <a:lnTo>
                  <a:pt x="71" y="32"/>
                </a:lnTo>
                <a:lnTo>
                  <a:pt x="71" y="32"/>
                </a:lnTo>
                <a:lnTo>
                  <a:pt x="74" y="32"/>
                </a:lnTo>
                <a:lnTo>
                  <a:pt x="74" y="32"/>
                </a:lnTo>
                <a:lnTo>
                  <a:pt x="76" y="32"/>
                </a:lnTo>
                <a:lnTo>
                  <a:pt x="76" y="32"/>
                </a:lnTo>
                <a:lnTo>
                  <a:pt x="76" y="32"/>
                </a:lnTo>
                <a:lnTo>
                  <a:pt x="76" y="27"/>
                </a:lnTo>
                <a:lnTo>
                  <a:pt x="76" y="27"/>
                </a:lnTo>
                <a:lnTo>
                  <a:pt x="79" y="25"/>
                </a:lnTo>
                <a:lnTo>
                  <a:pt x="79" y="22"/>
                </a:lnTo>
                <a:lnTo>
                  <a:pt x="86" y="10"/>
                </a:lnTo>
                <a:lnTo>
                  <a:pt x="91" y="7"/>
                </a:lnTo>
                <a:lnTo>
                  <a:pt x="93" y="5"/>
                </a:lnTo>
                <a:lnTo>
                  <a:pt x="93" y="5"/>
                </a:lnTo>
                <a:lnTo>
                  <a:pt x="101" y="3"/>
                </a:lnTo>
                <a:lnTo>
                  <a:pt x="103" y="3"/>
                </a:lnTo>
                <a:lnTo>
                  <a:pt x="106" y="0"/>
                </a:lnTo>
                <a:lnTo>
                  <a:pt x="108" y="0"/>
                </a:lnTo>
                <a:lnTo>
                  <a:pt x="111" y="0"/>
                </a:lnTo>
                <a:lnTo>
                  <a:pt x="111" y="3"/>
                </a:lnTo>
                <a:lnTo>
                  <a:pt x="113" y="3"/>
                </a:lnTo>
                <a:lnTo>
                  <a:pt x="116" y="3"/>
                </a:lnTo>
                <a:lnTo>
                  <a:pt x="118" y="3"/>
                </a:lnTo>
                <a:lnTo>
                  <a:pt x="116" y="3"/>
                </a:lnTo>
                <a:lnTo>
                  <a:pt x="118" y="7"/>
                </a:lnTo>
                <a:lnTo>
                  <a:pt x="118" y="12"/>
                </a:lnTo>
                <a:lnTo>
                  <a:pt x="116" y="15"/>
                </a:lnTo>
                <a:lnTo>
                  <a:pt x="116" y="17"/>
                </a:lnTo>
                <a:lnTo>
                  <a:pt x="108" y="25"/>
                </a:lnTo>
                <a:lnTo>
                  <a:pt x="108" y="32"/>
                </a:lnTo>
                <a:lnTo>
                  <a:pt x="108" y="35"/>
                </a:lnTo>
                <a:lnTo>
                  <a:pt x="108" y="37"/>
                </a:lnTo>
                <a:lnTo>
                  <a:pt x="106" y="39"/>
                </a:lnTo>
                <a:lnTo>
                  <a:pt x="106" y="44"/>
                </a:lnTo>
                <a:lnTo>
                  <a:pt x="106" y="47"/>
                </a:lnTo>
                <a:lnTo>
                  <a:pt x="106" y="52"/>
                </a:lnTo>
                <a:lnTo>
                  <a:pt x="106" y="52"/>
                </a:lnTo>
                <a:lnTo>
                  <a:pt x="106" y="57"/>
                </a:lnTo>
                <a:lnTo>
                  <a:pt x="103" y="59"/>
                </a:lnTo>
                <a:lnTo>
                  <a:pt x="101" y="64"/>
                </a:lnTo>
                <a:lnTo>
                  <a:pt x="101" y="69"/>
                </a:lnTo>
                <a:lnTo>
                  <a:pt x="96" y="76"/>
                </a:lnTo>
                <a:lnTo>
                  <a:pt x="93" y="76"/>
                </a:lnTo>
                <a:lnTo>
                  <a:pt x="91" y="79"/>
                </a:lnTo>
                <a:lnTo>
                  <a:pt x="88" y="79"/>
                </a:lnTo>
                <a:lnTo>
                  <a:pt x="86" y="81"/>
                </a:lnTo>
                <a:lnTo>
                  <a:pt x="84" y="84"/>
                </a:lnTo>
                <a:lnTo>
                  <a:pt x="84" y="89"/>
                </a:lnTo>
                <a:lnTo>
                  <a:pt x="79" y="94"/>
                </a:lnTo>
                <a:lnTo>
                  <a:pt x="76" y="96"/>
                </a:lnTo>
                <a:lnTo>
                  <a:pt x="76" y="101"/>
                </a:lnTo>
                <a:lnTo>
                  <a:pt x="79" y="101"/>
                </a:lnTo>
                <a:lnTo>
                  <a:pt x="76" y="111"/>
                </a:lnTo>
                <a:lnTo>
                  <a:pt x="76" y="116"/>
                </a:lnTo>
                <a:lnTo>
                  <a:pt x="76" y="118"/>
                </a:lnTo>
                <a:lnTo>
                  <a:pt x="74" y="121"/>
                </a:lnTo>
                <a:lnTo>
                  <a:pt x="71" y="123"/>
                </a:lnTo>
                <a:lnTo>
                  <a:pt x="69" y="123"/>
                </a:lnTo>
                <a:lnTo>
                  <a:pt x="66" y="126"/>
                </a:lnTo>
                <a:lnTo>
                  <a:pt x="61" y="133"/>
                </a:lnTo>
                <a:lnTo>
                  <a:pt x="59" y="135"/>
                </a:lnTo>
                <a:lnTo>
                  <a:pt x="54" y="138"/>
                </a:lnTo>
                <a:lnTo>
                  <a:pt x="52" y="135"/>
                </a:lnTo>
                <a:lnTo>
                  <a:pt x="52" y="133"/>
                </a:lnTo>
                <a:lnTo>
                  <a:pt x="49" y="133"/>
                </a:lnTo>
                <a:lnTo>
                  <a:pt x="52" y="128"/>
                </a:lnTo>
                <a:lnTo>
                  <a:pt x="52" y="128"/>
                </a:lnTo>
                <a:lnTo>
                  <a:pt x="47" y="128"/>
                </a:lnTo>
                <a:lnTo>
                  <a:pt x="44" y="130"/>
                </a:lnTo>
                <a:lnTo>
                  <a:pt x="42" y="130"/>
                </a:lnTo>
                <a:lnTo>
                  <a:pt x="39" y="130"/>
                </a:lnTo>
                <a:lnTo>
                  <a:pt x="39" y="135"/>
                </a:lnTo>
                <a:lnTo>
                  <a:pt x="37" y="135"/>
                </a:lnTo>
                <a:lnTo>
                  <a:pt x="34" y="135"/>
                </a:lnTo>
                <a:lnTo>
                  <a:pt x="34" y="135"/>
                </a:lnTo>
                <a:lnTo>
                  <a:pt x="34" y="133"/>
                </a:lnTo>
                <a:lnTo>
                  <a:pt x="32" y="135"/>
                </a:lnTo>
                <a:lnTo>
                  <a:pt x="29" y="135"/>
                </a:lnTo>
                <a:lnTo>
                  <a:pt x="29" y="135"/>
                </a:lnTo>
                <a:lnTo>
                  <a:pt x="29" y="133"/>
                </a:lnTo>
                <a:lnTo>
                  <a:pt x="27" y="130"/>
                </a:lnTo>
                <a:lnTo>
                  <a:pt x="27" y="128"/>
                </a:lnTo>
                <a:lnTo>
                  <a:pt x="24" y="128"/>
                </a:lnTo>
                <a:lnTo>
                  <a:pt x="22" y="130"/>
                </a:lnTo>
                <a:lnTo>
                  <a:pt x="20" y="130"/>
                </a:lnTo>
                <a:lnTo>
                  <a:pt x="20" y="133"/>
                </a:lnTo>
                <a:lnTo>
                  <a:pt x="17" y="135"/>
                </a:lnTo>
                <a:lnTo>
                  <a:pt x="15" y="135"/>
                </a:lnTo>
                <a:lnTo>
                  <a:pt x="15" y="138"/>
                </a:lnTo>
                <a:lnTo>
                  <a:pt x="12" y="140"/>
                </a:lnTo>
                <a:lnTo>
                  <a:pt x="10" y="138"/>
                </a:lnTo>
                <a:lnTo>
                  <a:pt x="12" y="135"/>
                </a:lnTo>
                <a:lnTo>
                  <a:pt x="10" y="133"/>
                </a:lnTo>
                <a:lnTo>
                  <a:pt x="7" y="130"/>
                </a:lnTo>
                <a:lnTo>
                  <a:pt x="5" y="126"/>
                </a:lnTo>
                <a:lnTo>
                  <a:pt x="2" y="126"/>
                </a:lnTo>
                <a:lnTo>
                  <a:pt x="0" y="121"/>
                </a:lnTo>
                <a:lnTo>
                  <a:pt x="0" y="12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2" name="Freeform 141"/>
          <p:cNvSpPr>
            <a:spLocks/>
          </p:cNvSpPr>
          <p:nvPr/>
        </p:nvSpPr>
        <p:spPr bwMode="auto">
          <a:xfrm>
            <a:off x="5050860" y="4553826"/>
            <a:ext cx="27727" cy="38401"/>
          </a:xfrm>
          <a:custGeom>
            <a:avLst/>
            <a:gdLst/>
            <a:ahLst/>
            <a:cxnLst>
              <a:cxn ang="0">
                <a:pos x="17" y="7"/>
              </a:cxn>
              <a:cxn ang="0">
                <a:pos x="17" y="5"/>
              </a:cxn>
              <a:cxn ang="0">
                <a:pos x="15" y="2"/>
              </a:cxn>
              <a:cxn ang="0">
                <a:pos x="15" y="0"/>
              </a:cxn>
              <a:cxn ang="0">
                <a:pos x="12" y="0"/>
              </a:cxn>
              <a:cxn ang="0">
                <a:pos x="10" y="2"/>
              </a:cxn>
              <a:cxn ang="0">
                <a:pos x="8" y="2"/>
              </a:cxn>
              <a:cxn ang="0">
                <a:pos x="8" y="5"/>
              </a:cxn>
              <a:cxn ang="0">
                <a:pos x="5" y="7"/>
              </a:cxn>
              <a:cxn ang="0">
                <a:pos x="3" y="7"/>
              </a:cxn>
              <a:cxn ang="0">
                <a:pos x="3" y="10"/>
              </a:cxn>
              <a:cxn ang="0">
                <a:pos x="0" y="12"/>
              </a:cxn>
              <a:cxn ang="0">
                <a:pos x="3" y="15"/>
              </a:cxn>
              <a:cxn ang="0">
                <a:pos x="3" y="17"/>
              </a:cxn>
              <a:cxn ang="0">
                <a:pos x="3" y="22"/>
              </a:cxn>
              <a:cxn ang="0">
                <a:pos x="3" y="25"/>
              </a:cxn>
              <a:cxn ang="0">
                <a:pos x="5" y="22"/>
              </a:cxn>
              <a:cxn ang="0">
                <a:pos x="8" y="22"/>
              </a:cxn>
              <a:cxn ang="0">
                <a:pos x="10" y="20"/>
              </a:cxn>
              <a:cxn ang="0">
                <a:pos x="10" y="15"/>
              </a:cxn>
              <a:cxn ang="0">
                <a:pos x="10" y="12"/>
              </a:cxn>
              <a:cxn ang="0">
                <a:pos x="15" y="10"/>
              </a:cxn>
              <a:cxn ang="0">
                <a:pos x="17" y="7"/>
              </a:cxn>
              <a:cxn ang="0">
                <a:pos x="17" y="7"/>
              </a:cxn>
            </a:cxnLst>
            <a:rect l="0" t="0" r="r" b="b"/>
            <a:pathLst>
              <a:path w="17" h="25">
                <a:moveTo>
                  <a:pt x="17" y="7"/>
                </a:moveTo>
                <a:lnTo>
                  <a:pt x="17" y="5"/>
                </a:lnTo>
                <a:lnTo>
                  <a:pt x="15" y="2"/>
                </a:lnTo>
                <a:lnTo>
                  <a:pt x="15" y="0"/>
                </a:lnTo>
                <a:lnTo>
                  <a:pt x="12" y="0"/>
                </a:lnTo>
                <a:lnTo>
                  <a:pt x="10" y="2"/>
                </a:lnTo>
                <a:lnTo>
                  <a:pt x="8" y="2"/>
                </a:lnTo>
                <a:lnTo>
                  <a:pt x="8" y="5"/>
                </a:lnTo>
                <a:lnTo>
                  <a:pt x="5" y="7"/>
                </a:lnTo>
                <a:lnTo>
                  <a:pt x="3" y="7"/>
                </a:lnTo>
                <a:lnTo>
                  <a:pt x="3" y="10"/>
                </a:lnTo>
                <a:lnTo>
                  <a:pt x="0" y="12"/>
                </a:lnTo>
                <a:lnTo>
                  <a:pt x="3" y="15"/>
                </a:lnTo>
                <a:lnTo>
                  <a:pt x="3" y="17"/>
                </a:lnTo>
                <a:lnTo>
                  <a:pt x="3" y="22"/>
                </a:lnTo>
                <a:lnTo>
                  <a:pt x="3" y="25"/>
                </a:lnTo>
                <a:lnTo>
                  <a:pt x="5" y="22"/>
                </a:lnTo>
                <a:lnTo>
                  <a:pt x="8" y="22"/>
                </a:lnTo>
                <a:lnTo>
                  <a:pt x="10" y="20"/>
                </a:lnTo>
                <a:lnTo>
                  <a:pt x="10" y="15"/>
                </a:lnTo>
                <a:lnTo>
                  <a:pt x="10" y="12"/>
                </a:lnTo>
                <a:lnTo>
                  <a:pt x="15" y="10"/>
                </a:lnTo>
                <a:lnTo>
                  <a:pt x="17" y="7"/>
                </a:lnTo>
                <a:lnTo>
                  <a:pt x="17"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3" name="Freeform 142"/>
          <p:cNvSpPr>
            <a:spLocks/>
          </p:cNvSpPr>
          <p:nvPr/>
        </p:nvSpPr>
        <p:spPr bwMode="auto">
          <a:xfrm>
            <a:off x="5487957" y="4470880"/>
            <a:ext cx="285418" cy="271879"/>
          </a:xfrm>
          <a:custGeom>
            <a:avLst/>
            <a:gdLst/>
            <a:ahLst/>
            <a:cxnLst>
              <a:cxn ang="0">
                <a:pos x="22" y="2"/>
              </a:cxn>
              <a:cxn ang="0">
                <a:pos x="74" y="0"/>
              </a:cxn>
              <a:cxn ang="0">
                <a:pos x="133" y="39"/>
              </a:cxn>
              <a:cxn ang="0">
                <a:pos x="155" y="56"/>
              </a:cxn>
              <a:cxn ang="0">
                <a:pos x="155" y="61"/>
              </a:cxn>
              <a:cxn ang="0">
                <a:pos x="148" y="79"/>
              </a:cxn>
              <a:cxn ang="0">
                <a:pos x="155" y="91"/>
              </a:cxn>
              <a:cxn ang="0">
                <a:pos x="160" y="96"/>
              </a:cxn>
              <a:cxn ang="0">
                <a:pos x="155" y="101"/>
              </a:cxn>
              <a:cxn ang="0">
                <a:pos x="158" y="113"/>
              </a:cxn>
              <a:cxn ang="0">
                <a:pos x="158" y="123"/>
              </a:cxn>
              <a:cxn ang="0">
                <a:pos x="158" y="128"/>
              </a:cxn>
              <a:cxn ang="0">
                <a:pos x="160" y="133"/>
              </a:cxn>
              <a:cxn ang="0">
                <a:pos x="168" y="145"/>
              </a:cxn>
              <a:cxn ang="0">
                <a:pos x="175" y="150"/>
              </a:cxn>
              <a:cxn ang="0">
                <a:pos x="173" y="152"/>
              </a:cxn>
              <a:cxn ang="0">
                <a:pos x="165" y="155"/>
              </a:cxn>
              <a:cxn ang="0">
                <a:pos x="158" y="160"/>
              </a:cxn>
              <a:cxn ang="0">
                <a:pos x="150" y="160"/>
              </a:cxn>
              <a:cxn ang="0">
                <a:pos x="141" y="165"/>
              </a:cxn>
              <a:cxn ang="0">
                <a:pos x="133" y="162"/>
              </a:cxn>
              <a:cxn ang="0">
                <a:pos x="133" y="167"/>
              </a:cxn>
              <a:cxn ang="0">
                <a:pos x="123" y="167"/>
              </a:cxn>
              <a:cxn ang="0">
                <a:pos x="118" y="165"/>
              </a:cxn>
              <a:cxn ang="0">
                <a:pos x="113" y="170"/>
              </a:cxn>
              <a:cxn ang="0">
                <a:pos x="106" y="167"/>
              </a:cxn>
              <a:cxn ang="0">
                <a:pos x="101" y="165"/>
              </a:cxn>
              <a:cxn ang="0">
                <a:pos x="99" y="165"/>
              </a:cxn>
              <a:cxn ang="0">
                <a:pos x="79" y="177"/>
              </a:cxn>
              <a:cxn ang="0">
                <a:pos x="72" y="140"/>
              </a:cxn>
              <a:cxn ang="0">
                <a:pos x="69" y="135"/>
              </a:cxn>
              <a:cxn ang="0">
                <a:pos x="64" y="135"/>
              </a:cxn>
              <a:cxn ang="0">
                <a:pos x="62" y="135"/>
              </a:cxn>
              <a:cxn ang="0">
                <a:pos x="57" y="133"/>
              </a:cxn>
              <a:cxn ang="0">
                <a:pos x="54" y="130"/>
              </a:cxn>
              <a:cxn ang="0">
                <a:pos x="50" y="125"/>
              </a:cxn>
              <a:cxn ang="0">
                <a:pos x="37" y="123"/>
              </a:cxn>
              <a:cxn ang="0">
                <a:pos x="32" y="118"/>
              </a:cxn>
              <a:cxn ang="0">
                <a:pos x="27" y="118"/>
              </a:cxn>
              <a:cxn ang="0">
                <a:pos x="8" y="88"/>
              </a:cxn>
              <a:cxn ang="0">
                <a:pos x="10" y="56"/>
              </a:cxn>
              <a:cxn ang="0">
                <a:pos x="20" y="47"/>
              </a:cxn>
              <a:cxn ang="0">
                <a:pos x="27" y="42"/>
              </a:cxn>
              <a:cxn ang="0">
                <a:pos x="25" y="34"/>
              </a:cxn>
              <a:cxn ang="0">
                <a:pos x="22" y="29"/>
              </a:cxn>
              <a:cxn ang="0">
                <a:pos x="22" y="27"/>
              </a:cxn>
              <a:cxn ang="0">
                <a:pos x="27" y="24"/>
              </a:cxn>
              <a:cxn ang="0">
                <a:pos x="27" y="17"/>
              </a:cxn>
              <a:cxn ang="0">
                <a:pos x="25" y="10"/>
              </a:cxn>
              <a:cxn ang="0">
                <a:pos x="20" y="5"/>
              </a:cxn>
            </a:cxnLst>
            <a:rect l="0" t="0" r="r" b="b"/>
            <a:pathLst>
              <a:path w="175" h="177">
                <a:moveTo>
                  <a:pt x="20" y="5"/>
                </a:moveTo>
                <a:lnTo>
                  <a:pt x="22" y="2"/>
                </a:lnTo>
                <a:lnTo>
                  <a:pt x="22" y="2"/>
                </a:lnTo>
                <a:lnTo>
                  <a:pt x="25" y="2"/>
                </a:lnTo>
                <a:lnTo>
                  <a:pt x="42" y="2"/>
                </a:lnTo>
                <a:lnTo>
                  <a:pt x="74" y="0"/>
                </a:lnTo>
                <a:lnTo>
                  <a:pt x="131" y="34"/>
                </a:lnTo>
                <a:lnTo>
                  <a:pt x="136" y="39"/>
                </a:lnTo>
                <a:lnTo>
                  <a:pt x="133" y="39"/>
                </a:lnTo>
                <a:lnTo>
                  <a:pt x="136" y="42"/>
                </a:lnTo>
                <a:lnTo>
                  <a:pt x="136" y="44"/>
                </a:lnTo>
                <a:lnTo>
                  <a:pt x="155" y="56"/>
                </a:lnTo>
                <a:lnTo>
                  <a:pt x="155" y="56"/>
                </a:lnTo>
                <a:lnTo>
                  <a:pt x="155" y="59"/>
                </a:lnTo>
                <a:lnTo>
                  <a:pt x="155" y="61"/>
                </a:lnTo>
                <a:lnTo>
                  <a:pt x="155" y="61"/>
                </a:lnTo>
                <a:lnTo>
                  <a:pt x="150" y="71"/>
                </a:lnTo>
                <a:lnTo>
                  <a:pt x="148" y="79"/>
                </a:lnTo>
                <a:lnTo>
                  <a:pt x="148" y="81"/>
                </a:lnTo>
                <a:lnTo>
                  <a:pt x="153" y="86"/>
                </a:lnTo>
                <a:lnTo>
                  <a:pt x="155" y="91"/>
                </a:lnTo>
                <a:lnTo>
                  <a:pt x="158" y="88"/>
                </a:lnTo>
                <a:lnTo>
                  <a:pt x="160" y="96"/>
                </a:lnTo>
                <a:lnTo>
                  <a:pt x="160" y="96"/>
                </a:lnTo>
                <a:lnTo>
                  <a:pt x="158" y="96"/>
                </a:lnTo>
                <a:lnTo>
                  <a:pt x="155" y="98"/>
                </a:lnTo>
                <a:lnTo>
                  <a:pt x="155" y="101"/>
                </a:lnTo>
                <a:lnTo>
                  <a:pt x="155" y="108"/>
                </a:lnTo>
                <a:lnTo>
                  <a:pt x="158" y="111"/>
                </a:lnTo>
                <a:lnTo>
                  <a:pt x="158" y="113"/>
                </a:lnTo>
                <a:lnTo>
                  <a:pt x="155" y="115"/>
                </a:lnTo>
                <a:lnTo>
                  <a:pt x="155" y="118"/>
                </a:lnTo>
                <a:lnTo>
                  <a:pt x="158" y="123"/>
                </a:lnTo>
                <a:lnTo>
                  <a:pt x="158" y="123"/>
                </a:lnTo>
                <a:lnTo>
                  <a:pt x="158" y="125"/>
                </a:lnTo>
                <a:lnTo>
                  <a:pt x="158" y="128"/>
                </a:lnTo>
                <a:lnTo>
                  <a:pt x="160" y="128"/>
                </a:lnTo>
                <a:lnTo>
                  <a:pt x="158" y="133"/>
                </a:lnTo>
                <a:lnTo>
                  <a:pt x="160" y="133"/>
                </a:lnTo>
                <a:lnTo>
                  <a:pt x="163" y="138"/>
                </a:lnTo>
                <a:lnTo>
                  <a:pt x="160" y="140"/>
                </a:lnTo>
                <a:lnTo>
                  <a:pt x="168" y="145"/>
                </a:lnTo>
                <a:lnTo>
                  <a:pt x="170" y="145"/>
                </a:lnTo>
                <a:lnTo>
                  <a:pt x="175" y="150"/>
                </a:lnTo>
                <a:lnTo>
                  <a:pt x="175" y="150"/>
                </a:lnTo>
                <a:lnTo>
                  <a:pt x="175" y="150"/>
                </a:lnTo>
                <a:lnTo>
                  <a:pt x="175" y="150"/>
                </a:lnTo>
                <a:lnTo>
                  <a:pt x="173" y="152"/>
                </a:lnTo>
                <a:lnTo>
                  <a:pt x="170" y="152"/>
                </a:lnTo>
                <a:lnTo>
                  <a:pt x="168" y="155"/>
                </a:lnTo>
                <a:lnTo>
                  <a:pt x="165" y="155"/>
                </a:lnTo>
                <a:lnTo>
                  <a:pt x="163" y="157"/>
                </a:lnTo>
                <a:lnTo>
                  <a:pt x="160" y="160"/>
                </a:lnTo>
                <a:lnTo>
                  <a:pt x="158" y="160"/>
                </a:lnTo>
                <a:lnTo>
                  <a:pt x="155" y="160"/>
                </a:lnTo>
                <a:lnTo>
                  <a:pt x="153" y="162"/>
                </a:lnTo>
                <a:lnTo>
                  <a:pt x="150" y="160"/>
                </a:lnTo>
                <a:lnTo>
                  <a:pt x="145" y="162"/>
                </a:lnTo>
                <a:lnTo>
                  <a:pt x="143" y="162"/>
                </a:lnTo>
                <a:lnTo>
                  <a:pt x="141" y="165"/>
                </a:lnTo>
                <a:lnTo>
                  <a:pt x="138" y="162"/>
                </a:lnTo>
                <a:lnTo>
                  <a:pt x="136" y="162"/>
                </a:lnTo>
                <a:lnTo>
                  <a:pt x="133" y="162"/>
                </a:lnTo>
                <a:lnTo>
                  <a:pt x="133" y="162"/>
                </a:lnTo>
                <a:lnTo>
                  <a:pt x="133" y="165"/>
                </a:lnTo>
                <a:lnTo>
                  <a:pt x="133" y="167"/>
                </a:lnTo>
                <a:lnTo>
                  <a:pt x="128" y="167"/>
                </a:lnTo>
                <a:lnTo>
                  <a:pt x="126" y="167"/>
                </a:lnTo>
                <a:lnTo>
                  <a:pt x="123" y="167"/>
                </a:lnTo>
                <a:lnTo>
                  <a:pt x="121" y="167"/>
                </a:lnTo>
                <a:lnTo>
                  <a:pt x="121" y="167"/>
                </a:lnTo>
                <a:lnTo>
                  <a:pt x="118" y="165"/>
                </a:lnTo>
                <a:lnTo>
                  <a:pt x="118" y="167"/>
                </a:lnTo>
                <a:lnTo>
                  <a:pt x="116" y="167"/>
                </a:lnTo>
                <a:lnTo>
                  <a:pt x="113" y="170"/>
                </a:lnTo>
                <a:lnTo>
                  <a:pt x="109" y="170"/>
                </a:lnTo>
                <a:lnTo>
                  <a:pt x="109" y="170"/>
                </a:lnTo>
                <a:lnTo>
                  <a:pt x="106" y="167"/>
                </a:lnTo>
                <a:lnTo>
                  <a:pt x="106" y="167"/>
                </a:lnTo>
                <a:lnTo>
                  <a:pt x="104" y="165"/>
                </a:lnTo>
                <a:lnTo>
                  <a:pt x="101" y="165"/>
                </a:lnTo>
                <a:lnTo>
                  <a:pt x="101" y="165"/>
                </a:lnTo>
                <a:lnTo>
                  <a:pt x="99" y="165"/>
                </a:lnTo>
                <a:lnTo>
                  <a:pt x="99" y="165"/>
                </a:lnTo>
                <a:lnTo>
                  <a:pt x="96" y="167"/>
                </a:lnTo>
                <a:lnTo>
                  <a:pt x="82" y="167"/>
                </a:lnTo>
                <a:lnTo>
                  <a:pt x="79" y="177"/>
                </a:lnTo>
                <a:lnTo>
                  <a:pt x="79" y="152"/>
                </a:lnTo>
                <a:lnTo>
                  <a:pt x="77" y="145"/>
                </a:lnTo>
                <a:lnTo>
                  <a:pt x="72" y="140"/>
                </a:lnTo>
                <a:lnTo>
                  <a:pt x="72" y="138"/>
                </a:lnTo>
                <a:lnTo>
                  <a:pt x="69" y="138"/>
                </a:lnTo>
                <a:lnTo>
                  <a:pt x="69" y="135"/>
                </a:lnTo>
                <a:lnTo>
                  <a:pt x="67" y="135"/>
                </a:lnTo>
                <a:lnTo>
                  <a:pt x="67" y="135"/>
                </a:lnTo>
                <a:lnTo>
                  <a:pt x="64" y="135"/>
                </a:lnTo>
                <a:lnTo>
                  <a:pt x="64" y="135"/>
                </a:lnTo>
                <a:lnTo>
                  <a:pt x="62" y="135"/>
                </a:lnTo>
                <a:lnTo>
                  <a:pt x="62" y="135"/>
                </a:lnTo>
                <a:lnTo>
                  <a:pt x="59" y="133"/>
                </a:lnTo>
                <a:lnTo>
                  <a:pt x="59" y="133"/>
                </a:lnTo>
                <a:lnTo>
                  <a:pt x="57" y="133"/>
                </a:lnTo>
                <a:lnTo>
                  <a:pt x="57" y="133"/>
                </a:lnTo>
                <a:lnTo>
                  <a:pt x="57" y="133"/>
                </a:lnTo>
                <a:lnTo>
                  <a:pt x="54" y="130"/>
                </a:lnTo>
                <a:lnTo>
                  <a:pt x="52" y="128"/>
                </a:lnTo>
                <a:lnTo>
                  <a:pt x="50" y="128"/>
                </a:lnTo>
                <a:lnTo>
                  <a:pt x="50" y="125"/>
                </a:lnTo>
                <a:lnTo>
                  <a:pt x="47" y="125"/>
                </a:lnTo>
                <a:lnTo>
                  <a:pt x="40" y="123"/>
                </a:lnTo>
                <a:lnTo>
                  <a:pt x="37" y="123"/>
                </a:lnTo>
                <a:lnTo>
                  <a:pt x="35" y="120"/>
                </a:lnTo>
                <a:lnTo>
                  <a:pt x="35" y="120"/>
                </a:lnTo>
                <a:lnTo>
                  <a:pt x="32" y="118"/>
                </a:lnTo>
                <a:lnTo>
                  <a:pt x="32" y="118"/>
                </a:lnTo>
                <a:lnTo>
                  <a:pt x="30" y="118"/>
                </a:lnTo>
                <a:lnTo>
                  <a:pt x="27" y="118"/>
                </a:lnTo>
                <a:lnTo>
                  <a:pt x="22" y="115"/>
                </a:lnTo>
                <a:lnTo>
                  <a:pt x="18" y="103"/>
                </a:lnTo>
                <a:lnTo>
                  <a:pt x="8" y="88"/>
                </a:lnTo>
                <a:lnTo>
                  <a:pt x="3" y="69"/>
                </a:lnTo>
                <a:lnTo>
                  <a:pt x="0" y="56"/>
                </a:lnTo>
                <a:lnTo>
                  <a:pt x="10" y="56"/>
                </a:lnTo>
                <a:lnTo>
                  <a:pt x="15" y="54"/>
                </a:lnTo>
                <a:lnTo>
                  <a:pt x="18" y="52"/>
                </a:lnTo>
                <a:lnTo>
                  <a:pt x="20" y="47"/>
                </a:lnTo>
                <a:lnTo>
                  <a:pt x="22" y="44"/>
                </a:lnTo>
                <a:lnTo>
                  <a:pt x="25" y="44"/>
                </a:lnTo>
                <a:lnTo>
                  <a:pt x="27" y="42"/>
                </a:lnTo>
                <a:lnTo>
                  <a:pt x="27" y="39"/>
                </a:lnTo>
                <a:lnTo>
                  <a:pt x="27" y="34"/>
                </a:lnTo>
                <a:lnTo>
                  <a:pt x="25" y="34"/>
                </a:lnTo>
                <a:lnTo>
                  <a:pt x="25" y="32"/>
                </a:lnTo>
                <a:lnTo>
                  <a:pt x="22" y="29"/>
                </a:lnTo>
                <a:lnTo>
                  <a:pt x="22" y="29"/>
                </a:lnTo>
                <a:lnTo>
                  <a:pt x="22" y="27"/>
                </a:lnTo>
                <a:lnTo>
                  <a:pt x="22" y="24"/>
                </a:lnTo>
                <a:lnTo>
                  <a:pt x="22" y="27"/>
                </a:lnTo>
                <a:lnTo>
                  <a:pt x="22" y="27"/>
                </a:lnTo>
                <a:lnTo>
                  <a:pt x="25" y="24"/>
                </a:lnTo>
                <a:lnTo>
                  <a:pt x="27" y="24"/>
                </a:lnTo>
                <a:lnTo>
                  <a:pt x="27" y="22"/>
                </a:lnTo>
                <a:lnTo>
                  <a:pt x="27" y="20"/>
                </a:lnTo>
                <a:lnTo>
                  <a:pt x="27" y="17"/>
                </a:lnTo>
                <a:lnTo>
                  <a:pt x="27" y="12"/>
                </a:lnTo>
                <a:lnTo>
                  <a:pt x="25" y="10"/>
                </a:lnTo>
                <a:lnTo>
                  <a:pt x="25" y="10"/>
                </a:lnTo>
                <a:lnTo>
                  <a:pt x="22" y="7"/>
                </a:lnTo>
                <a:lnTo>
                  <a:pt x="20" y="5"/>
                </a:lnTo>
                <a:lnTo>
                  <a:pt x="20"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4" name="Freeform 143"/>
          <p:cNvSpPr>
            <a:spLocks/>
          </p:cNvSpPr>
          <p:nvPr/>
        </p:nvSpPr>
        <p:spPr bwMode="auto">
          <a:xfrm>
            <a:off x="5484696" y="4478560"/>
            <a:ext cx="47299" cy="36865"/>
          </a:xfrm>
          <a:custGeom>
            <a:avLst/>
            <a:gdLst/>
            <a:ahLst/>
            <a:cxnLst>
              <a:cxn ang="0">
                <a:pos x="7" y="2"/>
              </a:cxn>
              <a:cxn ang="0">
                <a:pos x="7" y="2"/>
              </a:cxn>
              <a:cxn ang="0">
                <a:pos x="10" y="2"/>
              </a:cxn>
              <a:cxn ang="0">
                <a:pos x="15" y="0"/>
              </a:cxn>
              <a:cxn ang="0">
                <a:pos x="15" y="2"/>
              </a:cxn>
              <a:cxn ang="0">
                <a:pos x="17" y="2"/>
              </a:cxn>
              <a:cxn ang="0">
                <a:pos x="20" y="2"/>
              </a:cxn>
              <a:cxn ang="0">
                <a:pos x="20" y="2"/>
              </a:cxn>
              <a:cxn ang="0">
                <a:pos x="20" y="0"/>
              </a:cxn>
              <a:cxn ang="0">
                <a:pos x="22" y="0"/>
              </a:cxn>
              <a:cxn ang="0">
                <a:pos x="24" y="2"/>
              </a:cxn>
              <a:cxn ang="0">
                <a:pos x="27" y="5"/>
              </a:cxn>
              <a:cxn ang="0">
                <a:pos x="27" y="5"/>
              </a:cxn>
              <a:cxn ang="0">
                <a:pos x="29" y="7"/>
              </a:cxn>
              <a:cxn ang="0">
                <a:pos x="29" y="12"/>
              </a:cxn>
              <a:cxn ang="0">
                <a:pos x="29" y="15"/>
              </a:cxn>
              <a:cxn ang="0">
                <a:pos x="29" y="17"/>
              </a:cxn>
              <a:cxn ang="0">
                <a:pos x="29" y="19"/>
              </a:cxn>
              <a:cxn ang="0">
                <a:pos x="27" y="19"/>
              </a:cxn>
              <a:cxn ang="0">
                <a:pos x="24" y="22"/>
              </a:cxn>
              <a:cxn ang="0">
                <a:pos x="24" y="22"/>
              </a:cxn>
              <a:cxn ang="0">
                <a:pos x="24" y="19"/>
              </a:cxn>
              <a:cxn ang="0">
                <a:pos x="24" y="19"/>
              </a:cxn>
              <a:cxn ang="0">
                <a:pos x="22" y="19"/>
              </a:cxn>
              <a:cxn ang="0">
                <a:pos x="22" y="17"/>
              </a:cxn>
              <a:cxn ang="0">
                <a:pos x="20" y="17"/>
              </a:cxn>
              <a:cxn ang="0">
                <a:pos x="17" y="15"/>
              </a:cxn>
              <a:cxn ang="0">
                <a:pos x="17" y="15"/>
              </a:cxn>
              <a:cxn ang="0">
                <a:pos x="17" y="17"/>
              </a:cxn>
              <a:cxn ang="0">
                <a:pos x="15" y="22"/>
              </a:cxn>
              <a:cxn ang="0">
                <a:pos x="15" y="24"/>
              </a:cxn>
              <a:cxn ang="0">
                <a:pos x="12" y="24"/>
              </a:cxn>
              <a:cxn ang="0">
                <a:pos x="10" y="24"/>
              </a:cxn>
              <a:cxn ang="0">
                <a:pos x="10" y="24"/>
              </a:cxn>
              <a:cxn ang="0">
                <a:pos x="7" y="24"/>
              </a:cxn>
              <a:cxn ang="0">
                <a:pos x="5" y="24"/>
              </a:cxn>
              <a:cxn ang="0">
                <a:pos x="5" y="22"/>
              </a:cxn>
              <a:cxn ang="0">
                <a:pos x="2" y="19"/>
              </a:cxn>
              <a:cxn ang="0">
                <a:pos x="0" y="19"/>
              </a:cxn>
              <a:cxn ang="0">
                <a:pos x="0" y="22"/>
              </a:cxn>
              <a:cxn ang="0">
                <a:pos x="0" y="19"/>
              </a:cxn>
              <a:cxn ang="0">
                <a:pos x="2" y="10"/>
              </a:cxn>
              <a:cxn ang="0">
                <a:pos x="5" y="5"/>
              </a:cxn>
              <a:cxn ang="0">
                <a:pos x="7" y="2"/>
              </a:cxn>
              <a:cxn ang="0">
                <a:pos x="7" y="2"/>
              </a:cxn>
            </a:cxnLst>
            <a:rect l="0" t="0" r="r" b="b"/>
            <a:pathLst>
              <a:path w="29" h="24">
                <a:moveTo>
                  <a:pt x="7" y="2"/>
                </a:moveTo>
                <a:lnTo>
                  <a:pt x="7" y="2"/>
                </a:lnTo>
                <a:lnTo>
                  <a:pt x="10" y="2"/>
                </a:lnTo>
                <a:lnTo>
                  <a:pt x="15" y="0"/>
                </a:lnTo>
                <a:lnTo>
                  <a:pt x="15" y="2"/>
                </a:lnTo>
                <a:lnTo>
                  <a:pt x="17" y="2"/>
                </a:lnTo>
                <a:lnTo>
                  <a:pt x="20" y="2"/>
                </a:lnTo>
                <a:lnTo>
                  <a:pt x="20" y="2"/>
                </a:lnTo>
                <a:lnTo>
                  <a:pt x="20" y="0"/>
                </a:lnTo>
                <a:lnTo>
                  <a:pt x="22" y="0"/>
                </a:lnTo>
                <a:lnTo>
                  <a:pt x="24" y="2"/>
                </a:lnTo>
                <a:lnTo>
                  <a:pt x="27" y="5"/>
                </a:lnTo>
                <a:lnTo>
                  <a:pt x="27" y="5"/>
                </a:lnTo>
                <a:lnTo>
                  <a:pt x="29" y="7"/>
                </a:lnTo>
                <a:lnTo>
                  <a:pt x="29" y="12"/>
                </a:lnTo>
                <a:lnTo>
                  <a:pt x="29" y="15"/>
                </a:lnTo>
                <a:lnTo>
                  <a:pt x="29" y="17"/>
                </a:lnTo>
                <a:lnTo>
                  <a:pt x="29" y="19"/>
                </a:lnTo>
                <a:lnTo>
                  <a:pt x="27" y="19"/>
                </a:lnTo>
                <a:lnTo>
                  <a:pt x="24" y="22"/>
                </a:lnTo>
                <a:lnTo>
                  <a:pt x="24" y="22"/>
                </a:lnTo>
                <a:lnTo>
                  <a:pt x="24" y="19"/>
                </a:lnTo>
                <a:lnTo>
                  <a:pt x="24" y="19"/>
                </a:lnTo>
                <a:lnTo>
                  <a:pt x="22" y="19"/>
                </a:lnTo>
                <a:lnTo>
                  <a:pt x="22" y="17"/>
                </a:lnTo>
                <a:lnTo>
                  <a:pt x="20" y="17"/>
                </a:lnTo>
                <a:lnTo>
                  <a:pt x="17" y="15"/>
                </a:lnTo>
                <a:lnTo>
                  <a:pt x="17" y="15"/>
                </a:lnTo>
                <a:lnTo>
                  <a:pt x="17" y="17"/>
                </a:lnTo>
                <a:lnTo>
                  <a:pt x="15" y="22"/>
                </a:lnTo>
                <a:lnTo>
                  <a:pt x="15" y="24"/>
                </a:lnTo>
                <a:lnTo>
                  <a:pt x="12" y="24"/>
                </a:lnTo>
                <a:lnTo>
                  <a:pt x="10" y="24"/>
                </a:lnTo>
                <a:lnTo>
                  <a:pt x="10" y="24"/>
                </a:lnTo>
                <a:lnTo>
                  <a:pt x="7" y="24"/>
                </a:lnTo>
                <a:lnTo>
                  <a:pt x="5" y="24"/>
                </a:lnTo>
                <a:lnTo>
                  <a:pt x="5" y="22"/>
                </a:lnTo>
                <a:lnTo>
                  <a:pt x="2" y="19"/>
                </a:lnTo>
                <a:lnTo>
                  <a:pt x="0" y="19"/>
                </a:lnTo>
                <a:lnTo>
                  <a:pt x="0" y="22"/>
                </a:lnTo>
                <a:lnTo>
                  <a:pt x="0" y="19"/>
                </a:lnTo>
                <a:lnTo>
                  <a:pt x="2" y="10"/>
                </a:lnTo>
                <a:lnTo>
                  <a:pt x="5" y="5"/>
                </a:lnTo>
                <a:lnTo>
                  <a:pt x="7" y="2"/>
                </a:lnTo>
                <a:lnTo>
                  <a:pt x="7"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5" name="Freeform 144"/>
          <p:cNvSpPr>
            <a:spLocks/>
          </p:cNvSpPr>
          <p:nvPr/>
        </p:nvSpPr>
        <p:spPr bwMode="auto">
          <a:xfrm>
            <a:off x="5479803" y="4501600"/>
            <a:ext cx="52191" cy="55297"/>
          </a:xfrm>
          <a:custGeom>
            <a:avLst/>
            <a:gdLst/>
            <a:ahLst/>
            <a:cxnLst>
              <a:cxn ang="0">
                <a:pos x="5" y="36"/>
              </a:cxn>
              <a:cxn ang="0">
                <a:pos x="15" y="36"/>
              </a:cxn>
              <a:cxn ang="0">
                <a:pos x="20" y="34"/>
              </a:cxn>
              <a:cxn ang="0">
                <a:pos x="23" y="32"/>
              </a:cxn>
              <a:cxn ang="0">
                <a:pos x="25" y="27"/>
              </a:cxn>
              <a:cxn ang="0">
                <a:pos x="27" y="24"/>
              </a:cxn>
              <a:cxn ang="0">
                <a:pos x="30" y="24"/>
              </a:cxn>
              <a:cxn ang="0">
                <a:pos x="32" y="22"/>
              </a:cxn>
              <a:cxn ang="0">
                <a:pos x="32" y="19"/>
              </a:cxn>
              <a:cxn ang="0">
                <a:pos x="32" y="14"/>
              </a:cxn>
              <a:cxn ang="0">
                <a:pos x="30" y="14"/>
              </a:cxn>
              <a:cxn ang="0">
                <a:pos x="30" y="12"/>
              </a:cxn>
              <a:cxn ang="0">
                <a:pos x="27" y="9"/>
              </a:cxn>
              <a:cxn ang="0">
                <a:pos x="27" y="9"/>
              </a:cxn>
              <a:cxn ang="0">
                <a:pos x="27" y="7"/>
              </a:cxn>
              <a:cxn ang="0">
                <a:pos x="27" y="4"/>
              </a:cxn>
              <a:cxn ang="0">
                <a:pos x="25" y="4"/>
              </a:cxn>
              <a:cxn ang="0">
                <a:pos x="25" y="2"/>
              </a:cxn>
              <a:cxn ang="0">
                <a:pos x="23" y="2"/>
              </a:cxn>
              <a:cxn ang="0">
                <a:pos x="20" y="0"/>
              </a:cxn>
              <a:cxn ang="0">
                <a:pos x="20" y="0"/>
              </a:cxn>
              <a:cxn ang="0">
                <a:pos x="20" y="2"/>
              </a:cxn>
              <a:cxn ang="0">
                <a:pos x="18" y="7"/>
              </a:cxn>
              <a:cxn ang="0">
                <a:pos x="18" y="9"/>
              </a:cxn>
              <a:cxn ang="0">
                <a:pos x="15" y="9"/>
              </a:cxn>
              <a:cxn ang="0">
                <a:pos x="13" y="9"/>
              </a:cxn>
              <a:cxn ang="0">
                <a:pos x="13" y="9"/>
              </a:cxn>
              <a:cxn ang="0">
                <a:pos x="10" y="9"/>
              </a:cxn>
              <a:cxn ang="0">
                <a:pos x="8" y="9"/>
              </a:cxn>
              <a:cxn ang="0">
                <a:pos x="8" y="7"/>
              </a:cxn>
              <a:cxn ang="0">
                <a:pos x="5" y="4"/>
              </a:cxn>
              <a:cxn ang="0">
                <a:pos x="3" y="4"/>
              </a:cxn>
              <a:cxn ang="0">
                <a:pos x="3" y="7"/>
              </a:cxn>
              <a:cxn ang="0">
                <a:pos x="0" y="7"/>
              </a:cxn>
              <a:cxn ang="0">
                <a:pos x="3" y="12"/>
              </a:cxn>
              <a:cxn ang="0">
                <a:pos x="3" y="14"/>
              </a:cxn>
              <a:cxn ang="0">
                <a:pos x="3" y="19"/>
              </a:cxn>
              <a:cxn ang="0">
                <a:pos x="5" y="36"/>
              </a:cxn>
              <a:cxn ang="0">
                <a:pos x="5" y="36"/>
              </a:cxn>
            </a:cxnLst>
            <a:rect l="0" t="0" r="r" b="b"/>
            <a:pathLst>
              <a:path w="32" h="36">
                <a:moveTo>
                  <a:pt x="5" y="36"/>
                </a:moveTo>
                <a:lnTo>
                  <a:pt x="15" y="36"/>
                </a:lnTo>
                <a:lnTo>
                  <a:pt x="20" y="34"/>
                </a:lnTo>
                <a:lnTo>
                  <a:pt x="23" y="32"/>
                </a:lnTo>
                <a:lnTo>
                  <a:pt x="25" y="27"/>
                </a:lnTo>
                <a:lnTo>
                  <a:pt x="27" y="24"/>
                </a:lnTo>
                <a:lnTo>
                  <a:pt x="30" y="24"/>
                </a:lnTo>
                <a:lnTo>
                  <a:pt x="32" y="22"/>
                </a:lnTo>
                <a:lnTo>
                  <a:pt x="32" y="19"/>
                </a:lnTo>
                <a:lnTo>
                  <a:pt x="32" y="14"/>
                </a:lnTo>
                <a:lnTo>
                  <a:pt x="30" y="14"/>
                </a:lnTo>
                <a:lnTo>
                  <a:pt x="30" y="12"/>
                </a:lnTo>
                <a:lnTo>
                  <a:pt x="27" y="9"/>
                </a:lnTo>
                <a:lnTo>
                  <a:pt x="27" y="9"/>
                </a:lnTo>
                <a:lnTo>
                  <a:pt x="27" y="7"/>
                </a:lnTo>
                <a:lnTo>
                  <a:pt x="27" y="4"/>
                </a:lnTo>
                <a:lnTo>
                  <a:pt x="25" y="4"/>
                </a:lnTo>
                <a:lnTo>
                  <a:pt x="25" y="2"/>
                </a:lnTo>
                <a:lnTo>
                  <a:pt x="23" y="2"/>
                </a:lnTo>
                <a:lnTo>
                  <a:pt x="20" y="0"/>
                </a:lnTo>
                <a:lnTo>
                  <a:pt x="20" y="0"/>
                </a:lnTo>
                <a:lnTo>
                  <a:pt x="20" y="2"/>
                </a:lnTo>
                <a:lnTo>
                  <a:pt x="18" y="7"/>
                </a:lnTo>
                <a:lnTo>
                  <a:pt x="18" y="9"/>
                </a:lnTo>
                <a:lnTo>
                  <a:pt x="15" y="9"/>
                </a:lnTo>
                <a:lnTo>
                  <a:pt x="13" y="9"/>
                </a:lnTo>
                <a:lnTo>
                  <a:pt x="13" y="9"/>
                </a:lnTo>
                <a:lnTo>
                  <a:pt x="10" y="9"/>
                </a:lnTo>
                <a:lnTo>
                  <a:pt x="8" y="9"/>
                </a:lnTo>
                <a:lnTo>
                  <a:pt x="8" y="7"/>
                </a:lnTo>
                <a:lnTo>
                  <a:pt x="5" y="4"/>
                </a:lnTo>
                <a:lnTo>
                  <a:pt x="3" y="4"/>
                </a:lnTo>
                <a:lnTo>
                  <a:pt x="3" y="7"/>
                </a:lnTo>
                <a:lnTo>
                  <a:pt x="0" y="7"/>
                </a:lnTo>
                <a:lnTo>
                  <a:pt x="3" y="12"/>
                </a:lnTo>
                <a:lnTo>
                  <a:pt x="3" y="14"/>
                </a:lnTo>
                <a:lnTo>
                  <a:pt x="3" y="19"/>
                </a:lnTo>
                <a:lnTo>
                  <a:pt x="5" y="36"/>
                </a:lnTo>
                <a:lnTo>
                  <a:pt x="5" y="3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6" name="Freeform 145"/>
          <p:cNvSpPr>
            <a:spLocks/>
          </p:cNvSpPr>
          <p:nvPr/>
        </p:nvSpPr>
        <p:spPr bwMode="auto">
          <a:xfrm>
            <a:off x="5055753" y="4318812"/>
            <a:ext cx="481133" cy="454667"/>
          </a:xfrm>
          <a:custGeom>
            <a:avLst/>
            <a:gdLst/>
            <a:ahLst/>
            <a:cxnLst>
              <a:cxn ang="0">
                <a:pos x="7" y="165"/>
              </a:cxn>
              <a:cxn ang="0">
                <a:pos x="19" y="160"/>
              </a:cxn>
              <a:cxn ang="0">
                <a:pos x="32" y="153"/>
              </a:cxn>
              <a:cxn ang="0">
                <a:pos x="39" y="163"/>
              </a:cxn>
              <a:cxn ang="0">
                <a:pos x="59" y="146"/>
              </a:cxn>
              <a:cxn ang="0">
                <a:pos x="61" y="121"/>
              </a:cxn>
              <a:cxn ang="0">
                <a:pos x="76" y="104"/>
              </a:cxn>
              <a:cxn ang="0">
                <a:pos x="91" y="82"/>
              </a:cxn>
              <a:cxn ang="0">
                <a:pos x="93" y="62"/>
              </a:cxn>
              <a:cxn ang="0">
                <a:pos x="103" y="37"/>
              </a:cxn>
              <a:cxn ang="0">
                <a:pos x="101" y="18"/>
              </a:cxn>
              <a:cxn ang="0">
                <a:pos x="105" y="10"/>
              </a:cxn>
              <a:cxn ang="0">
                <a:pos x="115" y="5"/>
              </a:cxn>
              <a:cxn ang="0">
                <a:pos x="132" y="15"/>
              </a:cxn>
              <a:cxn ang="0">
                <a:pos x="150" y="18"/>
              </a:cxn>
              <a:cxn ang="0">
                <a:pos x="160" y="18"/>
              </a:cxn>
              <a:cxn ang="0">
                <a:pos x="172" y="13"/>
              </a:cxn>
              <a:cxn ang="0">
                <a:pos x="192" y="5"/>
              </a:cxn>
              <a:cxn ang="0">
                <a:pos x="201" y="8"/>
              </a:cxn>
              <a:cxn ang="0">
                <a:pos x="209" y="0"/>
              </a:cxn>
              <a:cxn ang="0">
                <a:pos x="221" y="5"/>
              </a:cxn>
              <a:cxn ang="0">
                <a:pos x="241" y="8"/>
              </a:cxn>
              <a:cxn ang="0">
                <a:pos x="253" y="18"/>
              </a:cxn>
              <a:cxn ang="0">
                <a:pos x="263" y="15"/>
              </a:cxn>
              <a:cxn ang="0">
                <a:pos x="275" y="10"/>
              </a:cxn>
              <a:cxn ang="0">
                <a:pos x="287" y="25"/>
              </a:cxn>
              <a:cxn ang="0">
                <a:pos x="295" y="30"/>
              </a:cxn>
              <a:cxn ang="0">
                <a:pos x="292" y="50"/>
              </a:cxn>
              <a:cxn ang="0">
                <a:pos x="280" y="74"/>
              </a:cxn>
              <a:cxn ang="0">
                <a:pos x="270" y="106"/>
              </a:cxn>
              <a:cxn ang="0">
                <a:pos x="263" y="133"/>
              </a:cxn>
              <a:cxn ang="0">
                <a:pos x="285" y="212"/>
              </a:cxn>
              <a:cxn ang="0">
                <a:pos x="258" y="239"/>
              </a:cxn>
              <a:cxn ang="0">
                <a:pos x="255" y="249"/>
              </a:cxn>
              <a:cxn ang="0">
                <a:pos x="251" y="271"/>
              </a:cxn>
              <a:cxn ang="0">
                <a:pos x="268" y="281"/>
              </a:cxn>
              <a:cxn ang="0">
                <a:pos x="270" y="296"/>
              </a:cxn>
              <a:cxn ang="0">
                <a:pos x="260" y="296"/>
              </a:cxn>
              <a:cxn ang="0">
                <a:pos x="238" y="278"/>
              </a:cxn>
              <a:cxn ang="0">
                <a:pos x="231" y="266"/>
              </a:cxn>
              <a:cxn ang="0">
                <a:pos x="219" y="273"/>
              </a:cxn>
              <a:cxn ang="0">
                <a:pos x="204" y="269"/>
              </a:cxn>
              <a:cxn ang="0">
                <a:pos x="196" y="261"/>
              </a:cxn>
              <a:cxn ang="0">
                <a:pos x="189" y="264"/>
              </a:cxn>
              <a:cxn ang="0">
                <a:pos x="182" y="259"/>
              </a:cxn>
              <a:cxn ang="0">
                <a:pos x="169" y="261"/>
              </a:cxn>
              <a:cxn ang="0">
                <a:pos x="157" y="259"/>
              </a:cxn>
              <a:cxn ang="0">
                <a:pos x="155" y="254"/>
              </a:cxn>
              <a:cxn ang="0">
                <a:pos x="152" y="244"/>
              </a:cxn>
              <a:cxn ang="0">
                <a:pos x="150" y="234"/>
              </a:cxn>
              <a:cxn ang="0">
                <a:pos x="150" y="219"/>
              </a:cxn>
              <a:cxn ang="0">
                <a:pos x="147" y="210"/>
              </a:cxn>
              <a:cxn ang="0">
                <a:pos x="130" y="197"/>
              </a:cxn>
              <a:cxn ang="0">
                <a:pos x="110" y="200"/>
              </a:cxn>
              <a:cxn ang="0">
                <a:pos x="96" y="212"/>
              </a:cxn>
              <a:cxn ang="0">
                <a:pos x="78" y="205"/>
              </a:cxn>
              <a:cxn ang="0">
                <a:pos x="73" y="192"/>
              </a:cxn>
              <a:cxn ang="0">
                <a:pos x="71" y="180"/>
              </a:cxn>
              <a:cxn ang="0">
                <a:pos x="34" y="178"/>
              </a:cxn>
              <a:cxn ang="0">
                <a:pos x="14" y="178"/>
              </a:cxn>
              <a:cxn ang="0">
                <a:pos x="7" y="180"/>
              </a:cxn>
              <a:cxn ang="0">
                <a:pos x="0" y="178"/>
              </a:cxn>
            </a:cxnLst>
            <a:rect l="0" t="0" r="r" b="b"/>
            <a:pathLst>
              <a:path w="295" h="296">
                <a:moveTo>
                  <a:pt x="0" y="178"/>
                </a:moveTo>
                <a:lnTo>
                  <a:pt x="2" y="175"/>
                </a:lnTo>
                <a:lnTo>
                  <a:pt x="5" y="175"/>
                </a:lnTo>
                <a:lnTo>
                  <a:pt x="7" y="173"/>
                </a:lnTo>
                <a:lnTo>
                  <a:pt x="7" y="168"/>
                </a:lnTo>
                <a:lnTo>
                  <a:pt x="7" y="165"/>
                </a:lnTo>
                <a:lnTo>
                  <a:pt x="12" y="163"/>
                </a:lnTo>
                <a:lnTo>
                  <a:pt x="14" y="160"/>
                </a:lnTo>
                <a:lnTo>
                  <a:pt x="17" y="160"/>
                </a:lnTo>
                <a:lnTo>
                  <a:pt x="19" y="158"/>
                </a:lnTo>
                <a:lnTo>
                  <a:pt x="19" y="160"/>
                </a:lnTo>
                <a:lnTo>
                  <a:pt x="19" y="160"/>
                </a:lnTo>
                <a:lnTo>
                  <a:pt x="22" y="160"/>
                </a:lnTo>
                <a:lnTo>
                  <a:pt x="24" y="160"/>
                </a:lnTo>
                <a:lnTo>
                  <a:pt x="24" y="155"/>
                </a:lnTo>
                <a:lnTo>
                  <a:pt x="27" y="155"/>
                </a:lnTo>
                <a:lnTo>
                  <a:pt x="29" y="155"/>
                </a:lnTo>
                <a:lnTo>
                  <a:pt x="32" y="153"/>
                </a:lnTo>
                <a:lnTo>
                  <a:pt x="37" y="153"/>
                </a:lnTo>
                <a:lnTo>
                  <a:pt x="37" y="153"/>
                </a:lnTo>
                <a:lnTo>
                  <a:pt x="34" y="158"/>
                </a:lnTo>
                <a:lnTo>
                  <a:pt x="37" y="158"/>
                </a:lnTo>
                <a:lnTo>
                  <a:pt x="37" y="160"/>
                </a:lnTo>
                <a:lnTo>
                  <a:pt x="39" y="163"/>
                </a:lnTo>
                <a:lnTo>
                  <a:pt x="44" y="160"/>
                </a:lnTo>
                <a:lnTo>
                  <a:pt x="46" y="158"/>
                </a:lnTo>
                <a:lnTo>
                  <a:pt x="51" y="151"/>
                </a:lnTo>
                <a:lnTo>
                  <a:pt x="54" y="148"/>
                </a:lnTo>
                <a:lnTo>
                  <a:pt x="56" y="148"/>
                </a:lnTo>
                <a:lnTo>
                  <a:pt x="59" y="146"/>
                </a:lnTo>
                <a:lnTo>
                  <a:pt x="61" y="143"/>
                </a:lnTo>
                <a:lnTo>
                  <a:pt x="61" y="141"/>
                </a:lnTo>
                <a:lnTo>
                  <a:pt x="61" y="136"/>
                </a:lnTo>
                <a:lnTo>
                  <a:pt x="64" y="126"/>
                </a:lnTo>
                <a:lnTo>
                  <a:pt x="61" y="126"/>
                </a:lnTo>
                <a:lnTo>
                  <a:pt x="61" y="121"/>
                </a:lnTo>
                <a:lnTo>
                  <a:pt x="64" y="119"/>
                </a:lnTo>
                <a:lnTo>
                  <a:pt x="69" y="114"/>
                </a:lnTo>
                <a:lnTo>
                  <a:pt x="69" y="109"/>
                </a:lnTo>
                <a:lnTo>
                  <a:pt x="71" y="106"/>
                </a:lnTo>
                <a:lnTo>
                  <a:pt x="73" y="104"/>
                </a:lnTo>
                <a:lnTo>
                  <a:pt x="76" y="104"/>
                </a:lnTo>
                <a:lnTo>
                  <a:pt x="78" y="101"/>
                </a:lnTo>
                <a:lnTo>
                  <a:pt x="81" y="101"/>
                </a:lnTo>
                <a:lnTo>
                  <a:pt x="86" y="94"/>
                </a:lnTo>
                <a:lnTo>
                  <a:pt x="86" y="89"/>
                </a:lnTo>
                <a:lnTo>
                  <a:pt x="88" y="84"/>
                </a:lnTo>
                <a:lnTo>
                  <a:pt x="91" y="82"/>
                </a:lnTo>
                <a:lnTo>
                  <a:pt x="91" y="77"/>
                </a:lnTo>
                <a:lnTo>
                  <a:pt x="91" y="77"/>
                </a:lnTo>
                <a:lnTo>
                  <a:pt x="91" y="72"/>
                </a:lnTo>
                <a:lnTo>
                  <a:pt x="91" y="69"/>
                </a:lnTo>
                <a:lnTo>
                  <a:pt x="91" y="64"/>
                </a:lnTo>
                <a:lnTo>
                  <a:pt x="93" y="62"/>
                </a:lnTo>
                <a:lnTo>
                  <a:pt x="93" y="60"/>
                </a:lnTo>
                <a:lnTo>
                  <a:pt x="93" y="57"/>
                </a:lnTo>
                <a:lnTo>
                  <a:pt x="93" y="50"/>
                </a:lnTo>
                <a:lnTo>
                  <a:pt x="101" y="42"/>
                </a:lnTo>
                <a:lnTo>
                  <a:pt x="101" y="40"/>
                </a:lnTo>
                <a:lnTo>
                  <a:pt x="103" y="37"/>
                </a:lnTo>
                <a:lnTo>
                  <a:pt x="103" y="32"/>
                </a:lnTo>
                <a:lnTo>
                  <a:pt x="101" y="28"/>
                </a:lnTo>
                <a:lnTo>
                  <a:pt x="103" y="25"/>
                </a:lnTo>
                <a:lnTo>
                  <a:pt x="103" y="23"/>
                </a:lnTo>
                <a:lnTo>
                  <a:pt x="103" y="23"/>
                </a:lnTo>
                <a:lnTo>
                  <a:pt x="101" y="18"/>
                </a:lnTo>
                <a:lnTo>
                  <a:pt x="101" y="18"/>
                </a:lnTo>
                <a:lnTo>
                  <a:pt x="103" y="15"/>
                </a:lnTo>
                <a:lnTo>
                  <a:pt x="105" y="15"/>
                </a:lnTo>
                <a:lnTo>
                  <a:pt x="105" y="13"/>
                </a:lnTo>
                <a:lnTo>
                  <a:pt x="105" y="13"/>
                </a:lnTo>
                <a:lnTo>
                  <a:pt x="105" y="10"/>
                </a:lnTo>
                <a:lnTo>
                  <a:pt x="108" y="8"/>
                </a:lnTo>
                <a:lnTo>
                  <a:pt x="110" y="8"/>
                </a:lnTo>
                <a:lnTo>
                  <a:pt x="113" y="5"/>
                </a:lnTo>
                <a:lnTo>
                  <a:pt x="115" y="8"/>
                </a:lnTo>
                <a:lnTo>
                  <a:pt x="115" y="5"/>
                </a:lnTo>
                <a:lnTo>
                  <a:pt x="115" y="5"/>
                </a:lnTo>
                <a:lnTo>
                  <a:pt x="118" y="8"/>
                </a:lnTo>
                <a:lnTo>
                  <a:pt x="120" y="8"/>
                </a:lnTo>
                <a:lnTo>
                  <a:pt x="125" y="10"/>
                </a:lnTo>
                <a:lnTo>
                  <a:pt x="128" y="13"/>
                </a:lnTo>
                <a:lnTo>
                  <a:pt x="132" y="15"/>
                </a:lnTo>
                <a:lnTo>
                  <a:pt x="132" y="15"/>
                </a:lnTo>
                <a:lnTo>
                  <a:pt x="135" y="15"/>
                </a:lnTo>
                <a:lnTo>
                  <a:pt x="140" y="18"/>
                </a:lnTo>
                <a:lnTo>
                  <a:pt x="142" y="18"/>
                </a:lnTo>
                <a:lnTo>
                  <a:pt x="145" y="18"/>
                </a:lnTo>
                <a:lnTo>
                  <a:pt x="147" y="18"/>
                </a:lnTo>
                <a:lnTo>
                  <a:pt x="150" y="18"/>
                </a:lnTo>
                <a:lnTo>
                  <a:pt x="152" y="18"/>
                </a:lnTo>
                <a:lnTo>
                  <a:pt x="155" y="20"/>
                </a:lnTo>
                <a:lnTo>
                  <a:pt x="157" y="20"/>
                </a:lnTo>
                <a:lnTo>
                  <a:pt x="160" y="20"/>
                </a:lnTo>
                <a:lnTo>
                  <a:pt x="160" y="18"/>
                </a:lnTo>
                <a:lnTo>
                  <a:pt x="160" y="18"/>
                </a:lnTo>
                <a:lnTo>
                  <a:pt x="160" y="15"/>
                </a:lnTo>
                <a:lnTo>
                  <a:pt x="162" y="13"/>
                </a:lnTo>
                <a:lnTo>
                  <a:pt x="164" y="10"/>
                </a:lnTo>
                <a:lnTo>
                  <a:pt x="167" y="10"/>
                </a:lnTo>
                <a:lnTo>
                  <a:pt x="169" y="10"/>
                </a:lnTo>
                <a:lnTo>
                  <a:pt x="172" y="13"/>
                </a:lnTo>
                <a:lnTo>
                  <a:pt x="174" y="13"/>
                </a:lnTo>
                <a:lnTo>
                  <a:pt x="179" y="10"/>
                </a:lnTo>
                <a:lnTo>
                  <a:pt x="182" y="10"/>
                </a:lnTo>
                <a:lnTo>
                  <a:pt x="184" y="8"/>
                </a:lnTo>
                <a:lnTo>
                  <a:pt x="189" y="5"/>
                </a:lnTo>
                <a:lnTo>
                  <a:pt x="192" y="5"/>
                </a:lnTo>
                <a:lnTo>
                  <a:pt x="192" y="8"/>
                </a:lnTo>
                <a:lnTo>
                  <a:pt x="194" y="8"/>
                </a:lnTo>
                <a:lnTo>
                  <a:pt x="194" y="8"/>
                </a:lnTo>
                <a:lnTo>
                  <a:pt x="196" y="8"/>
                </a:lnTo>
                <a:lnTo>
                  <a:pt x="196" y="8"/>
                </a:lnTo>
                <a:lnTo>
                  <a:pt x="201" y="8"/>
                </a:lnTo>
                <a:lnTo>
                  <a:pt x="204" y="8"/>
                </a:lnTo>
                <a:lnTo>
                  <a:pt x="204" y="8"/>
                </a:lnTo>
                <a:lnTo>
                  <a:pt x="206" y="3"/>
                </a:lnTo>
                <a:lnTo>
                  <a:pt x="206" y="3"/>
                </a:lnTo>
                <a:lnTo>
                  <a:pt x="206" y="3"/>
                </a:lnTo>
                <a:lnTo>
                  <a:pt x="209" y="0"/>
                </a:lnTo>
                <a:lnTo>
                  <a:pt x="211" y="3"/>
                </a:lnTo>
                <a:lnTo>
                  <a:pt x="214" y="3"/>
                </a:lnTo>
                <a:lnTo>
                  <a:pt x="216" y="3"/>
                </a:lnTo>
                <a:lnTo>
                  <a:pt x="216" y="5"/>
                </a:lnTo>
                <a:lnTo>
                  <a:pt x="219" y="5"/>
                </a:lnTo>
                <a:lnTo>
                  <a:pt x="221" y="5"/>
                </a:lnTo>
                <a:lnTo>
                  <a:pt x="226" y="5"/>
                </a:lnTo>
                <a:lnTo>
                  <a:pt x="228" y="8"/>
                </a:lnTo>
                <a:lnTo>
                  <a:pt x="233" y="5"/>
                </a:lnTo>
                <a:lnTo>
                  <a:pt x="236" y="5"/>
                </a:lnTo>
                <a:lnTo>
                  <a:pt x="238" y="5"/>
                </a:lnTo>
                <a:lnTo>
                  <a:pt x="241" y="8"/>
                </a:lnTo>
                <a:lnTo>
                  <a:pt x="241" y="10"/>
                </a:lnTo>
                <a:lnTo>
                  <a:pt x="243" y="10"/>
                </a:lnTo>
                <a:lnTo>
                  <a:pt x="243" y="13"/>
                </a:lnTo>
                <a:lnTo>
                  <a:pt x="246" y="13"/>
                </a:lnTo>
                <a:lnTo>
                  <a:pt x="248" y="15"/>
                </a:lnTo>
                <a:lnTo>
                  <a:pt x="253" y="18"/>
                </a:lnTo>
                <a:lnTo>
                  <a:pt x="253" y="18"/>
                </a:lnTo>
                <a:lnTo>
                  <a:pt x="255" y="15"/>
                </a:lnTo>
                <a:lnTo>
                  <a:pt x="258" y="15"/>
                </a:lnTo>
                <a:lnTo>
                  <a:pt x="260" y="15"/>
                </a:lnTo>
                <a:lnTo>
                  <a:pt x="263" y="15"/>
                </a:lnTo>
                <a:lnTo>
                  <a:pt x="263" y="15"/>
                </a:lnTo>
                <a:lnTo>
                  <a:pt x="265" y="15"/>
                </a:lnTo>
                <a:lnTo>
                  <a:pt x="268" y="15"/>
                </a:lnTo>
                <a:lnTo>
                  <a:pt x="268" y="13"/>
                </a:lnTo>
                <a:lnTo>
                  <a:pt x="270" y="10"/>
                </a:lnTo>
                <a:lnTo>
                  <a:pt x="273" y="10"/>
                </a:lnTo>
                <a:lnTo>
                  <a:pt x="275" y="10"/>
                </a:lnTo>
                <a:lnTo>
                  <a:pt x="278" y="15"/>
                </a:lnTo>
                <a:lnTo>
                  <a:pt x="278" y="18"/>
                </a:lnTo>
                <a:lnTo>
                  <a:pt x="280" y="18"/>
                </a:lnTo>
                <a:lnTo>
                  <a:pt x="283" y="20"/>
                </a:lnTo>
                <a:lnTo>
                  <a:pt x="285" y="23"/>
                </a:lnTo>
                <a:lnTo>
                  <a:pt x="287" y="25"/>
                </a:lnTo>
                <a:lnTo>
                  <a:pt x="287" y="25"/>
                </a:lnTo>
                <a:lnTo>
                  <a:pt x="287" y="28"/>
                </a:lnTo>
                <a:lnTo>
                  <a:pt x="287" y="30"/>
                </a:lnTo>
                <a:lnTo>
                  <a:pt x="290" y="30"/>
                </a:lnTo>
                <a:lnTo>
                  <a:pt x="292" y="30"/>
                </a:lnTo>
                <a:lnTo>
                  <a:pt x="295" y="30"/>
                </a:lnTo>
                <a:lnTo>
                  <a:pt x="292" y="32"/>
                </a:lnTo>
                <a:lnTo>
                  <a:pt x="292" y="35"/>
                </a:lnTo>
                <a:lnTo>
                  <a:pt x="292" y="40"/>
                </a:lnTo>
                <a:lnTo>
                  <a:pt x="290" y="45"/>
                </a:lnTo>
                <a:lnTo>
                  <a:pt x="290" y="47"/>
                </a:lnTo>
                <a:lnTo>
                  <a:pt x="292" y="50"/>
                </a:lnTo>
                <a:lnTo>
                  <a:pt x="295" y="52"/>
                </a:lnTo>
                <a:lnTo>
                  <a:pt x="295" y="55"/>
                </a:lnTo>
                <a:lnTo>
                  <a:pt x="295" y="57"/>
                </a:lnTo>
                <a:lnTo>
                  <a:pt x="287" y="67"/>
                </a:lnTo>
                <a:lnTo>
                  <a:pt x="283" y="72"/>
                </a:lnTo>
                <a:lnTo>
                  <a:pt x="280" y="74"/>
                </a:lnTo>
                <a:lnTo>
                  <a:pt x="275" y="84"/>
                </a:lnTo>
                <a:lnTo>
                  <a:pt x="273" y="87"/>
                </a:lnTo>
                <a:lnTo>
                  <a:pt x="273" y="91"/>
                </a:lnTo>
                <a:lnTo>
                  <a:pt x="273" y="96"/>
                </a:lnTo>
                <a:lnTo>
                  <a:pt x="270" y="101"/>
                </a:lnTo>
                <a:lnTo>
                  <a:pt x="270" y="106"/>
                </a:lnTo>
                <a:lnTo>
                  <a:pt x="268" y="109"/>
                </a:lnTo>
                <a:lnTo>
                  <a:pt x="265" y="114"/>
                </a:lnTo>
                <a:lnTo>
                  <a:pt x="263" y="123"/>
                </a:lnTo>
                <a:lnTo>
                  <a:pt x="260" y="126"/>
                </a:lnTo>
                <a:lnTo>
                  <a:pt x="263" y="131"/>
                </a:lnTo>
                <a:lnTo>
                  <a:pt x="263" y="133"/>
                </a:lnTo>
                <a:lnTo>
                  <a:pt x="263" y="138"/>
                </a:lnTo>
                <a:lnTo>
                  <a:pt x="268" y="168"/>
                </a:lnTo>
                <a:lnTo>
                  <a:pt x="273" y="187"/>
                </a:lnTo>
                <a:lnTo>
                  <a:pt x="283" y="202"/>
                </a:lnTo>
                <a:lnTo>
                  <a:pt x="287" y="214"/>
                </a:lnTo>
                <a:lnTo>
                  <a:pt x="285" y="212"/>
                </a:lnTo>
                <a:lnTo>
                  <a:pt x="260" y="219"/>
                </a:lnTo>
                <a:lnTo>
                  <a:pt x="253" y="232"/>
                </a:lnTo>
                <a:lnTo>
                  <a:pt x="253" y="234"/>
                </a:lnTo>
                <a:lnTo>
                  <a:pt x="255" y="237"/>
                </a:lnTo>
                <a:lnTo>
                  <a:pt x="258" y="237"/>
                </a:lnTo>
                <a:lnTo>
                  <a:pt x="258" y="239"/>
                </a:lnTo>
                <a:lnTo>
                  <a:pt x="255" y="239"/>
                </a:lnTo>
                <a:lnTo>
                  <a:pt x="255" y="242"/>
                </a:lnTo>
                <a:lnTo>
                  <a:pt x="255" y="244"/>
                </a:lnTo>
                <a:lnTo>
                  <a:pt x="255" y="246"/>
                </a:lnTo>
                <a:lnTo>
                  <a:pt x="255" y="249"/>
                </a:lnTo>
                <a:lnTo>
                  <a:pt x="255" y="249"/>
                </a:lnTo>
                <a:lnTo>
                  <a:pt x="255" y="251"/>
                </a:lnTo>
                <a:lnTo>
                  <a:pt x="255" y="251"/>
                </a:lnTo>
                <a:lnTo>
                  <a:pt x="251" y="256"/>
                </a:lnTo>
                <a:lnTo>
                  <a:pt x="251" y="256"/>
                </a:lnTo>
                <a:lnTo>
                  <a:pt x="251" y="266"/>
                </a:lnTo>
                <a:lnTo>
                  <a:pt x="251" y="271"/>
                </a:lnTo>
                <a:lnTo>
                  <a:pt x="253" y="271"/>
                </a:lnTo>
                <a:lnTo>
                  <a:pt x="258" y="276"/>
                </a:lnTo>
                <a:lnTo>
                  <a:pt x="258" y="278"/>
                </a:lnTo>
                <a:lnTo>
                  <a:pt x="260" y="281"/>
                </a:lnTo>
                <a:lnTo>
                  <a:pt x="265" y="281"/>
                </a:lnTo>
                <a:lnTo>
                  <a:pt x="268" y="281"/>
                </a:lnTo>
                <a:lnTo>
                  <a:pt x="265" y="278"/>
                </a:lnTo>
                <a:lnTo>
                  <a:pt x="265" y="276"/>
                </a:lnTo>
                <a:lnTo>
                  <a:pt x="270" y="276"/>
                </a:lnTo>
                <a:lnTo>
                  <a:pt x="270" y="276"/>
                </a:lnTo>
                <a:lnTo>
                  <a:pt x="273" y="293"/>
                </a:lnTo>
                <a:lnTo>
                  <a:pt x="270" y="296"/>
                </a:lnTo>
                <a:lnTo>
                  <a:pt x="268" y="293"/>
                </a:lnTo>
                <a:lnTo>
                  <a:pt x="268" y="293"/>
                </a:lnTo>
                <a:lnTo>
                  <a:pt x="268" y="293"/>
                </a:lnTo>
                <a:lnTo>
                  <a:pt x="265" y="293"/>
                </a:lnTo>
                <a:lnTo>
                  <a:pt x="263" y="296"/>
                </a:lnTo>
                <a:lnTo>
                  <a:pt x="260" y="296"/>
                </a:lnTo>
                <a:lnTo>
                  <a:pt x="258" y="291"/>
                </a:lnTo>
                <a:lnTo>
                  <a:pt x="253" y="288"/>
                </a:lnTo>
                <a:lnTo>
                  <a:pt x="251" y="286"/>
                </a:lnTo>
                <a:lnTo>
                  <a:pt x="248" y="281"/>
                </a:lnTo>
                <a:lnTo>
                  <a:pt x="246" y="278"/>
                </a:lnTo>
                <a:lnTo>
                  <a:pt x="238" y="278"/>
                </a:lnTo>
                <a:lnTo>
                  <a:pt x="236" y="276"/>
                </a:lnTo>
                <a:lnTo>
                  <a:pt x="236" y="273"/>
                </a:lnTo>
                <a:lnTo>
                  <a:pt x="233" y="271"/>
                </a:lnTo>
                <a:lnTo>
                  <a:pt x="233" y="266"/>
                </a:lnTo>
                <a:lnTo>
                  <a:pt x="231" y="266"/>
                </a:lnTo>
                <a:lnTo>
                  <a:pt x="231" y="266"/>
                </a:lnTo>
                <a:lnTo>
                  <a:pt x="228" y="266"/>
                </a:lnTo>
                <a:lnTo>
                  <a:pt x="226" y="271"/>
                </a:lnTo>
                <a:lnTo>
                  <a:pt x="226" y="273"/>
                </a:lnTo>
                <a:lnTo>
                  <a:pt x="221" y="273"/>
                </a:lnTo>
                <a:lnTo>
                  <a:pt x="219" y="273"/>
                </a:lnTo>
                <a:lnTo>
                  <a:pt x="219" y="273"/>
                </a:lnTo>
                <a:lnTo>
                  <a:pt x="216" y="273"/>
                </a:lnTo>
                <a:lnTo>
                  <a:pt x="211" y="271"/>
                </a:lnTo>
                <a:lnTo>
                  <a:pt x="209" y="269"/>
                </a:lnTo>
                <a:lnTo>
                  <a:pt x="206" y="269"/>
                </a:lnTo>
                <a:lnTo>
                  <a:pt x="204" y="269"/>
                </a:lnTo>
                <a:lnTo>
                  <a:pt x="204" y="269"/>
                </a:lnTo>
                <a:lnTo>
                  <a:pt x="204" y="266"/>
                </a:lnTo>
                <a:lnTo>
                  <a:pt x="204" y="264"/>
                </a:lnTo>
                <a:lnTo>
                  <a:pt x="201" y="264"/>
                </a:lnTo>
                <a:lnTo>
                  <a:pt x="201" y="261"/>
                </a:lnTo>
                <a:lnTo>
                  <a:pt x="201" y="259"/>
                </a:lnTo>
                <a:lnTo>
                  <a:pt x="196" y="261"/>
                </a:lnTo>
                <a:lnTo>
                  <a:pt x="196" y="261"/>
                </a:lnTo>
                <a:lnTo>
                  <a:pt x="194" y="261"/>
                </a:lnTo>
                <a:lnTo>
                  <a:pt x="192" y="264"/>
                </a:lnTo>
                <a:lnTo>
                  <a:pt x="189" y="264"/>
                </a:lnTo>
                <a:lnTo>
                  <a:pt x="189" y="264"/>
                </a:lnTo>
                <a:lnTo>
                  <a:pt x="189" y="264"/>
                </a:lnTo>
                <a:lnTo>
                  <a:pt x="189" y="261"/>
                </a:lnTo>
                <a:lnTo>
                  <a:pt x="187" y="259"/>
                </a:lnTo>
                <a:lnTo>
                  <a:pt x="184" y="259"/>
                </a:lnTo>
                <a:lnTo>
                  <a:pt x="184" y="259"/>
                </a:lnTo>
                <a:lnTo>
                  <a:pt x="182" y="259"/>
                </a:lnTo>
                <a:lnTo>
                  <a:pt x="182" y="259"/>
                </a:lnTo>
                <a:lnTo>
                  <a:pt x="179" y="259"/>
                </a:lnTo>
                <a:lnTo>
                  <a:pt x="177" y="259"/>
                </a:lnTo>
                <a:lnTo>
                  <a:pt x="174" y="261"/>
                </a:lnTo>
                <a:lnTo>
                  <a:pt x="172" y="261"/>
                </a:lnTo>
                <a:lnTo>
                  <a:pt x="172" y="261"/>
                </a:lnTo>
                <a:lnTo>
                  <a:pt x="169" y="261"/>
                </a:lnTo>
                <a:lnTo>
                  <a:pt x="164" y="261"/>
                </a:lnTo>
                <a:lnTo>
                  <a:pt x="164" y="261"/>
                </a:lnTo>
                <a:lnTo>
                  <a:pt x="162" y="259"/>
                </a:lnTo>
                <a:lnTo>
                  <a:pt x="160" y="259"/>
                </a:lnTo>
                <a:lnTo>
                  <a:pt x="160" y="259"/>
                </a:lnTo>
                <a:lnTo>
                  <a:pt x="157" y="259"/>
                </a:lnTo>
                <a:lnTo>
                  <a:pt x="157" y="261"/>
                </a:lnTo>
                <a:lnTo>
                  <a:pt x="155" y="261"/>
                </a:lnTo>
                <a:lnTo>
                  <a:pt x="155" y="259"/>
                </a:lnTo>
                <a:lnTo>
                  <a:pt x="155" y="256"/>
                </a:lnTo>
                <a:lnTo>
                  <a:pt x="155" y="256"/>
                </a:lnTo>
                <a:lnTo>
                  <a:pt x="155" y="254"/>
                </a:lnTo>
                <a:lnTo>
                  <a:pt x="157" y="254"/>
                </a:lnTo>
                <a:lnTo>
                  <a:pt x="155" y="251"/>
                </a:lnTo>
                <a:lnTo>
                  <a:pt x="155" y="249"/>
                </a:lnTo>
                <a:lnTo>
                  <a:pt x="155" y="246"/>
                </a:lnTo>
                <a:lnTo>
                  <a:pt x="155" y="246"/>
                </a:lnTo>
                <a:lnTo>
                  <a:pt x="152" y="244"/>
                </a:lnTo>
                <a:lnTo>
                  <a:pt x="152" y="242"/>
                </a:lnTo>
                <a:lnTo>
                  <a:pt x="155" y="239"/>
                </a:lnTo>
                <a:lnTo>
                  <a:pt x="152" y="239"/>
                </a:lnTo>
                <a:lnTo>
                  <a:pt x="152" y="237"/>
                </a:lnTo>
                <a:lnTo>
                  <a:pt x="152" y="237"/>
                </a:lnTo>
                <a:lnTo>
                  <a:pt x="150" y="234"/>
                </a:lnTo>
                <a:lnTo>
                  <a:pt x="150" y="234"/>
                </a:lnTo>
                <a:lnTo>
                  <a:pt x="150" y="232"/>
                </a:lnTo>
                <a:lnTo>
                  <a:pt x="150" y="229"/>
                </a:lnTo>
                <a:lnTo>
                  <a:pt x="147" y="229"/>
                </a:lnTo>
                <a:lnTo>
                  <a:pt x="150" y="227"/>
                </a:lnTo>
                <a:lnTo>
                  <a:pt x="150" y="219"/>
                </a:lnTo>
                <a:lnTo>
                  <a:pt x="147" y="217"/>
                </a:lnTo>
                <a:lnTo>
                  <a:pt x="147" y="217"/>
                </a:lnTo>
                <a:lnTo>
                  <a:pt x="150" y="217"/>
                </a:lnTo>
                <a:lnTo>
                  <a:pt x="150" y="214"/>
                </a:lnTo>
                <a:lnTo>
                  <a:pt x="147" y="212"/>
                </a:lnTo>
                <a:lnTo>
                  <a:pt x="147" y="210"/>
                </a:lnTo>
                <a:lnTo>
                  <a:pt x="150" y="207"/>
                </a:lnTo>
                <a:lnTo>
                  <a:pt x="150" y="205"/>
                </a:lnTo>
                <a:lnTo>
                  <a:pt x="150" y="202"/>
                </a:lnTo>
                <a:lnTo>
                  <a:pt x="150" y="200"/>
                </a:lnTo>
                <a:lnTo>
                  <a:pt x="130" y="197"/>
                </a:lnTo>
                <a:lnTo>
                  <a:pt x="130" y="197"/>
                </a:lnTo>
                <a:lnTo>
                  <a:pt x="132" y="195"/>
                </a:lnTo>
                <a:lnTo>
                  <a:pt x="132" y="192"/>
                </a:lnTo>
                <a:lnTo>
                  <a:pt x="128" y="192"/>
                </a:lnTo>
                <a:lnTo>
                  <a:pt x="128" y="195"/>
                </a:lnTo>
                <a:lnTo>
                  <a:pt x="113" y="195"/>
                </a:lnTo>
                <a:lnTo>
                  <a:pt x="110" y="200"/>
                </a:lnTo>
                <a:lnTo>
                  <a:pt x="110" y="202"/>
                </a:lnTo>
                <a:lnTo>
                  <a:pt x="108" y="202"/>
                </a:lnTo>
                <a:lnTo>
                  <a:pt x="110" y="205"/>
                </a:lnTo>
                <a:lnTo>
                  <a:pt x="110" y="210"/>
                </a:lnTo>
                <a:lnTo>
                  <a:pt x="98" y="210"/>
                </a:lnTo>
                <a:lnTo>
                  <a:pt x="96" y="212"/>
                </a:lnTo>
                <a:lnTo>
                  <a:pt x="91" y="212"/>
                </a:lnTo>
                <a:lnTo>
                  <a:pt x="88" y="210"/>
                </a:lnTo>
                <a:lnTo>
                  <a:pt x="86" y="212"/>
                </a:lnTo>
                <a:lnTo>
                  <a:pt x="81" y="212"/>
                </a:lnTo>
                <a:lnTo>
                  <a:pt x="81" y="210"/>
                </a:lnTo>
                <a:lnTo>
                  <a:pt x="78" y="205"/>
                </a:lnTo>
                <a:lnTo>
                  <a:pt x="78" y="202"/>
                </a:lnTo>
                <a:lnTo>
                  <a:pt x="76" y="200"/>
                </a:lnTo>
                <a:lnTo>
                  <a:pt x="73" y="200"/>
                </a:lnTo>
                <a:lnTo>
                  <a:pt x="73" y="197"/>
                </a:lnTo>
                <a:lnTo>
                  <a:pt x="73" y="195"/>
                </a:lnTo>
                <a:lnTo>
                  <a:pt x="73" y="192"/>
                </a:lnTo>
                <a:lnTo>
                  <a:pt x="71" y="190"/>
                </a:lnTo>
                <a:lnTo>
                  <a:pt x="71" y="187"/>
                </a:lnTo>
                <a:lnTo>
                  <a:pt x="73" y="185"/>
                </a:lnTo>
                <a:lnTo>
                  <a:pt x="71" y="182"/>
                </a:lnTo>
                <a:lnTo>
                  <a:pt x="71" y="182"/>
                </a:lnTo>
                <a:lnTo>
                  <a:pt x="71" y="180"/>
                </a:lnTo>
                <a:lnTo>
                  <a:pt x="71" y="180"/>
                </a:lnTo>
                <a:lnTo>
                  <a:pt x="71" y="178"/>
                </a:lnTo>
                <a:lnTo>
                  <a:pt x="54" y="178"/>
                </a:lnTo>
                <a:lnTo>
                  <a:pt x="44" y="178"/>
                </a:lnTo>
                <a:lnTo>
                  <a:pt x="39" y="178"/>
                </a:lnTo>
                <a:lnTo>
                  <a:pt x="34" y="178"/>
                </a:lnTo>
                <a:lnTo>
                  <a:pt x="32" y="178"/>
                </a:lnTo>
                <a:lnTo>
                  <a:pt x="27" y="178"/>
                </a:lnTo>
                <a:lnTo>
                  <a:pt x="22" y="178"/>
                </a:lnTo>
                <a:lnTo>
                  <a:pt x="19" y="178"/>
                </a:lnTo>
                <a:lnTo>
                  <a:pt x="17" y="178"/>
                </a:lnTo>
                <a:lnTo>
                  <a:pt x="14" y="178"/>
                </a:lnTo>
                <a:lnTo>
                  <a:pt x="12" y="178"/>
                </a:lnTo>
                <a:lnTo>
                  <a:pt x="9" y="178"/>
                </a:lnTo>
                <a:lnTo>
                  <a:pt x="9" y="180"/>
                </a:lnTo>
                <a:lnTo>
                  <a:pt x="7" y="180"/>
                </a:lnTo>
                <a:lnTo>
                  <a:pt x="7" y="180"/>
                </a:lnTo>
                <a:lnTo>
                  <a:pt x="7" y="180"/>
                </a:lnTo>
                <a:lnTo>
                  <a:pt x="7" y="180"/>
                </a:lnTo>
                <a:lnTo>
                  <a:pt x="7" y="180"/>
                </a:lnTo>
                <a:lnTo>
                  <a:pt x="5" y="178"/>
                </a:lnTo>
                <a:lnTo>
                  <a:pt x="0" y="178"/>
                </a:lnTo>
                <a:lnTo>
                  <a:pt x="0" y="178"/>
                </a:lnTo>
                <a:lnTo>
                  <a:pt x="0" y="178"/>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7" name="Freeform 146"/>
          <p:cNvSpPr>
            <a:spLocks/>
          </p:cNvSpPr>
          <p:nvPr/>
        </p:nvSpPr>
        <p:spPr bwMode="auto">
          <a:xfrm>
            <a:off x="5572766" y="4675173"/>
            <a:ext cx="79917" cy="188933"/>
          </a:xfrm>
          <a:custGeom>
            <a:avLst/>
            <a:gdLst/>
            <a:ahLst/>
            <a:cxnLst>
              <a:cxn ang="0">
                <a:pos x="7" y="0"/>
              </a:cxn>
              <a:cxn ang="0">
                <a:pos x="10" y="2"/>
              </a:cxn>
              <a:cxn ang="0">
                <a:pos x="12" y="2"/>
              </a:cxn>
              <a:cxn ang="0">
                <a:pos x="15" y="2"/>
              </a:cxn>
              <a:cxn ang="0">
                <a:pos x="17" y="2"/>
              </a:cxn>
              <a:cxn ang="0">
                <a:pos x="20" y="5"/>
              </a:cxn>
              <a:cxn ang="0">
                <a:pos x="25" y="12"/>
              </a:cxn>
              <a:cxn ang="0">
                <a:pos x="27" y="44"/>
              </a:cxn>
              <a:cxn ang="0">
                <a:pos x="27" y="61"/>
              </a:cxn>
              <a:cxn ang="0">
                <a:pos x="34" y="66"/>
              </a:cxn>
              <a:cxn ang="0">
                <a:pos x="37" y="69"/>
              </a:cxn>
              <a:cxn ang="0">
                <a:pos x="44" y="76"/>
              </a:cxn>
              <a:cxn ang="0">
                <a:pos x="49" y="83"/>
              </a:cxn>
              <a:cxn ang="0">
                <a:pos x="49" y="88"/>
              </a:cxn>
              <a:cxn ang="0">
                <a:pos x="47" y="91"/>
              </a:cxn>
              <a:cxn ang="0">
                <a:pos x="44" y="91"/>
              </a:cxn>
              <a:cxn ang="0">
                <a:pos x="44" y="93"/>
              </a:cxn>
              <a:cxn ang="0">
                <a:pos x="47" y="101"/>
              </a:cxn>
              <a:cxn ang="0">
                <a:pos x="44" y="105"/>
              </a:cxn>
              <a:cxn ang="0">
                <a:pos x="39" y="110"/>
              </a:cxn>
              <a:cxn ang="0">
                <a:pos x="37" y="115"/>
              </a:cxn>
              <a:cxn ang="0">
                <a:pos x="37" y="123"/>
              </a:cxn>
              <a:cxn ang="0">
                <a:pos x="34" y="123"/>
              </a:cxn>
              <a:cxn ang="0">
                <a:pos x="32" y="118"/>
              </a:cxn>
              <a:cxn ang="0">
                <a:pos x="30" y="115"/>
              </a:cxn>
              <a:cxn ang="0">
                <a:pos x="25" y="108"/>
              </a:cxn>
              <a:cxn ang="0">
                <a:pos x="22" y="103"/>
              </a:cxn>
              <a:cxn ang="0">
                <a:pos x="25" y="98"/>
              </a:cxn>
              <a:cxn ang="0">
                <a:pos x="27" y="91"/>
              </a:cxn>
              <a:cxn ang="0">
                <a:pos x="27" y="83"/>
              </a:cxn>
              <a:cxn ang="0">
                <a:pos x="22" y="78"/>
              </a:cxn>
              <a:cxn ang="0">
                <a:pos x="17" y="81"/>
              </a:cxn>
              <a:cxn ang="0">
                <a:pos x="15" y="81"/>
              </a:cxn>
              <a:cxn ang="0">
                <a:pos x="12" y="78"/>
              </a:cxn>
              <a:cxn ang="0">
                <a:pos x="10" y="76"/>
              </a:cxn>
              <a:cxn ang="0">
                <a:pos x="5" y="73"/>
              </a:cxn>
              <a:cxn ang="0">
                <a:pos x="2" y="69"/>
              </a:cxn>
              <a:cxn ang="0">
                <a:pos x="0" y="66"/>
              </a:cxn>
              <a:cxn ang="0">
                <a:pos x="5" y="61"/>
              </a:cxn>
              <a:cxn ang="0">
                <a:pos x="5" y="59"/>
              </a:cxn>
              <a:cxn ang="0">
                <a:pos x="5" y="54"/>
              </a:cxn>
              <a:cxn ang="0">
                <a:pos x="7" y="51"/>
              </a:cxn>
              <a:cxn ang="0">
                <a:pos x="12" y="49"/>
              </a:cxn>
              <a:cxn ang="0">
                <a:pos x="12" y="46"/>
              </a:cxn>
              <a:cxn ang="0">
                <a:pos x="10" y="44"/>
              </a:cxn>
              <a:cxn ang="0">
                <a:pos x="10" y="41"/>
              </a:cxn>
              <a:cxn ang="0">
                <a:pos x="10" y="37"/>
              </a:cxn>
              <a:cxn ang="0">
                <a:pos x="10" y="34"/>
              </a:cxn>
              <a:cxn ang="0">
                <a:pos x="10" y="29"/>
              </a:cxn>
              <a:cxn ang="0">
                <a:pos x="15" y="22"/>
              </a:cxn>
              <a:cxn ang="0">
                <a:pos x="15" y="22"/>
              </a:cxn>
              <a:cxn ang="0">
                <a:pos x="12" y="14"/>
              </a:cxn>
              <a:cxn ang="0">
                <a:pos x="10" y="12"/>
              </a:cxn>
              <a:cxn ang="0">
                <a:pos x="12" y="7"/>
              </a:cxn>
              <a:cxn ang="0">
                <a:pos x="7" y="5"/>
              </a:cxn>
              <a:cxn ang="0">
                <a:pos x="7" y="2"/>
              </a:cxn>
              <a:cxn ang="0">
                <a:pos x="5" y="0"/>
              </a:cxn>
            </a:cxnLst>
            <a:rect l="0" t="0" r="r" b="b"/>
            <a:pathLst>
              <a:path w="49" h="123">
                <a:moveTo>
                  <a:pt x="5" y="0"/>
                </a:moveTo>
                <a:lnTo>
                  <a:pt x="7" y="0"/>
                </a:lnTo>
                <a:lnTo>
                  <a:pt x="7" y="0"/>
                </a:lnTo>
                <a:lnTo>
                  <a:pt x="10" y="2"/>
                </a:lnTo>
                <a:lnTo>
                  <a:pt x="10" y="2"/>
                </a:lnTo>
                <a:lnTo>
                  <a:pt x="12" y="2"/>
                </a:lnTo>
                <a:lnTo>
                  <a:pt x="12" y="2"/>
                </a:lnTo>
                <a:lnTo>
                  <a:pt x="15" y="2"/>
                </a:lnTo>
                <a:lnTo>
                  <a:pt x="15" y="2"/>
                </a:lnTo>
                <a:lnTo>
                  <a:pt x="17" y="2"/>
                </a:lnTo>
                <a:lnTo>
                  <a:pt x="17" y="5"/>
                </a:lnTo>
                <a:lnTo>
                  <a:pt x="20" y="5"/>
                </a:lnTo>
                <a:lnTo>
                  <a:pt x="20" y="7"/>
                </a:lnTo>
                <a:lnTo>
                  <a:pt x="25" y="12"/>
                </a:lnTo>
                <a:lnTo>
                  <a:pt x="27" y="19"/>
                </a:lnTo>
                <a:lnTo>
                  <a:pt x="27" y="44"/>
                </a:lnTo>
                <a:lnTo>
                  <a:pt x="25" y="46"/>
                </a:lnTo>
                <a:lnTo>
                  <a:pt x="27" y="61"/>
                </a:lnTo>
                <a:lnTo>
                  <a:pt x="32" y="64"/>
                </a:lnTo>
                <a:lnTo>
                  <a:pt x="34" y="66"/>
                </a:lnTo>
                <a:lnTo>
                  <a:pt x="37" y="69"/>
                </a:lnTo>
                <a:lnTo>
                  <a:pt x="37" y="69"/>
                </a:lnTo>
                <a:lnTo>
                  <a:pt x="42" y="73"/>
                </a:lnTo>
                <a:lnTo>
                  <a:pt x="44" y="76"/>
                </a:lnTo>
                <a:lnTo>
                  <a:pt x="47" y="81"/>
                </a:lnTo>
                <a:lnTo>
                  <a:pt x="49" y="83"/>
                </a:lnTo>
                <a:lnTo>
                  <a:pt x="49" y="86"/>
                </a:lnTo>
                <a:lnTo>
                  <a:pt x="49" y="88"/>
                </a:lnTo>
                <a:lnTo>
                  <a:pt x="47" y="88"/>
                </a:lnTo>
                <a:lnTo>
                  <a:pt x="47" y="91"/>
                </a:lnTo>
                <a:lnTo>
                  <a:pt x="44" y="91"/>
                </a:lnTo>
                <a:lnTo>
                  <a:pt x="44" y="91"/>
                </a:lnTo>
                <a:lnTo>
                  <a:pt x="47" y="93"/>
                </a:lnTo>
                <a:lnTo>
                  <a:pt x="44" y="93"/>
                </a:lnTo>
                <a:lnTo>
                  <a:pt x="47" y="96"/>
                </a:lnTo>
                <a:lnTo>
                  <a:pt x="47" y="101"/>
                </a:lnTo>
                <a:lnTo>
                  <a:pt x="47" y="103"/>
                </a:lnTo>
                <a:lnTo>
                  <a:pt x="44" y="105"/>
                </a:lnTo>
                <a:lnTo>
                  <a:pt x="39" y="105"/>
                </a:lnTo>
                <a:lnTo>
                  <a:pt x="39" y="110"/>
                </a:lnTo>
                <a:lnTo>
                  <a:pt x="39" y="113"/>
                </a:lnTo>
                <a:lnTo>
                  <a:pt x="37" y="115"/>
                </a:lnTo>
                <a:lnTo>
                  <a:pt x="37" y="120"/>
                </a:lnTo>
                <a:lnTo>
                  <a:pt x="37" y="123"/>
                </a:lnTo>
                <a:lnTo>
                  <a:pt x="34" y="123"/>
                </a:lnTo>
                <a:lnTo>
                  <a:pt x="34" y="123"/>
                </a:lnTo>
                <a:lnTo>
                  <a:pt x="34" y="120"/>
                </a:lnTo>
                <a:lnTo>
                  <a:pt x="32" y="118"/>
                </a:lnTo>
                <a:lnTo>
                  <a:pt x="32" y="115"/>
                </a:lnTo>
                <a:lnTo>
                  <a:pt x="30" y="115"/>
                </a:lnTo>
                <a:lnTo>
                  <a:pt x="27" y="113"/>
                </a:lnTo>
                <a:lnTo>
                  <a:pt x="25" y="108"/>
                </a:lnTo>
                <a:lnTo>
                  <a:pt x="22" y="105"/>
                </a:lnTo>
                <a:lnTo>
                  <a:pt x="22" y="103"/>
                </a:lnTo>
                <a:lnTo>
                  <a:pt x="22" y="101"/>
                </a:lnTo>
                <a:lnTo>
                  <a:pt x="25" y="98"/>
                </a:lnTo>
                <a:lnTo>
                  <a:pt x="25" y="93"/>
                </a:lnTo>
                <a:lnTo>
                  <a:pt x="27" y="91"/>
                </a:lnTo>
                <a:lnTo>
                  <a:pt x="27" y="86"/>
                </a:lnTo>
                <a:lnTo>
                  <a:pt x="27" y="83"/>
                </a:lnTo>
                <a:lnTo>
                  <a:pt x="27" y="81"/>
                </a:lnTo>
                <a:lnTo>
                  <a:pt x="22" y="78"/>
                </a:lnTo>
                <a:lnTo>
                  <a:pt x="20" y="78"/>
                </a:lnTo>
                <a:lnTo>
                  <a:pt x="17" y="81"/>
                </a:lnTo>
                <a:lnTo>
                  <a:pt x="15" y="81"/>
                </a:lnTo>
                <a:lnTo>
                  <a:pt x="15" y="81"/>
                </a:lnTo>
                <a:lnTo>
                  <a:pt x="12" y="81"/>
                </a:lnTo>
                <a:lnTo>
                  <a:pt x="12" y="78"/>
                </a:lnTo>
                <a:lnTo>
                  <a:pt x="10" y="76"/>
                </a:lnTo>
                <a:lnTo>
                  <a:pt x="10" y="76"/>
                </a:lnTo>
                <a:lnTo>
                  <a:pt x="10" y="73"/>
                </a:lnTo>
                <a:lnTo>
                  <a:pt x="5" y="73"/>
                </a:lnTo>
                <a:lnTo>
                  <a:pt x="5" y="73"/>
                </a:lnTo>
                <a:lnTo>
                  <a:pt x="2" y="69"/>
                </a:lnTo>
                <a:lnTo>
                  <a:pt x="0" y="66"/>
                </a:lnTo>
                <a:lnTo>
                  <a:pt x="0" y="66"/>
                </a:lnTo>
                <a:lnTo>
                  <a:pt x="2" y="64"/>
                </a:lnTo>
                <a:lnTo>
                  <a:pt x="5" y="61"/>
                </a:lnTo>
                <a:lnTo>
                  <a:pt x="5" y="59"/>
                </a:lnTo>
                <a:lnTo>
                  <a:pt x="5" y="59"/>
                </a:lnTo>
                <a:lnTo>
                  <a:pt x="5" y="56"/>
                </a:lnTo>
                <a:lnTo>
                  <a:pt x="5" y="54"/>
                </a:lnTo>
                <a:lnTo>
                  <a:pt x="5" y="54"/>
                </a:lnTo>
                <a:lnTo>
                  <a:pt x="7" y="51"/>
                </a:lnTo>
                <a:lnTo>
                  <a:pt x="10" y="49"/>
                </a:lnTo>
                <a:lnTo>
                  <a:pt x="12" y="49"/>
                </a:lnTo>
                <a:lnTo>
                  <a:pt x="12" y="49"/>
                </a:lnTo>
                <a:lnTo>
                  <a:pt x="12" y="46"/>
                </a:lnTo>
                <a:lnTo>
                  <a:pt x="12" y="46"/>
                </a:lnTo>
                <a:lnTo>
                  <a:pt x="10" y="44"/>
                </a:lnTo>
                <a:lnTo>
                  <a:pt x="10" y="41"/>
                </a:lnTo>
                <a:lnTo>
                  <a:pt x="10" y="41"/>
                </a:lnTo>
                <a:lnTo>
                  <a:pt x="12" y="39"/>
                </a:lnTo>
                <a:lnTo>
                  <a:pt x="10" y="37"/>
                </a:lnTo>
                <a:lnTo>
                  <a:pt x="12" y="37"/>
                </a:lnTo>
                <a:lnTo>
                  <a:pt x="10" y="34"/>
                </a:lnTo>
                <a:lnTo>
                  <a:pt x="10" y="32"/>
                </a:lnTo>
                <a:lnTo>
                  <a:pt x="10" y="29"/>
                </a:lnTo>
                <a:lnTo>
                  <a:pt x="10" y="27"/>
                </a:lnTo>
                <a:lnTo>
                  <a:pt x="15" y="22"/>
                </a:lnTo>
                <a:lnTo>
                  <a:pt x="15" y="22"/>
                </a:lnTo>
                <a:lnTo>
                  <a:pt x="15" y="22"/>
                </a:lnTo>
                <a:lnTo>
                  <a:pt x="15" y="17"/>
                </a:lnTo>
                <a:lnTo>
                  <a:pt x="12" y="14"/>
                </a:lnTo>
                <a:lnTo>
                  <a:pt x="10" y="14"/>
                </a:lnTo>
                <a:lnTo>
                  <a:pt x="10" y="12"/>
                </a:lnTo>
                <a:lnTo>
                  <a:pt x="12" y="7"/>
                </a:lnTo>
                <a:lnTo>
                  <a:pt x="12" y="7"/>
                </a:lnTo>
                <a:lnTo>
                  <a:pt x="10" y="7"/>
                </a:lnTo>
                <a:lnTo>
                  <a:pt x="7" y="5"/>
                </a:lnTo>
                <a:lnTo>
                  <a:pt x="7" y="2"/>
                </a:lnTo>
                <a:lnTo>
                  <a:pt x="7" y="2"/>
                </a:lnTo>
                <a:lnTo>
                  <a:pt x="5" y="0"/>
                </a:lnTo>
                <a:lnTo>
                  <a:pt x="5"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8" name="Freeform 147"/>
          <p:cNvSpPr>
            <a:spLocks/>
          </p:cNvSpPr>
          <p:nvPr/>
        </p:nvSpPr>
        <p:spPr bwMode="auto">
          <a:xfrm>
            <a:off x="5295505" y="4644452"/>
            <a:ext cx="301728" cy="241158"/>
          </a:xfrm>
          <a:custGeom>
            <a:avLst/>
            <a:gdLst/>
            <a:ahLst/>
            <a:cxnLst>
              <a:cxn ang="0">
                <a:pos x="40" y="47"/>
              </a:cxn>
              <a:cxn ang="0">
                <a:pos x="42" y="52"/>
              </a:cxn>
              <a:cxn ang="0">
                <a:pos x="49" y="49"/>
              </a:cxn>
              <a:cxn ang="0">
                <a:pos x="57" y="52"/>
              </a:cxn>
              <a:cxn ang="0">
                <a:pos x="59" y="57"/>
              </a:cxn>
              <a:cxn ang="0">
                <a:pos x="72" y="61"/>
              </a:cxn>
              <a:cxn ang="0">
                <a:pos x="79" y="59"/>
              </a:cxn>
              <a:cxn ang="0">
                <a:pos x="86" y="54"/>
              </a:cxn>
              <a:cxn ang="0">
                <a:pos x="91" y="66"/>
              </a:cxn>
              <a:cxn ang="0">
                <a:pos x="106" y="76"/>
              </a:cxn>
              <a:cxn ang="0">
                <a:pos x="118" y="81"/>
              </a:cxn>
              <a:cxn ang="0">
                <a:pos x="123" y="84"/>
              </a:cxn>
              <a:cxn ang="0">
                <a:pos x="118" y="64"/>
              </a:cxn>
              <a:cxn ang="0">
                <a:pos x="113" y="69"/>
              </a:cxn>
              <a:cxn ang="0">
                <a:pos x="104" y="59"/>
              </a:cxn>
              <a:cxn ang="0">
                <a:pos x="108" y="39"/>
              </a:cxn>
              <a:cxn ang="0">
                <a:pos x="108" y="34"/>
              </a:cxn>
              <a:cxn ang="0">
                <a:pos x="111" y="27"/>
              </a:cxn>
              <a:cxn ang="0">
                <a:pos x="106" y="20"/>
              </a:cxn>
              <a:cxn ang="0">
                <a:pos x="148" y="5"/>
              </a:cxn>
              <a:cxn ang="0">
                <a:pos x="153" y="7"/>
              </a:cxn>
              <a:cxn ang="0">
                <a:pos x="168" y="12"/>
              </a:cxn>
              <a:cxn ang="0">
                <a:pos x="175" y="20"/>
              </a:cxn>
              <a:cxn ang="0">
                <a:pos x="177" y="25"/>
              </a:cxn>
              <a:cxn ang="0">
                <a:pos x="180" y="32"/>
              </a:cxn>
              <a:cxn ang="0">
                <a:pos x="185" y="42"/>
              </a:cxn>
              <a:cxn ang="0">
                <a:pos x="180" y="49"/>
              </a:cxn>
              <a:cxn ang="0">
                <a:pos x="180" y="57"/>
              </a:cxn>
              <a:cxn ang="0">
                <a:pos x="180" y="64"/>
              </a:cxn>
              <a:cxn ang="0">
                <a:pos x="182" y="69"/>
              </a:cxn>
              <a:cxn ang="0">
                <a:pos x="175" y="74"/>
              </a:cxn>
              <a:cxn ang="0">
                <a:pos x="175" y="81"/>
              </a:cxn>
              <a:cxn ang="0">
                <a:pos x="172" y="89"/>
              </a:cxn>
              <a:cxn ang="0">
                <a:pos x="170" y="96"/>
              </a:cxn>
              <a:cxn ang="0">
                <a:pos x="140" y="106"/>
              </a:cxn>
              <a:cxn ang="0">
                <a:pos x="133" y="118"/>
              </a:cxn>
              <a:cxn ang="0">
                <a:pos x="126" y="118"/>
              </a:cxn>
              <a:cxn ang="0">
                <a:pos x="116" y="121"/>
              </a:cxn>
              <a:cxn ang="0">
                <a:pos x="108" y="125"/>
              </a:cxn>
              <a:cxn ang="0">
                <a:pos x="106" y="130"/>
              </a:cxn>
              <a:cxn ang="0">
                <a:pos x="81" y="155"/>
              </a:cxn>
              <a:cxn ang="0">
                <a:pos x="72" y="152"/>
              </a:cxn>
              <a:cxn ang="0">
                <a:pos x="64" y="152"/>
              </a:cxn>
              <a:cxn ang="0">
                <a:pos x="57" y="152"/>
              </a:cxn>
              <a:cxn ang="0">
                <a:pos x="47" y="148"/>
              </a:cxn>
              <a:cxn ang="0">
                <a:pos x="42" y="148"/>
              </a:cxn>
              <a:cxn ang="0">
                <a:pos x="22" y="150"/>
              </a:cxn>
              <a:cxn ang="0">
                <a:pos x="17" y="143"/>
              </a:cxn>
              <a:cxn ang="0">
                <a:pos x="8" y="135"/>
              </a:cxn>
              <a:cxn ang="0">
                <a:pos x="0" y="128"/>
              </a:cxn>
              <a:cxn ang="0">
                <a:pos x="35" y="71"/>
              </a:cxn>
              <a:cxn ang="0">
                <a:pos x="35" y="61"/>
              </a:cxn>
              <a:cxn ang="0">
                <a:pos x="35" y="47"/>
              </a:cxn>
            </a:cxnLst>
            <a:rect l="0" t="0" r="r" b="b"/>
            <a:pathLst>
              <a:path w="185" h="157">
                <a:moveTo>
                  <a:pt x="35" y="47"/>
                </a:moveTo>
                <a:lnTo>
                  <a:pt x="37" y="47"/>
                </a:lnTo>
                <a:lnTo>
                  <a:pt x="37" y="47"/>
                </a:lnTo>
                <a:lnTo>
                  <a:pt x="40" y="47"/>
                </a:lnTo>
                <a:lnTo>
                  <a:pt x="42" y="49"/>
                </a:lnTo>
                <a:lnTo>
                  <a:pt x="42" y="52"/>
                </a:lnTo>
                <a:lnTo>
                  <a:pt x="42" y="52"/>
                </a:lnTo>
                <a:lnTo>
                  <a:pt x="42" y="52"/>
                </a:lnTo>
                <a:lnTo>
                  <a:pt x="45" y="52"/>
                </a:lnTo>
                <a:lnTo>
                  <a:pt x="47" y="49"/>
                </a:lnTo>
                <a:lnTo>
                  <a:pt x="49" y="49"/>
                </a:lnTo>
                <a:lnTo>
                  <a:pt x="49" y="49"/>
                </a:lnTo>
                <a:lnTo>
                  <a:pt x="54" y="47"/>
                </a:lnTo>
                <a:lnTo>
                  <a:pt x="54" y="49"/>
                </a:lnTo>
                <a:lnTo>
                  <a:pt x="54" y="52"/>
                </a:lnTo>
                <a:lnTo>
                  <a:pt x="57" y="52"/>
                </a:lnTo>
                <a:lnTo>
                  <a:pt x="57" y="54"/>
                </a:lnTo>
                <a:lnTo>
                  <a:pt x="57" y="57"/>
                </a:lnTo>
                <a:lnTo>
                  <a:pt x="57" y="57"/>
                </a:lnTo>
                <a:lnTo>
                  <a:pt x="59" y="57"/>
                </a:lnTo>
                <a:lnTo>
                  <a:pt x="62" y="57"/>
                </a:lnTo>
                <a:lnTo>
                  <a:pt x="64" y="59"/>
                </a:lnTo>
                <a:lnTo>
                  <a:pt x="69" y="61"/>
                </a:lnTo>
                <a:lnTo>
                  <a:pt x="72" y="61"/>
                </a:lnTo>
                <a:lnTo>
                  <a:pt x="72" y="61"/>
                </a:lnTo>
                <a:lnTo>
                  <a:pt x="74" y="61"/>
                </a:lnTo>
                <a:lnTo>
                  <a:pt x="79" y="61"/>
                </a:lnTo>
                <a:lnTo>
                  <a:pt x="79" y="59"/>
                </a:lnTo>
                <a:lnTo>
                  <a:pt x="81" y="54"/>
                </a:lnTo>
                <a:lnTo>
                  <a:pt x="84" y="54"/>
                </a:lnTo>
                <a:lnTo>
                  <a:pt x="84" y="54"/>
                </a:lnTo>
                <a:lnTo>
                  <a:pt x="86" y="54"/>
                </a:lnTo>
                <a:lnTo>
                  <a:pt x="86" y="59"/>
                </a:lnTo>
                <a:lnTo>
                  <a:pt x="89" y="61"/>
                </a:lnTo>
                <a:lnTo>
                  <a:pt x="89" y="64"/>
                </a:lnTo>
                <a:lnTo>
                  <a:pt x="91" y="66"/>
                </a:lnTo>
                <a:lnTo>
                  <a:pt x="99" y="66"/>
                </a:lnTo>
                <a:lnTo>
                  <a:pt x="101" y="69"/>
                </a:lnTo>
                <a:lnTo>
                  <a:pt x="104" y="74"/>
                </a:lnTo>
                <a:lnTo>
                  <a:pt x="106" y="76"/>
                </a:lnTo>
                <a:lnTo>
                  <a:pt x="111" y="79"/>
                </a:lnTo>
                <a:lnTo>
                  <a:pt x="113" y="84"/>
                </a:lnTo>
                <a:lnTo>
                  <a:pt x="116" y="84"/>
                </a:lnTo>
                <a:lnTo>
                  <a:pt x="118" y="81"/>
                </a:lnTo>
                <a:lnTo>
                  <a:pt x="121" y="81"/>
                </a:lnTo>
                <a:lnTo>
                  <a:pt x="121" y="81"/>
                </a:lnTo>
                <a:lnTo>
                  <a:pt x="121" y="81"/>
                </a:lnTo>
                <a:lnTo>
                  <a:pt x="123" y="84"/>
                </a:lnTo>
                <a:lnTo>
                  <a:pt x="126" y="81"/>
                </a:lnTo>
                <a:lnTo>
                  <a:pt x="123" y="64"/>
                </a:lnTo>
                <a:lnTo>
                  <a:pt x="123" y="64"/>
                </a:lnTo>
                <a:lnTo>
                  <a:pt x="118" y="64"/>
                </a:lnTo>
                <a:lnTo>
                  <a:pt x="118" y="66"/>
                </a:lnTo>
                <a:lnTo>
                  <a:pt x="121" y="69"/>
                </a:lnTo>
                <a:lnTo>
                  <a:pt x="118" y="69"/>
                </a:lnTo>
                <a:lnTo>
                  <a:pt x="113" y="69"/>
                </a:lnTo>
                <a:lnTo>
                  <a:pt x="111" y="66"/>
                </a:lnTo>
                <a:lnTo>
                  <a:pt x="111" y="64"/>
                </a:lnTo>
                <a:lnTo>
                  <a:pt x="106" y="59"/>
                </a:lnTo>
                <a:lnTo>
                  <a:pt x="104" y="59"/>
                </a:lnTo>
                <a:lnTo>
                  <a:pt x="104" y="54"/>
                </a:lnTo>
                <a:lnTo>
                  <a:pt x="104" y="44"/>
                </a:lnTo>
                <a:lnTo>
                  <a:pt x="104" y="44"/>
                </a:lnTo>
                <a:lnTo>
                  <a:pt x="108" y="39"/>
                </a:lnTo>
                <a:lnTo>
                  <a:pt x="108" y="39"/>
                </a:lnTo>
                <a:lnTo>
                  <a:pt x="108" y="37"/>
                </a:lnTo>
                <a:lnTo>
                  <a:pt x="108" y="37"/>
                </a:lnTo>
                <a:lnTo>
                  <a:pt x="108" y="34"/>
                </a:lnTo>
                <a:lnTo>
                  <a:pt x="108" y="32"/>
                </a:lnTo>
                <a:lnTo>
                  <a:pt x="108" y="30"/>
                </a:lnTo>
                <a:lnTo>
                  <a:pt x="108" y="27"/>
                </a:lnTo>
                <a:lnTo>
                  <a:pt x="111" y="27"/>
                </a:lnTo>
                <a:lnTo>
                  <a:pt x="111" y="25"/>
                </a:lnTo>
                <a:lnTo>
                  <a:pt x="108" y="25"/>
                </a:lnTo>
                <a:lnTo>
                  <a:pt x="106" y="22"/>
                </a:lnTo>
                <a:lnTo>
                  <a:pt x="106" y="20"/>
                </a:lnTo>
                <a:lnTo>
                  <a:pt x="113" y="7"/>
                </a:lnTo>
                <a:lnTo>
                  <a:pt x="138" y="0"/>
                </a:lnTo>
                <a:lnTo>
                  <a:pt x="145" y="5"/>
                </a:lnTo>
                <a:lnTo>
                  <a:pt x="148" y="5"/>
                </a:lnTo>
                <a:lnTo>
                  <a:pt x="150" y="5"/>
                </a:lnTo>
                <a:lnTo>
                  <a:pt x="150" y="5"/>
                </a:lnTo>
                <a:lnTo>
                  <a:pt x="153" y="7"/>
                </a:lnTo>
                <a:lnTo>
                  <a:pt x="153" y="7"/>
                </a:lnTo>
                <a:lnTo>
                  <a:pt x="155" y="10"/>
                </a:lnTo>
                <a:lnTo>
                  <a:pt x="158" y="10"/>
                </a:lnTo>
                <a:lnTo>
                  <a:pt x="165" y="12"/>
                </a:lnTo>
                <a:lnTo>
                  <a:pt x="168" y="12"/>
                </a:lnTo>
                <a:lnTo>
                  <a:pt x="168" y="15"/>
                </a:lnTo>
                <a:lnTo>
                  <a:pt x="170" y="15"/>
                </a:lnTo>
                <a:lnTo>
                  <a:pt x="172" y="17"/>
                </a:lnTo>
                <a:lnTo>
                  <a:pt x="175" y="20"/>
                </a:lnTo>
                <a:lnTo>
                  <a:pt x="175" y="20"/>
                </a:lnTo>
                <a:lnTo>
                  <a:pt x="177" y="22"/>
                </a:lnTo>
                <a:lnTo>
                  <a:pt x="177" y="22"/>
                </a:lnTo>
                <a:lnTo>
                  <a:pt x="177" y="25"/>
                </a:lnTo>
                <a:lnTo>
                  <a:pt x="180" y="27"/>
                </a:lnTo>
                <a:lnTo>
                  <a:pt x="182" y="27"/>
                </a:lnTo>
                <a:lnTo>
                  <a:pt x="182" y="27"/>
                </a:lnTo>
                <a:lnTo>
                  <a:pt x="180" y="32"/>
                </a:lnTo>
                <a:lnTo>
                  <a:pt x="180" y="34"/>
                </a:lnTo>
                <a:lnTo>
                  <a:pt x="182" y="34"/>
                </a:lnTo>
                <a:lnTo>
                  <a:pt x="185" y="37"/>
                </a:lnTo>
                <a:lnTo>
                  <a:pt x="185" y="42"/>
                </a:lnTo>
                <a:lnTo>
                  <a:pt x="185" y="42"/>
                </a:lnTo>
                <a:lnTo>
                  <a:pt x="185" y="42"/>
                </a:lnTo>
                <a:lnTo>
                  <a:pt x="180" y="47"/>
                </a:lnTo>
                <a:lnTo>
                  <a:pt x="180" y="49"/>
                </a:lnTo>
                <a:lnTo>
                  <a:pt x="180" y="52"/>
                </a:lnTo>
                <a:lnTo>
                  <a:pt x="180" y="54"/>
                </a:lnTo>
                <a:lnTo>
                  <a:pt x="182" y="57"/>
                </a:lnTo>
                <a:lnTo>
                  <a:pt x="180" y="57"/>
                </a:lnTo>
                <a:lnTo>
                  <a:pt x="182" y="59"/>
                </a:lnTo>
                <a:lnTo>
                  <a:pt x="180" y="61"/>
                </a:lnTo>
                <a:lnTo>
                  <a:pt x="180" y="61"/>
                </a:lnTo>
                <a:lnTo>
                  <a:pt x="180" y="64"/>
                </a:lnTo>
                <a:lnTo>
                  <a:pt x="182" y="66"/>
                </a:lnTo>
                <a:lnTo>
                  <a:pt x="182" y="66"/>
                </a:lnTo>
                <a:lnTo>
                  <a:pt x="182" y="69"/>
                </a:lnTo>
                <a:lnTo>
                  <a:pt x="182" y="69"/>
                </a:lnTo>
                <a:lnTo>
                  <a:pt x="180" y="69"/>
                </a:lnTo>
                <a:lnTo>
                  <a:pt x="177" y="71"/>
                </a:lnTo>
                <a:lnTo>
                  <a:pt x="175" y="74"/>
                </a:lnTo>
                <a:lnTo>
                  <a:pt x="175" y="74"/>
                </a:lnTo>
                <a:lnTo>
                  <a:pt x="175" y="76"/>
                </a:lnTo>
                <a:lnTo>
                  <a:pt x="175" y="79"/>
                </a:lnTo>
                <a:lnTo>
                  <a:pt x="175" y="79"/>
                </a:lnTo>
                <a:lnTo>
                  <a:pt x="175" y="81"/>
                </a:lnTo>
                <a:lnTo>
                  <a:pt x="172" y="84"/>
                </a:lnTo>
                <a:lnTo>
                  <a:pt x="170" y="86"/>
                </a:lnTo>
                <a:lnTo>
                  <a:pt x="170" y="86"/>
                </a:lnTo>
                <a:lnTo>
                  <a:pt x="172" y="89"/>
                </a:lnTo>
                <a:lnTo>
                  <a:pt x="175" y="93"/>
                </a:lnTo>
                <a:lnTo>
                  <a:pt x="175" y="93"/>
                </a:lnTo>
                <a:lnTo>
                  <a:pt x="175" y="93"/>
                </a:lnTo>
                <a:lnTo>
                  <a:pt x="170" y="96"/>
                </a:lnTo>
                <a:lnTo>
                  <a:pt x="160" y="98"/>
                </a:lnTo>
                <a:lnTo>
                  <a:pt x="158" y="101"/>
                </a:lnTo>
                <a:lnTo>
                  <a:pt x="143" y="106"/>
                </a:lnTo>
                <a:lnTo>
                  <a:pt x="140" y="106"/>
                </a:lnTo>
                <a:lnTo>
                  <a:pt x="133" y="111"/>
                </a:lnTo>
                <a:lnTo>
                  <a:pt x="133" y="113"/>
                </a:lnTo>
                <a:lnTo>
                  <a:pt x="133" y="116"/>
                </a:lnTo>
                <a:lnTo>
                  <a:pt x="133" y="118"/>
                </a:lnTo>
                <a:lnTo>
                  <a:pt x="133" y="118"/>
                </a:lnTo>
                <a:lnTo>
                  <a:pt x="131" y="118"/>
                </a:lnTo>
                <a:lnTo>
                  <a:pt x="128" y="118"/>
                </a:lnTo>
                <a:lnTo>
                  <a:pt x="126" y="118"/>
                </a:lnTo>
                <a:lnTo>
                  <a:pt x="126" y="118"/>
                </a:lnTo>
                <a:lnTo>
                  <a:pt x="121" y="118"/>
                </a:lnTo>
                <a:lnTo>
                  <a:pt x="118" y="118"/>
                </a:lnTo>
                <a:lnTo>
                  <a:pt x="116" y="121"/>
                </a:lnTo>
                <a:lnTo>
                  <a:pt x="113" y="121"/>
                </a:lnTo>
                <a:lnTo>
                  <a:pt x="108" y="123"/>
                </a:lnTo>
                <a:lnTo>
                  <a:pt x="108" y="125"/>
                </a:lnTo>
                <a:lnTo>
                  <a:pt x="108" y="125"/>
                </a:lnTo>
                <a:lnTo>
                  <a:pt x="108" y="128"/>
                </a:lnTo>
                <a:lnTo>
                  <a:pt x="108" y="130"/>
                </a:lnTo>
                <a:lnTo>
                  <a:pt x="108" y="130"/>
                </a:lnTo>
                <a:lnTo>
                  <a:pt x="106" y="130"/>
                </a:lnTo>
                <a:lnTo>
                  <a:pt x="101" y="133"/>
                </a:lnTo>
                <a:lnTo>
                  <a:pt x="91" y="140"/>
                </a:lnTo>
                <a:lnTo>
                  <a:pt x="86" y="148"/>
                </a:lnTo>
                <a:lnTo>
                  <a:pt x="81" y="155"/>
                </a:lnTo>
                <a:lnTo>
                  <a:pt x="77" y="157"/>
                </a:lnTo>
                <a:lnTo>
                  <a:pt x="74" y="155"/>
                </a:lnTo>
                <a:lnTo>
                  <a:pt x="72" y="155"/>
                </a:lnTo>
                <a:lnTo>
                  <a:pt x="72" y="152"/>
                </a:lnTo>
                <a:lnTo>
                  <a:pt x="69" y="152"/>
                </a:lnTo>
                <a:lnTo>
                  <a:pt x="69" y="152"/>
                </a:lnTo>
                <a:lnTo>
                  <a:pt x="67" y="152"/>
                </a:lnTo>
                <a:lnTo>
                  <a:pt x="64" y="152"/>
                </a:lnTo>
                <a:lnTo>
                  <a:pt x="62" y="155"/>
                </a:lnTo>
                <a:lnTo>
                  <a:pt x="59" y="155"/>
                </a:lnTo>
                <a:lnTo>
                  <a:pt x="59" y="152"/>
                </a:lnTo>
                <a:lnTo>
                  <a:pt x="57" y="152"/>
                </a:lnTo>
                <a:lnTo>
                  <a:pt x="52" y="152"/>
                </a:lnTo>
                <a:lnTo>
                  <a:pt x="49" y="152"/>
                </a:lnTo>
                <a:lnTo>
                  <a:pt x="47" y="150"/>
                </a:lnTo>
                <a:lnTo>
                  <a:pt x="47" y="148"/>
                </a:lnTo>
                <a:lnTo>
                  <a:pt x="47" y="148"/>
                </a:lnTo>
                <a:lnTo>
                  <a:pt x="45" y="148"/>
                </a:lnTo>
                <a:lnTo>
                  <a:pt x="45" y="148"/>
                </a:lnTo>
                <a:lnTo>
                  <a:pt x="42" y="148"/>
                </a:lnTo>
                <a:lnTo>
                  <a:pt x="42" y="148"/>
                </a:lnTo>
                <a:lnTo>
                  <a:pt x="40" y="148"/>
                </a:lnTo>
                <a:lnTo>
                  <a:pt x="37" y="148"/>
                </a:lnTo>
                <a:lnTo>
                  <a:pt x="22" y="150"/>
                </a:lnTo>
                <a:lnTo>
                  <a:pt x="22" y="148"/>
                </a:lnTo>
                <a:lnTo>
                  <a:pt x="20" y="148"/>
                </a:lnTo>
                <a:lnTo>
                  <a:pt x="17" y="145"/>
                </a:lnTo>
                <a:lnTo>
                  <a:pt x="17" y="143"/>
                </a:lnTo>
                <a:lnTo>
                  <a:pt x="15" y="143"/>
                </a:lnTo>
                <a:lnTo>
                  <a:pt x="13" y="140"/>
                </a:lnTo>
                <a:lnTo>
                  <a:pt x="10" y="138"/>
                </a:lnTo>
                <a:lnTo>
                  <a:pt x="8" y="135"/>
                </a:lnTo>
                <a:lnTo>
                  <a:pt x="5" y="135"/>
                </a:lnTo>
                <a:lnTo>
                  <a:pt x="5" y="133"/>
                </a:lnTo>
                <a:lnTo>
                  <a:pt x="3" y="130"/>
                </a:lnTo>
                <a:lnTo>
                  <a:pt x="0" y="128"/>
                </a:lnTo>
                <a:lnTo>
                  <a:pt x="3" y="76"/>
                </a:lnTo>
                <a:lnTo>
                  <a:pt x="35" y="76"/>
                </a:lnTo>
                <a:lnTo>
                  <a:pt x="35" y="76"/>
                </a:lnTo>
                <a:lnTo>
                  <a:pt x="35" y="71"/>
                </a:lnTo>
                <a:lnTo>
                  <a:pt x="37" y="69"/>
                </a:lnTo>
                <a:lnTo>
                  <a:pt x="37" y="66"/>
                </a:lnTo>
                <a:lnTo>
                  <a:pt x="35" y="64"/>
                </a:lnTo>
                <a:lnTo>
                  <a:pt x="35" y="61"/>
                </a:lnTo>
                <a:lnTo>
                  <a:pt x="35" y="54"/>
                </a:lnTo>
                <a:lnTo>
                  <a:pt x="35" y="49"/>
                </a:lnTo>
                <a:lnTo>
                  <a:pt x="35" y="47"/>
                </a:lnTo>
                <a:lnTo>
                  <a:pt x="35" y="47"/>
                </a:lnTo>
                <a:lnTo>
                  <a:pt x="35" y="47"/>
                </a:lnTo>
                <a:lnTo>
                  <a:pt x="35" y="4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9" name="Freeform 148"/>
          <p:cNvSpPr>
            <a:spLocks/>
          </p:cNvSpPr>
          <p:nvPr/>
        </p:nvSpPr>
        <p:spPr bwMode="auto">
          <a:xfrm>
            <a:off x="5039444" y="4592227"/>
            <a:ext cx="316405" cy="293384"/>
          </a:xfrm>
          <a:custGeom>
            <a:avLst/>
            <a:gdLst/>
            <a:ahLst/>
            <a:cxnLst>
              <a:cxn ang="0">
                <a:pos x="174" y="179"/>
              </a:cxn>
              <a:cxn ang="0">
                <a:pos x="167" y="172"/>
              </a:cxn>
              <a:cxn ang="0">
                <a:pos x="160" y="164"/>
              </a:cxn>
              <a:cxn ang="0">
                <a:pos x="192" y="110"/>
              </a:cxn>
              <a:cxn ang="0">
                <a:pos x="192" y="98"/>
              </a:cxn>
              <a:cxn ang="0">
                <a:pos x="192" y="81"/>
              </a:cxn>
              <a:cxn ang="0">
                <a:pos x="187" y="81"/>
              </a:cxn>
              <a:cxn ang="0">
                <a:pos x="179" y="83"/>
              </a:cxn>
              <a:cxn ang="0">
                <a:pos x="170" y="81"/>
              </a:cxn>
              <a:cxn ang="0">
                <a:pos x="165" y="83"/>
              </a:cxn>
              <a:cxn ang="0">
                <a:pos x="165" y="76"/>
              </a:cxn>
              <a:cxn ang="0">
                <a:pos x="165" y="68"/>
              </a:cxn>
              <a:cxn ang="0">
                <a:pos x="165" y="61"/>
              </a:cxn>
              <a:cxn ang="0">
                <a:pos x="160" y="56"/>
              </a:cxn>
              <a:cxn ang="0">
                <a:pos x="157" y="51"/>
              </a:cxn>
              <a:cxn ang="0">
                <a:pos x="157" y="39"/>
              </a:cxn>
              <a:cxn ang="0">
                <a:pos x="157" y="32"/>
              </a:cxn>
              <a:cxn ang="0">
                <a:pos x="160" y="22"/>
              </a:cxn>
              <a:cxn ang="0">
                <a:pos x="142" y="14"/>
              </a:cxn>
              <a:cxn ang="0">
                <a:pos x="120" y="22"/>
              </a:cxn>
              <a:cxn ang="0">
                <a:pos x="120" y="32"/>
              </a:cxn>
              <a:cxn ang="0">
                <a:pos x="98" y="32"/>
              </a:cxn>
              <a:cxn ang="0">
                <a:pos x="88" y="27"/>
              </a:cxn>
              <a:cxn ang="0">
                <a:pos x="83" y="19"/>
              </a:cxn>
              <a:cxn ang="0">
                <a:pos x="81" y="9"/>
              </a:cxn>
              <a:cxn ang="0">
                <a:pos x="81" y="2"/>
              </a:cxn>
              <a:cxn ang="0">
                <a:pos x="54" y="0"/>
              </a:cxn>
              <a:cxn ang="0">
                <a:pos x="37" y="0"/>
              </a:cxn>
              <a:cxn ang="0">
                <a:pos x="24" y="0"/>
              </a:cxn>
              <a:cxn ang="0">
                <a:pos x="17" y="2"/>
              </a:cxn>
              <a:cxn ang="0">
                <a:pos x="12" y="4"/>
              </a:cxn>
              <a:cxn ang="0">
                <a:pos x="22" y="29"/>
              </a:cxn>
              <a:cxn ang="0">
                <a:pos x="24" y="51"/>
              </a:cxn>
              <a:cxn ang="0">
                <a:pos x="32" y="73"/>
              </a:cxn>
              <a:cxn ang="0">
                <a:pos x="29" y="103"/>
              </a:cxn>
              <a:cxn ang="0">
                <a:pos x="12" y="120"/>
              </a:cxn>
              <a:cxn ang="0">
                <a:pos x="5" y="142"/>
              </a:cxn>
              <a:cxn ang="0">
                <a:pos x="0" y="164"/>
              </a:cxn>
              <a:cxn ang="0">
                <a:pos x="0" y="179"/>
              </a:cxn>
              <a:cxn ang="0">
                <a:pos x="5" y="177"/>
              </a:cxn>
              <a:cxn ang="0">
                <a:pos x="12" y="177"/>
              </a:cxn>
              <a:cxn ang="0">
                <a:pos x="22" y="174"/>
              </a:cxn>
              <a:cxn ang="0">
                <a:pos x="27" y="174"/>
              </a:cxn>
              <a:cxn ang="0">
                <a:pos x="29" y="177"/>
              </a:cxn>
              <a:cxn ang="0">
                <a:pos x="39" y="179"/>
              </a:cxn>
              <a:cxn ang="0">
                <a:pos x="103" y="179"/>
              </a:cxn>
              <a:cxn ang="0">
                <a:pos x="108" y="186"/>
              </a:cxn>
              <a:cxn ang="0">
                <a:pos x="115" y="186"/>
              </a:cxn>
              <a:cxn ang="0">
                <a:pos x="128" y="186"/>
              </a:cxn>
              <a:cxn ang="0">
                <a:pos x="133" y="186"/>
              </a:cxn>
              <a:cxn ang="0">
                <a:pos x="142" y="189"/>
              </a:cxn>
              <a:cxn ang="0">
                <a:pos x="147" y="189"/>
              </a:cxn>
              <a:cxn ang="0">
                <a:pos x="152" y="191"/>
              </a:cxn>
              <a:cxn ang="0">
                <a:pos x="179" y="184"/>
              </a:cxn>
            </a:cxnLst>
            <a:rect l="0" t="0" r="r" b="b"/>
            <a:pathLst>
              <a:path w="194" h="191">
                <a:moveTo>
                  <a:pt x="179" y="184"/>
                </a:moveTo>
                <a:lnTo>
                  <a:pt x="179" y="182"/>
                </a:lnTo>
                <a:lnTo>
                  <a:pt x="177" y="182"/>
                </a:lnTo>
                <a:lnTo>
                  <a:pt x="174" y="179"/>
                </a:lnTo>
                <a:lnTo>
                  <a:pt x="174" y="177"/>
                </a:lnTo>
                <a:lnTo>
                  <a:pt x="172" y="177"/>
                </a:lnTo>
                <a:lnTo>
                  <a:pt x="170" y="174"/>
                </a:lnTo>
                <a:lnTo>
                  <a:pt x="167" y="172"/>
                </a:lnTo>
                <a:lnTo>
                  <a:pt x="165" y="169"/>
                </a:lnTo>
                <a:lnTo>
                  <a:pt x="162" y="169"/>
                </a:lnTo>
                <a:lnTo>
                  <a:pt x="162" y="167"/>
                </a:lnTo>
                <a:lnTo>
                  <a:pt x="160" y="164"/>
                </a:lnTo>
                <a:lnTo>
                  <a:pt x="157" y="162"/>
                </a:lnTo>
                <a:lnTo>
                  <a:pt x="160" y="110"/>
                </a:lnTo>
                <a:lnTo>
                  <a:pt x="192" y="110"/>
                </a:lnTo>
                <a:lnTo>
                  <a:pt x="192" y="110"/>
                </a:lnTo>
                <a:lnTo>
                  <a:pt x="192" y="105"/>
                </a:lnTo>
                <a:lnTo>
                  <a:pt x="194" y="103"/>
                </a:lnTo>
                <a:lnTo>
                  <a:pt x="194" y="100"/>
                </a:lnTo>
                <a:lnTo>
                  <a:pt x="192" y="98"/>
                </a:lnTo>
                <a:lnTo>
                  <a:pt x="192" y="95"/>
                </a:lnTo>
                <a:lnTo>
                  <a:pt x="192" y="88"/>
                </a:lnTo>
                <a:lnTo>
                  <a:pt x="192" y="83"/>
                </a:lnTo>
                <a:lnTo>
                  <a:pt x="192" y="81"/>
                </a:lnTo>
                <a:lnTo>
                  <a:pt x="192" y="81"/>
                </a:lnTo>
                <a:lnTo>
                  <a:pt x="192" y="81"/>
                </a:lnTo>
                <a:lnTo>
                  <a:pt x="189" y="81"/>
                </a:lnTo>
                <a:lnTo>
                  <a:pt x="187" y="81"/>
                </a:lnTo>
                <a:lnTo>
                  <a:pt x="184" y="83"/>
                </a:lnTo>
                <a:lnTo>
                  <a:pt x="182" y="83"/>
                </a:lnTo>
                <a:lnTo>
                  <a:pt x="182" y="83"/>
                </a:lnTo>
                <a:lnTo>
                  <a:pt x="179" y="83"/>
                </a:lnTo>
                <a:lnTo>
                  <a:pt x="174" y="83"/>
                </a:lnTo>
                <a:lnTo>
                  <a:pt x="174" y="83"/>
                </a:lnTo>
                <a:lnTo>
                  <a:pt x="172" y="81"/>
                </a:lnTo>
                <a:lnTo>
                  <a:pt x="170" y="81"/>
                </a:lnTo>
                <a:lnTo>
                  <a:pt x="170" y="81"/>
                </a:lnTo>
                <a:lnTo>
                  <a:pt x="167" y="81"/>
                </a:lnTo>
                <a:lnTo>
                  <a:pt x="167" y="83"/>
                </a:lnTo>
                <a:lnTo>
                  <a:pt x="165" y="83"/>
                </a:lnTo>
                <a:lnTo>
                  <a:pt x="165" y="81"/>
                </a:lnTo>
                <a:lnTo>
                  <a:pt x="165" y="78"/>
                </a:lnTo>
                <a:lnTo>
                  <a:pt x="165" y="78"/>
                </a:lnTo>
                <a:lnTo>
                  <a:pt x="165" y="76"/>
                </a:lnTo>
                <a:lnTo>
                  <a:pt x="167" y="76"/>
                </a:lnTo>
                <a:lnTo>
                  <a:pt x="165" y="73"/>
                </a:lnTo>
                <a:lnTo>
                  <a:pt x="165" y="71"/>
                </a:lnTo>
                <a:lnTo>
                  <a:pt x="165" y="68"/>
                </a:lnTo>
                <a:lnTo>
                  <a:pt x="165" y="68"/>
                </a:lnTo>
                <a:lnTo>
                  <a:pt x="162" y="66"/>
                </a:lnTo>
                <a:lnTo>
                  <a:pt x="162" y="64"/>
                </a:lnTo>
                <a:lnTo>
                  <a:pt x="165" y="61"/>
                </a:lnTo>
                <a:lnTo>
                  <a:pt x="162" y="61"/>
                </a:lnTo>
                <a:lnTo>
                  <a:pt x="162" y="59"/>
                </a:lnTo>
                <a:lnTo>
                  <a:pt x="162" y="59"/>
                </a:lnTo>
                <a:lnTo>
                  <a:pt x="160" y="56"/>
                </a:lnTo>
                <a:lnTo>
                  <a:pt x="160" y="56"/>
                </a:lnTo>
                <a:lnTo>
                  <a:pt x="160" y="54"/>
                </a:lnTo>
                <a:lnTo>
                  <a:pt x="160" y="51"/>
                </a:lnTo>
                <a:lnTo>
                  <a:pt x="157" y="51"/>
                </a:lnTo>
                <a:lnTo>
                  <a:pt x="160" y="49"/>
                </a:lnTo>
                <a:lnTo>
                  <a:pt x="160" y="41"/>
                </a:lnTo>
                <a:lnTo>
                  <a:pt x="157" y="39"/>
                </a:lnTo>
                <a:lnTo>
                  <a:pt x="157" y="39"/>
                </a:lnTo>
                <a:lnTo>
                  <a:pt x="160" y="39"/>
                </a:lnTo>
                <a:lnTo>
                  <a:pt x="160" y="36"/>
                </a:lnTo>
                <a:lnTo>
                  <a:pt x="157" y="34"/>
                </a:lnTo>
                <a:lnTo>
                  <a:pt x="157" y="32"/>
                </a:lnTo>
                <a:lnTo>
                  <a:pt x="160" y="29"/>
                </a:lnTo>
                <a:lnTo>
                  <a:pt x="160" y="27"/>
                </a:lnTo>
                <a:lnTo>
                  <a:pt x="160" y="24"/>
                </a:lnTo>
                <a:lnTo>
                  <a:pt x="160" y="22"/>
                </a:lnTo>
                <a:lnTo>
                  <a:pt x="140" y="19"/>
                </a:lnTo>
                <a:lnTo>
                  <a:pt x="140" y="19"/>
                </a:lnTo>
                <a:lnTo>
                  <a:pt x="142" y="17"/>
                </a:lnTo>
                <a:lnTo>
                  <a:pt x="142" y="14"/>
                </a:lnTo>
                <a:lnTo>
                  <a:pt x="138" y="14"/>
                </a:lnTo>
                <a:lnTo>
                  <a:pt x="138" y="17"/>
                </a:lnTo>
                <a:lnTo>
                  <a:pt x="123" y="17"/>
                </a:lnTo>
                <a:lnTo>
                  <a:pt x="120" y="22"/>
                </a:lnTo>
                <a:lnTo>
                  <a:pt x="120" y="24"/>
                </a:lnTo>
                <a:lnTo>
                  <a:pt x="118" y="24"/>
                </a:lnTo>
                <a:lnTo>
                  <a:pt x="120" y="27"/>
                </a:lnTo>
                <a:lnTo>
                  <a:pt x="120" y="32"/>
                </a:lnTo>
                <a:lnTo>
                  <a:pt x="108" y="32"/>
                </a:lnTo>
                <a:lnTo>
                  <a:pt x="106" y="34"/>
                </a:lnTo>
                <a:lnTo>
                  <a:pt x="101" y="34"/>
                </a:lnTo>
                <a:lnTo>
                  <a:pt x="98" y="32"/>
                </a:lnTo>
                <a:lnTo>
                  <a:pt x="96" y="34"/>
                </a:lnTo>
                <a:lnTo>
                  <a:pt x="91" y="34"/>
                </a:lnTo>
                <a:lnTo>
                  <a:pt x="91" y="32"/>
                </a:lnTo>
                <a:lnTo>
                  <a:pt x="88" y="27"/>
                </a:lnTo>
                <a:lnTo>
                  <a:pt x="88" y="24"/>
                </a:lnTo>
                <a:lnTo>
                  <a:pt x="86" y="22"/>
                </a:lnTo>
                <a:lnTo>
                  <a:pt x="83" y="22"/>
                </a:lnTo>
                <a:lnTo>
                  <a:pt x="83" y="19"/>
                </a:lnTo>
                <a:lnTo>
                  <a:pt x="83" y="17"/>
                </a:lnTo>
                <a:lnTo>
                  <a:pt x="83" y="14"/>
                </a:lnTo>
                <a:lnTo>
                  <a:pt x="81" y="12"/>
                </a:lnTo>
                <a:lnTo>
                  <a:pt x="81" y="9"/>
                </a:lnTo>
                <a:lnTo>
                  <a:pt x="83" y="7"/>
                </a:lnTo>
                <a:lnTo>
                  <a:pt x="81" y="4"/>
                </a:lnTo>
                <a:lnTo>
                  <a:pt x="81" y="4"/>
                </a:lnTo>
                <a:lnTo>
                  <a:pt x="81" y="2"/>
                </a:lnTo>
                <a:lnTo>
                  <a:pt x="81" y="2"/>
                </a:lnTo>
                <a:lnTo>
                  <a:pt x="81" y="0"/>
                </a:lnTo>
                <a:lnTo>
                  <a:pt x="64" y="0"/>
                </a:lnTo>
                <a:lnTo>
                  <a:pt x="54" y="0"/>
                </a:lnTo>
                <a:lnTo>
                  <a:pt x="49" y="0"/>
                </a:lnTo>
                <a:lnTo>
                  <a:pt x="44" y="0"/>
                </a:lnTo>
                <a:lnTo>
                  <a:pt x="42" y="0"/>
                </a:lnTo>
                <a:lnTo>
                  <a:pt x="37" y="0"/>
                </a:lnTo>
                <a:lnTo>
                  <a:pt x="32" y="0"/>
                </a:lnTo>
                <a:lnTo>
                  <a:pt x="29" y="0"/>
                </a:lnTo>
                <a:lnTo>
                  <a:pt x="27" y="0"/>
                </a:lnTo>
                <a:lnTo>
                  <a:pt x="24" y="0"/>
                </a:lnTo>
                <a:lnTo>
                  <a:pt x="22" y="0"/>
                </a:lnTo>
                <a:lnTo>
                  <a:pt x="19" y="0"/>
                </a:lnTo>
                <a:lnTo>
                  <a:pt x="19" y="2"/>
                </a:lnTo>
                <a:lnTo>
                  <a:pt x="17" y="2"/>
                </a:lnTo>
                <a:lnTo>
                  <a:pt x="17" y="2"/>
                </a:lnTo>
                <a:lnTo>
                  <a:pt x="17" y="2"/>
                </a:lnTo>
                <a:lnTo>
                  <a:pt x="17" y="2"/>
                </a:lnTo>
                <a:lnTo>
                  <a:pt x="12" y="4"/>
                </a:lnTo>
                <a:lnTo>
                  <a:pt x="15" y="7"/>
                </a:lnTo>
                <a:lnTo>
                  <a:pt x="15" y="9"/>
                </a:lnTo>
                <a:lnTo>
                  <a:pt x="22" y="17"/>
                </a:lnTo>
                <a:lnTo>
                  <a:pt x="22" y="29"/>
                </a:lnTo>
                <a:lnTo>
                  <a:pt x="27" y="36"/>
                </a:lnTo>
                <a:lnTo>
                  <a:pt x="27" y="44"/>
                </a:lnTo>
                <a:lnTo>
                  <a:pt x="22" y="49"/>
                </a:lnTo>
                <a:lnTo>
                  <a:pt x="24" y="51"/>
                </a:lnTo>
                <a:lnTo>
                  <a:pt x="24" y="56"/>
                </a:lnTo>
                <a:lnTo>
                  <a:pt x="27" y="59"/>
                </a:lnTo>
                <a:lnTo>
                  <a:pt x="27" y="64"/>
                </a:lnTo>
                <a:lnTo>
                  <a:pt x="32" y="73"/>
                </a:lnTo>
                <a:lnTo>
                  <a:pt x="32" y="76"/>
                </a:lnTo>
                <a:lnTo>
                  <a:pt x="34" y="78"/>
                </a:lnTo>
                <a:lnTo>
                  <a:pt x="34" y="91"/>
                </a:lnTo>
                <a:lnTo>
                  <a:pt x="29" y="103"/>
                </a:lnTo>
                <a:lnTo>
                  <a:pt x="27" y="103"/>
                </a:lnTo>
                <a:lnTo>
                  <a:pt x="19" y="108"/>
                </a:lnTo>
                <a:lnTo>
                  <a:pt x="19" y="113"/>
                </a:lnTo>
                <a:lnTo>
                  <a:pt x="12" y="120"/>
                </a:lnTo>
                <a:lnTo>
                  <a:pt x="10" y="125"/>
                </a:lnTo>
                <a:lnTo>
                  <a:pt x="10" y="125"/>
                </a:lnTo>
                <a:lnTo>
                  <a:pt x="10" y="137"/>
                </a:lnTo>
                <a:lnTo>
                  <a:pt x="5" y="142"/>
                </a:lnTo>
                <a:lnTo>
                  <a:pt x="5" y="150"/>
                </a:lnTo>
                <a:lnTo>
                  <a:pt x="0" y="155"/>
                </a:lnTo>
                <a:lnTo>
                  <a:pt x="0" y="159"/>
                </a:lnTo>
                <a:lnTo>
                  <a:pt x="0" y="164"/>
                </a:lnTo>
                <a:lnTo>
                  <a:pt x="0" y="172"/>
                </a:lnTo>
                <a:lnTo>
                  <a:pt x="0" y="177"/>
                </a:lnTo>
                <a:lnTo>
                  <a:pt x="0" y="179"/>
                </a:lnTo>
                <a:lnTo>
                  <a:pt x="0" y="179"/>
                </a:lnTo>
                <a:lnTo>
                  <a:pt x="2" y="179"/>
                </a:lnTo>
                <a:lnTo>
                  <a:pt x="2" y="179"/>
                </a:lnTo>
                <a:lnTo>
                  <a:pt x="5" y="179"/>
                </a:lnTo>
                <a:lnTo>
                  <a:pt x="5" y="177"/>
                </a:lnTo>
                <a:lnTo>
                  <a:pt x="5" y="177"/>
                </a:lnTo>
                <a:lnTo>
                  <a:pt x="10" y="177"/>
                </a:lnTo>
                <a:lnTo>
                  <a:pt x="12" y="179"/>
                </a:lnTo>
                <a:lnTo>
                  <a:pt x="12" y="177"/>
                </a:lnTo>
                <a:lnTo>
                  <a:pt x="12" y="177"/>
                </a:lnTo>
                <a:lnTo>
                  <a:pt x="17" y="172"/>
                </a:lnTo>
                <a:lnTo>
                  <a:pt x="19" y="172"/>
                </a:lnTo>
                <a:lnTo>
                  <a:pt x="22" y="174"/>
                </a:lnTo>
                <a:lnTo>
                  <a:pt x="22" y="174"/>
                </a:lnTo>
                <a:lnTo>
                  <a:pt x="24" y="174"/>
                </a:lnTo>
                <a:lnTo>
                  <a:pt x="24" y="172"/>
                </a:lnTo>
                <a:lnTo>
                  <a:pt x="27" y="174"/>
                </a:lnTo>
                <a:lnTo>
                  <a:pt x="27" y="174"/>
                </a:lnTo>
                <a:lnTo>
                  <a:pt x="29" y="174"/>
                </a:lnTo>
                <a:lnTo>
                  <a:pt x="29" y="177"/>
                </a:lnTo>
                <a:lnTo>
                  <a:pt x="29" y="177"/>
                </a:lnTo>
                <a:lnTo>
                  <a:pt x="32" y="179"/>
                </a:lnTo>
                <a:lnTo>
                  <a:pt x="37" y="182"/>
                </a:lnTo>
                <a:lnTo>
                  <a:pt x="39" y="179"/>
                </a:lnTo>
                <a:lnTo>
                  <a:pt x="39" y="179"/>
                </a:lnTo>
                <a:lnTo>
                  <a:pt x="42" y="179"/>
                </a:lnTo>
                <a:lnTo>
                  <a:pt x="44" y="179"/>
                </a:lnTo>
                <a:lnTo>
                  <a:pt x="44" y="179"/>
                </a:lnTo>
                <a:lnTo>
                  <a:pt x="103" y="179"/>
                </a:lnTo>
                <a:lnTo>
                  <a:pt x="103" y="179"/>
                </a:lnTo>
                <a:lnTo>
                  <a:pt x="106" y="184"/>
                </a:lnTo>
                <a:lnTo>
                  <a:pt x="106" y="184"/>
                </a:lnTo>
                <a:lnTo>
                  <a:pt x="108" y="186"/>
                </a:lnTo>
                <a:lnTo>
                  <a:pt x="113" y="186"/>
                </a:lnTo>
                <a:lnTo>
                  <a:pt x="115" y="186"/>
                </a:lnTo>
                <a:lnTo>
                  <a:pt x="115" y="186"/>
                </a:lnTo>
                <a:lnTo>
                  <a:pt x="115" y="186"/>
                </a:lnTo>
                <a:lnTo>
                  <a:pt x="118" y="189"/>
                </a:lnTo>
                <a:lnTo>
                  <a:pt x="120" y="186"/>
                </a:lnTo>
                <a:lnTo>
                  <a:pt x="123" y="186"/>
                </a:lnTo>
                <a:lnTo>
                  <a:pt x="128" y="186"/>
                </a:lnTo>
                <a:lnTo>
                  <a:pt x="130" y="186"/>
                </a:lnTo>
                <a:lnTo>
                  <a:pt x="130" y="184"/>
                </a:lnTo>
                <a:lnTo>
                  <a:pt x="130" y="186"/>
                </a:lnTo>
                <a:lnTo>
                  <a:pt x="133" y="186"/>
                </a:lnTo>
                <a:lnTo>
                  <a:pt x="135" y="189"/>
                </a:lnTo>
                <a:lnTo>
                  <a:pt x="138" y="189"/>
                </a:lnTo>
                <a:lnTo>
                  <a:pt x="142" y="189"/>
                </a:lnTo>
                <a:lnTo>
                  <a:pt x="142" y="189"/>
                </a:lnTo>
                <a:lnTo>
                  <a:pt x="142" y="189"/>
                </a:lnTo>
                <a:lnTo>
                  <a:pt x="145" y="189"/>
                </a:lnTo>
                <a:lnTo>
                  <a:pt x="147" y="189"/>
                </a:lnTo>
                <a:lnTo>
                  <a:pt x="147" y="189"/>
                </a:lnTo>
                <a:lnTo>
                  <a:pt x="150" y="189"/>
                </a:lnTo>
                <a:lnTo>
                  <a:pt x="150" y="189"/>
                </a:lnTo>
                <a:lnTo>
                  <a:pt x="150" y="189"/>
                </a:lnTo>
                <a:lnTo>
                  <a:pt x="152" y="191"/>
                </a:lnTo>
                <a:lnTo>
                  <a:pt x="152" y="191"/>
                </a:lnTo>
                <a:lnTo>
                  <a:pt x="155" y="191"/>
                </a:lnTo>
                <a:lnTo>
                  <a:pt x="155" y="191"/>
                </a:lnTo>
                <a:lnTo>
                  <a:pt x="179" y="184"/>
                </a:lnTo>
                <a:lnTo>
                  <a:pt x="179" y="18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Freeform 149"/>
          <p:cNvSpPr>
            <a:spLocks/>
          </p:cNvSpPr>
          <p:nvPr/>
        </p:nvSpPr>
        <p:spPr bwMode="auto">
          <a:xfrm>
            <a:off x="5375421" y="4825705"/>
            <a:ext cx="200608" cy="170501"/>
          </a:xfrm>
          <a:custGeom>
            <a:avLst/>
            <a:gdLst/>
            <a:ahLst/>
            <a:cxnLst>
              <a:cxn ang="0">
                <a:pos x="8" y="34"/>
              </a:cxn>
              <a:cxn ang="0">
                <a:pos x="13" y="37"/>
              </a:cxn>
              <a:cxn ang="0">
                <a:pos x="20" y="34"/>
              </a:cxn>
              <a:cxn ang="0">
                <a:pos x="23" y="37"/>
              </a:cxn>
              <a:cxn ang="0">
                <a:pos x="32" y="37"/>
              </a:cxn>
              <a:cxn ang="0">
                <a:pos x="52" y="15"/>
              </a:cxn>
              <a:cxn ang="0">
                <a:pos x="59" y="12"/>
              </a:cxn>
              <a:cxn ang="0">
                <a:pos x="59" y="7"/>
              </a:cxn>
              <a:cxn ang="0">
                <a:pos x="67" y="3"/>
              </a:cxn>
              <a:cxn ang="0">
                <a:pos x="77" y="0"/>
              </a:cxn>
              <a:cxn ang="0">
                <a:pos x="82" y="0"/>
              </a:cxn>
              <a:cxn ang="0">
                <a:pos x="84" y="5"/>
              </a:cxn>
              <a:cxn ang="0">
                <a:pos x="94" y="7"/>
              </a:cxn>
              <a:cxn ang="0">
                <a:pos x="99" y="7"/>
              </a:cxn>
              <a:cxn ang="0">
                <a:pos x="109" y="15"/>
              </a:cxn>
              <a:cxn ang="0">
                <a:pos x="119" y="17"/>
              </a:cxn>
              <a:cxn ang="0">
                <a:pos x="121" y="25"/>
              </a:cxn>
              <a:cxn ang="0">
                <a:pos x="121" y="30"/>
              </a:cxn>
              <a:cxn ang="0">
                <a:pos x="121" y="39"/>
              </a:cxn>
              <a:cxn ang="0">
                <a:pos x="121" y="42"/>
              </a:cxn>
              <a:cxn ang="0">
                <a:pos x="119" y="49"/>
              </a:cxn>
              <a:cxn ang="0">
                <a:pos x="116" y="54"/>
              </a:cxn>
              <a:cxn ang="0">
                <a:pos x="119" y="62"/>
              </a:cxn>
              <a:cxn ang="0">
                <a:pos x="121" y="66"/>
              </a:cxn>
              <a:cxn ang="0">
                <a:pos x="114" y="74"/>
              </a:cxn>
              <a:cxn ang="0">
                <a:pos x="114" y="79"/>
              </a:cxn>
              <a:cxn ang="0">
                <a:pos x="111" y="89"/>
              </a:cxn>
              <a:cxn ang="0">
                <a:pos x="91" y="108"/>
              </a:cxn>
              <a:cxn ang="0">
                <a:pos x="79" y="108"/>
              </a:cxn>
              <a:cxn ang="0">
                <a:pos x="72" y="106"/>
              </a:cxn>
              <a:cxn ang="0">
                <a:pos x="62" y="103"/>
              </a:cxn>
              <a:cxn ang="0">
                <a:pos x="59" y="98"/>
              </a:cxn>
              <a:cxn ang="0">
                <a:pos x="55" y="96"/>
              </a:cxn>
              <a:cxn ang="0">
                <a:pos x="47" y="96"/>
              </a:cxn>
              <a:cxn ang="0">
                <a:pos x="37" y="89"/>
              </a:cxn>
              <a:cxn ang="0">
                <a:pos x="37" y="81"/>
              </a:cxn>
              <a:cxn ang="0">
                <a:pos x="32" y="76"/>
              </a:cxn>
              <a:cxn ang="0">
                <a:pos x="32" y="74"/>
              </a:cxn>
              <a:cxn ang="0">
                <a:pos x="25" y="69"/>
              </a:cxn>
              <a:cxn ang="0">
                <a:pos x="18" y="57"/>
              </a:cxn>
              <a:cxn ang="0">
                <a:pos x="13" y="54"/>
              </a:cxn>
              <a:cxn ang="0">
                <a:pos x="10" y="47"/>
              </a:cxn>
              <a:cxn ang="0">
                <a:pos x="8" y="44"/>
              </a:cxn>
              <a:cxn ang="0">
                <a:pos x="3" y="39"/>
              </a:cxn>
              <a:cxn ang="0">
                <a:pos x="3" y="34"/>
              </a:cxn>
              <a:cxn ang="0">
                <a:pos x="0" y="34"/>
              </a:cxn>
            </a:cxnLst>
            <a:rect l="0" t="0" r="r" b="b"/>
            <a:pathLst>
              <a:path w="123" h="111">
                <a:moveTo>
                  <a:pt x="0" y="34"/>
                </a:moveTo>
                <a:lnTo>
                  <a:pt x="3" y="34"/>
                </a:lnTo>
                <a:lnTo>
                  <a:pt x="8" y="34"/>
                </a:lnTo>
                <a:lnTo>
                  <a:pt x="10" y="34"/>
                </a:lnTo>
                <a:lnTo>
                  <a:pt x="10" y="37"/>
                </a:lnTo>
                <a:lnTo>
                  <a:pt x="13" y="37"/>
                </a:lnTo>
                <a:lnTo>
                  <a:pt x="15" y="34"/>
                </a:lnTo>
                <a:lnTo>
                  <a:pt x="18" y="34"/>
                </a:lnTo>
                <a:lnTo>
                  <a:pt x="20" y="34"/>
                </a:lnTo>
                <a:lnTo>
                  <a:pt x="20" y="34"/>
                </a:lnTo>
                <a:lnTo>
                  <a:pt x="23" y="34"/>
                </a:lnTo>
                <a:lnTo>
                  <a:pt x="23" y="37"/>
                </a:lnTo>
                <a:lnTo>
                  <a:pt x="25" y="37"/>
                </a:lnTo>
                <a:lnTo>
                  <a:pt x="28" y="39"/>
                </a:lnTo>
                <a:lnTo>
                  <a:pt x="32" y="37"/>
                </a:lnTo>
                <a:lnTo>
                  <a:pt x="37" y="30"/>
                </a:lnTo>
                <a:lnTo>
                  <a:pt x="42" y="22"/>
                </a:lnTo>
                <a:lnTo>
                  <a:pt x="52" y="15"/>
                </a:lnTo>
                <a:lnTo>
                  <a:pt x="57" y="12"/>
                </a:lnTo>
                <a:lnTo>
                  <a:pt x="59" y="12"/>
                </a:lnTo>
                <a:lnTo>
                  <a:pt x="59" y="12"/>
                </a:lnTo>
                <a:lnTo>
                  <a:pt x="59" y="10"/>
                </a:lnTo>
                <a:lnTo>
                  <a:pt x="59" y="7"/>
                </a:lnTo>
                <a:lnTo>
                  <a:pt x="59" y="7"/>
                </a:lnTo>
                <a:lnTo>
                  <a:pt x="59" y="5"/>
                </a:lnTo>
                <a:lnTo>
                  <a:pt x="64" y="3"/>
                </a:lnTo>
                <a:lnTo>
                  <a:pt x="67" y="3"/>
                </a:lnTo>
                <a:lnTo>
                  <a:pt x="69" y="0"/>
                </a:lnTo>
                <a:lnTo>
                  <a:pt x="72" y="0"/>
                </a:lnTo>
                <a:lnTo>
                  <a:pt x="77" y="0"/>
                </a:lnTo>
                <a:lnTo>
                  <a:pt x="77" y="0"/>
                </a:lnTo>
                <a:lnTo>
                  <a:pt x="79" y="0"/>
                </a:lnTo>
                <a:lnTo>
                  <a:pt x="82" y="0"/>
                </a:lnTo>
                <a:lnTo>
                  <a:pt x="84" y="0"/>
                </a:lnTo>
                <a:lnTo>
                  <a:pt x="84" y="0"/>
                </a:lnTo>
                <a:lnTo>
                  <a:pt x="84" y="5"/>
                </a:lnTo>
                <a:lnTo>
                  <a:pt x="89" y="5"/>
                </a:lnTo>
                <a:lnTo>
                  <a:pt x="91" y="7"/>
                </a:lnTo>
                <a:lnTo>
                  <a:pt x="94" y="7"/>
                </a:lnTo>
                <a:lnTo>
                  <a:pt x="94" y="7"/>
                </a:lnTo>
                <a:lnTo>
                  <a:pt x="96" y="5"/>
                </a:lnTo>
                <a:lnTo>
                  <a:pt x="99" y="7"/>
                </a:lnTo>
                <a:lnTo>
                  <a:pt x="104" y="10"/>
                </a:lnTo>
                <a:lnTo>
                  <a:pt x="106" y="12"/>
                </a:lnTo>
                <a:lnTo>
                  <a:pt x="109" y="15"/>
                </a:lnTo>
                <a:lnTo>
                  <a:pt x="114" y="15"/>
                </a:lnTo>
                <a:lnTo>
                  <a:pt x="119" y="17"/>
                </a:lnTo>
                <a:lnTo>
                  <a:pt x="119" y="17"/>
                </a:lnTo>
                <a:lnTo>
                  <a:pt x="123" y="20"/>
                </a:lnTo>
                <a:lnTo>
                  <a:pt x="123" y="22"/>
                </a:lnTo>
                <a:lnTo>
                  <a:pt x="121" y="25"/>
                </a:lnTo>
                <a:lnTo>
                  <a:pt x="121" y="27"/>
                </a:lnTo>
                <a:lnTo>
                  <a:pt x="121" y="27"/>
                </a:lnTo>
                <a:lnTo>
                  <a:pt x="121" y="30"/>
                </a:lnTo>
                <a:lnTo>
                  <a:pt x="121" y="32"/>
                </a:lnTo>
                <a:lnTo>
                  <a:pt x="121" y="34"/>
                </a:lnTo>
                <a:lnTo>
                  <a:pt x="121" y="39"/>
                </a:lnTo>
                <a:lnTo>
                  <a:pt x="119" y="42"/>
                </a:lnTo>
                <a:lnTo>
                  <a:pt x="119" y="42"/>
                </a:lnTo>
                <a:lnTo>
                  <a:pt x="121" y="42"/>
                </a:lnTo>
                <a:lnTo>
                  <a:pt x="121" y="44"/>
                </a:lnTo>
                <a:lnTo>
                  <a:pt x="119" y="47"/>
                </a:lnTo>
                <a:lnTo>
                  <a:pt x="119" y="49"/>
                </a:lnTo>
                <a:lnTo>
                  <a:pt x="119" y="52"/>
                </a:lnTo>
                <a:lnTo>
                  <a:pt x="116" y="52"/>
                </a:lnTo>
                <a:lnTo>
                  <a:pt x="116" y="54"/>
                </a:lnTo>
                <a:lnTo>
                  <a:pt x="119" y="57"/>
                </a:lnTo>
                <a:lnTo>
                  <a:pt x="119" y="59"/>
                </a:lnTo>
                <a:lnTo>
                  <a:pt x="119" y="62"/>
                </a:lnTo>
                <a:lnTo>
                  <a:pt x="119" y="64"/>
                </a:lnTo>
                <a:lnTo>
                  <a:pt x="119" y="64"/>
                </a:lnTo>
                <a:lnTo>
                  <a:pt x="121" y="66"/>
                </a:lnTo>
                <a:lnTo>
                  <a:pt x="119" y="71"/>
                </a:lnTo>
                <a:lnTo>
                  <a:pt x="116" y="71"/>
                </a:lnTo>
                <a:lnTo>
                  <a:pt x="114" y="74"/>
                </a:lnTo>
                <a:lnTo>
                  <a:pt x="114" y="74"/>
                </a:lnTo>
                <a:lnTo>
                  <a:pt x="111" y="76"/>
                </a:lnTo>
                <a:lnTo>
                  <a:pt x="114" y="79"/>
                </a:lnTo>
                <a:lnTo>
                  <a:pt x="111" y="81"/>
                </a:lnTo>
                <a:lnTo>
                  <a:pt x="111" y="86"/>
                </a:lnTo>
                <a:lnTo>
                  <a:pt x="111" y="89"/>
                </a:lnTo>
                <a:lnTo>
                  <a:pt x="111" y="94"/>
                </a:lnTo>
                <a:lnTo>
                  <a:pt x="94" y="111"/>
                </a:lnTo>
                <a:lnTo>
                  <a:pt x="91" y="108"/>
                </a:lnTo>
                <a:lnTo>
                  <a:pt x="87" y="106"/>
                </a:lnTo>
                <a:lnTo>
                  <a:pt x="82" y="108"/>
                </a:lnTo>
                <a:lnTo>
                  <a:pt x="79" y="108"/>
                </a:lnTo>
                <a:lnTo>
                  <a:pt x="79" y="108"/>
                </a:lnTo>
                <a:lnTo>
                  <a:pt x="74" y="106"/>
                </a:lnTo>
                <a:lnTo>
                  <a:pt x="72" y="106"/>
                </a:lnTo>
                <a:lnTo>
                  <a:pt x="72" y="103"/>
                </a:lnTo>
                <a:lnTo>
                  <a:pt x="67" y="103"/>
                </a:lnTo>
                <a:lnTo>
                  <a:pt x="62" y="103"/>
                </a:lnTo>
                <a:lnTo>
                  <a:pt x="62" y="103"/>
                </a:lnTo>
                <a:lnTo>
                  <a:pt x="59" y="101"/>
                </a:lnTo>
                <a:lnTo>
                  <a:pt x="59" y="98"/>
                </a:lnTo>
                <a:lnTo>
                  <a:pt x="59" y="98"/>
                </a:lnTo>
                <a:lnTo>
                  <a:pt x="57" y="98"/>
                </a:lnTo>
                <a:lnTo>
                  <a:pt x="55" y="96"/>
                </a:lnTo>
                <a:lnTo>
                  <a:pt x="52" y="96"/>
                </a:lnTo>
                <a:lnTo>
                  <a:pt x="47" y="94"/>
                </a:lnTo>
                <a:lnTo>
                  <a:pt x="47" y="96"/>
                </a:lnTo>
                <a:lnTo>
                  <a:pt x="42" y="94"/>
                </a:lnTo>
                <a:lnTo>
                  <a:pt x="42" y="91"/>
                </a:lnTo>
                <a:lnTo>
                  <a:pt x="37" y="89"/>
                </a:lnTo>
                <a:lnTo>
                  <a:pt x="37" y="86"/>
                </a:lnTo>
                <a:lnTo>
                  <a:pt x="37" y="84"/>
                </a:lnTo>
                <a:lnTo>
                  <a:pt x="37" y="81"/>
                </a:lnTo>
                <a:lnTo>
                  <a:pt x="37" y="79"/>
                </a:lnTo>
                <a:lnTo>
                  <a:pt x="35" y="76"/>
                </a:lnTo>
                <a:lnTo>
                  <a:pt x="32" y="76"/>
                </a:lnTo>
                <a:lnTo>
                  <a:pt x="32" y="74"/>
                </a:lnTo>
                <a:lnTo>
                  <a:pt x="32" y="74"/>
                </a:lnTo>
                <a:lnTo>
                  <a:pt x="32" y="74"/>
                </a:lnTo>
                <a:lnTo>
                  <a:pt x="30" y="71"/>
                </a:lnTo>
                <a:lnTo>
                  <a:pt x="28" y="71"/>
                </a:lnTo>
                <a:lnTo>
                  <a:pt x="25" y="69"/>
                </a:lnTo>
                <a:lnTo>
                  <a:pt x="23" y="66"/>
                </a:lnTo>
                <a:lnTo>
                  <a:pt x="18" y="59"/>
                </a:lnTo>
                <a:lnTo>
                  <a:pt x="18" y="57"/>
                </a:lnTo>
                <a:lnTo>
                  <a:pt x="15" y="57"/>
                </a:lnTo>
                <a:lnTo>
                  <a:pt x="15" y="57"/>
                </a:lnTo>
                <a:lnTo>
                  <a:pt x="13" y="54"/>
                </a:lnTo>
                <a:lnTo>
                  <a:pt x="13" y="52"/>
                </a:lnTo>
                <a:lnTo>
                  <a:pt x="10" y="49"/>
                </a:lnTo>
                <a:lnTo>
                  <a:pt x="10" y="47"/>
                </a:lnTo>
                <a:lnTo>
                  <a:pt x="8" y="47"/>
                </a:lnTo>
                <a:lnTo>
                  <a:pt x="8" y="44"/>
                </a:lnTo>
                <a:lnTo>
                  <a:pt x="8" y="44"/>
                </a:lnTo>
                <a:lnTo>
                  <a:pt x="5" y="42"/>
                </a:lnTo>
                <a:lnTo>
                  <a:pt x="5" y="42"/>
                </a:lnTo>
                <a:lnTo>
                  <a:pt x="3" y="39"/>
                </a:lnTo>
                <a:lnTo>
                  <a:pt x="3" y="37"/>
                </a:lnTo>
                <a:lnTo>
                  <a:pt x="3" y="37"/>
                </a:lnTo>
                <a:lnTo>
                  <a:pt x="3" y="34"/>
                </a:lnTo>
                <a:lnTo>
                  <a:pt x="0" y="34"/>
                </a:lnTo>
                <a:lnTo>
                  <a:pt x="0" y="34"/>
                </a:lnTo>
                <a:lnTo>
                  <a:pt x="0" y="34"/>
                </a:lnTo>
                <a:lnTo>
                  <a:pt x="0" y="3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1" name="Freeform 150"/>
          <p:cNvSpPr>
            <a:spLocks/>
          </p:cNvSpPr>
          <p:nvPr/>
        </p:nvSpPr>
        <p:spPr bwMode="auto">
          <a:xfrm>
            <a:off x="5240050" y="4877930"/>
            <a:ext cx="236490" cy="219654"/>
          </a:xfrm>
          <a:custGeom>
            <a:avLst/>
            <a:gdLst/>
            <a:ahLst/>
            <a:cxnLst>
              <a:cxn ang="0">
                <a:pos x="86" y="3"/>
              </a:cxn>
              <a:cxn ang="0">
                <a:pos x="88" y="8"/>
              </a:cxn>
              <a:cxn ang="0">
                <a:pos x="91" y="10"/>
              </a:cxn>
              <a:cxn ang="0">
                <a:pos x="93" y="15"/>
              </a:cxn>
              <a:cxn ang="0">
                <a:pos x="98" y="23"/>
              </a:cxn>
              <a:cxn ang="0">
                <a:pos x="101" y="25"/>
              </a:cxn>
              <a:cxn ang="0">
                <a:pos x="111" y="37"/>
              </a:cxn>
              <a:cxn ang="0">
                <a:pos x="115" y="40"/>
              </a:cxn>
              <a:cxn ang="0">
                <a:pos x="118" y="42"/>
              </a:cxn>
              <a:cxn ang="0">
                <a:pos x="120" y="50"/>
              </a:cxn>
              <a:cxn ang="0">
                <a:pos x="125" y="57"/>
              </a:cxn>
              <a:cxn ang="0">
                <a:pos x="130" y="60"/>
              </a:cxn>
              <a:cxn ang="0">
                <a:pos x="140" y="64"/>
              </a:cxn>
              <a:cxn ang="0">
                <a:pos x="142" y="67"/>
              </a:cxn>
              <a:cxn ang="0">
                <a:pos x="145" y="69"/>
              </a:cxn>
              <a:cxn ang="0">
                <a:pos x="138" y="72"/>
              </a:cxn>
              <a:cxn ang="0">
                <a:pos x="135" y="77"/>
              </a:cxn>
              <a:cxn ang="0">
                <a:pos x="130" y="79"/>
              </a:cxn>
              <a:cxn ang="0">
                <a:pos x="123" y="82"/>
              </a:cxn>
              <a:cxn ang="0">
                <a:pos x="118" y="87"/>
              </a:cxn>
              <a:cxn ang="0">
                <a:pos x="113" y="89"/>
              </a:cxn>
              <a:cxn ang="0">
                <a:pos x="106" y="99"/>
              </a:cxn>
              <a:cxn ang="0">
                <a:pos x="106" y="104"/>
              </a:cxn>
              <a:cxn ang="0">
                <a:pos x="101" y="106"/>
              </a:cxn>
              <a:cxn ang="0">
                <a:pos x="98" y="111"/>
              </a:cxn>
              <a:cxn ang="0">
                <a:pos x="88" y="114"/>
              </a:cxn>
              <a:cxn ang="0">
                <a:pos x="86" y="121"/>
              </a:cxn>
              <a:cxn ang="0">
                <a:pos x="86" y="128"/>
              </a:cxn>
              <a:cxn ang="0">
                <a:pos x="81" y="128"/>
              </a:cxn>
              <a:cxn ang="0">
                <a:pos x="71" y="128"/>
              </a:cxn>
              <a:cxn ang="0">
                <a:pos x="61" y="126"/>
              </a:cxn>
              <a:cxn ang="0">
                <a:pos x="51" y="121"/>
              </a:cxn>
              <a:cxn ang="0">
                <a:pos x="42" y="133"/>
              </a:cxn>
              <a:cxn ang="0">
                <a:pos x="32" y="138"/>
              </a:cxn>
              <a:cxn ang="0">
                <a:pos x="24" y="143"/>
              </a:cxn>
              <a:cxn ang="0">
                <a:pos x="15" y="143"/>
              </a:cxn>
              <a:cxn ang="0">
                <a:pos x="12" y="136"/>
              </a:cxn>
              <a:cxn ang="0">
                <a:pos x="7" y="119"/>
              </a:cxn>
              <a:cxn ang="0">
                <a:pos x="0" y="116"/>
              </a:cxn>
              <a:cxn ang="0">
                <a:pos x="17" y="67"/>
              </a:cxn>
              <a:cxn ang="0">
                <a:pos x="47" y="8"/>
              </a:cxn>
              <a:cxn ang="0">
                <a:pos x="54" y="5"/>
              </a:cxn>
              <a:cxn ang="0">
                <a:pos x="56" y="10"/>
              </a:cxn>
              <a:cxn ang="0">
                <a:pos x="56" y="13"/>
              </a:cxn>
              <a:cxn ang="0">
                <a:pos x="69" y="3"/>
              </a:cxn>
              <a:cxn ang="0">
                <a:pos x="74" y="3"/>
              </a:cxn>
              <a:cxn ang="0">
                <a:pos x="83" y="0"/>
              </a:cxn>
              <a:cxn ang="0">
                <a:pos x="83" y="0"/>
              </a:cxn>
            </a:cxnLst>
            <a:rect l="0" t="0" r="r" b="b"/>
            <a:pathLst>
              <a:path w="145" h="143">
                <a:moveTo>
                  <a:pt x="83" y="0"/>
                </a:moveTo>
                <a:lnTo>
                  <a:pt x="86" y="0"/>
                </a:lnTo>
                <a:lnTo>
                  <a:pt x="86" y="3"/>
                </a:lnTo>
                <a:lnTo>
                  <a:pt x="86" y="3"/>
                </a:lnTo>
                <a:lnTo>
                  <a:pt x="86" y="5"/>
                </a:lnTo>
                <a:lnTo>
                  <a:pt x="88" y="8"/>
                </a:lnTo>
                <a:lnTo>
                  <a:pt x="88" y="8"/>
                </a:lnTo>
                <a:lnTo>
                  <a:pt x="91" y="10"/>
                </a:lnTo>
                <a:lnTo>
                  <a:pt x="91" y="10"/>
                </a:lnTo>
                <a:lnTo>
                  <a:pt x="91" y="13"/>
                </a:lnTo>
                <a:lnTo>
                  <a:pt x="93" y="13"/>
                </a:lnTo>
                <a:lnTo>
                  <a:pt x="93" y="15"/>
                </a:lnTo>
                <a:lnTo>
                  <a:pt x="96" y="18"/>
                </a:lnTo>
                <a:lnTo>
                  <a:pt x="96" y="20"/>
                </a:lnTo>
                <a:lnTo>
                  <a:pt x="98" y="23"/>
                </a:lnTo>
                <a:lnTo>
                  <a:pt x="98" y="23"/>
                </a:lnTo>
                <a:lnTo>
                  <a:pt x="101" y="23"/>
                </a:lnTo>
                <a:lnTo>
                  <a:pt x="101" y="25"/>
                </a:lnTo>
                <a:lnTo>
                  <a:pt x="106" y="32"/>
                </a:lnTo>
                <a:lnTo>
                  <a:pt x="108" y="35"/>
                </a:lnTo>
                <a:lnTo>
                  <a:pt x="111" y="37"/>
                </a:lnTo>
                <a:lnTo>
                  <a:pt x="113" y="37"/>
                </a:lnTo>
                <a:lnTo>
                  <a:pt x="115" y="40"/>
                </a:lnTo>
                <a:lnTo>
                  <a:pt x="115" y="40"/>
                </a:lnTo>
                <a:lnTo>
                  <a:pt x="115" y="40"/>
                </a:lnTo>
                <a:lnTo>
                  <a:pt x="115" y="42"/>
                </a:lnTo>
                <a:lnTo>
                  <a:pt x="118" y="42"/>
                </a:lnTo>
                <a:lnTo>
                  <a:pt x="120" y="45"/>
                </a:lnTo>
                <a:lnTo>
                  <a:pt x="120" y="47"/>
                </a:lnTo>
                <a:lnTo>
                  <a:pt x="120" y="50"/>
                </a:lnTo>
                <a:lnTo>
                  <a:pt x="120" y="52"/>
                </a:lnTo>
                <a:lnTo>
                  <a:pt x="120" y="55"/>
                </a:lnTo>
                <a:lnTo>
                  <a:pt x="125" y="57"/>
                </a:lnTo>
                <a:lnTo>
                  <a:pt x="125" y="60"/>
                </a:lnTo>
                <a:lnTo>
                  <a:pt x="130" y="62"/>
                </a:lnTo>
                <a:lnTo>
                  <a:pt x="130" y="60"/>
                </a:lnTo>
                <a:lnTo>
                  <a:pt x="135" y="62"/>
                </a:lnTo>
                <a:lnTo>
                  <a:pt x="138" y="62"/>
                </a:lnTo>
                <a:lnTo>
                  <a:pt x="140" y="64"/>
                </a:lnTo>
                <a:lnTo>
                  <a:pt x="142" y="64"/>
                </a:lnTo>
                <a:lnTo>
                  <a:pt x="142" y="64"/>
                </a:lnTo>
                <a:lnTo>
                  <a:pt x="142" y="67"/>
                </a:lnTo>
                <a:lnTo>
                  <a:pt x="145" y="69"/>
                </a:lnTo>
                <a:lnTo>
                  <a:pt x="145" y="69"/>
                </a:lnTo>
                <a:lnTo>
                  <a:pt x="145" y="69"/>
                </a:lnTo>
                <a:lnTo>
                  <a:pt x="142" y="72"/>
                </a:lnTo>
                <a:lnTo>
                  <a:pt x="140" y="72"/>
                </a:lnTo>
                <a:lnTo>
                  <a:pt x="138" y="72"/>
                </a:lnTo>
                <a:lnTo>
                  <a:pt x="138" y="74"/>
                </a:lnTo>
                <a:lnTo>
                  <a:pt x="138" y="77"/>
                </a:lnTo>
                <a:lnTo>
                  <a:pt x="135" y="77"/>
                </a:lnTo>
                <a:lnTo>
                  <a:pt x="133" y="79"/>
                </a:lnTo>
                <a:lnTo>
                  <a:pt x="130" y="79"/>
                </a:lnTo>
                <a:lnTo>
                  <a:pt x="130" y="79"/>
                </a:lnTo>
                <a:lnTo>
                  <a:pt x="128" y="79"/>
                </a:lnTo>
                <a:lnTo>
                  <a:pt x="125" y="79"/>
                </a:lnTo>
                <a:lnTo>
                  <a:pt x="123" y="82"/>
                </a:lnTo>
                <a:lnTo>
                  <a:pt x="120" y="84"/>
                </a:lnTo>
                <a:lnTo>
                  <a:pt x="118" y="84"/>
                </a:lnTo>
                <a:lnTo>
                  <a:pt x="118" y="87"/>
                </a:lnTo>
                <a:lnTo>
                  <a:pt x="115" y="87"/>
                </a:lnTo>
                <a:lnTo>
                  <a:pt x="115" y="89"/>
                </a:lnTo>
                <a:lnTo>
                  <a:pt x="113" y="89"/>
                </a:lnTo>
                <a:lnTo>
                  <a:pt x="111" y="89"/>
                </a:lnTo>
                <a:lnTo>
                  <a:pt x="106" y="96"/>
                </a:lnTo>
                <a:lnTo>
                  <a:pt x="106" y="99"/>
                </a:lnTo>
                <a:lnTo>
                  <a:pt x="106" y="101"/>
                </a:lnTo>
                <a:lnTo>
                  <a:pt x="106" y="104"/>
                </a:lnTo>
                <a:lnTo>
                  <a:pt x="106" y="104"/>
                </a:lnTo>
                <a:lnTo>
                  <a:pt x="103" y="104"/>
                </a:lnTo>
                <a:lnTo>
                  <a:pt x="101" y="106"/>
                </a:lnTo>
                <a:lnTo>
                  <a:pt x="101" y="106"/>
                </a:lnTo>
                <a:lnTo>
                  <a:pt x="98" y="109"/>
                </a:lnTo>
                <a:lnTo>
                  <a:pt x="98" y="109"/>
                </a:lnTo>
                <a:lnTo>
                  <a:pt x="98" y="111"/>
                </a:lnTo>
                <a:lnTo>
                  <a:pt x="96" y="111"/>
                </a:lnTo>
                <a:lnTo>
                  <a:pt x="93" y="114"/>
                </a:lnTo>
                <a:lnTo>
                  <a:pt x="88" y="114"/>
                </a:lnTo>
                <a:lnTo>
                  <a:pt x="88" y="116"/>
                </a:lnTo>
                <a:lnTo>
                  <a:pt x="88" y="121"/>
                </a:lnTo>
                <a:lnTo>
                  <a:pt x="86" y="121"/>
                </a:lnTo>
                <a:lnTo>
                  <a:pt x="86" y="123"/>
                </a:lnTo>
                <a:lnTo>
                  <a:pt x="86" y="126"/>
                </a:lnTo>
                <a:lnTo>
                  <a:pt x="86" y="128"/>
                </a:lnTo>
                <a:lnTo>
                  <a:pt x="83" y="131"/>
                </a:lnTo>
                <a:lnTo>
                  <a:pt x="81" y="128"/>
                </a:lnTo>
                <a:lnTo>
                  <a:pt x="81" y="128"/>
                </a:lnTo>
                <a:lnTo>
                  <a:pt x="79" y="128"/>
                </a:lnTo>
                <a:lnTo>
                  <a:pt x="74" y="128"/>
                </a:lnTo>
                <a:lnTo>
                  <a:pt x="71" y="128"/>
                </a:lnTo>
                <a:lnTo>
                  <a:pt x="69" y="128"/>
                </a:lnTo>
                <a:lnTo>
                  <a:pt x="66" y="128"/>
                </a:lnTo>
                <a:lnTo>
                  <a:pt x="61" y="126"/>
                </a:lnTo>
                <a:lnTo>
                  <a:pt x="59" y="123"/>
                </a:lnTo>
                <a:lnTo>
                  <a:pt x="56" y="123"/>
                </a:lnTo>
                <a:lnTo>
                  <a:pt x="51" y="121"/>
                </a:lnTo>
                <a:lnTo>
                  <a:pt x="49" y="123"/>
                </a:lnTo>
                <a:lnTo>
                  <a:pt x="44" y="126"/>
                </a:lnTo>
                <a:lnTo>
                  <a:pt x="42" y="133"/>
                </a:lnTo>
                <a:lnTo>
                  <a:pt x="39" y="136"/>
                </a:lnTo>
                <a:lnTo>
                  <a:pt x="34" y="138"/>
                </a:lnTo>
                <a:lnTo>
                  <a:pt x="32" y="138"/>
                </a:lnTo>
                <a:lnTo>
                  <a:pt x="29" y="141"/>
                </a:lnTo>
                <a:lnTo>
                  <a:pt x="27" y="143"/>
                </a:lnTo>
                <a:lnTo>
                  <a:pt x="24" y="143"/>
                </a:lnTo>
                <a:lnTo>
                  <a:pt x="19" y="143"/>
                </a:lnTo>
                <a:lnTo>
                  <a:pt x="17" y="143"/>
                </a:lnTo>
                <a:lnTo>
                  <a:pt x="15" y="143"/>
                </a:lnTo>
                <a:lnTo>
                  <a:pt x="10" y="143"/>
                </a:lnTo>
                <a:lnTo>
                  <a:pt x="10" y="141"/>
                </a:lnTo>
                <a:lnTo>
                  <a:pt x="12" y="136"/>
                </a:lnTo>
                <a:lnTo>
                  <a:pt x="12" y="131"/>
                </a:lnTo>
                <a:lnTo>
                  <a:pt x="7" y="123"/>
                </a:lnTo>
                <a:lnTo>
                  <a:pt x="7" y="119"/>
                </a:lnTo>
                <a:lnTo>
                  <a:pt x="2" y="116"/>
                </a:lnTo>
                <a:lnTo>
                  <a:pt x="2" y="116"/>
                </a:lnTo>
                <a:lnTo>
                  <a:pt x="0" y="116"/>
                </a:lnTo>
                <a:lnTo>
                  <a:pt x="0" y="116"/>
                </a:lnTo>
                <a:lnTo>
                  <a:pt x="5" y="67"/>
                </a:lnTo>
                <a:lnTo>
                  <a:pt x="17" y="67"/>
                </a:lnTo>
                <a:lnTo>
                  <a:pt x="19" y="10"/>
                </a:lnTo>
                <a:lnTo>
                  <a:pt x="32" y="10"/>
                </a:lnTo>
                <a:lnTo>
                  <a:pt x="47" y="8"/>
                </a:lnTo>
                <a:lnTo>
                  <a:pt x="51" y="5"/>
                </a:lnTo>
                <a:lnTo>
                  <a:pt x="54" y="5"/>
                </a:lnTo>
                <a:lnTo>
                  <a:pt x="54" y="5"/>
                </a:lnTo>
                <a:lnTo>
                  <a:pt x="54" y="5"/>
                </a:lnTo>
                <a:lnTo>
                  <a:pt x="56" y="8"/>
                </a:lnTo>
                <a:lnTo>
                  <a:pt x="56" y="10"/>
                </a:lnTo>
                <a:lnTo>
                  <a:pt x="56" y="10"/>
                </a:lnTo>
                <a:lnTo>
                  <a:pt x="56" y="13"/>
                </a:lnTo>
                <a:lnTo>
                  <a:pt x="56" y="13"/>
                </a:lnTo>
                <a:lnTo>
                  <a:pt x="61" y="10"/>
                </a:lnTo>
                <a:lnTo>
                  <a:pt x="66" y="5"/>
                </a:lnTo>
                <a:lnTo>
                  <a:pt x="69" y="3"/>
                </a:lnTo>
                <a:lnTo>
                  <a:pt x="71" y="3"/>
                </a:lnTo>
                <a:lnTo>
                  <a:pt x="71" y="3"/>
                </a:lnTo>
                <a:lnTo>
                  <a:pt x="74" y="3"/>
                </a:lnTo>
                <a:lnTo>
                  <a:pt x="76" y="3"/>
                </a:lnTo>
                <a:lnTo>
                  <a:pt x="81" y="0"/>
                </a:lnTo>
                <a:lnTo>
                  <a:pt x="83" y="0"/>
                </a:lnTo>
                <a:lnTo>
                  <a:pt x="83" y="0"/>
                </a:lnTo>
                <a:lnTo>
                  <a:pt x="83" y="0"/>
                </a:lnTo>
                <a:lnTo>
                  <a:pt x="83"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2" name="Freeform 151"/>
          <p:cNvSpPr>
            <a:spLocks/>
          </p:cNvSpPr>
          <p:nvPr/>
        </p:nvSpPr>
        <p:spPr bwMode="auto">
          <a:xfrm>
            <a:off x="5039444" y="4856426"/>
            <a:ext cx="335977" cy="301063"/>
          </a:xfrm>
          <a:custGeom>
            <a:avLst/>
            <a:gdLst/>
            <a:ahLst/>
            <a:cxnLst>
              <a:cxn ang="0">
                <a:pos x="128" y="81"/>
              </a:cxn>
              <a:cxn ang="0">
                <a:pos x="155" y="24"/>
              </a:cxn>
              <a:cxn ang="0">
                <a:pos x="177" y="19"/>
              </a:cxn>
              <a:cxn ang="0">
                <a:pos x="179" y="22"/>
              </a:cxn>
              <a:cxn ang="0">
                <a:pos x="179" y="27"/>
              </a:cxn>
              <a:cxn ang="0">
                <a:pos x="189" y="19"/>
              </a:cxn>
              <a:cxn ang="0">
                <a:pos x="194" y="17"/>
              </a:cxn>
              <a:cxn ang="0">
                <a:pos x="204" y="14"/>
              </a:cxn>
              <a:cxn ang="0">
                <a:pos x="204" y="10"/>
              </a:cxn>
              <a:cxn ang="0">
                <a:pos x="202" y="10"/>
              </a:cxn>
              <a:cxn ang="0">
                <a:pos x="197" y="10"/>
              </a:cxn>
              <a:cxn ang="0">
                <a:pos x="155" y="19"/>
              </a:cxn>
              <a:cxn ang="0">
                <a:pos x="150" y="17"/>
              </a:cxn>
              <a:cxn ang="0">
                <a:pos x="147" y="17"/>
              </a:cxn>
              <a:cxn ang="0">
                <a:pos x="142" y="17"/>
              </a:cxn>
              <a:cxn ang="0">
                <a:pos x="138" y="17"/>
              </a:cxn>
              <a:cxn ang="0">
                <a:pos x="130" y="14"/>
              </a:cxn>
              <a:cxn ang="0">
                <a:pos x="128" y="14"/>
              </a:cxn>
              <a:cxn ang="0">
                <a:pos x="118" y="17"/>
              </a:cxn>
              <a:cxn ang="0">
                <a:pos x="115" y="14"/>
              </a:cxn>
              <a:cxn ang="0">
                <a:pos x="106" y="12"/>
              </a:cxn>
              <a:cxn ang="0">
                <a:pos x="103" y="7"/>
              </a:cxn>
              <a:cxn ang="0">
                <a:pos x="42" y="7"/>
              </a:cxn>
              <a:cxn ang="0">
                <a:pos x="37" y="10"/>
              </a:cxn>
              <a:cxn ang="0">
                <a:pos x="29" y="5"/>
              </a:cxn>
              <a:cxn ang="0">
                <a:pos x="27" y="2"/>
              </a:cxn>
              <a:cxn ang="0">
                <a:pos x="22" y="2"/>
              </a:cxn>
              <a:cxn ang="0">
                <a:pos x="17" y="0"/>
              </a:cxn>
              <a:cxn ang="0">
                <a:pos x="12" y="7"/>
              </a:cxn>
              <a:cxn ang="0">
                <a:pos x="5" y="5"/>
              </a:cxn>
              <a:cxn ang="0">
                <a:pos x="2" y="7"/>
              </a:cxn>
              <a:cxn ang="0">
                <a:pos x="0" y="19"/>
              </a:cxn>
              <a:cxn ang="0">
                <a:pos x="22" y="54"/>
              </a:cxn>
              <a:cxn ang="0">
                <a:pos x="32" y="76"/>
              </a:cxn>
              <a:cxn ang="0">
                <a:pos x="37" y="96"/>
              </a:cxn>
              <a:cxn ang="0">
                <a:pos x="44" y="128"/>
              </a:cxn>
              <a:cxn ang="0">
                <a:pos x="44" y="140"/>
              </a:cxn>
              <a:cxn ang="0">
                <a:pos x="49" y="152"/>
              </a:cxn>
              <a:cxn ang="0">
                <a:pos x="49" y="160"/>
              </a:cxn>
              <a:cxn ang="0">
                <a:pos x="54" y="172"/>
              </a:cxn>
              <a:cxn ang="0">
                <a:pos x="61" y="184"/>
              </a:cxn>
              <a:cxn ang="0">
                <a:pos x="74" y="187"/>
              </a:cxn>
              <a:cxn ang="0">
                <a:pos x="74" y="182"/>
              </a:cxn>
              <a:cxn ang="0">
                <a:pos x="81" y="182"/>
              </a:cxn>
              <a:cxn ang="0">
                <a:pos x="88" y="192"/>
              </a:cxn>
              <a:cxn ang="0">
                <a:pos x="96" y="194"/>
              </a:cxn>
              <a:cxn ang="0">
                <a:pos x="101" y="194"/>
              </a:cxn>
              <a:cxn ang="0">
                <a:pos x="106" y="196"/>
              </a:cxn>
              <a:cxn ang="0">
                <a:pos x="111" y="189"/>
              </a:cxn>
              <a:cxn ang="0">
                <a:pos x="120" y="184"/>
              </a:cxn>
              <a:cxn ang="0">
                <a:pos x="123" y="130"/>
              </a:cxn>
            </a:cxnLst>
            <a:rect l="0" t="0" r="r" b="b"/>
            <a:pathLst>
              <a:path w="206" h="196">
                <a:moveTo>
                  <a:pt x="123" y="130"/>
                </a:moveTo>
                <a:lnTo>
                  <a:pt x="123" y="130"/>
                </a:lnTo>
                <a:lnTo>
                  <a:pt x="128" y="81"/>
                </a:lnTo>
                <a:lnTo>
                  <a:pt x="140" y="81"/>
                </a:lnTo>
                <a:lnTo>
                  <a:pt x="142" y="24"/>
                </a:lnTo>
                <a:lnTo>
                  <a:pt x="155" y="24"/>
                </a:lnTo>
                <a:lnTo>
                  <a:pt x="170" y="22"/>
                </a:lnTo>
                <a:lnTo>
                  <a:pt x="174" y="19"/>
                </a:lnTo>
                <a:lnTo>
                  <a:pt x="177" y="19"/>
                </a:lnTo>
                <a:lnTo>
                  <a:pt x="177" y="19"/>
                </a:lnTo>
                <a:lnTo>
                  <a:pt x="177" y="19"/>
                </a:lnTo>
                <a:lnTo>
                  <a:pt x="179" y="22"/>
                </a:lnTo>
                <a:lnTo>
                  <a:pt x="179" y="24"/>
                </a:lnTo>
                <a:lnTo>
                  <a:pt x="179" y="24"/>
                </a:lnTo>
                <a:lnTo>
                  <a:pt x="179" y="27"/>
                </a:lnTo>
                <a:lnTo>
                  <a:pt x="179" y="27"/>
                </a:lnTo>
                <a:lnTo>
                  <a:pt x="184" y="24"/>
                </a:lnTo>
                <a:lnTo>
                  <a:pt x="189" y="19"/>
                </a:lnTo>
                <a:lnTo>
                  <a:pt x="192" y="17"/>
                </a:lnTo>
                <a:lnTo>
                  <a:pt x="194" y="17"/>
                </a:lnTo>
                <a:lnTo>
                  <a:pt x="194" y="17"/>
                </a:lnTo>
                <a:lnTo>
                  <a:pt x="197" y="17"/>
                </a:lnTo>
                <a:lnTo>
                  <a:pt x="199" y="17"/>
                </a:lnTo>
                <a:lnTo>
                  <a:pt x="204" y="14"/>
                </a:lnTo>
                <a:lnTo>
                  <a:pt x="206" y="14"/>
                </a:lnTo>
                <a:lnTo>
                  <a:pt x="204" y="12"/>
                </a:lnTo>
                <a:lnTo>
                  <a:pt x="204" y="10"/>
                </a:lnTo>
                <a:lnTo>
                  <a:pt x="204" y="10"/>
                </a:lnTo>
                <a:lnTo>
                  <a:pt x="202" y="10"/>
                </a:lnTo>
                <a:lnTo>
                  <a:pt x="202" y="10"/>
                </a:lnTo>
                <a:lnTo>
                  <a:pt x="199" y="10"/>
                </a:lnTo>
                <a:lnTo>
                  <a:pt x="199" y="10"/>
                </a:lnTo>
                <a:lnTo>
                  <a:pt x="197" y="10"/>
                </a:lnTo>
                <a:lnTo>
                  <a:pt x="194" y="10"/>
                </a:lnTo>
                <a:lnTo>
                  <a:pt x="155" y="19"/>
                </a:lnTo>
                <a:lnTo>
                  <a:pt x="155" y="19"/>
                </a:lnTo>
                <a:lnTo>
                  <a:pt x="152" y="19"/>
                </a:lnTo>
                <a:lnTo>
                  <a:pt x="152" y="19"/>
                </a:lnTo>
                <a:lnTo>
                  <a:pt x="150" y="17"/>
                </a:lnTo>
                <a:lnTo>
                  <a:pt x="150" y="17"/>
                </a:lnTo>
                <a:lnTo>
                  <a:pt x="150" y="17"/>
                </a:lnTo>
                <a:lnTo>
                  <a:pt x="147" y="17"/>
                </a:lnTo>
                <a:lnTo>
                  <a:pt x="147" y="17"/>
                </a:lnTo>
                <a:lnTo>
                  <a:pt x="145" y="17"/>
                </a:lnTo>
                <a:lnTo>
                  <a:pt x="142" y="17"/>
                </a:lnTo>
                <a:lnTo>
                  <a:pt x="142" y="17"/>
                </a:lnTo>
                <a:lnTo>
                  <a:pt x="142" y="17"/>
                </a:lnTo>
                <a:lnTo>
                  <a:pt x="138" y="17"/>
                </a:lnTo>
                <a:lnTo>
                  <a:pt x="135" y="17"/>
                </a:lnTo>
                <a:lnTo>
                  <a:pt x="133" y="14"/>
                </a:lnTo>
                <a:lnTo>
                  <a:pt x="130" y="14"/>
                </a:lnTo>
                <a:lnTo>
                  <a:pt x="130" y="12"/>
                </a:lnTo>
                <a:lnTo>
                  <a:pt x="130" y="14"/>
                </a:lnTo>
                <a:lnTo>
                  <a:pt x="128" y="14"/>
                </a:lnTo>
                <a:lnTo>
                  <a:pt x="123" y="14"/>
                </a:lnTo>
                <a:lnTo>
                  <a:pt x="120" y="14"/>
                </a:lnTo>
                <a:lnTo>
                  <a:pt x="118" y="17"/>
                </a:lnTo>
                <a:lnTo>
                  <a:pt x="115" y="14"/>
                </a:lnTo>
                <a:lnTo>
                  <a:pt x="115" y="14"/>
                </a:lnTo>
                <a:lnTo>
                  <a:pt x="115" y="14"/>
                </a:lnTo>
                <a:lnTo>
                  <a:pt x="113" y="14"/>
                </a:lnTo>
                <a:lnTo>
                  <a:pt x="108" y="14"/>
                </a:lnTo>
                <a:lnTo>
                  <a:pt x="106" y="12"/>
                </a:lnTo>
                <a:lnTo>
                  <a:pt x="106" y="12"/>
                </a:lnTo>
                <a:lnTo>
                  <a:pt x="103" y="7"/>
                </a:lnTo>
                <a:lnTo>
                  <a:pt x="103" y="7"/>
                </a:lnTo>
                <a:lnTo>
                  <a:pt x="44" y="7"/>
                </a:lnTo>
                <a:lnTo>
                  <a:pt x="44" y="7"/>
                </a:lnTo>
                <a:lnTo>
                  <a:pt x="42" y="7"/>
                </a:lnTo>
                <a:lnTo>
                  <a:pt x="39" y="7"/>
                </a:lnTo>
                <a:lnTo>
                  <a:pt x="39" y="7"/>
                </a:lnTo>
                <a:lnTo>
                  <a:pt x="37" y="10"/>
                </a:lnTo>
                <a:lnTo>
                  <a:pt x="32" y="7"/>
                </a:lnTo>
                <a:lnTo>
                  <a:pt x="29" y="5"/>
                </a:lnTo>
                <a:lnTo>
                  <a:pt x="29" y="5"/>
                </a:lnTo>
                <a:lnTo>
                  <a:pt x="29" y="2"/>
                </a:lnTo>
                <a:lnTo>
                  <a:pt x="27" y="2"/>
                </a:lnTo>
                <a:lnTo>
                  <a:pt x="27" y="2"/>
                </a:lnTo>
                <a:lnTo>
                  <a:pt x="24" y="0"/>
                </a:lnTo>
                <a:lnTo>
                  <a:pt x="24" y="2"/>
                </a:lnTo>
                <a:lnTo>
                  <a:pt x="22" y="2"/>
                </a:lnTo>
                <a:lnTo>
                  <a:pt x="22" y="2"/>
                </a:lnTo>
                <a:lnTo>
                  <a:pt x="19" y="0"/>
                </a:lnTo>
                <a:lnTo>
                  <a:pt x="17" y="0"/>
                </a:lnTo>
                <a:lnTo>
                  <a:pt x="12" y="5"/>
                </a:lnTo>
                <a:lnTo>
                  <a:pt x="12" y="5"/>
                </a:lnTo>
                <a:lnTo>
                  <a:pt x="12" y="7"/>
                </a:lnTo>
                <a:lnTo>
                  <a:pt x="10" y="5"/>
                </a:lnTo>
                <a:lnTo>
                  <a:pt x="5" y="5"/>
                </a:lnTo>
                <a:lnTo>
                  <a:pt x="5" y="5"/>
                </a:lnTo>
                <a:lnTo>
                  <a:pt x="5" y="7"/>
                </a:lnTo>
                <a:lnTo>
                  <a:pt x="2" y="7"/>
                </a:lnTo>
                <a:lnTo>
                  <a:pt x="2" y="7"/>
                </a:lnTo>
                <a:lnTo>
                  <a:pt x="0" y="7"/>
                </a:lnTo>
                <a:lnTo>
                  <a:pt x="0" y="7"/>
                </a:lnTo>
                <a:lnTo>
                  <a:pt x="0" y="19"/>
                </a:lnTo>
                <a:lnTo>
                  <a:pt x="10" y="29"/>
                </a:lnTo>
                <a:lnTo>
                  <a:pt x="15" y="37"/>
                </a:lnTo>
                <a:lnTo>
                  <a:pt x="22" y="54"/>
                </a:lnTo>
                <a:lnTo>
                  <a:pt x="22" y="61"/>
                </a:lnTo>
                <a:lnTo>
                  <a:pt x="32" y="74"/>
                </a:lnTo>
                <a:lnTo>
                  <a:pt x="32" y="76"/>
                </a:lnTo>
                <a:lnTo>
                  <a:pt x="39" y="88"/>
                </a:lnTo>
                <a:lnTo>
                  <a:pt x="39" y="96"/>
                </a:lnTo>
                <a:lnTo>
                  <a:pt x="37" y="96"/>
                </a:lnTo>
                <a:lnTo>
                  <a:pt x="39" y="103"/>
                </a:lnTo>
                <a:lnTo>
                  <a:pt x="39" y="115"/>
                </a:lnTo>
                <a:lnTo>
                  <a:pt x="44" y="128"/>
                </a:lnTo>
                <a:lnTo>
                  <a:pt x="44" y="135"/>
                </a:lnTo>
                <a:lnTo>
                  <a:pt x="44" y="140"/>
                </a:lnTo>
                <a:lnTo>
                  <a:pt x="44" y="140"/>
                </a:lnTo>
                <a:lnTo>
                  <a:pt x="44" y="142"/>
                </a:lnTo>
                <a:lnTo>
                  <a:pt x="47" y="150"/>
                </a:lnTo>
                <a:lnTo>
                  <a:pt x="49" y="152"/>
                </a:lnTo>
                <a:lnTo>
                  <a:pt x="49" y="155"/>
                </a:lnTo>
                <a:lnTo>
                  <a:pt x="49" y="157"/>
                </a:lnTo>
                <a:lnTo>
                  <a:pt x="49" y="160"/>
                </a:lnTo>
                <a:lnTo>
                  <a:pt x="51" y="162"/>
                </a:lnTo>
                <a:lnTo>
                  <a:pt x="51" y="167"/>
                </a:lnTo>
                <a:lnTo>
                  <a:pt x="54" y="172"/>
                </a:lnTo>
                <a:lnTo>
                  <a:pt x="56" y="179"/>
                </a:lnTo>
                <a:lnTo>
                  <a:pt x="61" y="182"/>
                </a:lnTo>
                <a:lnTo>
                  <a:pt x="61" y="184"/>
                </a:lnTo>
                <a:lnTo>
                  <a:pt x="66" y="189"/>
                </a:lnTo>
                <a:lnTo>
                  <a:pt x="69" y="187"/>
                </a:lnTo>
                <a:lnTo>
                  <a:pt x="74" y="187"/>
                </a:lnTo>
                <a:lnTo>
                  <a:pt x="74" y="184"/>
                </a:lnTo>
                <a:lnTo>
                  <a:pt x="71" y="184"/>
                </a:lnTo>
                <a:lnTo>
                  <a:pt x="74" y="182"/>
                </a:lnTo>
                <a:lnTo>
                  <a:pt x="76" y="179"/>
                </a:lnTo>
                <a:lnTo>
                  <a:pt x="79" y="182"/>
                </a:lnTo>
                <a:lnTo>
                  <a:pt x="81" y="182"/>
                </a:lnTo>
                <a:lnTo>
                  <a:pt x="81" y="187"/>
                </a:lnTo>
                <a:lnTo>
                  <a:pt x="83" y="192"/>
                </a:lnTo>
                <a:lnTo>
                  <a:pt x="88" y="192"/>
                </a:lnTo>
                <a:lnTo>
                  <a:pt x="91" y="194"/>
                </a:lnTo>
                <a:lnTo>
                  <a:pt x="93" y="194"/>
                </a:lnTo>
                <a:lnTo>
                  <a:pt x="96" y="194"/>
                </a:lnTo>
                <a:lnTo>
                  <a:pt x="98" y="194"/>
                </a:lnTo>
                <a:lnTo>
                  <a:pt x="98" y="194"/>
                </a:lnTo>
                <a:lnTo>
                  <a:pt x="101" y="194"/>
                </a:lnTo>
                <a:lnTo>
                  <a:pt x="103" y="194"/>
                </a:lnTo>
                <a:lnTo>
                  <a:pt x="106" y="194"/>
                </a:lnTo>
                <a:lnTo>
                  <a:pt x="106" y="196"/>
                </a:lnTo>
                <a:lnTo>
                  <a:pt x="106" y="192"/>
                </a:lnTo>
                <a:lnTo>
                  <a:pt x="108" y="192"/>
                </a:lnTo>
                <a:lnTo>
                  <a:pt x="111" y="189"/>
                </a:lnTo>
                <a:lnTo>
                  <a:pt x="111" y="187"/>
                </a:lnTo>
                <a:lnTo>
                  <a:pt x="115" y="184"/>
                </a:lnTo>
                <a:lnTo>
                  <a:pt x="120" y="184"/>
                </a:lnTo>
                <a:lnTo>
                  <a:pt x="123" y="184"/>
                </a:lnTo>
                <a:lnTo>
                  <a:pt x="125" y="130"/>
                </a:lnTo>
                <a:lnTo>
                  <a:pt x="123" y="130"/>
                </a:lnTo>
                <a:lnTo>
                  <a:pt x="123" y="13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3" name="Freeform 152"/>
          <p:cNvSpPr>
            <a:spLocks noEditPoints="1"/>
          </p:cNvSpPr>
          <p:nvPr/>
        </p:nvSpPr>
        <p:spPr bwMode="auto">
          <a:xfrm>
            <a:off x="8875457" y="4980844"/>
            <a:ext cx="99489" cy="67586"/>
          </a:xfrm>
          <a:custGeom>
            <a:avLst/>
            <a:gdLst/>
            <a:ahLst/>
            <a:cxnLst>
              <a:cxn ang="0">
                <a:pos x="5" y="5"/>
              </a:cxn>
              <a:cxn ang="0">
                <a:pos x="7" y="5"/>
              </a:cxn>
              <a:cxn ang="0">
                <a:pos x="12" y="10"/>
              </a:cxn>
              <a:cxn ang="0">
                <a:pos x="14" y="12"/>
              </a:cxn>
              <a:cxn ang="0">
                <a:pos x="24" y="27"/>
              </a:cxn>
              <a:cxn ang="0">
                <a:pos x="27" y="27"/>
              </a:cxn>
              <a:cxn ang="0">
                <a:pos x="37" y="39"/>
              </a:cxn>
              <a:cxn ang="0">
                <a:pos x="39" y="44"/>
              </a:cxn>
              <a:cxn ang="0">
                <a:pos x="37" y="44"/>
              </a:cxn>
              <a:cxn ang="0">
                <a:pos x="29" y="42"/>
              </a:cxn>
              <a:cxn ang="0">
                <a:pos x="27" y="37"/>
              </a:cxn>
              <a:cxn ang="0">
                <a:pos x="22" y="32"/>
              </a:cxn>
              <a:cxn ang="0">
                <a:pos x="19" y="32"/>
              </a:cxn>
              <a:cxn ang="0">
                <a:pos x="12" y="24"/>
              </a:cxn>
              <a:cxn ang="0">
                <a:pos x="9" y="22"/>
              </a:cxn>
              <a:cxn ang="0">
                <a:pos x="7" y="17"/>
              </a:cxn>
              <a:cxn ang="0">
                <a:pos x="0" y="7"/>
              </a:cxn>
              <a:cxn ang="0">
                <a:pos x="0" y="2"/>
              </a:cxn>
              <a:cxn ang="0">
                <a:pos x="0" y="0"/>
              </a:cxn>
              <a:cxn ang="0">
                <a:pos x="54" y="27"/>
              </a:cxn>
              <a:cxn ang="0">
                <a:pos x="61" y="27"/>
              </a:cxn>
              <a:cxn ang="0">
                <a:pos x="59" y="29"/>
              </a:cxn>
              <a:cxn ang="0">
                <a:pos x="54" y="29"/>
              </a:cxn>
              <a:cxn ang="0">
                <a:pos x="54" y="27"/>
              </a:cxn>
              <a:cxn ang="0">
                <a:pos x="46" y="10"/>
              </a:cxn>
              <a:cxn ang="0">
                <a:pos x="44" y="15"/>
              </a:cxn>
              <a:cxn ang="0">
                <a:pos x="46" y="20"/>
              </a:cxn>
              <a:cxn ang="0">
                <a:pos x="51" y="20"/>
              </a:cxn>
              <a:cxn ang="0">
                <a:pos x="49" y="15"/>
              </a:cxn>
              <a:cxn ang="0">
                <a:pos x="46" y="10"/>
              </a:cxn>
              <a:cxn ang="0">
                <a:pos x="46" y="10"/>
              </a:cxn>
              <a:cxn ang="0">
                <a:pos x="37" y="10"/>
              </a:cxn>
              <a:cxn ang="0">
                <a:pos x="39" y="12"/>
              </a:cxn>
              <a:cxn ang="0">
                <a:pos x="39" y="7"/>
              </a:cxn>
              <a:cxn ang="0">
                <a:pos x="37" y="7"/>
              </a:cxn>
            </a:cxnLst>
            <a:rect l="0" t="0" r="r" b="b"/>
            <a:pathLst>
              <a:path w="61" h="44">
                <a:moveTo>
                  <a:pt x="0" y="0"/>
                </a:moveTo>
                <a:lnTo>
                  <a:pt x="5" y="5"/>
                </a:lnTo>
                <a:lnTo>
                  <a:pt x="5" y="2"/>
                </a:lnTo>
                <a:lnTo>
                  <a:pt x="7" y="5"/>
                </a:lnTo>
                <a:lnTo>
                  <a:pt x="7" y="7"/>
                </a:lnTo>
                <a:lnTo>
                  <a:pt x="12" y="10"/>
                </a:lnTo>
                <a:lnTo>
                  <a:pt x="12" y="12"/>
                </a:lnTo>
                <a:lnTo>
                  <a:pt x="14" y="12"/>
                </a:lnTo>
                <a:lnTo>
                  <a:pt x="19" y="22"/>
                </a:lnTo>
                <a:lnTo>
                  <a:pt x="24" y="27"/>
                </a:lnTo>
                <a:lnTo>
                  <a:pt x="24" y="27"/>
                </a:lnTo>
                <a:lnTo>
                  <a:pt x="27" y="27"/>
                </a:lnTo>
                <a:lnTo>
                  <a:pt x="32" y="34"/>
                </a:lnTo>
                <a:lnTo>
                  <a:pt x="37" y="39"/>
                </a:lnTo>
                <a:lnTo>
                  <a:pt x="39" y="39"/>
                </a:lnTo>
                <a:lnTo>
                  <a:pt x="39" y="44"/>
                </a:lnTo>
                <a:lnTo>
                  <a:pt x="37" y="42"/>
                </a:lnTo>
                <a:lnTo>
                  <a:pt x="37" y="44"/>
                </a:lnTo>
                <a:lnTo>
                  <a:pt x="34" y="42"/>
                </a:lnTo>
                <a:lnTo>
                  <a:pt x="29" y="42"/>
                </a:lnTo>
                <a:lnTo>
                  <a:pt x="27" y="39"/>
                </a:lnTo>
                <a:lnTo>
                  <a:pt x="27" y="37"/>
                </a:lnTo>
                <a:lnTo>
                  <a:pt x="22" y="37"/>
                </a:lnTo>
                <a:lnTo>
                  <a:pt x="22" y="32"/>
                </a:lnTo>
                <a:lnTo>
                  <a:pt x="19" y="32"/>
                </a:lnTo>
                <a:lnTo>
                  <a:pt x="19" y="32"/>
                </a:lnTo>
                <a:lnTo>
                  <a:pt x="17" y="27"/>
                </a:lnTo>
                <a:lnTo>
                  <a:pt x="12" y="24"/>
                </a:lnTo>
                <a:lnTo>
                  <a:pt x="12" y="22"/>
                </a:lnTo>
                <a:lnTo>
                  <a:pt x="9" y="22"/>
                </a:lnTo>
                <a:lnTo>
                  <a:pt x="7" y="20"/>
                </a:lnTo>
                <a:lnTo>
                  <a:pt x="7" y="17"/>
                </a:lnTo>
                <a:lnTo>
                  <a:pt x="5" y="15"/>
                </a:lnTo>
                <a:lnTo>
                  <a:pt x="0" y="7"/>
                </a:lnTo>
                <a:lnTo>
                  <a:pt x="0" y="5"/>
                </a:lnTo>
                <a:lnTo>
                  <a:pt x="0" y="2"/>
                </a:lnTo>
                <a:lnTo>
                  <a:pt x="0" y="0"/>
                </a:lnTo>
                <a:lnTo>
                  <a:pt x="0" y="0"/>
                </a:lnTo>
                <a:lnTo>
                  <a:pt x="0" y="0"/>
                </a:lnTo>
                <a:close/>
                <a:moveTo>
                  <a:pt x="54" y="27"/>
                </a:moveTo>
                <a:lnTo>
                  <a:pt x="59" y="24"/>
                </a:lnTo>
                <a:lnTo>
                  <a:pt x="61" y="27"/>
                </a:lnTo>
                <a:lnTo>
                  <a:pt x="59" y="29"/>
                </a:lnTo>
                <a:lnTo>
                  <a:pt x="59" y="29"/>
                </a:lnTo>
                <a:lnTo>
                  <a:pt x="56" y="32"/>
                </a:lnTo>
                <a:lnTo>
                  <a:pt x="54" y="29"/>
                </a:lnTo>
                <a:lnTo>
                  <a:pt x="54" y="27"/>
                </a:lnTo>
                <a:lnTo>
                  <a:pt x="54" y="27"/>
                </a:lnTo>
                <a:lnTo>
                  <a:pt x="54" y="27"/>
                </a:lnTo>
                <a:close/>
                <a:moveTo>
                  <a:pt x="46" y="10"/>
                </a:moveTo>
                <a:lnTo>
                  <a:pt x="44" y="12"/>
                </a:lnTo>
                <a:lnTo>
                  <a:pt x="44" y="15"/>
                </a:lnTo>
                <a:lnTo>
                  <a:pt x="44" y="17"/>
                </a:lnTo>
                <a:lnTo>
                  <a:pt x="46" y="20"/>
                </a:lnTo>
                <a:lnTo>
                  <a:pt x="49" y="20"/>
                </a:lnTo>
                <a:lnTo>
                  <a:pt x="51" y="20"/>
                </a:lnTo>
                <a:lnTo>
                  <a:pt x="49" y="17"/>
                </a:lnTo>
                <a:lnTo>
                  <a:pt x="49" y="15"/>
                </a:lnTo>
                <a:lnTo>
                  <a:pt x="49" y="12"/>
                </a:lnTo>
                <a:lnTo>
                  <a:pt x="46" y="10"/>
                </a:lnTo>
                <a:lnTo>
                  <a:pt x="46" y="10"/>
                </a:lnTo>
                <a:lnTo>
                  <a:pt x="46" y="10"/>
                </a:lnTo>
                <a:close/>
                <a:moveTo>
                  <a:pt x="37" y="7"/>
                </a:moveTo>
                <a:lnTo>
                  <a:pt x="37" y="10"/>
                </a:lnTo>
                <a:lnTo>
                  <a:pt x="34" y="12"/>
                </a:lnTo>
                <a:lnTo>
                  <a:pt x="39" y="12"/>
                </a:lnTo>
                <a:lnTo>
                  <a:pt x="39" y="10"/>
                </a:lnTo>
                <a:lnTo>
                  <a:pt x="39" y="7"/>
                </a:lnTo>
                <a:lnTo>
                  <a:pt x="37" y="7"/>
                </a:lnTo>
                <a:lnTo>
                  <a:pt x="37"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4" name="Freeform 153"/>
          <p:cNvSpPr>
            <a:spLocks/>
          </p:cNvSpPr>
          <p:nvPr/>
        </p:nvSpPr>
        <p:spPr bwMode="auto">
          <a:xfrm>
            <a:off x="6407816" y="5905539"/>
            <a:ext cx="8155" cy="12288"/>
          </a:xfrm>
          <a:custGeom>
            <a:avLst/>
            <a:gdLst/>
            <a:ahLst/>
            <a:cxnLst>
              <a:cxn ang="0">
                <a:pos x="0" y="0"/>
              </a:cxn>
              <a:cxn ang="0">
                <a:pos x="0" y="3"/>
              </a:cxn>
              <a:cxn ang="0">
                <a:pos x="0" y="5"/>
              </a:cxn>
              <a:cxn ang="0">
                <a:pos x="2" y="5"/>
              </a:cxn>
              <a:cxn ang="0">
                <a:pos x="2" y="8"/>
              </a:cxn>
              <a:cxn ang="0">
                <a:pos x="5" y="8"/>
              </a:cxn>
              <a:cxn ang="0">
                <a:pos x="2" y="3"/>
              </a:cxn>
              <a:cxn ang="0">
                <a:pos x="0" y="0"/>
              </a:cxn>
              <a:cxn ang="0">
                <a:pos x="0" y="0"/>
              </a:cxn>
              <a:cxn ang="0">
                <a:pos x="0" y="0"/>
              </a:cxn>
            </a:cxnLst>
            <a:rect l="0" t="0" r="r" b="b"/>
            <a:pathLst>
              <a:path w="5" h="8">
                <a:moveTo>
                  <a:pt x="0" y="0"/>
                </a:moveTo>
                <a:lnTo>
                  <a:pt x="0" y="3"/>
                </a:lnTo>
                <a:lnTo>
                  <a:pt x="0" y="5"/>
                </a:lnTo>
                <a:lnTo>
                  <a:pt x="2" y="5"/>
                </a:lnTo>
                <a:lnTo>
                  <a:pt x="2" y="8"/>
                </a:lnTo>
                <a:lnTo>
                  <a:pt x="5" y="8"/>
                </a:lnTo>
                <a:lnTo>
                  <a:pt x="2" y="3"/>
                </a:lnTo>
                <a:lnTo>
                  <a:pt x="0" y="0"/>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Freeform 154"/>
          <p:cNvSpPr>
            <a:spLocks noEditPoints="1"/>
          </p:cNvSpPr>
          <p:nvPr/>
        </p:nvSpPr>
        <p:spPr bwMode="auto">
          <a:xfrm>
            <a:off x="6331162" y="5759616"/>
            <a:ext cx="40775" cy="29185"/>
          </a:xfrm>
          <a:custGeom>
            <a:avLst/>
            <a:gdLst/>
            <a:ahLst/>
            <a:cxnLst>
              <a:cxn ang="0">
                <a:pos x="10" y="4"/>
              </a:cxn>
              <a:cxn ang="0">
                <a:pos x="10" y="2"/>
              </a:cxn>
              <a:cxn ang="0">
                <a:pos x="12" y="2"/>
              </a:cxn>
              <a:cxn ang="0">
                <a:pos x="12" y="4"/>
              </a:cxn>
              <a:cxn ang="0">
                <a:pos x="10" y="4"/>
              </a:cxn>
              <a:cxn ang="0">
                <a:pos x="10" y="4"/>
              </a:cxn>
              <a:cxn ang="0">
                <a:pos x="10" y="4"/>
              </a:cxn>
              <a:cxn ang="0">
                <a:pos x="10" y="4"/>
              </a:cxn>
              <a:cxn ang="0">
                <a:pos x="10" y="4"/>
              </a:cxn>
              <a:cxn ang="0">
                <a:pos x="0" y="17"/>
              </a:cxn>
              <a:cxn ang="0">
                <a:pos x="2" y="17"/>
              </a:cxn>
              <a:cxn ang="0">
                <a:pos x="5" y="14"/>
              </a:cxn>
              <a:cxn ang="0">
                <a:pos x="7" y="14"/>
              </a:cxn>
              <a:cxn ang="0">
                <a:pos x="10" y="17"/>
              </a:cxn>
              <a:cxn ang="0">
                <a:pos x="12" y="17"/>
              </a:cxn>
              <a:cxn ang="0">
                <a:pos x="12" y="17"/>
              </a:cxn>
              <a:cxn ang="0">
                <a:pos x="15" y="14"/>
              </a:cxn>
              <a:cxn ang="0">
                <a:pos x="15" y="17"/>
              </a:cxn>
              <a:cxn ang="0">
                <a:pos x="15" y="17"/>
              </a:cxn>
              <a:cxn ang="0">
                <a:pos x="17" y="19"/>
              </a:cxn>
              <a:cxn ang="0">
                <a:pos x="20" y="19"/>
              </a:cxn>
              <a:cxn ang="0">
                <a:pos x="22" y="17"/>
              </a:cxn>
              <a:cxn ang="0">
                <a:pos x="22" y="17"/>
              </a:cxn>
              <a:cxn ang="0">
                <a:pos x="20" y="17"/>
              </a:cxn>
              <a:cxn ang="0">
                <a:pos x="17" y="14"/>
              </a:cxn>
              <a:cxn ang="0">
                <a:pos x="20" y="12"/>
              </a:cxn>
              <a:cxn ang="0">
                <a:pos x="22" y="12"/>
              </a:cxn>
              <a:cxn ang="0">
                <a:pos x="25" y="12"/>
              </a:cxn>
              <a:cxn ang="0">
                <a:pos x="25" y="9"/>
              </a:cxn>
              <a:cxn ang="0">
                <a:pos x="25" y="7"/>
              </a:cxn>
              <a:cxn ang="0">
                <a:pos x="22" y="9"/>
              </a:cxn>
              <a:cxn ang="0">
                <a:pos x="20" y="7"/>
              </a:cxn>
              <a:cxn ang="0">
                <a:pos x="17" y="12"/>
              </a:cxn>
              <a:cxn ang="0">
                <a:pos x="15" y="12"/>
              </a:cxn>
              <a:cxn ang="0">
                <a:pos x="15" y="7"/>
              </a:cxn>
              <a:cxn ang="0">
                <a:pos x="15" y="7"/>
              </a:cxn>
              <a:cxn ang="0">
                <a:pos x="15" y="2"/>
              </a:cxn>
              <a:cxn ang="0">
                <a:pos x="15" y="4"/>
              </a:cxn>
              <a:cxn ang="0">
                <a:pos x="12" y="7"/>
              </a:cxn>
              <a:cxn ang="0">
                <a:pos x="12" y="9"/>
              </a:cxn>
              <a:cxn ang="0">
                <a:pos x="10" y="7"/>
              </a:cxn>
              <a:cxn ang="0">
                <a:pos x="7" y="7"/>
              </a:cxn>
              <a:cxn ang="0">
                <a:pos x="5" y="4"/>
              </a:cxn>
              <a:cxn ang="0">
                <a:pos x="5" y="2"/>
              </a:cxn>
              <a:cxn ang="0">
                <a:pos x="5" y="2"/>
              </a:cxn>
              <a:cxn ang="0">
                <a:pos x="7" y="0"/>
              </a:cxn>
              <a:cxn ang="0">
                <a:pos x="7" y="0"/>
              </a:cxn>
              <a:cxn ang="0">
                <a:pos x="5" y="0"/>
              </a:cxn>
              <a:cxn ang="0">
                <a:pos x="2" y="2"/>
              </a:cxn>
              <a:cxn ang="0">
                <a:pos x="5" y="4"/>
              </a:cxn>
              <a:cxn ang="0">
                <a:pos x="5" y="7"/>
              </a:cxn>
              <a:cxn ang="0">
                <a:pos x="5" y="7"/>
              </a:cxn>
              <a:cxn ang="0">
                <a:pos x="5" y="9"/>
              </a:cxn>
              <a:cxn ang="0">
                <a:pos x="2" y="12"/>
              </a:cxn>
              <a:cxn ang="0">
                <a:pos x="0" y="14"/>
              </a:cxn>
              <a:cxn ang="0">
                <a:pos x="0" y="17"/>
              </a:cxn>
              <a:cxn ang="0">
                <a:pos x="0" y="17"/>
              </a:cxn>
            </a:cxnLst>
            <a:rect l="0" t="0" r="r" b="b"/>
            <a:pathLst>
              <a:path w="25" h="19">
                <a:moveTo>
                  <a:pt x="10" y="4"/>
                </a:moveTo>
                <a:lnTo>
                  <a:pt x="10" y="2"/>
                </a:lnTo>
                <a:lnTo>
                  <a:pt x="12" y="2"/>
                </a:lnTo>
                <a:lnTo>
                  <a:pt x="12" y="4"/>
                </a:lnTo>
                <a:lnTo>
                  <a:pt x="10" y="4"/>
                </a:lnTo>
                <a:lnTo>
                  <a:pt x="10" y="4"/>
                </a:lnTo>
                <a:lnTo>
                  <a:pt x="10" y="4"/>
                </a:lnTo>
                <a:lnTo>
                  <a:pt x="10" y="4"/>
                </a:lnTo>
                <a:lnTo>
                  <a:pt x="10" y="4"/>
                </a:lnTo>
                <a:close/>
                <a:moveTo>
                  <a:pt x="0" y="17"/>
                </a:moveTo>
                <a:lnTo>
                  <a:pt x="2" y="17"/>
                </a:lnTo>
                <a:lnTo>
                  <a:pt x="5" y="14"/>
                </a:lnTo>
                <a:lnTo>
                  <a:pt x="7" y="14"/>
                </a:lnTo>
                <a:lnTo>
                  <a:pt x="10" y="17"/>
                </a:lnTo>
                <a:lnTo>
                  <a:pt x="12" y="17"/>
                </a:lnTo>
                <a:lnTo>
                  <a:pt x="12" y="17"/>
                </a:lnTo>
                <a:lnTo>
                  <a:pt x="15" y="14"/>
                </a:lnTo>
                <a:lnTo>
                  <a:pt x="15" y="17"/>
                </a:lnTo>
                <a:lnTo>
                  <a:pt x="15" y="17"/>
                </a:lnTo>
                <a:lnTo>
                  <a:pt x="17" y="19"/>
                </a:lnTo>
                <a:lnTo>
                  <a:pt x="20" y="19"/>
                </a:lnTo>
                <a:lnTo>
                  <a:pt x="22" y="17"/>
                </a:lnTo>
                <a:lnTo>
                  <a:pt x="22" y="17"/>
                </a:lnTo>
                <a:lnTo>
                  <a:pt x="20" y="17"/>
                </a:lnTo>
                <a:lnTo>
                  <a:pt x="17" y="14"/>
                </a:lnTo>
                <a:lnTo>
                  <a:pt x="20" y="12"/>
                </a:lnTo>
                <a:lnTo>
                  <a:pt x="22" y="12"/>
                </a:lnTo>
                <a:lnTo>
                  <a:pt x="25" y="12"/>
                </a:lnTo>
                <a:lnTo>
                  <a:pt x="25" y="9"/>
                </a:lnTo>
                <a:lnTo>
                  <a:pt x="25" y="7"/>
                </a:lnTo>
                <a:lnTo>
                  <a:pt x="22" y="9"/>
                </a:lnTo>
                <a:lnTo>
                  <a:pt x="20" y="7"/>
                </a:lnTo>
                <a:lnTo>
                  <a:pt x="17" y="12"/>
                </a:lnTo>
                <a:lnTo>
                  <a:pt x="15" y="12"/>
                </a:lnTo>
                <a:lnTo>
                  <a:pt x="15" y="7"/>
                </a:lnTo>
                <a:lnTo>
                  <a:pt x="15" y="7"/>
                </a:lnTo>
                <a:lnTo>
                  <a:pt x="15" y="2"/>
                </a:lnTo>
                <a:lnTo>
                  <a:pt x="15" y="4"/>
                </a:lnTo>
                <a:lnTo>
                  <a:pt x="12" y="7"/>
                </a:lnTo>
                <a:lnTo>
                  <a:pt x="12" y="9"/>
                </a:lnTo>
                <a:lnTo>
                  <a:pt x="10" y="7"/>
                </a:lnTo>
                <a:lnTo>
                  <a:pt x="7" y="7"/>
                </a:lnTo>
                <a:lnTo>
                  <a:pt x="5" y="4"/>
                </a:lnTo>
                <a:lnTo>
                  <a:pt x="5" y="2"/>
                </a:lnTo>
                <a:lnTo>
                  <a:pt x="5" y="2"/>
                </a:lnTo>
                <a:lnTo>
                  <a:pt x="7" y="0"/>
                </a:lnTo>
                <a:lnTo>
                  <a:pt x="7" y="0"/>
                </a:lnTo>
                <a:lnTo>
                  <a:pt x="5" y="0"/>
                </a:lnTo>
                <a:lnTo>
                  <a:pt x="2" y="2"/>
                </a:lnTo>
                <a:lnTo>
                  <a:pt x="5" y="4"/>
                </a:lnTo>
                <a:lnTo>
                  <a:pt x="5" y="7"/>
                </a:lnTo>
                <a:lnTo>
                  <a:pt x="5" y="7"/>
                </a:lnTo>
                <a:lnTo>
                  <a:pt x="5" y="9"/>
                </a:lnTo>
                <a:lnTo>
                  <a:pt x="2" y="12"/>
                </a:lnTo>
                <a:lnTo>
                  <a:pt x="0" y="14"/>
                </a:lnTo>
                <a:lnTo>
                  <a:pt x="0" y="17"/>
                </a:lnTo>
                <a:lnTo>
                  <a:pt x="0" y="1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Freeform 155"/>
          <p:cNvSpPr>
            <a:spLocks/>
          </p:cNvSpPr>
          <p:nvPr/>
        </p:nvSpPr>
        <p:spPr bwMode="auto">
          <a:xfrm>
            <a:off x="6182745" y="4934763"/>
            <a:ext cx="16310" cy="15360"/>
          </a:xfrm>
          <a:custGeom>
            <a:avLst/>
            <a:gdLst/>
            <a:ahLst/>
            <a:cxnLst>
              <a:cxn ang="0">
                <a:pos x="2" y="0"/>
              </a:cxn>
              <a:cxn ang="0">
                <a:pos x="2" y="5"/>
              </a:cxn>
              <a:cxn ang="0">
                <a:pos x="0" y="8"/>
              </a:cxn>
              <a:cxn ang="0">
                <a:pos x="5" y="10"/>
              </a:cxn>
              <a:cxn ang="0">
                <a:pos x="7" y="8"/>
              </a:cxn>
              <a:cxn ang="0">
                <a:pos x="7" y="5"/>
              </a:cxn>
              <a:cxn ang="0">
                <a:pos x="10" y="5"/>
              </a:cxn>
              <a:cxn ang="0">
                <a:pos x="10" y="3"/>
              </a:cxn>
              <a:cxn ang="0">
                <a:pos x="7" y="0"/>
              </a:cxn>
              <a:cxn ang="0">
                <a:pos x="5" y="3"/>
              </a:cxn>
              <a:cxn ang="0">
                <a:pos x="2" y="0"/>
              </a:cxn>
              <a:cxn ang="0">
                <a:pos x="2" y="0"/>
              </a:cxn>
            </a:cxnLst>
            <a:rect l="0" t="0" r="r" b="b"/>
            <a:pathLst>
              <a:path w="10" h="10">
                <a:moveTo>
                  <a:pt x="2" y="0"/>
                </a:moveTo>
                <a:lnTo>
                  <a:pt x="2" y="5"/>
                </a:lnTo>
                <a:lnTo>
                  <a:pt x="0" y="8"/>
                </a:lnTo>
                <a:lnTo>
                  <a:pt x="5" y="10"/>
                </a:lnTo>
                <a:lnTo>
                  <a:pt x="7" y="8"/>
                </a:lnTo>
                <a:lnTo>
                  <a:pt x="7" y="5"/>
                </a:lnTo>
                <a:lnTo>
                  <a:pt x="10" y="5"/>
                </a:lnTo>
                <a:lnTo>
                  <a:pt x="10" y="3"/>
                </a:lnTo>
                <a:lnTo>
                  <a:pt x="7" y="0"/>
                </a:lnTo>
                <a:lnTo>
                  <a:pt x="5" y="3"/>
                </a:lnTo>
                <a:lnTo>
                  <a:pt x="2" y="0"/>
                </a:lnTo>
                <a:lnTo>
                  <a:pt x="2"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Freeform 156"/>
          <p:cNvSpPr>
            <a:spLocks/>
          </p:cNvSpPr>
          <p:nvPr/>
        </p:nvSpPr>
        <p:spPr bwMode="auto">
          <a:xfrm>
            <a:off x="6133816" y="4954732"/>
            <a:ext cx="13047" cy="15360"/>
          </a:xfrm>
          <a:custGeom>
            <a:avLst/>
            <a:gdLst/>
            <a:ahLst/>
            <a:cxnLst>
              <a:cxn ang="0">
                <a:pos x="0" y="0"/>
              </a:cxn>
              <a:cxn ang="0">
                <a:pos x="0" y="5"/>
              </a:cxn>
              <a:cxn ang="0">
                <a:pos x="3" y="10"/>
              </a:cxn>
              <a:cxn ang="0">
                <a:pos x="5" y="10"/>
              </a:cxn>
              <a:cxn ang="0">
                <a:pos x="8" y="7"/>
              </a:cxn>
              <a:cxn ang="0">
                <a:pos x="8" y="5"/>
              </a:cxn>
              <a:cxn ang="0">
                <a:pos x="5" y="2"/>
              </a:cxn>
              <a:cxn ang="0">
                <a:pos x="0" y="0"/>
              </a:cxn>
              <a:cxn ang="0">
                <a:pos x="0" y="0"/>
              </a:cxn>
              <a:cxn ang="0">
                <a:pos x="0" y="0"/>
              </a:cxn>
            </a:cxnLst>
            <a:rect l="0" t="0" r="r" b="b"/>
            <a:pathLst>
              <a:path w="8" h="10">
                <a:moveTo>
                  <a:pt x="0" y="0"/>
                </a:moveTo>
                <a:lnTo>
                  <a:pt x="0" y="5"/>
                </a:lnTo>
                <a:lnTo>
                  <a:pt x="3" y="10"/>
                </a:lnTo>
                <a:lnTo>
                  <a:pt x="5" y="10"/>
                </a:lnTo>
                <a:lnTo>
                  <a:pt x="8" y="7"/>
                </a:lnTo>
                <a:lnTo>
                  <a:pt x="8" y="5"/>
                </a:lnTo>
                <a:lnTo>
                  <a:pt x="5" y="2"/>
                </a:lnTo>
                <a:lnTo>
                  <a:pt x="0" y="0"/>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Freeform 157"/>
          <p:cNvSpPr>
            <a:spLocks noEditPoints="1"/>
          </p:cNvSpPr>
          <p:nvPr/>
        </p:nvSpPr>
        <p:spPr bwMode="auto">
          <a:xfrm>
            <a:off x="5822304" y="4738150"/>
            <a:ext cx="192453" cy="336393"/>
          </a:xfrm>
          <a:custGeom>
            <a:avLst/>
            <a:gdLst/>
            <a:ahLst/>
            <a:cxnLst>
              <a:cxn ang="0">
                <a:pos x="34" y="217"/>
              </a:cxn>
              <a:cxn ang="0">
                <a:pos x="54" y="210"/>
              </a:cxn>
              <a:cxn ang="0">
                <a:pos x="61" y="200"/>
              </a:cxn>
              <a:cxn ang="0">
                <a:pos x="63" y="187"/>
              </a:cxn>
              <a:cxn ang="0">
                <a:pos x="68" y="180"/>
              </a:cxn>
              <a:cxn ang="0">
                <a:pos x="78" y="158"/>
              </a:cxn>
              <a:cxn ang="0">
                <a:pos x="91" y="128"/>
              </a:cxn>
              <a:cxn ang="0">
                <a:pos x="98" y="109"/>
              </a:cxn>
              <a:cxn ang="0">
                <a:pos x="103" y="87"/>
              </a:cxn>
              <a:cxn ang="0">
                <a:pos x="105" y="74"/>
              </a:cxn>
              <a:cxn ang="0">
                <a:pos x="108" y="64"/>
              </a:cxn>
              <a:cxn ang="0">
                <a:pos x="108" y="55"/>
              </a:cxn>
              <a:cxn ang="0">
                <a:pos x="115" y="64"/>
              </a:cxn>
              <a:cxn ang="0">
                <a:pos x="118" y="55"/>
              </a:cxn>
              <a:cxn ang="0">
                <a:pos x="113" y="45"/>
              </a:cxn>
              <a:cxn ang="0">
                <a:pos x="115" y="32"/>
              </a:cxn>
              <a:cxn ang="0">
                <a:pos x="110" y="13"/>
              </a:cxn>
              <a:cxn ang="0">
                <a:pos x="103" y="5"/>
              </a:cxn>
              <a:cxn ang="0">
                <a:pos x="100" y="5"/>
              </a:cxn>
              <a:cxn ang="0">
                <a:pos x="98" y="8"/>
              </a:cxn>
              <a:cxn ang="0">
                <a:pos x="95" y="18"/>
              </a:cxn>
              <a:cxn ang="0">
                <a:pos x="88" y="28"/>
              </a:cxn>
              <a:cxn ang="0">
                <a:pos x="86" y="25"/>
              </a:cxn>
              <a:cxn ang="0">
                <a:pos x="83" y="35"/>
              </a:cxn>
              <a:cxn ang="0">
                <a:pos x="78" y="37"/>
              </a:cxn>
              <a:cxn ang="0">
                <a:pos x="81" y="45"/>
              </a:cxn>
              <a:cxn ang="0">
                <a:pos x="73" y="50"/>
              </a:cxn>
              <a:cxn ang="0">
                <a:pos x="71" y="45"/>
              </a:cxn>
              <a:cxn ang="0">
                <a:pos x="68" y="52"/>
              </a:cxn>
              <a:cxn ang="0">
                <a:pos x="66" y="57"/>
              </a:cxn>
              <a:cxn ang="0">
                <a:pos x="63" y="52"/>
              </a:cxn>
              <a:cxn ang="0">
                <a:pos x="59" y="64"/>
              </a:cxn>
              <a:cxn ang="0">
                <a:pos x="54" y="57"/>
              </a:cxn>
              <a:cxn ang="0">
                <a:pos x="44" y="60"/>
              </a:cxn>
              <a:cxn ang="0">
                <a:pos x="41" y="62"/>
              </a:cxn>
              <a:cxn ang="0">
                <a:pos x="32" y="67"/>
              </a:cxn>
              <a:cxn ang="0">
                <a:pos x="24" y="69"/>
              </a:cxn>
              <a:cxn ang="0">
                <a:pos x="14" y="87"/>
              </a:cxn>
              <a:cxn ang="0">
                <a:pos x="17" y="99"/>
              </a:cxn>
              <a:cxn ang="0">
                <a:pos x="24" y="116"/>
              </a:cxn>
              <a:cxn ang="0">
                <a:pos x="22" y="128"/>
              </a:cxn>
              <a:cxn ang="0">
                <a:pos x="14" y="138"/>
              </a:cxn>
              <a:cxn ang="0">
                <a:pos x="4" y="148"/>
              </a:cxn>
              <a:cxn ang="0">
                <a:pos x="0" y="163"/>
              </a:cxn>
              <a:cxn ang="0">
                <a:pos x="4" y="178"/>
              </a:cxn>
              <a:cxn ang="0">
                <a:pos x="7" y="182"/>
              </a:cxn>
              <a:cxn ang="0">
                <a:pos x="4" y="192"/>
              </a:cxn>
              <a:cxn ang="0">
                <a:pos x="7" y="205"/>
              </a:cxn>
              <a:cxn ang="0">
                <a:pos x="14" y="212"/>
              </a:cxn>
              <a:cxn ang="0">
                <a:pos x="22" y="217"/>
              </a:cxn>
              <a:cxn ang="0">
                <a:pos x="24" y="219"/>
              </a:cxn>
              <a:cxn ang="0">
                <a:pos x="93" y="13"/>
              </a:cxn>
              <a:cxn ang="0">
                <a:pos x="93" y="15"/>
              </a:cxn>
              <a:cxn ang="0">
                <a:pos x="91" y="23"/>
              </a:cxn>
              <a:cxn ang="0">
                <a:pos x="86" y="20"/>
              </a:cxn>
              <a:cxn ang="0">
                <a:pos x="88" y="23"/>
              </a:cxn>
              <a:cxn ang="0">
                <a:pos x="86" y="20"/>
              </a:cxn>
              <a:cxn ang="0">
                <a:pos x="108" y="77"/>
              </a:cxn>
              <a:cxn ang="0">
                <a:pos x="110" y="77"/>
              </a:cxn>
            </a:cxnLst>
            <a:rect l="0" t="0" r="r" b="b"/>
            <a:pathLst>
              <a:path w="118" h="219">
                <a:moveTo>
                  <a:pt x="24" y="219"/>
                </a:moveTo>
                <a:lnTo>
                  <a:pt x="27" y="217"/>
                </a:lnTo>
                <a:lnTo>
                  <a:pt x="29" y="219"/>
                </a:lnTo>
                <a:lnTo>
                  <a:pt x="34" y="217"/>
                </a:lnTo>
                <a:lnTo>
                  <a:pt x="36" y="212"/>
                </a:lnTo>
                <a:lnTo>
                  <a:pt x="46" y="212"/>
                </a:lnTo>
                <a:lnTo>
                  <a:pt x="49" y="212"/>
                </a:lnTo>
                <a:lnTo>
                  <a:pt x="54" y="210"/>
                </a:lnTo>
                <a:lnTo>
                  <a:pt x="56" y="207"/>
                </a:lnTo>
                <a:lnTo>
                  <a:pt x="59" y="207"/>
                </a:lnTo>
                <a:lnTo>
                  <a:pt x="59" y="202"/>
                </a:lnTo>
                <a:lnTo>
                  <a:pt x="61" y="200"/>
                </a:lnTo>
                <a:lnTo>
                  <a:pt x="63" y="195"/>
                </a:lnTo>
                <a:lnTo>
                  <a:pt x="66" y="195"/>
                </a:lnTo>
                <a:lnTo>
                  <a:pt x="66" y="190"/>
                </a:lnTo>
                <a:lnTo>
                  <a:pt x="63" y="187"/>
                </a:lnTo>
                <a:lnTo>
                  <a:pt x="66" y="187"/>
                </a:lnTo>
                <a:lnTo>
                  <a:pt x="68" y="182"/>
                </a:lnTo>
                <a:lnTo>
                  <a:pt x="68" y="180"/>
                </a:lnTo>
                <a:lnTo>
                  <a:pt x="68" y="180"/>
                </a:lnTo>
                <a:lnTo>
                  <a:pt x="71" y="178"/>
                </a:lnTo>
                <a:lnTo>
                  <a:pt x="73" y="165"/>
                </a:lnTo>
                <a:lnTo>
                  <a:pt x="76" y="160"/>
                </a:lnTo>
                <a:lnTo>
                  <a:pt x="78" y="158"/>
                </a:lnTo>
                <a:lnTo>
                  <a:pt x="78" y="151"/>
                </a:lnTo>
                <a:lnTo>
                  <a:pt x="83" y="143"/>
                </a:lnTo>
                <a:lnTo>
                  <a:pt x="88" y="131"/>
                </a:lnTo>
                <a:lnTo>
                  <a:pt x="91" y="128"/>
                </a:lnTo>
                <a:lnTo>
                  <a:pt x="91" y="121"/>
                </a:lnTo>
                <a:lnTo>
                  <a:pt x="93" y="116"/>
                </a:lnTo>
                <a:lnTo>
                  <a:pt x="93" y="114"/>
                </a:lnTo>
                <a:lnTo>
                  <a:pt x="98" y="109"/>
                </a:lnTo>
                <a:lnTo>
                  <a:pt x="98" y="99"/>
                </a:lnTo>
                <a:lnTo>
                  <a:pt x="100" y="94"/>
                </a:lnTo>
                <a:lnTo>
                  <a:pt x="103" y="91"/>
                </a:lnTo>
                <a:lnTo>
                  <a:pt x="103" y="87"/>
                </a:lnTo>
                <a:lnTo>
                  <a:pt x="100" y="84"/>
                </a:lnTo>
                <a:lnTo>
                  <a:pt x="103" y="82"/>
                </a:lnTo>
                <a:lnTo>
                  <a:pt x="105" y="77"/>
                </a:lnTo>
                <a:lnTo>
                  <a:pt x="105" y="74"/>
                </a:lnTo>
                <a:lnTo>
                  <a:pt x="108" y="72"/>
                </a:lnTo>
                <a:lnTo>
                  <a:pt x="108" y="69"/>
                </a:lnTo>
                <a:lnTo>
                  <a:pt x="105" y="67"/>
                </a:lnTo>
                <a:lnTo>
                  <a:pt x="108" y="64"/>
                </a:lnTo>
                <a:lnTo>
                  <a:pt x="105" y="60"/>
                </a:lnTo>
                <a:lnTo>
                  <a:pt x="105" y="60"/>
                </a:lnTo>
                <a:lnTo>
                  <a:pt x="105" y="57"/>
                </a:lnTo>
                <a:lnTo>
                  <a:pt x="108" y="55"/>
                </a:lnTo>
                <a:lnTo>
                  <a:pt x="108" y="57"/>
                </a:lnTo>
                <a:lnTo>
                  <a:pt x="110" y="60"/>
                </a:lnTo>
                <a:lnTo>
                  <a:pt x="113" y="62"/>
                </a:lnTo>
                <a:lnTo>
                  <a:pt x="115" y="64"/>
                </a:lnTo>
                <a:lnTo>
                  <a:pt x="115" y="62"/>
                </a:lnTo>
                <a:lnTo>
                  <a:pt x="115" y="60"/>
                </a:lnTo>
                <a:lnTo>
                  <a:pt x="115" y="57"/>
                </a:lnTo>
                <a:lnTo>
                  <a:pt x="118" y="55"/>
                </a:lnTo>
                <a:lnTo>
                  <a:pt x="118" y="55"/>
                </a:lnTo>
                <a:lnTo>
                  <a:pt x="118" y="52"/>
                </a:lnTo>
                <a:lnTo>
                  <a:pt x="115" y="47"/>
                </a:lnTo>
                <a:lnTo>
                  <a:pt x="113" y="45"/>
                </a:lnTo>
                <a:lnTo>
                  <a:pt x="115" y="42"/>
                </a:lnTo>
                <a:lnTo>
                  <a:pt x="115" y="40"/>
                </a:lnTo>
                <a:lnTo>
                  <a:pt x="113" y="35"/>
                </a:lnTo>
                <a:lnTo>
                  <a:pt x="115" y="32"/>
                </a:lnTo>
                <a:lnTo>
                  <a:pt x="115" y="25"/>
                </a:lnTo>
                <a:lnTo>
                  <a:pt x="113" y="23"/>
                </a:lnTo>
                <a:lnTo>
                  <a:pt x="113" y="15"/>
                </a:lnTo>
                <a:lnTo>
                  <a:pt x="110" y="13"/>
                </a:lnTo>
                <a:lnTo>
                  <a:pt x="110" y="13"/>
                </a:lnTo>
                <a:lnTo>
                  <a:pt x="108" y="10"/>
                </a:lnTo>
                <a:lnTo>
                  <a:pt x="105" y="8"/>
                </a:lnTo>
                <a:lnTo>
                  <a:pt x="103" y="5"/>
                </a:lnTo>
                <a:lnTo>
                  <a:pt x="105" y="3"/>
                </a:lnTo>
                <a:lnTo>
                  <a:pt x="105" y="0"/>
                </a:lnTo>
                <a:lnTo>
                  <a:pt x="100" y="3"/>
                </a:lnTo>
                <a:lnTo>
                  <a:pt x="100" y="5"/>
                </a:lnTo>
                <a:lnTo>
                  <a:pt x="98" y="8"/>
                </a:lnTo>
                <a:lnTo>
                  <a:pt x="95" y="5"/>
                </a:lnTo>
                <a:lnTo>
                  <a:pt x="95" y="5"/>
                </a:lnTo>
                <a:lnTo>
                  <a:pt x="98" y="8"/>
                </a:lnTo>
                <a:lnTo>
                  <a:pt x="98" y="10"/>
                </a:lnTo>
                <a:lnTo>
                  <a:pt x="98" y="13"/>
                </a:lnTo>
                <a:lnTo>
                  <a:pt x="98" y="13"/>
                </a:lnTo>
                <a:lnTo>
                  <a:pt x="95" y="18"/>
                </a:lnTo>
                <a:lnTo>
                  <a:pt x="95" y="20"/>
                </a:lnTo>
                <a:lnTo>
                  <a:pt x="93" y="25"/>
                </a:lnTo>
                <a:lnTo>
                  <a:pt x="91" y="23"/>
                </a:lnTo>
                <a:lnTo>
                  <a:pt x="88" y="28"/>
                </a:lnTo>
                <a:lnTo>
                  <a:pt x="88" y="30"/>
                </a:lnTo>
                <a:lnTo>
                  <a:pt x="86" y="30"/>
                </a:lnTo>
                <a:lnTo>
                  <a:pt x="86" y="30"/>
                </a:lnTo>
                <a:lnTo>
                  <a:pt x="86" y="25"/>
                </a:lnTo>
                <a:lnTo>
                  <a:pt x="83" y="25"/>
                </a:lnTo>
                <a:lnTo>
                  <a:pt x="81" y="28"/>
                </a:lnTo>
                <a:lnTo>
                  <a:pt x="81" y="30"/>
                </a:lnTo>
                <a:lnTo>
                  <a:pt x="83" y="35"/>
                </a:lnTo>
                <a:lnTo>
                  <a:pt x="86" y="35"/>
                </a:lnTo>
                <a:lnTo>
                  <a:pt x="83" y="37"/>
                </a:lnTo>
                <a:lnTo>
                  <a:pt x="83" y="35"/>
                </a:lnTo>
                <a:lnTo>
                  <a:pt x="78" y="37"/>
                </a:lnTo>
                <a:lnTo>
                  <a:pt x="81" y="40"/>
                </a:lnTo>
                <a:lnTo>
                  <a:pt x="83" y="40"/>
                </a:lnTo>
                <a:lnTo>
                  <a:pt x="83" y="42"/>
                </a:lnTo>
                <a:lnTo>
                  <a:pt x="81" y="45"/>
                </a:lnTo>
                <a:lnTo>
                  <a:pt x="81" y="42"/>
                </a:lnTo>
                <a:lnTo>
                  <a:pt x="78" y="42"/>
                </a:lnTo>
                <a:lnTo>
                  <a:pt x="78" y="45"/>
                </a:lnTo>
                <a:lnTo>
                  <a:pt x="73" y="50"/>
                </a:lnTo>
                <a:lnTo>
                  <a:pt x="73" y="45"/>
                </a:lnTo>
                <a:lnTo>
                  <a:pt x="73" y="45"/>
                </a:lnTo>
                <a:lnTo>
                  <a:pt x="73" y="42"/>
                </a:lnTo>
                <a:lnTo>
                  <a:pt x="71" y="45"/>
                </a:lnTo>
                <a:lnTo>
                  <a:pt x="71" y="47"/>
                </a:lnTo>
                <a:lnTo>
                  <a:pt x="71" y="47"/>
                </a:lnTo>
                <a:lnTo>
                  <a:pt x="68" y="50"/>
                </a:lnTo>
                <a:lnTo>
                  <a:pt x="68" y="52"/>
                </a:lnTo>
                <a:lnTo>
                  <a:pt x="71" y="52"/>
                </a:lnTo>
                <a:lnTo>
                  <a:pt x="71" y="55"/>
                </a:lnTo>
                <a:lnTo>
                  <a:pt x="68" y="55"/>
                </a:lnTo>
                <a:lnTo>
                  <a:pt x="66" y="57"/>
                </a:lnTo>
                <a:lnTo>
                  <a:pt x="66" y="55"/>
                </a:lnTo>
                <a:lnTo>
                  <a:pt x="63" y="55"/>
                </a:lnTo>
                <a:lnTo>
                  <a:pt x="66" y="52"/>
                </a:lnTo>
                <a:lnTo>
                  <a:pt x="63" y="52"/>
                </a:lnTo>
                <a:lnTo>
                  <a:pt x="59" y="57"/>
                </a:lnTo>
                <a:lnTo>
                  <a:pt x="59" y="60"/>
                </a:lnTo>
                <a:lnTo>
                  <a:pt x="59" y="62"/>
                </a:lnTo>
                <a:lnTo>
                  <a:pt x="59" y="64"/>
                </a:lnTo>
                <a:lnTo>
                  <a:pt x="56" y="64"/>
                </a:lnTo>
                <a:lnTo>
                  <a:pt x="54" y="62"/>
                </a:lnTo>
                <a:lnTo>
                  <a:pt x="54" y="60"/>
                </a:lnTo>
                <a:lnTo>
                  <a:pt x="54" y="57"/>
                </a:lnTo>
                <a:lnTo>
                  <a:pt x="49" y="62"/>
                </a:lnTo>
                <a:lnTo>
                  <a:pt x="46" y="60"/>
                </a:lnTo>
                <a:lnTo>
                  <a:pt x="44" y="60"/>
                </a:lnTo>
                <a:lnTo>
                  <a:pt x="44" y="60"/>
                </a:lnTo>
                <a:lnTo>
                  <a:pt x="44" y="64"/>
                </a:lnTo>
                <a:lnTo>
                  <a:pt x="44" y="64"/>
                </a:lnTo>
                <a:lnTo>
                  <a:pt x="41" y="64"/>
                </a:lnTo>
                <a:lnTo>
                  <a:pt x="41" y="62"/>
                </a:lnTo>
                <a:lnTo>
                  <a:pt x="39" y="62"/>
                </a:lnTo>
                <a:lnTo>
                  <a:pt x="39" y="64"/>
                </a:lnTo>
                <a:lnTo>
                  <a:pt x="36" y="62"/>
                </a:lnTo>
                <a:lnTo>
                  <a:pt x="32" y="67"/>
                </a:lnTo>
                <a:lnTo>
                  <a:pt x="29" y="67"/>
                </a:lnTo>
                <a:lnTo>
                  <a:pt x="27" y="67"/>
                </a:lnTo>
                <a:lnTo>
                  <a:pt x="24" y="67"/>
                </a:lnTo>
                <a:lnTo>
                  <a:pt x="24" y="69"/>
                </a:lnTo>
                <a:lnTo>
                  <a:pt x="24" y="74"/>
                </a:lnTo>
                <a:lnTo>
                  <a:pt x="19" y="82"/>
                </a:lnTo>
                <a:lnTo>
                  <a:pt x="19" y="82"/>
                </a:lnTo>
                <a:lnTo>
                  <a:pt x="14" y="87"/>
                </a:lnTo>
                <a:lnTo>
                  <a:pt x="14" y="89"/>
                </a:lnTo>
                <a:lnTo>
                  <a:pt x="17" y="91"/>
                </a:lnTo>
                <a:lnTo>
                  <a:pt x="14" y="94"/>
                </a:lnTo>
                <a:lnTo>
                  <a:pt x="17" y="99"/>
                </a:lnTo>
                <a:lnTo>
                  <a:pt x="17" y="101"/>
                </a:lnTo>
                <a:lnTo>
                  <a:pt x="22" y="111"/>
                </a:lnTo>
                <a:lnTo>
                  <a:pt x="22" y="114"/>
                </a:lnTo>
                <a:lnTo>
                  <a:pt x="24" y="116"/>
                </a:lnTo>
                <a:lnTo>
                  <a:pt x="24" y="116"/>
                </a:lnTo>
                <a:lnTo>
                  <a:pt x="22" y="119"/>
                </a:lnTo>
                <a:lnTo>
                  <a:pt x="22" y="121"/>
                </a:lnTo>
                <a:lnTo>
                  <a:pt x="22" y="128"/>
                </a:lnTo>
                <a:lnTo>
                  <a:pt x="17" y="131"/>
                </a:lnTo>
                <a:lnTo>
                  <a:pt x="17" y="133"/>
                </a:lnTo>
                <a:lnTo>
                  <a:pt x="14" y="133"/>
                </a:lnTo>
                <a:lnTo>
                  <a:pt x="14" y="138"/>
                </a:lnTo>
                <a:lnTo>
                  <a:pt x="12" y="138"/>
                </a:lnTo>
                <a:lnTo>
                  <a:pt x="12" y="146"/>
                </a:lnTo>
                <a:lnTo>
                  <a:pt x="9" y="148"/>
                </a:lnTo>
                <a:lnTo>
                  <a:pt x="4" y="148"/>
                </a:lnTo>
                <a:lnTo>
                  <a:pt x="4" y="151"/>
                </a:lnTo>
                <a:lnTo>
                  <a:pt x="4" y="155"/>
                </a:lnTo>
                <a:lnTo>
                  <a:pt x="0" y="158"/>
                </a:lnTo>
                <a:lnTo>
                  <a:pt x="0" y="163"/>
                </a:lnTo>
                <a:lnTo>
                  <a:pt x="0" y="165"/>
                </a:lnTo>
                <a:lnTo>
                  <a:pt x="0" y="168"/>
                </a:lnTo>
                <a:lnTo>
                  <a:pt x="0" y="173"/>
                </a:lnTo>
                <a:lnTo>
                  <a:pt x="4" y="178"/>
                </a:lnTo>
                <a:lnTo>
                  <a:pt x="4" y="180"/>
                </a:lnTo>
                <a:lnTo>
                  <a:pt x="4" y="182"/>
                </a:lnTo>
                <a:lnTo>
                  <a:pt x="7" y="182"/>
                </a:lnTo>
                <a:lnTo>
                  <a:pt x="7" y="182"/>
                </a:lnTo>
                <a:lnTo>
                  <a:pt x="7" y="185"/>
                </a:lnTo>
                <a:lnTo>
                  <a:pt x="4" y="185"/>
                </a:lnTo>
                <a:lnTo>
                  <a:pt x="4" y="187"/>
                </a:lnTo>
                <a:lnTo>
                  <a:pt x="4" y="192"/>
                </a:lnTo>
                <a:lnTo>
                  <a:pt x="4" y="200"/>
                </a:lnTo>
                <a:lnTo>
                  <a:pt x="4" y="200"/>
                </a:lnTo>
                <a:lnTo>
                  <a:pt x="4" y="202"/>
                </a:lnTo>
                <a:lnTo>
                  <a:pt x="7" y="205"/>
                </a:lnTo>
                <a:lnTo>
                  <a:pt x="9" y="207"/>
                </a:lnTo>
                <a:lnTo>
                  <a:pt x="9" y="207"/>
                </a:lnTo>
                <a:lnTo>
                  <a:pt x="12" y="210"/>
                </a:lnTo>
                <a:lnTo>
                  <a:pt x="14" y="212"/>
                </a:lnTo>
                <a:lnTo>
                  <a:pt x="17" y="212"/>
                </a:lnTo>
                <a:lnTo>
                  <a:pt x="17" y="212"/>
                </a:lnTo>
                <a:lnTo>
                  <a:pt x="19" y="214"/>
                </a:lnTo>
                <a:lnTo>
                  <a:pt x="22" y="217"/>
                </a:lnTo>
                <a:lnTo>
                  <a:pt x="24" y="217"/>
                </a:lnTo>
                <a:lnTo>
                  <a:pt x="24" y="219"/>
                </a:lnTo>
                <a:lnTo>
                  <a:pt x="24" y="219"/>
                </a:lnTo>
                <a:lnTo>
                  <a:pt x="24" y="219"/>
                </a:lnTo>
                <a:lnTo>
                  <a:pt x="24" y="219"/>
                </a:lnTo>
                <a:close/>
                <a:moveTo>
                  <a:pt x="93" y="15"/>
                </a:moveTo>
                <a:lnTo>
                  <a:pt x="91" y="15"/>
                </a:lnTo>
                <a:lnTo>
                  <a:pt x="93" y="13"/>
                </a:lnTo>
                <a:lnTo>
                  <a:pt x="93" y="13"/>
                </a:lnTo>
                <a:lnTo>
                  <a:pt x="93" y="15"/>
                </a:lnTo>
                <a:lnTo>
                  <a:pt x="93" y="15"/>
                </a:lnTo>
                <a:lnTo>
                  <a:pt x="93" y="15"/>
                </a:lnTo>
                <a:close/>
                <a:moveTo>
                  <a:pt x="91" y="20"/>
                </a:moveTo>
                <a:lnTo>
                  <a:pt x="91" y="20"/>
                </a:lnTo>
                <a:lnTo>
                  <a:pt x="93" y="20"/>
                </a:lnTo>
                <a:lnTo>
                  <a:pt x="91" y="23"/>
                </a:lnTo>
                <a:lnTo>
                  <a:pt x="91" y="20"/>
                </a:lnTo>
                <a:lnTo>
                  <a:pt x="91" y="20"/>
                </a:lnTo>
                <a:lnTo>
                  <a:pt x="91" y="20"/>
                </a:lnTo>
                <a:close/>
                <a:moveTo>
                  <a:pt x="86" y="20"/>
                </a:moveTo>
                <a:lnTo>
                  <a:pt x="86" y="20"/>
                </a:lnTo>
                <a:lnTo>
                  <a:pt x="88" y="20"/>
                </a:lnTo>
                <a:lnTo>
                  <a:pt x="88" y="20"/>
                </a:lnTo>
                <a:lnTo>
                  <a:pt x="88" y="23"/>
                </a:lnTo>
                <a:lnTo>
                  <a:pt x="86" y="23"/>
                </a:lnTo>
                <a:lnTo>
                  <a:pt x="86" y="23"/>
                </a:lnTo>
                <a:lnTo>
                  <a:pt x="86" y="20"/>
                </a:lnTo>
                <a:lnTo>
                  <a:pt x="86" y="20"/>
                </a:lnTo>
                <a:lnTo>
                  <a:pt x="86" y="20"/>
                </a:lnTo>
                <a:close/>
                <a:moveTo>
                  <a:pt x="108" y="82"/>
                </a:moveTo>
                <a:lnTo>
                  <a:pt x="108" y="79"/>
                </a:lnTo>
                <a:lnTo>
                  <a:pt x="108" y="77"/>
                </a:lnTo>
                <a:lnTo>
                  <a:pt x="108" y="77"/>
                </a:lnTo>
                <a:lnTo>
                  <a:pt x="110" y="77"/>
                </a:lnTo>
                <a:lnTo>
                  <a:pt x="110" y="74"/>
                </a:lnTo>
                <a:lnTo>
                  <a:pt x="110" y="77"/>
                </a:lnTo>
                <a:lnTo>
                  <a:pt x="108" y="79"/>
                </a:lnTo>
                <a:lnTo>
                  <a:pt x="108" y="82"/>
                </a:lnTo>
                <a:lnTo>
                  <a:pt x="108" y="8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9" name="Freeform 158"/>
          <p:cNvSpPr>
            <a:spLocks/>
          </p:cNvSpPr>
          <p:nvPr/>
        </p:nvSpPr>
        <p:spPr bwMode="auto">
          <a:xfrm>
            <a:off x="5512422" y="4701285"/>
            <a:ext cx="260953" cy="400906"/>
          </a:xfrm>
          <a:custGeom>
            <a:avLst/>
            <a:gdLst/>
            <a:ahLst/>
            <a:cxnLst>
              <a:cxn ang="0">
                <a:pos x="27" y="162"/>
              </a:cxn>
              <a:cxn ang="0">
                <a:pos x="32" y="152"/>
              </a:cxn>
              <a:cxn ang="0">
                <a:pos x="35" y="143"/>
              </a:cxn>
              <a:cxn ang="0">
                <a:pos x="35" y="133"/>
              </a:cxn>
              <a:cxn ang="0">
                <a:pos x="35" y="123"/>
              </a:cxn>
              <a:cxn ang="0">
                <a:pos x="37" y="111"/>
              </a:cxn>
              <a:cxn ang="0">
                <a:pos x="39" y="101"/>
              </a:cxn>
              <a:cxn ang="0">
                <a:pos x="22" y="93"/>
              </a:cxn>
              <a:cxn ang="0">
                <a:pos x="10" y="88"/>
              </a:cxn>
              <a:cxn ang="0">
                <a:pos x="0" y="76"/>
              </a:cxn>
              <a:cxn ang="0">
                <a:pos x="27" y="61"/>
              </a:cxn>
              <a:cxn ang="0">
                <a:pos x="47" y="59"/>
              </a:cxn>
              <a:cxn ang="0">
                <a:pos x="54" y="64"/>
              </a:cxn>
              <a:cxn ang="0">
                <a:pos x="64" y="69"/>
              </a:cxn>
              <a:cxn ang="0">
                <a:pos x="59" y="86"/>
              </a:cxn>
              <a:cxn ang="0">
                <a:pos x="69" y="98"/>
              </a:cxn>
              <a:cxn ang="0">
                <a:pos x="74" y="106"/>
              </a:cxn>
              <a:cxn ang="0">
                <a:pos x="76" y="88"/>
              </a:cxn>
              <a:cxn ang="0">
                <a:pos x="81" y="76"/>
              </a:cxn>
              <a:cxn ang="0">
                <a:pos x="84" y="71"/>
              </a:cxn>
              <a:cxn ang="0">
                <a:pos x="81" y="59"/>
              </a:cxn>
              <a:cxn ang="0">
                <a:pos x="69" y="47"/>
              </a:cxn>
              <a:cxn ang="0">
                <a:pos x="84" y="15"/>
              </a:cxn>
              <a:cxn ang="0">
                <a:pos x="91" y="17"/>
              </a:cxn>
              <a:cxn ang="0">
                <a:pos x="101" y="17"/>
              </a:cxn>
              <a:cxn ang="0">
                <a:pos x="108" y="17"/>
              </a:cxn>
              <a:cxn ang="0">
                <a:pos x="118" y="12"/>
              </a:cxn>
              <a:cxn ang="0">
                <a:pos x="128" y="12"/>
              </a:cxn>
              <a:cxn ang="0">
                <a:pos x="143" y="10"/>
              </a:cxn>
              <a:cxn ang="0">
                <a:pos x="155" y="2"/>
              </a:cxn>
              <a:cxn ang="0">
                <a:pos x="160" y="5"/>
              </a:cxn>
              <a:cxn ang="0">
                <a:pos x="158" y="15"/>
              </a:cxn>
              <a:cxn ang="0">
                <a:pos x="158" y="27"/>
              </a:cxn>
              <a:cxn ang="0">
                <a:pos x="158" y="42"/>
              </a:cxn>
              <a:cxn ang="0">
                <a:pos x="155" y="56"/>
              </a:cxn>
              <a:cxn ang="0">
                <a:pos x="160" y="66"/>
              </a:cxn>
              <a:cxn ang="0">
                <a:pos x="155" y="71"/>
              </a:cxn>
              <a:cxn ang="0">
                <a:pos x="155" y="76"/>
              </a:cxn>
              <a:cxn ang="0">
                <a:pos x="145" y="91"/>
              </a:cxn>
              <a:cxn ang="0">
                <a:pos x="130" y="101"/>
              </a:cxn>
              <a:cxn ang="0">
                <a:pos x="106" y="113"/>
              </a:cxn>
              <a:cxn ang="0">
                <a:pos x="98" y="118"/>
              </a:cxn>
              <a:cxn ang="0">
                <a:pos x="89" y="130"/>
              </a:cxn>
              <a:cxn ang="0">
                <a:pos x="74" y="140"/>
              </a:cxn>
              <a:cxn ang="0">
                <a:pos x="64" y="145"/>
              </a:cxn>
              <a:cxn ang="0">
                <a:pos x="62" y="152"/>
              </a:cxn>
              <a:cxn ang="0">
                <a:pos x="64" y="167"/>
              </a:cxn>
              <a:cxn ang="0">
                <a:pos x="69" y="187"/>
              </a:cxn>
              <a:cxn ang="0">
                <a:pos x="71" y="187"/>
              </a:cxn>
              <a:cxn ang="0">
                <a:pos x="71" y="197"/>
              </a:cxn>
              <a:cxn ang="0">
                <a:pos x="67" y="209"/>
              </a:cxn>
              <a:cxn ang="0">
                <a:pos x="69" y="219"/>
              </a:cxn>
              <a:cxn ang="0">
                <a:pos x="30" y="238"/>
              </a:cxn>
              <a:cxn ang="0">
                <a:pos x="22" y="246"/>
              </a:cxn>
              <a:cxn ang="0">
                <a:pos x="27" y="253"/>
              </a:cxn>
              <a:cxn ang="0">
                <a:pos x="27" y="258"/>
              </a:cxn>
              <a:cxn ang="0">
                <a:pos x="17" y="258"/>
              </a:cxn>
              <a:cxn ang="0">
                <a:pos x="15" y="248"/>
              </a:cxn>
              <a:cxn ang="0">
                <a:pos x="15" y="234"/>
              </a:cxn>
              <a:cxn ang="0">
                <a:pos x="15" y="211"/>
              </a:cxn>
              <a:cxn ang="0">
                <a:pos x="10" y="192"/>
              </a:cxn>
            </a:cxnLst>
            <a:rect l="0" t="0" r="r" b="b"/>
            <a:pathLst>
              <a:path w="160" h="261">
                <a:moveTo>
                  <a:pt x="10" y="192"/>
                </a:moveTo>
                <a:lnTo>
                  <a:pt x="27" y="175"/>
                </a:lnTo>
                <a:lnTo>
                  <a:pt x="27" y="170"/>
                </a:lnTo>
                <a:lnTo>
                  <a:pt x="27" y="167"/>
                </a:lnTo>
                <a:lnTo>
                  <a:pt x="27" y="162"/>
                </a:lnTo>
                <a:lnTo>
                  <a:pt x="30" y="160"/>
                </a:lnTo>
                <a:lnTo>
                  <a:pt x="27" y="157"/>
                </a:lnTo>
                <a:lnTo>
                  <a:pt x="30" y="155"/>
                </a:lnTo>
                <a:lnTo>
                  <a:pt x="30" y="155"/>
                </a:lnTo>
                <a:lnTo>
                  <a:pt x="32" y="152"/>
                </a:lnTo>
                <a:lnTo>
                  <a:pt x="35" y="152"/>
                </a:lnTo>
                <a:lnTo>
                  <a:pt x="37" y="147"/>
                </a:lnTo>
                <a:lnTo>
                  <a:pt x="35" y="145"/>
                </a:lnTo>
                <a:lnTo>
                  <a:pt x="35" y="145"/>
                </a:lnTo>
                <a:lnTo>
                  <a:pt x="35" y="143"/>
                </a:lnTo>
                <a:lnTo>
                  <a:pt x="35" y="140"/>
                </a:lnTo>
                <a:lnTo>
                  <a:pt x="35" y="138"/>
                </a:lnTo>
                <a:lnTo>
                  <a:pt x="32" y="135"/>
                </a:lnTo>
                <a:lnTo>
                  <a:pt x="32" y="133"/>
                </a:lnTo>
                <a:lnTo>
                  <a:pt x="35" y="133"/>
                </a:lnTo>
                <a:lnTo>
                  <a:pt x="35" y="130"/>
                </a:lnTo>
                <a:lnTo>
                  <a:pt x="35" y="128"/>
                </a:lnTo>
                <a:lnTo>
                  <a:pt x="37" y="125"/>
                </a:lnTo>
                <a:lnTo>
                  <a:pt x="37" y="123"/>
                </a:lnTo>
                <a:lnTo>
                  <a:pt x="35" y="123"/>
                </a:lnTo>
                <a:lnTo>
                  <a:pt x="35" y="123"/>
                </a:lnTo>
                <a:lnTo>
                  <a:pt x="37" y="120"/>
                </a:lnTo>
                <a:lnTo>
                  <a:pt x="37" y="115"/>
                </a:lnTo>
                <a:lnTo>
                  <a:pt x="37" y="113"/>
                </a:lnTo>
                <a:lnTo>
                  <a:pt x="37" y="111"/>
                </a:lnTo>
                <a:lnTo>
                  <a:pt x="37" y="108"/>
                </a:lnTo>
                <a:lnTo>
                  <a:pt x="37" y="108"/>
                </a:lnTo>
                <a:lnTo>
                  <a:pt x="37" y="106"/>
                </a:lnTo>
                <a:lnTo>
                  <a:pt x="39" y="103"/>
                </a:lnTo>
                <a:lnTo>
                  <a:pt x="39" y="101"/>
                </a:lnTo>
                <a:lnTo>
                  <a:pt x="35" y="98"/>
                </a:lnTo>
                <a:lnTo>
                  <a:pt x="35" y="98"/>
                </a:lnTo>
                <a:lnTo>
                  <a:pt x="30" y="96"/>
                </a:lnTo>
                <a:lnTo>
                  <a:pt x="25" y="96"/>
                </a:lnTo>
                <a:lnTo>
                  <a:pt x="22" y="93"/>
                </a:lnTo>
                <a:lnTo>
                  <a:pt x="20" y="91"/>
                </a:lnTo>
                <a:lnTo>
                  <a:pt x="15" y="88"/>
                </a:lnTo>
                <a:lnTo>
                  <a:pt x="12" y="86"/>
                </a:lnTo>
                <a:lnTo>
                  <a:pt x="10" y="88"/>
                </a:lnTo>
                <a:lnTo>
                  <a:pt x="10" y="88"/>
                </a:lnTo>
                <a:lnTo>
                  <a:pt x="7" y="88"/>
                </a:lnTo>
                <a:lnTo>
                  <a:pt x="5" y="86"/>
                </a:lnTo>
                <a:lnTo>
                  <a:pt x="0" y="86"/>
                </a:lnTo>
                <a:lnTo>
                  <a:pt x="0" y="79"/>
                </a:lnTo>
                <a:lnTo>
                  <a:pt x="0" y="76"/>
                </a:lnTo>
                <a:lnTo>
                  <a:pt x="0" y="74"/>
                </a:lnTo>
                <a:lnTo>
                  <a:pt x="7" y="69"/>
                </a:lnTo>
                <a:lnTo>
                  <a:pt x="10" y="69"/>
                </a:lnTo>
                <a:lnTo>
                  <a:pt x="25" y="64"/>
                </a:lnTo>
                <a:lnTo>
                  <a:pt x="27" y="61"/>
                </a:lnTo>
                <a:lnTo>
                  <a:pt x="37" y="59"/>
                </a:lnTo>
                <a:lnTo>
                  <a:pt x="42" y="56"/>
                </a:lnTo>
                <a:lnTo>
                  <a:pt x="47" y="56"/>
                </a:lnTo>
                <a:lnTo>
                  <a:pt x="47" y="59"/>
                </a:lnTo>
                <a:lnTo>
                  <a:pt x="47" y="59"/>
                </a:lnTo>
                <a:lnTo>
                  <a:pt x="49" y="61"/>
                </a:lnTo>
                <a:lnTo>
                  <a:pt x="49" y="64"/>
                </a:lnTo>
                <a:lnTo>
                  <a:pt x="52" y="64"/>
                </a:lnTo>
                <a:lnTo>
                  <a:pt x="52" y="64"/>
                </a:lnTo>
                <a:lnTo>
                  <a:pt x="54" y="64"/>
                </a:lnTo>
                <a:lnTo>
                  <a:pt x="57" y="61"/>
                </a:lnTo>
                <a:lnTo>
                  <a:pt x="59" y="61"/>
                </a:lnTo>
                <a:lnTo>
                  <a:pt x="64" y="64"/>
                </a:lnTo>
                <a:lnTo>
                  <a:pt x="64" y="66"/>
                </a:lnTo>
                <a:lnTo>
                  <a:pt x="64" y="69"/>
                </a:lnTo>
                <a:lnTo>
                  <a:pt x="64" y="74"/>
                </a:lnTo>
                <a:lnTo>
                  <a:pt x="62" y="76"/>
                </a:lnTo>
                <a:lnTo>
                  <a:pt x="62" y="81"/>
                </a:lnTo>
                <a:lnTo>
                  <a:pt x="59" y="84"/>
                </a:lnTo>
                <a:lnTo>
                  <a:pt x="59" y="86"/>
                </a:lnTo>
                <a:lnTo>
                  <a:pt x="59" y="88"/>
                </a:lnTo>
                <a:lnTo>
                  <a:pt x="62" y="91"/>
                </a:lnTo>
                <a:lnTo>
                  <a:pt x="64" y="96"/>
                </a:lnTo>
                <a:lnTo>
                  <a:pt x="67" y="98"/>
                </a:lnTo>
                <a:lnTo>
                  <a:pt x="69" y="98"/>
                </a:lnTo>
                <a:lnTo>
                  <a:pt x="69" y="101"/>
                </a:lnTo>
                <a:lnTo>
                  <a:pt x="71" y="103"/>
                </a:lnTo>
                <a:lnTo>
                  <a:pt x="71" y="106"/>
                </a:lnTo>
                <a:lnTo>
                  <a:pt x="71" y="106"/>
                </a:lnTo>
                <a:lnTo>
                  <a:pt x="74" y="106"/>
                </a:lnTo>
                <a:lnTo>
                  <a:pt x="74" y="103"/>
                </a:lnTo>
                <a:lnTo>
                  <a:pt x="74" y="98"/>
                </a:lnTo>
                <a:lnTo>
                  <a:pt x="76" y="96"/>
                </a:lnTo>
                <a:lnTo>
                  <a:pt x="76" y="93"/>
                </a:lnTo>
                <a:lnTo>
                  <a:pt x="76" y="88"/>
                </a:lnTo>
                <a:lnTo>
                  <a:pt x="81" y="88"/>
                </a:lnTo>
                <a:lnTo>
                  <a:pt x="84" y="86"/>
                </a:lnTo>
                <a:lnTo>
                  <a:pt x="84" y="84"/>
                </a:lnTo>
                <a:lnTo>
                  <a:pt x="84" y="79"/>
                </a:lnTo>
                <a:lnTo>
                  <a:pt x="81" y="76"/>
                </a:lnTo>
                <a:lnTo>
                  <a:pt x="84" y="76"/>
                </a:lnTo>
                <a:lnTo>
                  <a:pt x="81" y="74"/>
                </a:lnTo>
                <a:lnTo>
                  <a:pt x="81" y="74"/>
                </a:lnTo>
                <a:lnTo>
                  <a:pt x="84" y="74"/>
                </a:lnTo>
                <a:lnTo>
                  <a:pt x="84" y="71"/>
                </a:lnTo>
                <a:lnTo>
                  <a:pt x="86" y="71"/>
                </a:lnTo>
                <a:lnTo>
                  <a:pt x="86" y="69"/>
                </a:lnTo>
                <a:lnTo>
                  <a:pt x="86" y="66"/>
                </a:lnTo>
                <a:lnTo>
                  <a:pt x="84" y="64"/>
                </a:lnTo>
                <a:lnTo>
                  <a:pt x="81" y="59"/>
                </a:lnTo>
                <a:lnTo>
                  <a:pt x="79" y="56"/>
                </a:lnTo>
                <a:lnTo>
                  <a:pt x="74" y="52"/>
                </a:lnTo>
                <a:lnTo>
                  <a:pt x="74" y="52"/>
                </a:lnTo>
                <a:lnTo>
                  <a:pt x="71" y="49"/>
                </a:lnTo>
                <a:lnTo>
                  <a:pt x="69" y="47"/>
                </a:lnTo>
                <a:lnTo>
                  <a:pt x="64" y="44"/>
                </a:lnTo>
                <a:lnTo>
                  <a:pt x="62" y="29"/>
                </a:lnTo>
                <a:lnTo>
                  <a:pt x="67" y="17"/>
                </a:lnTo>
                <a:lnTo>
                  <a:pt x="81" y="17"/>
                </a:lnTo>
                <a:lnTo>
                  <a:pt x="84" y="15"/>
                </a:lnTo>
                <a:lnTo>
                  <a:pt x="84" y="15"/>
                </a:lnTo>
                <a:lnTo>
                  <a:pt x="86" y="15"/>
                </a:lnTo>
                <a:lnTo>
                  <a:pt x="86" y="15"/>
                </a:lnTo>
                <a:lnTo>
                  <a:pt x="89" y="15"/>
                </a:lnTo>
                <a:lnTo>
                  <a:pt x="91" y="17"/>
                </a:lnTo>
                <a:lnTo>
                  <a:pt x="91" y="17"/>
                </a:lnTo>
                <a:lnTo>
                  <a:pt x="94" y="20"/>
                </a:lnTo>
                <a:lnTo>
                  <a:pt x="94" y="20"/>
                </a:lnTo>
                <a:lnTo>
                  <a:pt x="98" y="20"/>
                </a:lnTo>
                <a:lnTo>
                  <a:pt x="101" y="17"/>
                </a:lnTo>
                <a:lnTo>
                  <a:pt x="103" y="17"/>
                </a:lnTo>
                <a:lnTo>
                  <a:pt x="103" y="15"/>
                </a:lnTo>
                <a:lnTo>
                  <a:pt x="106" y="17"/>
                </a:lnTo>
                <a:lnTo>
                  <a:pt x="106" y="17"/>
                </a:lnTo>
                <a:lnTo>
                  <a:pt x="108" y="17"/>
                </a:lnTo>
                <a:lnTo>
                  <a:pt x="111" y="17"/>
                </a:lnTo>
                <a:lnTo>
                  <a:pt x="113" y="17"/>
                </a:lnTo>
                <a:lnTo>
                  <a:pt x="118" y="17"/>
                </a:lnTo>
                <a:lnTo>
                  <a:pt x="118" y="15"/>
                </a:lnTo>
                <a:lnTo>
                  <a:pt x="118" y="12"/>
                </a:lnTo>
                <a:lnTo>
                  <a:pt x="118" y="12"/>
                </a:lnTo>
                <a:lnTo>
                  <a:pt x="121" y="12"/>
                </a:lnTo>
                <a:lnTo>
                  <a:pt x="123" y="12"/>
                </a:lnTo>
                <a:lnTo>
                  <a:pt x="126" y="15"/>
                </a:lnTo>
                <a:lnTo>
                  <a:pt x="128" y="12"/>
                </a:lnTo>
                <a:lnTo>
                  <a:pt x="130" y="12"/>
                </a:lnTo>
                <a:lnTo>
                  <a:pt x="135" y="10"/>
                </a:lnTo>
                <a:lnTo>
                  <a:pt x="138" y="12"/>
                </a:lnTo>
                <a:lnTo>
                  <a:pt x="140" y="10"/>
                </a:lnTo>
                <a:lnTo>
                  <a:pt x="143" y="10"/>
                </a:lnTo>
                <a:lnTo>
                  <a:pt x="145" y="10"/>
                </a:lnTo>
                <a:lnTo>
                  <a:pt x="148" y="7"/>
                </a:lnTo>
                <a:lnTo>
                  <a:pt x="150" y="5"/>
                </a:lnTo>
                <a:lnTo>
                  <a:pt x="153" y="5"/>
                </a:lnTo>
                <a:lnTo>
                  <a:pt x="155" y="2"/>
                </a:lnTo>
                <a:lnTo>
                  <a:pt x="158" y="2"/>
                </a:lnTo>
                <a:lnTo>
                  <a:pt x="160" y="0"/>
                </a:lnTo>
                <a:lnTo>
                  <a:pt x="160" y="0"/>
                </a:lnTo>
                <a:lnTo>
                  <a:pt x="160" y="2"/>
                </a:lnTo>
                <a:lnTo>
                  <a:pt x="160" y="5"/>
                </a:lnTo>
                <a:lnTo>
                  <a:pt x="160" y="7"/>
                </a:lnTo>
                <a:lnTo>
                  <a:pt x="160" y="7"/>
                </a:lnTo>
                <a:lnTo>
                  <a:pt x="158" y="12"/>
                </a:lnTo>
                <a:lnTo>
                  <a:pt x="158" y="15"/>
                </a:lnTo>
                <a:lnTo>
                  <a:pt x="158" y="15"/>
                </a:lnTo>
                <a:lnTo>
                  <a:pt x="158" y="15"/>
                </a:lnTo>
                <a:lnTo>
                  <a:pt x="155" y="17"/>
                </a:lnTo>
                <a:lnTo>
                  <a:pt x="158" y="22"/>
                </a:lnTo>
                <a:lnTo>
                  <a:pt x="158" y="24"/>
                </a:lnTo>
                <a:lnTo>
                  <a:pt x="158" y="27"/>
                </a:lnTo>
                <a:lnTo>
                  <a:pt x="158" y="29"/>
                </a:lnTo>
                <a:lnTo>
                  <a:pt x="158" y="32"/>
                </a:lnTo>
                <a:lnTo>
                  <a:pt x="160" y="34"/>
                </a:lnTo>
                <a:lnTo>
                  <a:pt x="158" y="37"/>
                </a:lnTo>
                <a:lnTo>
                  <a:pt x="158" y="42"/>
                </a:lnTo>
                <a:lnTo>
                  <a:pt x="158" y="49"/>
                </a:lnTo>
                <a:lnTo>
                  <a:pt x="155" y="49"/>
                </a:lnTo>
                <a:lnTo>
                  <a:pt x="158" y="49"/>
                </a:lnTo>
                <a:lnTo>
                  <a:pt x="158" y="56"/>
                </a:lnTo>
                <a:lnTo>
                  <a:pt x="155" y="56"/>
                </a:lnTo>
                <a:lnTo>
                  <a:pt x="155" y="59"/>
                </a:lnTo>
                <a:lnTo>
                  <a:pt x="155" y="59"/>
                </a:lnTo>
                <a:lnTo>
                  <a:pt x="158" y="59"/>
                </a:lnTo>
                <a:lnTo>
                  <a:pt x="160" y="59"/>
                </a:lnTo>
                <a:lnTo>
                  <a:pt x="160" y="66"/>
                </a:lnTo>
                <a:lnTo>
                  <a:pt x="158" y="69"/>
                </a:lnTo>
                <a:lnTo>
                  <a:pt x="158" y="69"/>
                </a:lnTo>
                <a:lnTo>
                  <a:pt x="158" y="71"/>
                </a:lnTo>
                <a:lnTo>
                  <a:pt x="158" y="71"/>
                </a:lnTo>
                <a:lnTo>
                  <a:pt x="155" y="71"/>
                </a:lnTo>
                <a:lnTo>
                  <a:pt x="153" y="74"/>
                </a:lnTo>
                <a:lnTo>
                  <a:pt x="153" y="76"/>
                </a:lnTo>
                <a:lnTo>
                  <a:pt x="155" y="74"/>
                </a:lnTo>
                <a:lnTo>
                  <a:pt x="155" y="74"/>
                </a:lnTo>
                <a:lnTo>
                  <a:pt x="155" y="76"/>
                </a:lnTo>
                <a:lnTo>
                  <a:pt x="155" y="81"/>
                </a:lnTo>
                <a:lnTo>
                  <a:pt x="153" y="81"/>
                </a:lnTo>
                <a:lnTo>
                  <a:pt x="150" y="84"/>
                </a:lnTo>
                <a:lnTo>
                  <a:pt x="150" y="86"/>
                </a:lnTo>
                <a:lnTo>
                  <a:pt x="145" y="91"/>
                </a:lnTo>
                <a:lnTo>
                  <a:pt x="143" y="91"/>
                </a:lnTo>
                <a:lnTo>
                  <a:pt x="143" y="93"/>
                </a:lnTo>
                <a:lnTo>
                  <a:pt x="133" y="101"/>
                </a:lnTo>
                <a:lnTo>
                  <a:pt x="133" y="101"/>
                </a:lnTo>
                <a:lnTo>
                  <a:pt x="130" y="101"/>
                </a:lnTo>
                <a:lnTo>
                  <a:pt x="121" y="108"/>
                </a:lnTo>
                <a:lnTo>
                  <a:pt x="118" y="106"/>
                </a:lnTo>
                <a:lnTo>
                  <a:pt x="118" y="108"/>
                </a:lnTo>
                <a:lnTo>
                  <a:pt x="113" y="111"/>
                </a:lnTo>
                <a:lnTo>
                  <a:pt x="106" y="113"/>
                </a:lnTo>
                <a:lnTo>
                  <a:pt x="106" y="113"/>
                </a:lnTo>
                <a:lnTo>
                  <a:pt x="106" y="115"/>
                </a:lnTo>
                <a:lnTo>
                  <a:pt x="101" y="118"/>
                </a:lnTo>
                <a:lnTo>
                  <a:pt x="98" y="120"/>
                </a:lnTo>
                <a:lnTo>
                  <a:pt x="98" y="118"/>
                </a:lnTo>
                <a:lnTo>
                  <a:pt x="98" y="120"/>
                </a:lnTo>
                <a:lnTo>
                  <a:pt x="96" y="123"/>
                </a:lnTo>
                <a:lnTo>
                  <a:pt x="96" y="125"/>
                </a:lnTo>
                <a:lnTo>
                  <a:pt x="89" y="128"/>
                </a:lnTo>
                <a:lnTo>
                  <a:pt x="89" y="130"/>
                </a:lnTo>
                <a:lnTo>
                  <a:pt x="86" y="130"/>
                </a:lnTo>
                <a:lnTo>
                  <a:pt x="86" y="130"/>
                </a:lnTo>
                <a:lnTo>
                  <a:pt x="86" y="133"/>
                </a:lnTo>
                <a:lnTo>
                  <a:pt x="81" y="133"/>
                </a:lnTo>
                <a:lnTo>
                  <a:pt x="74" y="140"/>
                </a:lnTo>
                <a:lnTo>
                  <a:pt x="74" y="143"/>
                </a:lnTo>
                <a:lnTo>
                  <a:pt x="71" y="145"/>
                </a:lnTo>
                <a:lnTo>
                  <a:pt x="69" y="145"/>
                </a:lnTo>
                <a:lnTo>
                  <a:pt x="67" y="147"/>
                </a:lnTo>
                <a:lnTo>
                  <a:pt x="64" y="145"/>
                </a:lnTo>
                <a:lnTo>
                  <a:pt x="62" y="145"/>
                </a:lnTo>
                <a:lnTo>
                  <a:pt x="62" y="147"/>
                </a:lnTo>
                <a:lnTo>
                  <a:pt x="64" y="147"/>
                </a:lnTo>
                <a:lnTo>
                  <a:pt x="64" y="150"/>
                </a:lnTo>
                <a:lnTo>
                  <a:pt x="62" y="152"/>
                </a:lnTo>
                <a:lnTo>
                  <a:pt x="62" y="155"/>
                </a:lnTo>
                <a:lnTo>
                  <a:pt x="62" y="157"/>
                </a:lnTo>
                <a:lnTo>
                  <a:pt x="67" y="162"/>
                </a:lnTo>
                <a:lnTo>
                  <a:pt x="67" y="165"/>
                </a:lnTo>
                <a:lnTo>
                  <a:pt x="64" y="167"/>
                </a:lnTo>
                <a:lnTo>
                  <a:pt x="64" y="167"/>
                </a:lnTo>
                <a:lnTo>
                  <a:pt x="67" y="170"/>
                </a:lnTo>
                <a:lnTo>
                  <a:pt x="67" y="175"/>
                </a:lnTo>
                <a:lnTo>
                  <a:pt x="69" y="177"/>
                </a:lnTo>
                <a:lnTo>
                  <a:pt x="69" y="187"/>
                </a:lnTo>
                <a:lnTo>
                  <a:pt x="69" y="189"/>
                </a:lnTo>
                <a:lnTo>
                  <a:pt x="69" y="189"/>
                </a:lnTo>
                <a:lnTo>
                  <a:pt x="69" y="187"/>
                </a:lnTo>
                <a:lnTo>
                  <a:pt x="71" y="184"/>
                </a:lnTo>
                <a:lnTo>
                  <a:pt x="71" y="187"/>
                </a:lnTo>
                <a:lnTo>
                  <a:pt x="74" y="187"/>
                </a:lnTo>
                <a:lnTo>
                  <a:pt x="71" y="192"/>
                </a:lnTo>
                <a:lnTo>
                  <a:pt x="71" y="192"/>
                </a:lnTo>
                <a:lnTo>
                  <a:pt x="71" y="197"/>
                </a:lnTo>
                <a:lnTo>
                  <a:pt x="71" y="197"/>
                </a:lnTo>
                <a:lnTo>
                  <a:pt x="69" y="202"/>
                </a:lnTo>
                <a:lnTo>
                  <a:pt x="69" y="204"/>
                </a:lnTo>
                <a:lnTo>
                  <a:pt x="69" y="206"/>
                </a:lnTo>
                <a:lnTo>
                  <a:pt x="69" y="209"/>
                </a:lnTo>
                <a:lnTo>
                  <a:pt x="67" y="209"/>
                </a:lnTo>
                <a:lnTo>
                  <a:pt x="69" y="211"/>
                </a:lnTo>
                <a:lnTo>
                  <a:pt x="71" y="211"/>
                </a:lnTo>
                <a:lnTo>
                  <a:pt x="71" y="211"/>
                </a:lnTo>
                <a:lnTo>
                  <a:pt x="69" y="216"/>
                </a:lnTo>
                <a:lnTo>
                  <a:pt x="69" y="219"/>
                </a:lnTo>
                <a:lnTo>
                  <a:pt x="62" y="226"/>
                </a:lnTo>
                <a:lnTo>
                  <a:pt x="52" y="231"/>
                </a:lnTo>
                <a:lnTo>
                  <a:pt x="39" y="234"/>
                </a:lnTo>
                <a:lnTo>
                  <a:pt x="35" y="238"/>
                </a:lnTo>
                <a:lnTo>
                  <a:pt x="30" y="238"/>
                </a:lnTo>
                <a:lnTo>
                  <a:pt x="30" y="241"/>
                </a:lnTo>
                <a:lnTo>
                  <a:pt x="27" y="241"/>
                </a:lnTo>
                <a:lnTo>
                  <a:pt x="25" y="246"/>
                </a:lnTo>
                <a:lnTo>
                  <a:pt x="25" y="246"/>
                </a:lnTo>
                <a:lnTo>
                  <a:pt x="22" y="246"/>
                </a:lnTo>
                <a:lnTo>
                  <a:pt x="22" y="248"/>
                </a:lnTo>
                <a:lnTo>
                  <a:pt x="25" y="251"/>
                </a:lnTo>
                <a:lnTo>
                  <a:pt x="25" y="253"/>
                </a:lnTo>
                <a:lnTo>
                  <a:pt x="25" y="251"/>
                </a:lnTo>
                <a:lnTo>
                  <a:pt x="27" y="253"/>
                </a:lnTo>
                <a:lnTo>
                  <a:pt x="30" y="248"/>
                </a:lnTo>
                <a:lnTo>
                  <a:pt x="30" y="248"/>
                </a:lnTo>
                <a:lnTo>
                  <a:pt x="30" y="251"/>
                </a:lnTo>
                <a:lnTo>
                  <a:pt x="30" y="256"/>
                </a:lnTo>
                <a:lnTo>
                  <a:pt x="27" y="258"/>
                </a:lnTo>
                <a:lnTo>
                  <a:pt x="27" y="261"/>
                </a:lnTo>
                <a:lnTo>
                  <a:pt x="25" y="261"/>
                </a:lnTo>
                <a:lnTo>
                  <a:pt x="20" y="258"/>
                </a:lnTo>
                <a:lnTo>
                  <a:pt x="17" y="258"/>
                </a:lnTo>
                <a:lnTo>
                  <a:pt x="17" y="258"/>
                </a:lnTo>
                <a:lnTo>
                  <a:pt x="17" y="256"/>
                </a:lnTo>
                <a:lnTo>
                  <a:pt x="17" y="253"/>
                </a:lnTo>
                <a:lnTo>
                  <a:pt x="20" y="253"/>
                </a:lnTo>
                <a:lnTo>
                  <a:pt x="17" y="251"/>
                </a:lnTo>
                <a:lnTo>
                  <a:pt x="15" y="248"/>
                </a:lnTo>
                <a:lnTo>
                  <a:pt x="15" y="248"/>
                </a:lnTo>
                <a:lnTo>
                  <a:pt x="15" y="248"/>
                </a:lnTo>
                <a:lnTo>
                  <a:pt x="15" y="241"/>
                </a:lnTo>
                <a:lnTo>
                  <a:pt x="15" y="238"/>
                </a:lnTo>
                <a:lnTo>
                  <a:pt x="15" y="234"/>
                </a:lnTo>
                <a:lnTo>
                  <a:pt x="15" y="221"/>
                </a:lnTo>
                <a:lnTo>
                  <a:pt x="15" y="216"/>
                </a:lnTo>
                <a:lnTo>
                  <a:pt x="12" y="214"/>
                </a:lnTo>
                <a:lnTo>
                  <a:pt x="12" y="211"/>
                </a:lnTo>
                <a:lnTo>
                  <a:pt x="15" y="211"/>
                </a:lnTo>
                <a:lnTo>
                  <a:pt x="15" y="204"/>
                </a:lnTo>
                <a:lnTo>
                  <a:pt x="12" y="199"/>
                </a:lnTo>
                <a:lnTo>
                  <a:pt x="10" y="194"/>
                </a:lnTo>
                <a:lnTo>
                  <a:pt x="10" y="192"/>
                </a:lnTo>
                <a:lnTo>
                  <a:pt x="10" y="192"/>
                </a:lnTo>
                <a:lnTo>
                  <a:pt x="10" y="19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Freeform 159"/>
          <p:cNvSpPr>
            <a:spLocks/>
          </p:cNvSpPr>
          <p:nvPr/>
        </p:nvSpPr>
        <p:spPr bwMode="auto">
          <a:xfrm>
            <a:off x="5509160" y="5071471"/>
            <a:ext cx="35881" cy="38401"/>
          </a:xfrm>
          <a:custGeom>
            <a:avLst/>
            <a:gdLst/>
            <a:ahLst/>
            <a:cxnLst>
              <a:cxn ang="0">
                <a:pos x="17" y="7"/>
              </a:cxn>
              <a:cxn ang="0">
                <a:pos x="17" y="7"/>
              </a:cxn>
              <a:cxn ang="0">
                <a:pos x="17" y="7"/>
              </a:cxn>
              <a:cxn ang="0">
                <a:pos x="19" y="10"/>
              </a:cxn>
              <a:cxn ang="0">
                <a:pos x="22" y="12"/>
              </a:cxn>
              <a:cxn ang="0">
                <a:pos x="19" y="12"/>
              </a:cxn>
              <a:cxn ang="0">
                <a:pos x="19" y="15"/>
              </a:cxn>
              <a:cxn ang="0">
                <a:pos x="19" y="17"/>
              </a:cxn>
              <a:cxn ang="0">
                <a:pos x="19" y="17"/>
              </a:cxn>
              <a:cxn ang="0">
                <a:pos x="19" y="20"/>
              </a:cxn>
              <a:cxn ang="0">
                <a:pos x="17" y="20"/>
              </a:cxn>
              <a:cxn ang="0">
                <a:pos x="17" y="22"/>
              </a:cxn>
              <a:cxn ang="0">
                <a:pos x="17" y="25"/>
              </a:cxn>
              <a:cxn ang="0">
                <a:pos x="14" y="25"/>
              </a:cxn>
              <a:cxn ang="0">
                <a:pos x="7" y="25"/>
              </a:cxn>
              <a:cxn ang="0">
                <a:pos x="2" y="22"/>
              </a:cxn>
              <a:cxn ang="0">
                <a:pos x="2" y="20"/>
              </a:cxn>
              <a:cxn ang="0">
                <a:pos x="0" y="17"/>
              </a:cxn>
              <a:cxn ang="0">
                <a:pos x="0" y="15"/>
              </a:cxn>
              <a:cxn ang="0">
                <a:pos x="0" y="12"/>
              </a:cxn>
              <a:cxn ang="0">
                <a:pos x="5" y="5"/>
              </a:cxn>
              <a:cxn ang="0">
                <a:pos x="5" y="2"/>
              </a:cxn>
              <a:cxn ang="0">
                <a:pos x="7" y="0"/>
              </a:cxn>
              <a:cxn ang="0">
                <a:pos x="12" y="2"/>
              </a:cxn>
              <a:cxn ang="0">
                <a:pos x="14" y="5"/>
              </a:cxn>
              <a:cxn ang="0">
                <a:pos x="17" y="7"/>
              </a:cxn>
              <a:cxn ang="0">
                <a:pos x="17" y="7"/>
              </a:cxn>
              <a:cxn ang="0">
                <a:pos x="17" y="7"/>
              </a:cxn>
            </a:cxnLst>
            <a:rect l="0" t="0" r="r" b="b"/>
            <a:pathLst>
              <a:path w="22" h="25">
                <a:moveTo>
                  <a:pt x="17" y="7"/>
                </a:moveTo>
                <a:lnTo>
                  <a:pt x="17" y="7"/>
                </a:lnTo>
                <a:lnTo>
                  <a:pt x="17" y="7"/>
                </a:lnTo>
                <a:lnTo>
                  <a:pt x="19" y="10"/>
                </a:lnTo>
                <a:lnTo>
                  <a:pt x="22" y="12"/>
                </a:lnTo>
                <a:lnTo>
                  <a:pt x="19" y="12"/>
                </a:lnTo>
                <a:lnTo>
                  <a:pt x="19" y="15"/>
                </a:lnTo>
                <a:lnTo>
                  <a:pt x="19" y="17"/>
                </a:lnTo>
                <a:lnTo>
                  <a:pt x="19" y="17"/>
                </a:lnTo>
                <a:lnTo>
                  <a:pt x="19" y="20"/>
                </a:lnTo>
                <a:lnTo>
                  <a:pt x="17" y="20"/>
                </a:lnTo>
                <a:lnTo>
                  <a:pt x="17" y="22"/>
                </a:lnTo>
                <a:lnTo>
                  <a:pt x="17" y="25"/>
                </a:lnTo>
                <a:lnTo>
                  <a:pt x="14" y="25"/>
                </a:lnTo>
                <a:lnTo>
                  <a:pt x="7" y="25"/>
                </a:lnTo>
                <a:lnTo>
                  <a:pt x="2" y="22"/>
                </a:lnTo>
                <a:lnTo>
                  <a:pt x="2" y="20"/>
                </a:lnTo>
                <a:lnTo>
                  <a:pt x="0" y="17"/>
                </a:lnTo>
                <a:lnTo>
                  <a:pt x="0" y="15"/>
                </a:lnTo>
                <a:lnTo>
                  <a:pt x="0" y="12"/>
                </a:lnTo>
                <a:lnTo>
                  <a:pt x="5" y="5"/>
                </a:lnTo>
                <a:lnTo>
                  <a:pt x="5" y="2"/>
                </a:lnTo>
                <a:lnTo>
                  <a:pt x="7" y="0"/>
                </a:lnTo>
                <a:lnTo>
                  <a:pt x="12" y="2"/>
                </a:lnTo>
                <a:lnTo>
                  <a:pt x="14" y="5"/>
                </a:lnTo>
                <a:lnTo>
                  <a:pt x="17" y="7"/>
                </a:lnTo>
                <a:lnTo>
                  <a:pt x="17" y="7"/>
                </a:lnTo>
                <a:lnTo>
                  <a:pt x="17"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Freeform 160"/>
          <p:cNvSpPr>
            <a:spLocks noEditPoints="1"/>
          </p:cNvSpPr>
          <p:nvPr/>
        </p:nvSpPr>
        <p:spPr bwMode="auto">
          <a:xfrm>
            <a:off x="5147087" y="4983916"/>
            <a:ext cx="409371" cy="328712"/>
          </a:xfrm>
          <a:custGeom>
            <a:avLst/>
            <a:gdLst/>
            <a:ahLst/>
            <a:cxnLst>
              <a:cxn ang="0">
                <a:pos x="5" y="101"/>
              </a:cxn>
              <a:cxn ang="0">
                <a:pos x="15" y="104"/>
              </a:cxn>
              <a:cxn ang="0">
                <a:pos x="30" y="111"/>
              </a:cxn>
              <a:cxn ang="0">
                <a:pos x="40" y="111"/>
              </a:cxn>
              <a:cxn ang="0">
                <a:pos x="45" y="104"/>
              </a:cxn>
              <a:cxn ang="0">
                <a:pos x="64" y="50"/>
              </a:cxn>
              <a:cxn ang="0">
                <a:pos x="67" y="74"/>
              </a:cxn>
              <a:cxn ang="0">
                <a:pos x="84" y="74"/>
              </a:cxn>
              <a:cxn ang="0">
                <a:pos x="99" y="64"/>
              </a:cxn>
              <a:cxn ang="0">
                <a:pos x="116" y="54"/>
              </a:cxn>
              <a:cxn ang="0">
                <a:pos x="131" y="59"/>
              </a:cxn>
              <a:cxn ang="0">
                <a:pos x="143" y="59"/>
              </a:cxn>
              <a:cxn ang="0">
                <a:pos x="145" y="47"/>
              </a:cxn>
              <a:cxn ang="0">
                <a:pos x="155" y="40"/>
              </a:cxn>
              <a:cxn ang="0">
                <a:pos x="163" y="35"/>
              </a:cxn>
              <a:cxn ang="0">
                <a:pos x="168" y="20"/>
              </a:cxn>
              <a:cxn ang="0">
                <a:pos x="175" y="15"/>
              </a:cxn>
              <a:cxn ang="0">
                <a:pos x="187" y="10"/>
              </a:cxn>
              <a:cxn ang="0">
                <a:pos x="195" y="5"/>
              </a:cxn>
              <a:cxn ang="0">
                <a:pos x="207" y="0"/>
              </a:cxn>
              <a:cxn ang="0">
                <a:pos x="219" y="5"/>
              </a:cxn>
              <a:cxn ang="0">
                <a:pos x="234" y="10"/>
              </a:cxn>
              <a:cxn ang="0">
                <a:pos x="236" y="30"/>
              </a:cxn>
              <a:cxn ang="0">
                <a:pos x="239" y="57"/>
              </a:cxn>
              <a:cxn ang="0">
                <a:pos x="227" y="59"/>
              </a:cxn>
              <a:cxn ang="0">
                <a:pos x="224" y="77"/>
              </a:cxn>
              <a:cxn ang="0">
                <a:pos x="239" y="79"/>
              </a:cxn>
              <a:cxn ang="0">
                <a:pos x="251" y="77"/>
              </a:cxn>
              <a:cxn ang="0">
                <a:pos x="249" y="89"/>
              </a:cxn>
              <a:cxn ang="0">
                <a:pos x="236" y="111"/>
              </a:cxn>
              <a:cxn ang="0">
                <a:pos x="227" y="118"/>
              </a:cxn>
              <a:cxn ang="0">
                <a:pos x="217" y="131"/>
              </a:cxn>
              <a:cxn ang="0">
                <a:pos x="199" y="155"/>
              </a:cxn>
              <a:cxn ang="0">
                <a:pos x="177" y="177"/>
              </a:cxn>
              <a:cxn ang="0">
                <a:pos x="158" y="190"/>
              </a:cxn>
              <a:cxn ang="0">
                <a:pos x="143" y="195"/>
              </a:cxn>
              <a:cxn ang="0">
                <a:pos x="136" y="202"/>
              </a:cxn>
              <a:cxn ang="0">
                <a:pos x="123" y="204"/>
              </a:cxn>
              <a:cxn ang="0">
                <a:pos x="101" y="200"/>
              </a:cxn>
              <a:cxn ang="0">
                <a:pos x="84" y="202"/>
              </a:cxn>
              <a:cxn ang="0">
                <a:pos x="76" y="207"/>
              </a:cxn>
              <a:cxn ang="0">
                <a:pos x="62" y="207"/>
              </a:cxn>
              <a:cxn ang="0">
                <a:pos x="49" y="212"/>
              </a:cxn>
              <a:cxn ang="0">
                <a:pos x="35" y="204"/>
              </a:cxn>
              <a:cxn ang="0">
                <a:pos x="27" y="202"/>
              </a:cxn>
              <a:cxn ang="0">
                <a:pos x="25" y="200"/>
              </a:cxn>
              <a:cxn ang="0">
                <a:pos x="17" y="180"/>
              </a:cxn>
              <a:cxn ang="0">
                <a:pos x="25" y="175"/>
              </a:cxn>
              <a:cxn ang="0">
                <a:pos x="20" y="150"/>
              </a:cxn>
              <a:cxn ang="0">
                <a:pos x="8" y="113"/>
              </a:cxn>
              <a:cxn ang="0">
                <a:pos x="0" y="106"/>
              </a:cxn>
              <a:cxn ang="0">
                <a:pos x="177" y="141"/>
              </a:cxn>
              <a:cxn ang="0">
                <a:pos x="185" y="133"/>
              </a:cxn>
              <a:cxn ang="0">
                <a:pos x="192" y="126"/>
              </a:cxn>
              <a:cxn ang="0">
                <a:pos x="195" y="111"/>
              </a:cxn>
              <a:cxn ang="0">
                <a:pos x="182" y="109"/>
              </a:cxn>
              <a:cxn ang="0">
                <a:pos x="172" y="113"/>
              </a:cxn>
              <a:cxn ang="0">
                <a:pos x="163" y="126"/>
              </a:cxn>
              <a:cxn ang="0">
                <a:pos x="165" y="136"/>
              </a:cxn>
            </a:cxnLst>
            <a:rect l="0" t="0" r="r" b="b"/>
            <a:pathLst>
              <a:path w="251" h="214">
                <a:moveTo>
                  <a:pt x="0" y="106"/>
                </a:moveTo>
                <a:lnTo>
                  <a:pt x="3" y="104"/>
                </a:lnTo>
                <a:lnTo>
                  <a:pt x="8" y="104"/>
                </a:lnTo>
                <a:lnTo>
                  <a:pt x="8" y="101"/>
                </a:lnTo>
                <a:lnTo>
                  <a:pt x="5" y="101"/>
                </a:lnTo>
                <a:lnTo>
                  <a:pt x="8" y="99"/>
                </a:lnTo>
                <a:lnTo>
                  <a:pt x="10" y="96"/>
                </a:lnTo>
                <a:lnTo>
                  <a:pt x="13" y="99"/>
                </a:lnTo>
                <a:lnTo>
                  <a:pt x="15" y="99"/>
                </a:lnTo>
                <a:lnTo>
                  <a:pt x="15" y="104"/>
                </a:lnTo>
                <a:lnTo>
                  <a:pt x="17" y="109"/>
                </a:lnTo>
                <a:lnTo>
                  <a:pt x="22" y="109"/>
                </a:lnTo>
                <a:lnTo>
                  <a:pt x="25" y="111"/>
                </a:lnTo>
                <a:lnTo>
                  <a:pt x="27" y="111"/>
                </a:lnTo>
                <a:lnTo>
                  <a:pt x="30" y="111"/>
                </a:lnTo>
                <a:lnTo>
                  <a:pt x="32" y="111"/>
                </a:lnTo>
                <a:lnTo>
                  <a:pt x="32" y="111"/>
                </a:lnTo>
                <a:lnTo>
                  <a:pt x="35" y="111"/>
                </a:lnTo>
                <a:lnTo>
                  <a:pt x="37" y="111"/>
                </a:lnTo>
                <a:lnTo>
                  <a:pt x="40" y="111"/>
                </a:lnTo>
                <a:lnTo>
                  <a:pt x="40" y="113"/>
                </a:lnTo>
                <a:lnTo>
                  <a:pt x="40" y="109"/>
                </a:lnTo>
                <a:lnTo>
                  <a:pt x="42" y="109"/>
                </a:lnTo>
                <a:lnTo>
                  <a:pt x="45" y="106"/>
                </a:lnTo>
                <a:lnTo>
                  <a:pt x="45" y="104"/>
                </a:lnTo>
                <a:lnTo>
                  <a:pt x="49" y="101"/>
                </a:lnTo>
                <a:lnTo>
                  <a:pt x="54" y="101"/>
                </a:lnTo>
                <a:lnTo>
                  <a:pt x="57" y="101"/>
                </a:lnTo>
                <a:lnTo>
                  <a:pt x="59" y="47"/>
                </a:lnTo>
                <a:lnTo>
                  <a:pt x="64" y="50"/>
                </a:lnTo>
                <a:lnTo>
                  <a:pt x="64" y="54"/>
                </a:lnTo>
                <a:lnTo>
                  <a:pt x="69" y="62"/>
                </a:lnTo>
                <a:lnTo>
                  <a:pt x="69" y="67"/>
                </a:lnTo>
                <a:lnTo>
                  <a:pt x="67" y="72"/>
                </a:lnTo>
                <a:lnTo>
                  <a:pt x="67" y="74"/>
                </a:lnTo>
                <a:lnTo>
                  <a:pt x="72" y="74"/>
                </a:lnTo>
                <a:lnTo>
                  <a:pt x="74" y="74"/>
                </a:lnTo>
                <a:lnTo>
                  <a:pt x="76" y="74"/>
                </a:lnTo>
                <a:lnTo>
                  <a:pt x="81" y="74"/>
                </a:lnTo>
                <a:lnTo>
                  <a:pt x="84" y="74"/>
                </a:lnTo>
                <a:lnTo>
                  <a:pt x="86" y="72"/>
                </a:lnTo>
                <a:lnTo>
                  <a:pt x="89" y="69"/>
                </a:lnTo>
                <a:lnTo>
                  <a:pt x="91" y="69"/>
                </a:lnTo>
                <a:lnTo>
                  <a:pt x="96" y="67"/>
                </a:lnTo>
                <a:lnTo>
                  <a:pt x="99" y="64"/>
                </a:lnTo>
                <a:lnTo>
                  <a:pt x="101" y="57"/>
                </a:lnTo>
                <a:lnTo>
                  <a:pt x="106" y="54"/>
                </a:lnTo>
                <a:lnTo>
                  <a:pt x="108" y="52"/>
                </a:lnTo>
                <a:lnTo>
                  <a:pt x="113" y="54"/>
                </a:lnTo>
                <a:lnTo>
                  <a:pt x="116" y="54"/>
                </a:lnTo>
                <a:lnTo>
                  <a:pt x="118" y="57"/>
                </a:lnTo>
                <a:lnTo>
                  <a:pt x="123" y="59"/>
                </a:lnTo>
                <a:lnTo>
                  <a:pt x="126" y="59"/>
                </a:lnTo>
                <a:lnTo>
                  <a:pt x="128" y="59"/>
                </a:lnTo>
                <a:lnTo>
                  <a:pt x="131" y="59"/>
                </a:lnTo>
                <a:lnTo>
                  <a:pt x="136" y="59"/>
                </a:lnTo>
                <a:lnTo>
                  <a:pt x="138" y="59"/>
                </a:lnTo>
                <a:lnTo>
                  <a:pt x="138" y="59"/>
                </a:lnTo>
                <a:lnTo>
                  <a:pt x="140" y="62"/>
                </a:lnTo>
                <a:lnTo>
                  <a:pt x="143" y="59"/>
                </a:lnTo>
                <a:lnTo>
                  <a:pt x="143" y="57"/>
                </a:lnTo>
                <a:lnTo>
                  <a:pt x="143" y="54"/>
                </a:lnTo>
                <a:lnTo>
                  <a:pt x="143" y="52"/>
                </a:lnTo>
                <a:lnTo>
                  <a:pt x="145" y="52"/>
                </a:lnTo>
                <a:lnTo>
                  <a:pt x="145" y="47"/>
                </a:lnTo>
                <a:lnTo>
                  <a:pt x="145" y="45"/>
                </a:lnTo>
                <a:lnTo>
                  <a:pt x="150" y="45"/>
                </a:lnTo>
                <a:lnTo>
                  <a:pt x="153" y="42"/>
                </a:lnTo>
                <a:lnTo>
                  <a:pt x="155" y="42"/>
                </a:lnTo>
                <a:lnTo>
                  <a:pt x="155" y="40"/>
                </a:lnTo>
                <a:lnTo>
                  <a:pt x="155" y="40"/>
                </a:lnTo>
                <a:lnTo>
                  <a:pt x="158" y="37"/>
                </a:lnTo>
                <a:lnTo>
                  <a:pt x="158" y="37"/>
                </a:lnTo>
                <a:lnTo>
                  <a:pt x="160" y="35"/>
                </a:lnTo>
                <a:lnTo>
                  <a:pt x="163" y="35"/>
                </a:lnTo>
                <a:lnTo>
                  <a:pt x="163" y="35"/>
                </a:lnTo>
                <a:lnTo>
                  <a:pt x="163" y="32"/>
                </a:lnTo>
                <a:lnTo>
                  <a:pt x="163" y="30"/>
                </a:lnTo>
                <a:lnTo>
                  <a:pt x="163" y="27"/>
                </a:lnTo>
                <a:lnTo>
                  <a:pt x="168" y="20"/>
                </a:lnTo>
                <a:lnTo>
                  <a:pt x="170" y="20"/>
                </a:lnTo>
                <a:lnTo>
                  <a:pt x="172" y="20"/>
                </a:lnTo>
                <a:lnTo>
                  <a:pt x="172" y="18"/>
                </a:lnTo>
                <a:lnTo>
                  <a:pt x="175" y="18"/>
                </a:lnTo>
                <a:lnTo>
                  <a:pt x="175" y="15"/>
                </a:lnTo>
                <a:lnTo>
                  <a:pt x="177" y="15"/>
                </a:lnTo>
                <a:lnTo>
                  <a:pt x="180" y="13"/>
                </a:lnTo>
                <a:lnTo>
                  <a:pt x="182" y="10"/>
                </a:lnTo>
                <a:lnTo>
                  <a:pt x="185" y="10"/>
                </a:lnTo>
                <a:lnTo>
                  <a:pt x="187" y="10"/>
                </a:lnTo>
                <a:lnTo>
                  <a:pt x="187" y="10"/>
                </a:lnTo>
                <a:lnTo>
                  <a:pt x="190" y="10"/>
                </a:lnTo>
                <a:lnTo>
                  <a:pt x="192" y="8"/>
                </a:lnTo>
                <a:lnTo>
                  <a:pt x="195" y="8"/>
                </a:lnTo>
                <a:lnTo>
                  <a:pt x="195" y="5"/>
                </a:lnTo>
                <a:lnTo>
                  <a:pt x="195" y="3"/>
                </a:lnTo>
                <a:lnTo>
                  <a:pt x="197" y="3"/>
                </a:lnTo>
                <a:lnTo>
                  <a:pt x="199" y="3"/>
                </a:lnTo>
                <a:lnTo>
                  <a:pt x="202" y="0"/>
                </a:lnTo>
                <a:lnTo>
                  <a:pt x="207" y="0"/>
                </a:lnTo>
                <a:lnTo>
                  <a:pt x="212" y="0"/>
                </a:lnTo>
                <a:lnTo>
                  <a:pt x="212" y="3"/>
                </a:lnTo>
                <a:lnTo>
                  <a:pt x="214" y="3"/>
                </a:lnTo>
                <a:lnTo>
                  <a:pt x="219" y="5"/>
                </a:lnTo>
                <a:lnTo>
                  <a:pt x="219" y="5"/>
                </a:lnTo>
                <a:lnTo>
                  <a:pt x="222" y="5"/>
                </a:lnTo>
                <a:lnTo>
                  <a:pt x="227" y="3"/>
                </a:lnTo>
                <a:lnTo>
                  <a:pt x="231" y="5"/>
                </a:lnTo>
                <a:lnTo>
                  <a:pt x="234" y="8"/>
                </a:lnTo>
                <a:lnTo>
                  <a:pt x="234" y="10"/>
                </a:lnTo>
                <a:lnTo>
                  <a:pt x="236" y="15"/>
                </a:lnTo>
                <a:lnTo>
                  <a:pt x="239" y="20"/>
                </a:lnTo>
                <a:lnTo>
                  <a:pt x="239" y="27"/>
                </a:lnTo>
                <a:lnTo>
                  <a:pt x="236" y="27"/>
                </a:lnTo>
                <a:lnTo>
                  <a:pt x="236" y="30"/>
                </a:lnTo>
                <a:lnTo>
                  <a:pt x="239" y="32"/>
                </a:lnTo>
                <a:lnTo>
                  <a:pt x="239" y="37"/>
                </a:lnTo>
                <a:lnTo>
                  <a:pt x="239" y="50"/>
                </a:lnTo>
                <a:lnTo>
                  <a:pt x="239" y="54"/>
                </a:lnTo>
                <a:lnTo>
                  <a:pt x="239" y="57"/>
                </a:lnTo>
                <a:lnTo>
                  <a:pt x="239" y="64"/>
                </a:lnTo>
                <a:lnTo>
                  <a:pt x="236" y="62"/>
                </a:lnTo>
                <a:lnTo>
                  <a:pt x="234" y="59"/>
                </a:lnTo>
                <a:lnTo>
                  <a:pt x="229" y="57"/>
                </a:lnTo>
                <a:lnTo>
                  <a:pt x="227" y="59"/>
                </a:lnTo>
                <a:lnTo>
                  <a:pt x="227" y="62"/>
                </a:lnTo>
                <a:lnTo>
                  <a:pt x="222" y="69"/>
                </a:lnTo>
                <a:lnTo>
                  <a:pt x="222" y="72"/>
                </a:lnTo>
                <a:lnTo>
                  <a:pt x="222" y="74"/>
                </a:lnTo>
                <a:lnTo>
                  <a:pt x="224" y="77"/>
                </a:lnTo>
                <a:lnTo>
                  <a:pt x="224" y="79"/>
                </a:lnTo>
                <a:lnTo>
                  <a:pt x="229" y="82"/>
                </a:lnTo>
                <a:lnTo>
                  <a:pt x="236" y="82"/>
                </a:lnTo>
                <a:lnTo>
                  <a:pt x="239" y="82"/>
                </a:lnTo>
                <a:lnTo>
                  <a:pt x="239" y="79"/>
                </a:lnTo>
                <a:lnTo>
                  <a:pt x="239" y="77"/>
                </a:lnTo>
                <a:lnTo>
                  <a:pt x="241" y="77"/>
                </a:lnTo>
                <a:lnTo>
                  <a:pt x="244" y="74"/>
                </a:lnTo>
                <a:lnTo>
                  <a:pt x="249" y="77"/>
                </a:lnTo>
                <a:lnTo>
                  <a:pt x="251" y="77"/>
                </a:lnTo>
                <a:lnTo>
                  <a:pt x="251" y="77"/>
                </a:lnTo>
                <a:lnTo>
                  <a:pt x="249" y="79"/>
                </a:lnTo>
                <a:lnTo>
                  <a:pt x="251" y="79"/>
                </a:lnTo>
                <a:lnTo>
                  <a:pt x="249" y="86"/>
                </a:lnTo>
                <a:lnTo>
                  <a:pt x="249" y="89"/>
                </a:lnTo>
                <a:lnTo>
                  <a:pt x="246" y="94"/>
                </a:lnTo>
                <a:lnTo>
                  <a:pt x="244" y="101"/>
                </a:lnTo>
                <a:lnTo>
                  <a:pt x="241" y="104"/>
                </a:lnTo>
                <a:lnTo>
                  <a:pt x="241" y="106"/>
                </a:lnTo>
                <a:lnTo>
                  <a:pt x="236" y="111"/>
                </a:lnTo>
                <a:lnTo>
                  <a:pt x="236" y="111"/>
                </a:lnTo>
                <a:lnTo>
                  <a:pt x="234" y="113"/>
                </a:lnTo>
                <a:lnTo>
                  <a:pt x="231" y="113"/>
                </a:lnTo>
                <a:lnTo>
                  <a:pt x="231" y="116"/>
                </a:lnTo>
                <a:lnTo>
                  <a:pt x="227" y="118"/>
                </a:lnTo>
                <a:lnTo>
                  <a:pt x="224" y="121"/>
                </a:lnTo>
                <a:lnTo>
                  <a:pt x="222" y="126"/>
                </a:lnTo>
                <a:lnTo>
                  <a:pt x="222" y="126"/>
                </a:lnTo>
                <a:lnTo>
                  <a:pt x="219" y="131"/>
                </a:lnTo>
                <a:lnTo>
                  <a:pt x="217" y="131"/>
                </a:lnTo>
                <a:lnTo>
                  <a:pt x="214" y="136"/>
                </a:lnTo>
                <a:lnTo>
                  <a:pt x="209" y="145"/>
                </a:lnTo>
                <a:lnTo>
                  <a:pt x="204" y="150"/>
                </a:lnTo>
                <a:lnTo>
                  <a:pt x="202" y="155"/>
                </a:lnTo>
                <a:lnTo>
                  <a:pt x="199" y="155"/>
                </a:lnTo>
                <a:lnTo>
                  <a:pt x="197" y="158"/>
                </a:lnTo>
                <a:lnTo>
                  <a:pt x="195" y="158"/>
                </a:lnTo>
                <a:lnTo>
                  <a:pt x="195" y="160"/>
                </a:lnTo>
                <a:lnTo>
                  <a:pt x="177" y="175"/>
                </a:lnTo>
                <a:lnTo>
                  <a:pt x="177" y="177"/>
                </a:lnTo>
                <a:lnTo>
                  <a:pt x="177" y="177"/>
                </a:lnTo>
                <a:lnTo>
                  <a:pt x="175" y="180"/>
                </a:lnTo>
                <a:lnTo>
                  <a:pt x="163" y="187"/>
                </a:lnTo>
                <a:lnTo>
                  <a:pt x="160" y="190"/>
                </a:lnTo>
                <a:lnTo>
                  <a:pt x="158" y="190"/>
                </a:lnTo>
                <a:lnTo>
                  <a:pt x="158" y="192"/>
                </a:lnTo>
                <a:lnTo>
                  <a:pt x="150" y="192"/>
                </a:lnTo>
                <a:lnTo>
                  <a:pt x="148" y="195"/>
                </a:lnTo>
                <a:lnTo>
                  <a:pt x="145" y="195"/>
                </a:lnTo>
                <a:lnTo>
                  <a:pt x="143" y="195"/>
                </a:lnTo>
                <a:lnTo>
                  <a:pt x="138" y="195"/>
                </a:lnTo>
                <a:lnTo>
                  <a:pt x="136" y="195"/>
                </a:lnTo>
                <a:lnTo>
                  <a:pt x="133" y="200"/>
                </a:lnTo>
                <a:lnTo>
                  <a:pt x="136" y="200"/>
                </a:lnTo>
                <a:lnTo>
                  <a:pt x="136" y="202"/>
                </a:lnTo>
                <a:lnTo>
                  <a:pt x="131" y="202"/>
                </a:lnTo>
                <a:lnTo>
                  <a:pt x="126" y="200"/>
                </a:lnTo>
                <a:lnTo>
                  <a:pt x="123" y="200"/>
                </a:lnTo>
                <a:lnTo>
                  <a:pt x="121" y="202"/>
                </a:lnTo>
                <a:lnTo>
                  <a:pt x="123" y="204"/>
                </a:lnTo>
                <a:lnTo>
                  <a:pt x="121" y="204"/>
                </a:lnTo>
                <a:lnTo>
                  <a:pt x="113" y="202"/>
                </a:lnTo>
                <a:lnTo>
                  <a:pt x="111" y="202"/>
                </a:lnTo>
                <a:lnTo>
                  <a:pt x="106" y="200"/>
                </a:lnTo>
                <a:lnTo>
                  <a:pt x="101" y="200"/>
                </a:lnTo>
                <a:lnTo>
                  <a:pt x="101" y="202"/>
                </a:lnTo>
                <a:lnTo>
                  <a:pt x="99" y="202"/>
                </a:lnTo>
                <a:lnTo>
                  <a:pt x="94" y="200"/>
                </a:lnTo>
                <a:lnTo>
                  <a:pt x="86" y="200"/>
                </a:lnTo>
                <a:lnTo>
                  <a:pt x="84" y="202"/>
                </a:lnTo>
                <a:lnTo>
                  <a:pt x="81" y="204"/>
                </a:lnTo>
                <a:lnTo>
                  <a:pt x="81" y="204"/>
                </a:lnTo>
                <a:lnTo>
                  <a:pt x="79" y="204"/>
                </a:lnTo>
                <a:lnTo>
                  <a:pt x="76" y="204"/>
                </a:lnTo>
                <a:lnTo>
                  <a:pt x="76" y="207"/>
                </a:lnTo>
                <a:lnTo>
                  <a:pt x="72" y="207"/>
                </a:lnTo>
                <a:lnTo>
                  <a:pt x="72" y="207"/>
                </a:lnTo>
                <a:lnTo>
                  <a:pt x="67" y="207"/>
                </a:lnTo>
                <a:lnTo>
                  <a:pt x="62" y="207"/>
                </a:lnTo>
                <a:lnTo>
                  <a:pt x="62" y="207"/>
                </a:lnTo>
                <a:lnTo>
                  <a:pt x="57" y="207"/>
                </a:lnTo>
                <a:lnTo>
                  <a:pt x="54" y="209"/>
                </a:lnTo>
                <a:lnTo>
                  <a:pt x="52" y="212"/>
                </a:lnTo>
                <a:lnTo>
                  <a:pt x="49" y="214"/>
                </a:lnTo>
                <a:lnTo>
                  <a:pt x="49" y="212"/>
                </a:lnTo>
                <a:lnTo>
                  <a:pt x="47" y="214"/>
                </a:lnTo>
                <a:lnTo>
                  <a:pt x="40" y="209"/>
                </a:lnTo>
                <a:lnTo>
                  <a:pt x="37" y="209"/>
                </a:lnTo>
                <a:lnTo>
                  <a:pt x="37" y="207"/>
                </a:lnTo>
                <a:lnTo>
                  <a:pt x="35" y="204"/>
                </a:lnTo>
                <a:lnTo>
                  <a:pt x="32" y="207"/>
                </a:lnTo>
                <a:lnTo>
                  <a:pt x="32" y="207"/>
                </a:lnTo>
                <a:lnTo>
                  <a:pt x="32" y="204"/>
                </a:lnTo>
                <a:lnTo>
                  <a:pt x="32" y="202"/>
                </a:lnTo>
                <a:lnTo>
                  <a:pt x="27" y="202"/>
                </a:lnTo>
                <a:lnTo>
                  <a:pt x="25" y="202"/>
                </a:lnTo>
                <a:lnTo>
                  <a:pt x="25" y="207"/>
                </a:lnTo>
                <a:lnTo>
                  <a:pt x="25" y="204"/>
                </a:lnTo>
                <a:lnTo>
                  <a:pt x="25" y="202"/>
                </a:lnTo>
                <a:lnTo>
                  <a:pt x="25" y="200"/>
                </a:lnTo>
                <a:lnTo>
                  <a:pt x="25" y="195"/>
                </a:lnTo>
                <a:lnTo>
                  <a:pt x="27" y="192"/>
                </a:lnTo>
                <a:lnTo>
                  <a:pt x="22" y="187"/>
                </a:lnTo>
                <a:lnTo>
                  <a:pt x="20" y="185"/>
                </a:lnTo>
                <a:lnTo>
                  <a:pt x="17" y="180"/>
                </a:lnTo>
                <a:lnTo>
                  <a:pt x="17" y="175"/>
                </a:lnTo>
                <a:lnTo>
                  <a:pt x="20" y="175"/>
                </a:lnTo>
                <a:lnTo>
                  <a:pt x="22" y="177"/>
                </a:lnTo>
                <a:lnTo>
                  <a:pt x="22" y="177"/>
                </a:lnTo>
                <a:lnTo>
                  <a:pt x="25" y="175"/>
                </a:lnTo>
                <a:lnTo>
                  <a:pt x="25" y="170"/>
                </a:lnTo>
                <a:lnTo>
                  <a:pt x="25" y="165"/>
                </a:lnTo>
                <a:lnTo>
                  <a:pt x="25" y="163"/>
                </a:lnTo>
                <a:lnTo>
                  <a:pt x="20" y="155"/>
                </a:lnTo>
                <a:lnTo>
                  <a:pt x="20" y="150"/>
                </a:lnTo>
                <a:lnTo>
                  <a:pt x="15" y="145"/>
                </a:lnTo>
                <a:lnTo>
                  <a:pt x="13" y="136"/>
                </a:lnTo>
                <a:lnTo>
                  <a:pt x="10" y="128"/>
                </a:lnTo>
                <a:lnTo>
                  <a:pt x="10" y="123"/>
                </a:lnTo>
                <a:lnTo>
                  <a:pt x="8" y="113"/>
                </a:lnTo>
                <a:lnTo>
                  <a:pt x="3" y="111"/>
                </a:lnTo>
                <a:lnTo>
                  <a:pt x="0" y="106"/>
                </a:lnTo>
                <a:lnTo>
                  <a:pt x="0" y="106"/>
                </a:lnTo>
                <a:lnTo>
                  <a:pt x="0" y="106"/>
                </a:lnTo>
                <a:lnTo>
                  <a:pt x="0" y="106"/>
                </a:lnTo>
                <a:close/>
                <a:moveTo>
                  <a:pt x="165" y="136"/>
                </a:moveTo>
                <a:lnTo>
                  <a:pt x="168" y="138"/>
                </a:lnTo>
                <a:lnTo>
                  <a:pt x="170" y="141"/>
                </a:lnTo>
                <a:lnTo>
                  <a:pt x="172" y="141"/>
                </a:lnTo>
                <a:lnTo>
                  <a:pt x="177" y="141"/>
                </a:lnTo>
                <a:lnTo>
                  <a:pt x="177" y="141"/>
                </a:lnTo>
                <a:lnTo>
                  <a:pt x="177" y="138"/>
                </a:lnTo>
                <a:lnTo>
                  <a:pt x="180" y="136"/>
                </a:lnTo>
                <a:lnTo>
                  <a:pt x="182" y="133"/>
                </a:lnTo>
                <a:lnTo>
                  <a:pt x="185" y="133"/>
                </a:lnTo>
                <a:lnTo>
                  <a:pt x="187" y="131"/>
                </a:lnTo>
                <a:lnTo>
                  <a:pt x="190" y="133"/>
                </a:lnTo>
                <a:lnTo>
                  <a:pt x="192" y="131"/>
                </a:lnTo>
                <a:lnTo>
                  <a:pt x="192" y="128"/>
                </a:lnTo>
                <a:lnTo>
                  <a:pt x="192" y="126"/>
                </a:lnTo>
                <a:lnTo>
                  <a:pt x="190" y="126"/>
                </a:lnTo>
                <a:lnTo>
                  <a:pt x="195" y="123"/>
                </a:lnTo>
                <a:lnTo>
                  <a:pt x="197" y="121"/>
                </a:lnTo>
                <a:lnTo>
                  <a:pt x="197" y="118"/>
                </a:lnTo>
                <a:lnTo>
                  <a:pt x="195" y="111"/>
                </a:lnTo>
                <a:lnTo>
                  <a:pt x="190" y="109"/>
                </a:lnTo>
                <a:lnTo>
                  <a:pt x="187" y="109"/>
                </a:lnTo>
                <a:lnTo>
                  <a:pt x="185" y="109"/>
                </a:lnTo>
                <a:lnTo>
                  <a:pt x="185" y="109"/>
                </a:lnTo>
                <a:lnTo>
                  <a:pt x="182" y="109"/>
                </a:lnTo>
                <a:lnTo>
                  <a:pt x="180" y="109"/>
                </a:lnTo>
                <a:lnTo>
                  <a:pt x="180" y="109"/>
                </a:lnTo>
                <a:lnTo>
                  <a:pt x="177" y="111"/>
                </a:lnTo>
                <a:lnTo>
                  <a:pt x="177" y="111"/>
                </a:lnTo>
                <a:lnTo>
                  <a:pt x="172" y="113"/>
                </a:lnTo>
                <a:lnTo>
                  <a:pt x="168" y="116"/>
                </a:lnTo>
                <a:lnTo>
                  <a:pt x="168" y="118"/>
                </a:lnTo>
                <a:lnTo>
                  <a:pt x="163" y="123"/>
                </a:lnTo>
                <a:lnTo>
                  <a:pt x="160" y="123"/>
                </a:lnTo>
                <a:lnTo>
                  <a:pt x="163" y="126"/>
                </a:lnTo>
                <a:lnTo>
                  <a:pt x="163" y="128"/>
                </a:lnTo>
                <a:lnTo>
                  <a:pt x="165" y="131"/>
                </a:lnTo>
                <a:lnTo>
                  <a:pt x="165" y="133"/>
                </a:lnTo>
                <a:lnTo>
                  <a:pt x="165" y="136"/>
                </a:lnTo>
                <a:lnTo>
                  <a:pt x="165" y="13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Freeform 161"/>
          <p:cNvSpPr>
            <a:spLocks/>
          </p:cNvSpPr>
          <p:nvPr/>
        </p:nvSpPr>
        <p:spPr bwMode="auto">
          <a:xfrm>
            <a:off x="5408041" y="5151345"/>
            <a:ext cx="60346" cy="49153"/>
          </a:xfrm>
          <a:custGeom>
            <a:avLst/>
            <a:gdLst/>
            <a:ahLst/>
            <a:cxnLst>
              <a:cxn ang="0">
                <a:pos x="5" y="27"/>
              </a:cxn>
              <a:cxn ang="0">
                <a:pos x="5" y="24"/>
              </a:cxn>
              <a:cxn ang="0">
                <a:pos x="5" y="22"/>
              </a:cxn>
              <a:cxn ang="0">
                <a:pos x="3" y="19"/>
              </a:cxn>
              <a:cxn ang="0">
                <a:pos x="3" y="17"/>
              </a:cxn>
              <a:cxn ang="0">
                <a:pos x="0" y="14"/>
              </a:cxn>
              <a:cxn ang="0">
                <a:pos x="3" y="14"/>
              </a:cxn>
              <a:cxn ang="0">
                <a:pos x="8" y="9"/>
              </a:cxn>
              <a:cxn ang="0">
                <a:pos x="8" y="7"/>
              </a:cxn>
              <a:cxn ang="0">
                <a:pos x="12" y="4"/>
              </a:cxn>
              <a:cxn ang="0">
                <a:pos x="17" y="2"/>
              </a:cxn>
              <a:cxn ang="0">
                <a:pos x="17" y="2"/>
              </a:cxn>
              <a:cxn ang="0">
                <a:pos x="20" y="0"/>
              </a:cxn>
              <a:cxn ang="0">
                <a:pos x="20" y="0"/>
              </a:cxn>
              <a:cxn ang="0">
                <a:pos x="22" y="0"/>
              </a:cxn>
              <a:cxn ang="0">
                <a:pos x="25" y="0"/>
              </a:cxn>
              <a:cxn ang="0">
                <a:pos x="25" y="0"/>
              </a:cxn>
              <a:cxn ang="0">
                <a:pos x="27" y="0"/>
              </a:cxn>
              <a:cxn ang="0">
                <a:pos x="30" y="0"/>
              </a:cxn>
              <a:cxn ang="0">
                <a:pos x="35" y="2"/>
              </a:cxn>
              <a:cxn ang="0">
                <a:pos x="37" y="9"/>
              </a:cxn>
              <a:cxn ang="0">
                <a:pos x="37" y="12"/>
              </a:cxn>
              <a:cxn ang="0">
                <a:pos x="35" y="14"/>
              </a:cxn>
              <a:cxn ang="0">
                <a:pos x="30" y="17"/>
              </a:cxn>
              <a:cxn ang="0">
                <a:pos x="32" y="17"/>
              </a:cxn>
              <a:cxn ang="0">
                <a:pos x="32" y="19"/>
              </a:cxn>
              <a:cxn ang="0">
                <a:pos x="32" y="22"/>
              </a:cxn>
              <a:cxn ang="0">
                <a:pos x="30" y="24"/>
              </a:cxn>
              <a:cxn ang="0">
                <a:pos x="27" y="22"/>
              </a:cxn>
              <a:cxn ang="0">
                <a:pos x="25" y="24"/>
              </a:cxn>
              <a:cxn ang="0">
                <a:pos x="22" y="24"/>
              </a:cxn>
              <a:cxn ang="0">
                <a:pos x="20" y="27"/>
              </a:cxn>
              <a:cxn ang="0">
                <a:pos x="17" y="29"/>
              </a:cxn>
              <a:cxn ang="0">
                <a:pos x="17" y="32"/>
              </a:cxn>
              <a:cxn ang="0">
                <a:pos x="17" y="32"/>
              </a:cxn>
              <a:cxn ang="0">
                <a:pos x="12" y="32"/>
              </a:cxn>
              <a:cxn ang="0">
                <a:pos x="10" y="32"/>
              </a:cxn>
              <a:cxn ang="0">
                <a:pos x="8" y="29"/>
              </a:cxn>
              <a:cxn ang="0">
                <a:pos x="5" y="27"/>
              </a:cxn>
              <a:cxn ang="0">
                <a:pos x="5" y="27"/>
              </a:cxn>
            </a:cxnLst>
            <a:rect l="0" t="0" r="r" b="b"/>
            <a:pathLst>
              <a:path w="37" h="32">
                <a:moveTo>
                  <a:pt x="5" y="27"/>
                </a:moveTo>
                <a:lnTo>
                  <a:pt x="5" y="24"/>
                </a:lnTo>
                <a:lnTo>
                  <a:pt x="5" y="22"/>
                </a:lnTo>
                <a:lnTo>
                  <a:pt x="3" y="19"/>
                </a:lnTo>
                <a:lnTo>
                  <a:pt x="3" y="17"/>
                </a:lnTo>
                <a:lnTo>
                  <a:pt x="0" y="14"/>
                </a:lnTo>
                <a:lnTo>
                  <a:pt x="3" y="14"/>
                </a:lnTo>
                <a:lnTo>
                  <a:pt x="8" y="9"/>
                </a:lnTo>
                <a:lnTo>
                  <a:pt x="8" y="7"/>
                </a:lnTo>
                <a:lnTo>
                  <a:pt x="12" y="4"/>
                </a:lnTo>
                <a:lnTo>
                  <a:pt x="17" y="2"/>
                </a:lnTo>
                <a:lnTo>
                  <a:pt x="17" y="2"/>
                </a:lnTo>
                <a:lnTo>
                  <a:pt x="20" y="0"/>
                </a:lnTo>
                <a:lnTo>
                  <a:pt x="20" y="0"/>
                </a:lnTo>
                <a:lnTo>
                  <a:pt x="22" y="0"/>
                </a:lnTo>
                <a:lnTo>
                  <a:pt x="25" y="0"/>
                </a:lnTo>
                <a:lnTo>
                  <a:pt x="25" y="0"/>
                </a:lnTo>
                <a:lnTo>
                  <a:pt x="27" y="0"/>
                </a:lnTo>
                <a:lnTo>
                  <a:pt x="30" y="0"/>
                </a:lnTo>
                <a:lnTo>
                  <a:pt x="35" y="2"/>
                </a:lnTo>
                <a:lnTo>
                  <a:pt x="37" y="9"/>
                </a:lnTo>
                <a:lnTo>
                  <a:pt x="37" y="12"/>
                </a:lnTo>
                <a:lnTo>
                  <a:pt x="35" y="14"/>
                </a:lnTo>
                <a:lnTo>
                  <a:pt x="30" y="17"/>
                </a:lnTo>
                <a:lnTo>
                  <a:pt x="32" y="17"/>
                </a:lnTo>
                <a:lnTo>
                  <a:pt x="32" y="19"/>
                </a:lnTo>
                <a:lnTo>
                  <a:pt x="32" y="22"/>
                </a:lnTo>
                <a:lnTo>
                  <a:pt x="30" y="24"/>
                </a:lnTo>
                <a:lnTo>
                  <a:pt x="27" y="22"/>
                </a:lnTo>
                <a:lnTo>
                  <a:pt x="25" y="24"/>
                </a:lnTo>
                <a:lnTo>
                  <a:pt x="22" y="24"/>
                </a:lnTo>
                <a:lnTo>
                  <a:pt x="20" y="27"/>
                </a:lnTo>
                <a:lnTo>
                  <a:pt x="17" y="29"/>
                </a:lnTo>
                <a:lnTo>
                  <a:pt x="17" y="32"/>
                </a:lnTo>
                <a:lnTo>
                  <a:pt x="17" y="32"/>
                </a:lnTo>
                <a:lnTo>
                  <a:pt x="12" y="32"/>
                </a:lnTo>
                <a:lnTo>
                  <a:pt x="10" y="32"/>
                </a:lnTo>
                <a:lnTo>
                  <a:pt x="8" y="29"/>
                </a:lnTo>
                <a:lnTo>
                  <a:pt x="5" y="27"/>
                </a:lnTo>
                <a:lnTo>
                  <a:pt x="5" y="2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Freeform 162"/>
          <p:cNvSpPr>
            <a:spLocks noEditPoints="1"/>
          </p:cNvSpPr>
          <p:nvPr/>
        </p:nvSpPr>
        <p:spPr bwMode="auto">
          <a:xfrm>
            <a:off x="7562535" y="4704357"/>
            <a:ext cx="1022611" cy="1035290"/>
          </a:xfrm>
          <a:custGeom>
            <a:avLst/>
            <a:gdLst/>
            <a:ahLst/>
            <a:cxnLst>
              <a:cxn ang="0">
                <a:pos x="620" y="283"/>
              </a:cxn>
              <a:cxn ang="0">
                <a:pos x="534" y="150"/>
              </a:cxn>
              <a:cxn ang="0">
                <a:pos x="431" y="111"/>
              </a:cxn>
              <a:cxn ang="0">
                <a:pos x="391" y="69"/>
              </a:cxn>
              <a:cxn ang="0">
                <a:pos x="394" y="18"/>
              </a:cxn>
              <a:cxn ang="0">
                <a:pos x="379" y="30"/>
              </a:cxn>
              <a:cxn ang="0">
                <a:pos x="313" y="25"/>
              </a:cxn>
              <a:cxn ang="0">
                <a:pos x="293" y="27"/>
              </a:cxn>
              <a:cxn ang="0">
                <a:pos x="209" y="74"/>
              </a:cxn>
              <a:cxn ang="0">
                <a:pos x="345" y="477"/>
              </a:cxn>
              <a:cxn ang="0">
                <a:pos x="337" y="475"/>
              </a:cxn>
              <a:cxn ang="0">
                <a:pos x="426" y="596"/>
              </a:cxn>
              <a:cxn ang="0">
                <a:pos x="416" y="583"/>
              </a:cxn>
              <a:cxn ang="0">
                <a:pos x="470" y="596"/>
              </a:cxn>
              <a:cxn ang="0">
                <a:pos x="418" y="664"/>
              </a:cxn>
              <a:cxn ang="0">
                <a:pos x="416" y="608"/>
              </a:cxn>
              <a:cxn ang="0">
                <a:pos x="460" y="613"/>
              </a:cxn>
              <a:cxn ang="0">
                <a:pos x="463" y="637"/>
              </a:cxn>
              <a:cxn ang="0">
                <a:pos x="443" y="659"/>
              </a:cxn>
              <a:cxn ang="0">
                <a:pos x="17" y="436"/>
              </a:cxn>
              <a:cxn ang="0">
                <a:pos x="59" y="436"/>
              </a:cxn>
              <a:cxn ang="0">
                <a:pos x="118" y="426"/>
              </a:cxn>
              <a:cxn ang="0">
                <a:pos x="180" y="394"/>
              </a:cxn>
              <a:cxn ang="0">
                <a:pos x="276" y="394"/>
              </a:cxn>
              <a:cxn ang="0">
                <a:pos x="310" y="423"/>
              </a:cxn>
              <a:cxn ang="0">
                <a:pos x="327" y="448"/>
              </a:cxn>
              <a:cxn ang="0">
                <a:pos x="357" y="431"/>
              </a:cxn>
              <a:cxn ang="0">
                <a:pos x="359" y="453"/>
              </a:cxn>
              <a:cxn ang="0">
                <a:pos x="367" y="482"/>
              </a:cxn>
              <a:cxn ang="0">
                <a:pos x="399" y="544"/>
              </a:cxn>
              <a:cxn ang="0">
                <a:pos x="438" y="544"/>
              </a:cxn>
              <a:cxn ang="0">
                <a:pos x="458" y="556"/>
              </a:cxn>
              <a:cxn ang="0">
                <a:pos x="522" y="532"/>
              </a:cxn>
              <a:cxn ang="0">
                <a:pos x="561" y="443"/>
              </a:cxn>
              <a:cxn ang="0">
                <a:pos x="598" y="394"/>
              </a:cxn>
              <a:cxn ang="0">
                <a:pos x="618" y="308"/>
              </a:cxn>
              <a:cxn ang="0">
                <a:pos x="600" y="249"/>
              </a:cxn>
              <a:cxn ang="0">
                <a:pos x="581" y="217"/>
              </a:cxn>
              <a:cxn ang="0">
                <a:pos x="566" y="177"/>
              </a:cxn>
              <a:cxn ang="0">
                <a:pos x="532" y="145"/>
              </a:cxn>
              <a:cxn ang="0">
                <a:pos x="524" y="82"/>
              </a:cxn>
              <a:cxn ang="0">
                <a:pos x="495" y="37"/>
              </a:cxn>
              <a:cxn ang="0">
                <a:pos x="475" y="37"/>
              </a:cxn>
              <a:cxn ang="0">
                <a:pos x="463" y="96"/>
              </a:cxn>
              <a:cxn ang="0">
                <a:pos x="409" y="113"/>
              </a:cxn>
              <a:cxn ang="0">
                <a:pos x="377" y="69"/>
              </a:cxn>
              <a:cxn ang="0">
                <a:pos x="399" y="37"/>
              </a:cxn>
              <a:cxn ang="0">
                <a:pos x="377" y="32"/>
              </a:cxn>
              <a:cxn ang="0">
                <a:pos x="337" y="22"/>
              </a:cxn>
              <a:cxn ang="0">
                <a:pos x="322" y="35"/>
              </a:cxn>
              <a:cxn ang="0">
                <a:pos x="293" y="54"/>
              </a:cxn>
              <a:cxn ang="0">
                <a:pos x="278" y="82"/>
              </a:cxn>
              <a:cxn ang="0">
                <a:pos x="258" y="86"/>
              </a:cxn>
              <a:cxn ang="0">
                <a:pos x="231" y="67"/>
              </a:cxn>
              <a:cxn ang="0">
                <a:pos x="212" y="77"/>
              </a:cxn>
              <a:cxn ang="0">
                <a:pos x="197" y="106"/>
              </a:cxn>
              <a:cxn ang="0">
                <a:pos x="185" y="118"/>
              </a:cxn>
              <a:cxn ang="0">
                <a:pos x="160" y="136"/>
              </a:cxn>
              <a:cxn ang="0">
                <a:pos x="89" y="173"/>
              </a:cxn>
              <a:cxn ang="0">
                <a:pos x="27" y="204"/>
              </a:cxn>
              <a:cxn ang="0">
                <a:pos x="15" y="281"/>
              </a:cxn>
              <a:cxn ang="0">
                <a:pos x="12" y="313"/>
              </a:cxn>
              <a:cxn ang="0">
                <a:pos x="17" y="406"/>
              </a:cxn>
            </a:cxnLst>
            <a:rect l="0" t="0" r="r" b="b"/>
            <a:pathLst>
              <a:path w="627" h="674">
                <a:moveTo>
                  <a:pt x="620" y="323"/>
                </a:moveTo>
                <a:lnTo>
                  <a:pt x="620" y="323"/>
                </a:lnTo>
                <a:lnTo>
                  <a:pt x="620" y="318"/>
                </a:lnTo>
                <a:lnTo>
                  <a:pt x="620" y="318"/>
                </a:lnTo>
                <a:lnTo>
                  <a:pt x="620" y="320"/>
                </a:lnTo>
                <a:lnTo>
                  <a:pt x="620" y="320"/>
                </a:lnTo>
                <a:lnTo>
                  <a:pt x="620" y="323"/>
                </a:lnTo>
                <a:lnTo>
                  <a:pt x="620" y="323"/>
                </a:lnTo>
                <a:close/>
                <a:moveTo>
                  <a:pt x="620" y="283"/>
                </a:moveTo>
                <a:lnTo>
                  <a:pt x="620" y="283"/>
                </a:lnTo>
                <a:lnTo>
                  <a:pt x="620" y="278"/>
                </a:lnTo>
                <a:lnTo>
                  <a:pt x="620" y="278"/>
                </a:lnTo>
                <a:lnTo>
                  <a:pt x="620" y="276"/>
                </a:lnTo>
                <a:lnTo>
                  <a:pt x="620" y="276"/>
                </a:lnTo>
                <a:lnTo>
                  <a:pt x="620" y="273"/>
                </a:lnTo>
                <a:lnTo>
                  <a:pt x="620" y="273"/>
                </a:lnTo>
                <a:lnTo>
                  <a:pt x="623" y="271"/>
                </a:lnTo>
                <a:lnTo>
                  <a:pt x="623" y="271"/>
                </a:lnTo>
                <a:lnTo>
                  <a:pt x="625" y="266"/>
                </a:lnTo>
                <a:lnTo>
                  <a:pt x="625" y="266"/>
                </a:lnTo>
                <a:lnTo>
                  <a:pt x="625" y="264"/>
                </a:lnTo>
                <a:lnTo>
                  <a:pt x="625" y="264"/>
                </a:lnTo>
                <a:lnTo>
                  <a:pt x="625" y="261"/>
                </a:lnTo>
                <a:lnTo>
                  <a:pt x="625" y="261"/>
                </a:lnTo>
                <a:lnTo>
                  <a:pt x="625" y="261"/>
                </a:lnTo>
                <a:lnTo>
                  <a:pt x="627" y="266"/>
                </a:lnTo>
                <a:lnTo>
                  <a:pt x="627" y="266"/>
                </a:lnTo>
                <a:lnTo>
                  <a:pt x="625" y="271"/>
                </a:lnTo>
                <a:lnTo>
                  <a:pt x="625" y="271"/>
                </a:lnTo>
                <a:lnTo>
                  <a:pt x="623" y="276"/>
                </a:lnTo>
                <a:lnTo>
                  <a:pt x="623" y="276"/>
                </a:lnTo>
                <a:lnTo>
                  <a:pt x="623" y="281"/>
                </a:lnTo>
                <a:lnTo>
                  <a:pt x="623" y="281"/>
                </a:lnTo>
                <a:lnTo>
                  <a:pt x="623" y="283"/>
                </a:lnTo>
                <a:lnTo>
                  <a:pt x="623" y="283"/>
                </a:lnTo>
                <a:lnTo>
                  <a:pt x="620" y="283"/>
                </a:lnTo>
                <a:lnTo>
                  <a:pt x="620" y="283"/>
                </a:lnTo>
                <a:close/>
                <a:moveTo>
                  <a:pt x="596" y="239"/>
                </a:moveTo>
                <a:lnTo>
                  <a:pt x="596" y="239"/>
                </a:lnTo>
                <a:lnTo>
                  <a:pt x="598" y="241"/>
                </a:lnTo>
                <a:lnTo>
                  <a:pt x="598" y="241"/>
                </a:lnTo>
                <a:lnTo>
                  <a:pt x="600" y="244"/>
                </a:lnTo>
                <a:lnTo>
                  <a:pt x="600" y="244"/>
                </a:lnTo>
                <a:lnTo>
                  <a:pt x="600" y="241"/>
                </a:lnTo>
                <a:lnTo>
                  <a:pt x="600" y="241"/>
                </a:lnTo>
                <a:lnTo>
                  <a:pt x="598" y="239"/>
                </a:lnTo>
                <a:lnTo>
                  <a:pt x="598" y="239"/>
                </a:lnTo>
                <a:lnTo>
                  <a:pt x="598" y="239"/>
                </a:lnTo>
                <a:lnTo>
                  <a:pt x="598" y="239"/>
                </a:lnTo>
                <a:lnTo>
                  <a:pt x="596" y="236"/>
                </a:lnTo>
                <a:lnTo>
                  <a:pt x="596" y="236"/>
                </a:lnTo>
                <a:lnTo>
                  <a:pt x="596" y="239"/>
                </a:lnTo>
                <a:lnTo>
                  <a:pt x="596" y="239"/>
                </a:lnTo>
                <a:close/>
                <a:moveTo>
                  <a:pt x="591" y="217"/>
                </a:moveTo>
                <a:lnTo>
                  <a:pt x="591" y="217"/>
                </a:lnTo>
                <a:lnTo>
                  <a:pt x="591" y="214"/>
                </a:lnTo>
                <a:lnTo>
                  <a:pt x="591" y="214"/>
                </a:lnTo>
                <a:lnTo>
                  <a:pt x="591" y="214"/>
                </a:lnTo>
                <a:lnTo>
                  <a:pt x="591" y="217"/>
                </a:lnTo>
                <a:lnTo>
                  <a:pt x="591" y="217"/>
                </a:lnTo>
                <a:close/>
                <a:moveTo>
                  <a:pt x="532" y="148"/>
                </a:moveTo>
                <a:lnTo>
                  <a:pt x="532" y="148"/>
                </a:lnTo>
                <a:lnTo>
                  <a:pt x="534" y="145"/>
                </a:lnTo>
                <a:lnTo>
                  <a:pt x="534" y="145"/>
                </a:lnTo>
                <a:lnTo>
                  <a:pt x="532" y="143"/>
                </a:lnTo>
                <a:lnTo>
                  <a:pt x="532" y="143"/>
                </a:lnTo>
                <a:lnTo>
                  <a:pt x="534" y="143"/>
                </a:lnTo>
                <a:lnTo>
                  <a:pt x="534" y="143"/>
                </a:lnTo>
                <a:lnTo>
                  <a:pt x="534" y="141"/>
                </a:lnTo>
                <a:lnTo>
                  <a:pt x="534" y="141"/>
                </a:lnTo>
                <a:lnTo>
                  <a:pt x="534" y="145"/>
                </a:lnTo>
                <a:lnTo>
                  <a:pt x="534" y="145"/>
                </a:lnTo>
                <a:lnTo>
                  <a:pt x="534" y="150"/>
                </a:lnTo>
                <a:lnTo>
                  <a:pt x="534" y="150"/>
                </a:lnTo>
                <a:lnTo>
                  <a:pt x="532" y="148"/>
                </a:lnTo>
                <a:lnTo>
                  <a:pt x="532" y="148"/>
                </a:lnTo>
                <a:close/>
                <a:moveTo>
                  <a:pt x="482" y="0"/>
                </a:moveTo>
                <a:lnTo>
                  <a:pt x="482" y="0"/>
                </a:lnTo>
                <a:lnTo>
                  <a:pt x="482" y="3"/>
                </a:lnTo>
                <a:lnTo>
                  <a:pt x="482" y="3"/>
                </a:lnTo>
                <a:lnTo>
                  <a:pt x="485" y="0"/>
                </a:lnTo>
                <a:lnTo>
                  <a:pt x="485" y="0"/>
                </a:lnTo>
                <a:lnTo>
                  <a:pt x="482" y="0"/>
                </a:lnTo>
                <a:lnTo>
                  <a:pt x="482" y="0"/>
                </a:lnTo>
                <a:close/>
                <a:moveTo>
                  <a:pt x="480" y="8"/>
                </a:moveTo>
                <a:lnTo>
                  <a:pt x="480" y="8"/>
                </a:lnTo>
                <a:lnTo>
                  <a:pt x="480" y="13"/>
                </a:lnTo>
                <a:lnTo>
                  <a:pt x="480" y="13"/>
                </a:lnTo>
                <a:lnTo>
                  <a:pt x="480" y="13"/>
                </a:lnTo>
                <a:lnTo>
                  <a:pt x="482" y="13"/>
                </a:lnTo>
                <a:lnTo>
                  <a:pt x="482" y="13"/>
                </a:lnTo>
                <a:lnTo>
                  <a:pt x="482" y="10"/>
                </a:lnTo>
                <a:lnTo>
                  <a:pt x="482" y="10"/>
                </a:lnTo>
                <a:lnTo>
                  <a:pt x="480" y="8"/>
                </a:lnTo>
                <a:lnTo>
                  <a:pt x="480" y="8"/>
                </a:lnTo>
                <a:close/>
                <a:moveTo>
                  <a:pt x="431" y="121"/>
                </a:moveTo>
                <a:lnTo>
                  <a:pt x="431" y="121"/>
                </a:lnTo>
                <a:lnTo>
                  <a:pt x="431" y="121"/>
                </a:lnTo>
                <a:lnTo>
                  <a:pt x="433" y="121"/>
                </a:lnTo>
                <a:lnTo>
                  <a:pt x="433" y="121"/>
                </a:lnTo>
                <a:lnTo>
                  <a:pt x="433" y="118"/>
                </a:lnTo>
                <a:lnTo>
                  <a:pt x="433" y="118"/>
                </a:lnTo>
                <a:lnTo>
                  <a:pt x="431" y="121"/>
                </a:lnTo>
                <a:lnTo>
                  <a:pt x="431" y="121"/>
                </a:lnTo>
                <a:close/>
                <a:moveTo>
                  <a:pt x="426" y="113"/>
                </a:moveTo>
                <a:lnTo>
                  <a:pt x="426" y="113"/>
                </a:lnTo>
                <a:lnTo>
                  <a:pt x="428" y="116"/>
                </a:lnTo>
                <a:lnTo>
                  <a:pt x="428" y="116"/>
                </a:lnTo>
                <a:lnTo>
                  <a:pt x="428" y="113"/>
                </a:lnTo>
                <a:lnTo>
                  <a:pt x="428" y="113"/>
                </a:lnTo>
                <a:lnTo>
                  <a:pt x="431" y="111"/>
                </a:lnTo>
                <a:lnTo>
                  <a:pt x="431" y="111"/>
                </a:lnTo>
                <a:lnTo>
                  <a:pt x="436" y="111"/>
                </a:lnTo>
                <a:lnTo>
                  <a:pt x="436" y="111"/>
                </a:lnTo>
                <a:lnTo>
                  <a:pt x="436" y="111"/>
                </a:lnTo>
                <a:lnTo>
                  <a:pt x="431" y="109"/>
                </a:lnTo>
                <a:lnTo>
                  <a:pt x="431" y="109"/>
                </a:lnTo>
                <a:lnTo>
                  <a:pt x="426" y="111"/>
                </a:lnTo>
                <a:lnTo>
                  <a:pt x="426" y="113"/>
                </a:lnTo>
                <a:lnTo>
                  <a:pt x="426" y="113"/>
                </a:lnTo>
                <a:close/>
                <a:moveTo>
                  <a:pt x="394" y="99"/>
                </a:moveTo>
                <a:lnTo>
                  <a:pt x="394" y="99"/>
                </a:lnTo>
                <a:lnTo>
                  <a:pt x="394" y="96"/>
                </a:lnTo>
                <a:lnTo>
                  <a:pt x="394" y="96"/>
                </a:lnTo>
                <a:lnTo>
                  <a:pt x="394" y="94"/>
                </a:lnTo>
                <a:lnTo>
                  <a:pt x="394" y="94"/>
                </a:lnTo>
                <a:lnTo>
                  <a:pt x="396" y="96"/>
                </a:lnTo>
                <a:lnTo>
                  <a:pt x="396" y="96"/>
                </a:lnTo>
                <a:lnTo>
                  <a:pt x="394" y="99"/>
                </a:lnTo>
                <a:lnTo>
                  <a:pt x="394" y="99"/>
                </a:lnTo>
                <a:close/>
                <a:moveTo>
                  <a:pt x="384" y="64"/>
                </a:moveTo>
                <a:lnTo>
                  <a:pt x="384" y="64"/>
                </a:lnTo>
                <a:lnTo>
                  <a:pt x="384" y="64"/>
                </a:lnTo>
                <a:lnTo>
                  <a:pt x="384" y="64"/>
                </a:lnTo>
                <a:lnTo>
                  <a:pt x="384" y="62"/>
                </a:lnTo>
                <a:lnTo>
                  <a:pt x="384" y="62"/>
                </a:lnTo>
                <a:lnTo>
                  <a:pt x="384" y="62"/>
                </a:lnTo>
                <a:lnTo>
                  <a:pt x="386" y="64"/>
                </a:lnTo>
                <a:lnTo>
                  <a:pt x="386" y="64"/>
                </a:lnTo>
                <a:lnTo>
                  <a:pt x="384" y="64"/>
                </a:lnTo>
                <a:lnTo>
                  <a:pt x="384" y="64"/>
                </a:lnTo>
                <a:close/>
                <a:moveTo>
                  <a:pt x="389" y="69"/>
                </a:moveTo>
                <a:lnTo>
                  <a:pt x="389" y="69"/>
                </a:lnTo>
                <a:lnTo>
                  <a:pt x="386" y="72"/>
                </a:lnTo>
                <a:lnTo>
                  <a:pt x="386" y="72"/>
                </a:lnTo>
                <a:lnTo>
                  <a:pt x="389" y="72"/>
                </a:lnTo>
                <a:lnTo>
                  <a:pt x="389" y="72"/>
                </a:lnTo>
                <a:lnTo>
                  <a:pt x="391" y="69"/>
                </a:lnTo>
                <a:lnTo>
                  <a:pt x="391" y="69"/>
                </a:lnTo>
                <a:lnTo>
                  <a:pt x="394" y="69"/>
                </a:lnTo>
                <a:lnTo>
                  <a:pt x="394" y="69"/>
                </a:lnTo>
                <a:lnTo>
                  <a:pt x="396" y="67"/>
                </a:lnTo>
                <a:lnTo>
                  <a:pt x="396" y="67"/>
                </a:lnTo>
                <a:lnTo>
                  <a:pt x="394" y="67"/>
                </a:lnTo>
                <a:lnTo>
                  <a:pt x="394" y="67"/>
                </a:lnTo>
                <a:lnTo>
                  <a:pt x="394" y="67"/>
                </a:lnTo>
                <a:lnTo>
                  <a:pt x="391" y="67"/>
                </a:lnTo>
                <a:lnTo>
                  <a:pt x="391" y="67"/>
                </a:lnTo>
                <a:lnTo>
                  <a:pt x="394" y="64"/>
                </a:lnTo>
                <a:lnTo>
                  <a:pt x="394" y="64"/>
                </a:lnTo>
                <a:lnTo>
                  <a:pt x="394" y="64"/>
                </a:lnTo>
                <a:lnTo>
                  <a:pt x="391" y="64"/>
                </a:lnTo>
                <a:lnTo>
                  <a:pt x="391" y="64"/>
                </a:lnTo>
                <a:lnTo>
                  <a:pt x="391" y="62"/>
                </a:lnTo>
                <a:lnTo>
                  <a:pt x="391" y="62"/>
                </a:lnTo>
                <a:lnTo>
                  <a:pt x="391" y="62"/>
                </a:lnTo>
                <a:lnTo>
                  <a:pt x="389" y="64"/>
                </a:lnTo>
                <a:lnTo>
                  <a:pt x="389" y="64"/>
                </a:lnTo>
                <a:lnTo>
                  <a:pt x="386" y="64"/>
                </a:lnTo>
                <a:lnTo>
                  <a:pt x="386" y="64"/>
                </a:lnTo>
                <a:lnTo>
                  <a:pt x="389" y="64"/>
                </a:lnTo>
                <a:lnTo>
                  <a:pt x="389" y="64"/>
                </a:lnTo>
                <a:lnTo>
                  <a:pt x="386" y="67"/>
                </a:lnTo>
                <a:lnTo>
                  <a:pt x="386" y="67"/>
                </a:lnTo>
                <a:lnTo>
                  <a:pt x="389" y="69"/>
                </a:lnTo>
                <a:lnTo>
                  <a:pt x="389" y="69"/>
                </a:lnTo>
                <a:close/>
                <a:moveTo>
                  <a:pt x="391" y="22"/>
                </a:moveTo>
                <a:lnTo>
                  <a:pt x="391" y="22"/>
                </a:lnTo>
                <a:lnTo>
                  <a:pt x="394" y="22"/>
                </a:lnTo>
                <a:lnTo>
                  <a:pt x="394" y="22"/>
                </a:lnTo>
                <a:lnTo>
                  <a:pt x="394" y="20"/>
                </a:lnTo>
                <a:lnTo>
                  <a:pt x="394" y="20"/>
                </a:lnTo>
                <a:lnTo>
                  <a:pt x="396" y="18"/>
                </a:lnTo>
                <a:lnTo>
                  <a:pt x="396" y="18"/>
                </a:lnTo>
                <a:lnTo>
                  <a:pt x="394" y="18"/>
                </a:lnTo>
                <a:lnTo>
                  <a:pt x="394" y="18"/>
                </a:lnTo>
                <a:lnTo>
                  <a:pt x="391" y="20"/>
                </a:lnTo>
                <a:lnTo>
                  <a:pt x="391" y="20"/>
                </a:lnTo>
                <a:lnTo>
                  <a:pt x="391" y="22"/>
                </a:lnTo>
                <a:lnTo>
                  <a:pt x="391" y="22"/>
                </a:lnTo>
                <a:close/>
                <a:moveTo>
                  <a:pt x="386" y="25"/>
                </a:moveTo>
                <a:lnTo>
                  <a:pt x="386" y="25"/>
                </a:lnTo>
                <a:lnTo>
                  <a:pt x="389" y="25"/>
                </a:lnTo>
                <a:lnTo>
                  <a:pt x="389" y="25"/>
                </a:lnTo>
                <a:lnTo>
                  <a:pt x="389" y="22"/>
                </a:lnTo>
                <a:lnTo>
                  <a:pt x="389" y="22"/>
                </a:lnTo>
                <a:lnTo>
                  <a:pt x="386" y="25"/>
                </a:lnTo>
                <a:lnTo>
                  <a:pt x="386" y="25"/>
                </a:lnTo>
                <a:close/>
                <a:moveTo>
                  <a:pt x="384" y="25"/>
                </a:moveTo>
                <a:lnTo>
                  <a:pt x="384" y="25"/>
                </a:lnTo>
                <a:lnTo>
                  <a:pt x="386" y="27"/>
                </a:lnTo>
                <a:lnTo>
                  <a:pt x="386" y="27"/>
                </a:lnTo>
                <a:lnTo>
                  <a:pt x="386" y="25"/>
                </a:lnTo>
                <a:lnTo>
                  <a:pt x="386" y="25"/>
                </a:lnTo>
                <a:lnTo>
                  <a:pt x="384" y="25"/>
                </a:lnTo>
                <a:lnTo>
                  <a:pt x="384" y="25"/>
                </a:lnTo>
                <a:close/>
                <a:moveTo>
                  <a:pt x="379" y="27"/>
                </a:moveTo>
                <a:lnTo>
                  <a:pt x="379" y="27"/>
                </a:lnTo>
                <a:lnTo>
                  <a:pt x="381" y="27"/>
                </a:lnTo>
                <a:lnTo>
                  <a:pt x="381" y="27"/>
                </a:lnTo>
                <a:lnTo>
                  <a:pt x="381" y="27"/>
                </a:lnTo>
                <a:lnTo>
                  <a:pt x="379" y="27"/>
                </a:lnTo>
                <a:lnTo>
                  <a:pt x="379" y="27"/>
                </a:lnTo>
                <a:close/>
                <a:moveTo>
                  <a:pt x="377" y="32"/>
                </a:moveTo>
                <a:lnTo>
                  <a:pt x="377" y="32"/>
                </a:lnTo>
                <a:lnTo>
                  <a:pt x="374" y="30"/>
                </a:lnTo>
                <a:lnTo>
                  <a:pt x="374" y="30"/>
                </a:lnTo>
                <a:lnTo>
                  <a:pt x="379" y="30"/>
                </a:lnTo>
                <a:lnTo>
                  <a:pt x="379" y="30"/>
                </a:lnTo>
                <a:lnTo>
                  <a:pt x="381" y="30"/>
                </a:lnTo>
                <a:lnTo>
                  <a:pt x="381" y="30"/>
                </a:lnTo>
                <a:lnTo>
                  <a:pt x="379" y="30"/>
                </a:lnTo>
                <a:lnTo>
                  <a:pt x="379" y="30"/>
                </a:lnTo>
                <a:lnTo>
                  <a:pt x="377" y="32"/>
                </a:lnTo>
                <a:lnTo>
                  <a:pt x="377" y="32"/>
                </a:lnTo>
                <a:lnTo>
                  <a:pt x="377" y="32"/>
                </a:lnTo>
                <a:close/>
                <a:moveTo>
                  <a:pt x="372" y="35"/>
                </a:moveTo>
                <a:lnTo>
                  <a:pt x="372" y="35"/>
                </a:lnTo>
                <a:lnTo>
                  <a:pt x="372" y="35"/>
                </a:lnTo>
                <a:lnTo>
                  <a:pt x="374" y="35"/>
                </a:lnTo>
                <a:lnTo>
                  <a:pt x="374" y="35"/>
                </a:lnTo>
                <a:lnTo>
                  <a:pt x="374" y="32"/>
                </a:lnTo>
                <a:lnTo>
                  <a:pt x="374" y="32"/>
                </a:lnTo>
                <a:lnTo>
                  <a:pt x="372" y="35"/>
                </a:lnTo>
                <a:lnTo>
                  <a:pt x="372" y="35"/>
                </a:lnTo>
                <a:close/>
                <a:moveTo>
                  <a:pt x="332" y="22"/>
                </a:moveTo>
                <a:lnTo>
                  <a:pt x="332" y="22"/>
                </a:lnTo>
                <a:lnTo>
                  <a:pt x="330" y="18"/>
                </a:lnTo>
                <a:lnTo>
                  <a:pt x="330" y="18"/>
                </a:lnTo>
                <a:lnTo>
                  <a:pt x="330" y="15"/>
                </a:lnTo>
                <a:lnTo>
                  <a:pt x="330" y="15"/>
                </a:lnTo>
                <a:lnTo>
                  <a:pt x="332" y="15"/>
                </a:lnTo>
                <a:lnTo>
                  <a:pt x="332" y="15"/>
                </a:lnTo>
                <a:lnTo>
                  <a:pt x="332" y="18"/>
                </a:lnTo>
                <a:lnTo>
                  <a:pt x="332" y="18"/>
                </a:lnTo>
                <a:lnTo>
                  <a:pt x="332" y="22"/>
                </a:lnTo>
                <a:lnTo>
                  <a:pt x="332" y="22"/>
                </a:lnTo>
                <a:close/>
                <a:moveTo>
                  <a:pt x="298" y="20"/>
                </a:moveTo>
                <a:lnTo>
                  <a:pt x="298" y="20"/>
                </a:lnTo>
                <a:lnTo>
                  <a:pt x="298" y="22"/>
                </a:lnTo>
                <a:lnTo>
                  <a:pt x="298" y="22"/>
                </a:lnTo>
                <a:lnTo>
                  <a:pt x="300" y="27"/>
                </a:lnTo>
                <a:lnTo>
                  <a:pt x="300" y="27"/>
                </a:lnTo>
                <a:lnTo>
                  <a:pt x="303" y="30"/>
                </a:lnTo>
                <a:lnTo>
                  <a:pt x="303" y="30"/>
                </a:lnTo>
                <a:lnTo>
                  <a:pt x="305" y="32"/>
                </a:lnTo>
                <a:lnTo>
                  <a:pt x="305" y="32"/>
                </a:lnTo>
                <a:lnTo>
                  <a:pt x="313" y="25"/>
                </a:lnTo>
                <a:lnTo>
                  <a:pt x="313" y="25"/>
                </a:lnTo>
                <a:lnTo>
                  <a:pt x="313" y="25"/>
                </a:lnTo>
                <a:lnTo>
                  <a:pt x="313" y="25"/>
                </a:lnTo>
                <a:lnTo>
                  <a:pt x="315" y="22"/>
                </a:lnTo>
                <a:lnTo>
                  <a:pt x="315" y="22"/>
                </a:lnTo>
                <a:lnTo>
                  <a:pt x="313" y="22"/>
                </a:lnTo>
                <a:lnTo>
                  <a:pt x="313" y="22"/>
                </a:lnTo>
                <a:lnTo>
                  <a:pt x="313" y="20"/>
                </a:lnTo>
                <a:lnTo>
                  <a:pt x="313" y="20"/>
                </a:lnTo>
                <a:lnTo>
                  <a:pt x="310" y="20"/>
                </a:lnTo>
                <a:lnTo>
                  <a:pt x="310" y="20"/>
                </a:lnTo>
                <a:lnTo>
                  <a:pt x="310" y="20"/>
                </a:lnTo>
                <a:lnTo>
                  <a:pt x="305" y="20"/>
                </a:lnTo>
                <a:lnTo>
                  <a:pt x="305" y="20"/>
                </a:lnTo>
                <a:lnTo>
                  <a:pt x="303" y="22"/>
                </a:lnTo>
                <a:lnTo>
                  <a:pt x="303" y="22"/>
                </a:lnTo>
                <a:lnTo>
                  <a:pt x="303" y="22"/>
                </a:lnTo>
                <a:lnTo>
                  <a:pt x="300" y="20"/>
                </a:lnTo>
                <a:lnTo>
                  <a:pt x="300" y="20"/>
                </a:lnTo>
                <a:lnTo>
                  <a:pt x="300" y="20"/>
                </a:lnTo>
                <a:lnTo>
                  <a:pt x="298" y="20"/>
                </a:lnTo>
                <a:lnTo>
                  <a:pt x="298" y="20"/>
                </a:lnTo>
                <a:lnTo>
                  <a:pt x="295" y="20"/>
                </a:lnTo>
                <a:lnTo>
                  <a:pt x="295" y="20"/>
                </a:lnTo>
                <a:lnTo>
                  <a:pt x="298" y="20"/>
                </a:lnTo>
                <a:lnTo>
                  <a:pt x="298" y="20"/>
                </a:lnTo>
                <a:close/>
                <a:moveTo>
                  <a:pt x="295" y="20"/>
                </a:moveTo>
                <a:lnTo>
                  <a:pt x="295" y="20"/>
                </a:lnTo>
                <a:lnTo>
                  <a:pt x="298" y="27"/>
                </a:lnTo>
                <a:lnTo>
                  <a:pt x="298" y="27"/>
                </a:lnTo>
                <a:lnTo>
                  <a:pt x="300" y="27"/>
                </a:lnTo>
                <a:lnTo>
                  <a:pt x="300" y="27"/>
                </a:lnTo>
                <a:lnTo>
                  <a:pt x="300" y="27"/>
                </a:lnTo>
                <a:lnTo>
                  <a:pt x="298" y="27"/>
                </a:lnTo>
                <a:lnTo>
                  <a:pt x="298" y="27"/>
                </a:lnTo>
                <a:lnTo>
                  <a:pt x="295" y="27"/>
                </a:lnTo>
                <a:lnTo>
                  <a:pt x="295" y="27"/>
                </a:lnTo>
                <a:lnTo>
                  <a:pt x="293" y="27"/>
                </a:lnTo>
                <a:lnTo>
                  <a:pt x="293" y="27"/>
                </a:lnTo>
                <a:lnTo>
                  <a:pt x="293" y="25"/>
                </a:lnTo>
                <a:lnTo>
                  <a:pt x="293" y="25"/>
                </a:lnTo>
                <a:lnTo>
                  <a:pt x="293" y="25"/>
                </a:lnTo>
                <a:lnTo>
                  <a:pt x="295" y="25"/>
                </a:lnTo>
                <a:lnTo>
                  <a:pt x="295" y="25"/>
                </a:lnTo>
                <a:lnTo>
                  <a:pt x="295" y="25"/>
                </a:lnTo>
                <a:lnTo>
                  <a:pt x="293" y="25"/>
                </a:lnTo>
                <a:lnTo>
                  <a:pt x="293" y="25"/>
                </a:lnTo>
                <a:lnTo>
                  <a:pt x="295" y="22"/>
                </a:lnTo>
                <a:lnTo>
                  <a:pt x="295" y="22"/>
                </a:lnTo>
                <a:lnTo>
                  <a:pt x="293" y="22"/>
                </a:lnTo>
                <a:lnTo>
                  <a:pt x="293" y="22"/>
                </a:lnTo>
                <a:lnTo>
                  <a:pt x="295" y="20"/>
                </a:lnTo>
                <a:lnTo>
                  <a:pt x="295" y="20"/>
                </a:lnTo>
                <a:close/>
                <a:moveTo>
                  <a:pt x="197" y="86"/>
                </a:moveTo>
                <a:lnTo>
                  <a:pt x="197" y="86"/>
                </a:lnTo>
                <a:lnTo>
                  <a:pt x="199" y="89"/>
                </a:lnTo>
                <a:lnTo>
                  <a:pt x="199" y="89"/>
                </a:lnTo>
                <a:lnTo>
                  <a:pt x="202" y="89"/>
                </a:lnTo>
                <a:lnTo>
                  <a:pt x="202" y="89"/>
                </a:lnTo>
                <a:lnTo>
                  <a:pt x="199" y="86"/>
                </a:lnTo>
                <a:lnTo>
                  <a:pt x="197" y="86"/>
                </a:lnTo>
                <a:lnTo>
                  <a:pt x="197" y="86"/>
                </a:lnTo>
                <a:close/>
                <a:moveTo>
                  <a:pt x="197" y="99"/>
                </a:moveTo>
                <a:lnTo>
                  <a:pt x="197" y="99"/>
                </a:lnTo>
                <a:lnTo>
                  <a:pt x="197" y="94"/>
                </a:lnTo>
                <a:lnTo>
                  <a:pt x="197" y="94"/>
                </a:lnTo>
                <a:lnTo>
                  <a:pt x="197" y="91"/>
                </a:lnTo>
                <a:lnTo>
                  <a:pt x="197" y="91"/>
                </a:lnTo>
                <a:lnTo>
                  <a:pt x="197" y="96"/>
                </a:lnTo>
                <a:lnTo>
                  <a:pt x="197" y="96"/>
                </a:lnTo>
                <a:lnTo>
                  <a:pt x="197" y="99"/>
                </a:lnTo>
                <a:lnTo>
                  <a:pt x="197" y="99"/>
                </a:lnTo>
                <a:close/>
                <a:moveTo>
                  <a:pt x="212" y="74"/>
                </a:moveTo>
                <a:lnTo>
                  <a:pt x="212" y="74"/>
                </a:lnTo>
                <a:lnTo>
                  <a:pt x="209" y="74"/>
                </a:lnTo>
                <a:lnTo>
                  <a:pt x="209" y="74"/>
                </a:lnTo>
                <a:lnTo>
                  <a:pt x="209" y="74"/>
                </a:lnTo>
                <a:lnTo>
                  <a:pt x="212" y="74"/>
                </a:lnTo>
                <a:lnTo>
                  <a:pt x="212" y="74"/>
                </a:lnTo>
                <a:lnTo>
                  <a:pt x="212" y="74"/>
                </a:lnTo>
                <a:close/>
                <a:moveTo>
                  <a:pt x="47" y="182"/>
                </a:moveTo>
                <a:lnTo>
                  <a:pt x="47" y="182"/>
                </a:lnTo>
                <a:lnTo>
                  <a:pt x="47" y="180"/>
                </a:lnTo>
                <a:lnTo>
                  <a:pt x="47" y="180"/>
                </a:lnTo>
                <a:lnTo>
                  <a:pt x="49" y="175"/>
                </a:lnTo>
                <a:lnTo>
                  <a:pt x="49" y="175"/>
                </a:lnTo>
                <a:lnTo>
                  <a:pt x="49" y="180"/>
                </a:lnTo>
                <a:lnTo>
                  <a:pt x="49" y="180"/>
                </a:lnTo>
                <a:lnTo>
                  <a:pt x="47" y="182"/>
                </a:lnTo>
                <a:lnTo>
                  <a:pt x="47" y="182"/>
                </a:lnTo>
                <a:close/>
                <a:moveTo>
                  <a:pt x="0" y="261"/>
                </a:moveTo>
                <a:lnTo>
                  <a:pt x="0" y="261"/>
                </a:lnTo>
                <a:lnTo>
                  <a:pt x="3" y="254"/>
                </a:lnTo>
                <a:lnTo>
                  <a:pt x="3" y="254"/>
                </a:lnTo>
                <a:lnTo>
                  <a:pt x="3" y="259"/>
                </a:lnTo>
                <a:lnTo>
                  <a:pt x="0" y="261"/>
                </a:lnTo>
                <a:lnTo>
                  <a:pt x="0" y="261"/>
                </a:lnTo>
                <a:close/>
                <a:moveTo>
                  <a:pt x="0" y="273"/>
                </a:moveTo>
                <a:lnTo>
                  <a:pt x="0" y="273"/>
                </a:lnTo>
                <a:lnTo>
                  <a:pt x="0" y="266"/>
                </a:lnTo>
                <a:lnTo>
                  <a:pt x="0" y="266"/>
                </a:lnTo>
                <a:lnTo>
                  <a:pt x="0" y="264"/>
                </a:lnTo>
                <a:lnTo>
                  <a:pt x="0" y="264"/>
                </a:lnTo>
                <a:lnTo>
                  <a:pt x="3" y="268"/>
                </a:lnTo>
                <a:lnTo>
                  <a:pt x="3" y="268"/>
                </a:lnTo>
                <a:lnTo>
                  <a:pt x="0" y="273"/>
                </a:lnTo>
                <a:lnTo>
                  <a:pt x="0" y="273"/>
                </a:lnTo>
                <a:close/>
                <a:moveTo>
                  <a:pt x="342" y="473"/>
                </a:moveTo>
                <a:lnTo>
                  <a:pt x="342" y="473"/>
                </a:lnTo>
                <a:lnTo>
                  <a:pt x="342" y="475"/>
                </a:lnTo>
                <a:lnTo>
                  <a:pt x="342" y="475"/>
                </a:lnTo>
                <a:lnTo>
                  <a:pt x="345" y="477"/>
                </a:lnTo>
                <a:lnTo>
                  <a:pt x="345" y="477"/>
                </a:lnTo>
                <a:lnTo>
                  <a:pt x="345" y="477"/>
                </a:lnTo>
                <a:lnTo>
                  <a:pt x="345" y="480"/>
                </a:lnTo>
                <a:lnTo>
                  <a:pt x="345" y="480"/>
                </a:lnTo>
                <a:lnTo>
                  <a:pt x="347" y="480"/>
                </a:lnTo>
                <a:lnTo>
                  <a:pt x="347" y="480"/>
                </a:lnTo>
                <a:lnTo>
                  <a:pt x="350" y="477"/>
                </a:lnTo>
                <a:lnTo>
                  <a:pt x="350" y="477"/>
                </a:lnTo>
                <a:lnTo>
                  <a:pt x="352" y="480"/>
                </a:lnTo>
                <a:lnTo>
                  <a:pt x="352" y="480"/>
                </a:lnTo>
                <a:lnTo>
                  <a:pt x="350" y="480"/>
                </a:lnTo>
                <a:lnTo>
                  <a:pt x="350" y="480"/>
                </a:lnTo>
                <a:lnTo>
                  <a:pt x="342" y="480"/>
                </a:lnTo>
                <a:lnTo>
                  <a:pt x="342" y="480"/>
                </a:lnTo>
                <a:lnTo>
                  <a:pt x="342" y="482"/>
                </a:lnTo>
                <a:lnTo>
                  <a:pt x="342" y="482"/>
                </a:lnTo>
                <a:lnTo>
                  <a:pt x="340" y="482"/>
                </a:lnTo>
                <a:lnTo>
                  <a:pt x="340" y="482"/>
                </a:lnTo>
                <a:lnTo>
                  <a:pt x="340" y="482"/>
                </a:lnTo>
                <a:lnTo>
                  <a:pt x="340" y="482"/>
                </a:lnTo>
                <a:lnTo>
                  <a:pt x="337" y="482"/>
                </a:lnTo>
                <a:lnTo>
                  <a:pt x="337" y="482"/>
                </a:lnTo>
                <a:lnTo>
                  <a:pt x="335" y="482"/>
                </a:lnTo>
                <a:lnTo>
                  <a:pt x="335" y="482"/>
                </a:lnTo>
                <a:lnTo>
                  <a:pt x="332" y="482"/>
                </a:lnTo>
                <a:lnTo>
                  <a:pt x="332" y="482"/>
                </a:lnTo>
                <a:lnTo>
                  <a:pt x="332" y="482"/>
                </a:lnTo>
                <a:lnTo>
                  <a:pt x="327" y="482"/>
                </a:lnTo>
                <a:lnTo>
                  <a:pt x="327" y="482"/>
                </a:lnTo>
                <a:lnTo>
                  <a:pt x="325" y="480"/>
                </a:lnTo>
                <a:lnTo>
                  <a:pt x="325" y="480"/>
                </a:lnTo>
                <a:lnTo>
                  <a:pt x="327" y="477"/>
                </a:lnTo>
                <a:lnTo>
                  <a:pt x="327" y="477"/>
                </a:lnTo>
                <a:lnTo>
                  <a:pt x="330" y="477"/>
                </a:lnTo>
                <a:lnTo>
                  <a:pt x="330" y="477"/>
                </a:lnTo>
                <a:lnTo>
                  <a:pt x="337" y="475"/>
                </a:lnTo>
                <a:lnTo>
                  <a:pt x="337" y="475"/>
                </a:lnTo>
                <a:lnTo>
                  <a:pt x="342" y="475"/>
                </a:lnTo>
                <a:lnTo>
                  <a:pt x="342" y="475"/>
                </a:lnTo>
                <a:lnTo>
                  <a:pt x="342" y="473"/>
                </a:lnTo>
                <a:lnTo>
                  <a:pt x="342" y="473"/>
                </a:lnTo>
                <a:close/>
                <a:moveTo>
                  <a:pt x="443" y="546"/>
                </a:moveTo>
                <a:lnTo>
                  <a:pt x="443" y="546"/>
                </a:lnTo>
                <a:lnTo>
                  <a:pt x="445" y="546"/>
                </a:lnTo>
                <a:lnTo>
                  <a:pt x="445" y="546"/>
                </a:lnTo>
                <a:lnTo>
                  <a:pt x="445" y="546"/>
                </a:lnTo>
                <a:lnTo>
                  <a:pt x="445" y="549"/>
                </a:lnTo>
                <a:lnTo>
                  <a:pt x="445" y="549"/>
                </a:lnTo>
                <a:lnTo>
                  <a:pt x="443" y="546"/>
                </a:lnTo>
                <a:lnTo>
                  <a:pt x="443" y="546"/>
                </a:lnTo>
                <a:close/>
                <a:moveTo>
                  <a:pt x="460" y="556"/>
                </a:moveTo>
                <a:lnTo>
                  <a:pt x="460" y="556"/>
                </a:lnTo>
                <a:lnTo>
                  <a:pt x="460" y="559"/>
                </a:lnTo>
                <a:lnTo>
                  <a:pt x="460" y="559"/>
                </a:lnTo>
                <a:lnTo>
                  <a:pt x="463" y="556"/>
                </a:lnTo>
                <a:lnTo>
                  <a:pt x="463" y="556"/>
                </a:lnTo>
                <a:lnTo>
                  <a:pt x="460" y="556"/>
                </a:lnTo>
                <a:lnTo>
                  <a:pt x="460" y="556"/>
                </a:lnTo>
                <a:close/>
                <a:moveTo>
                  <a:pt x="423" y="598"/>
                </a:moveTo>
                <a:lnTo>
                  <a:pt x="423" y="598"/>
                </a:lnTo>
                <a:lnTo>
                  <a:pt x="423" y="600"/>
                </a:lnTo>
                <a:lnTo>
                  <a:pt x="423" y="600"/>
                </a:lnTo>
                <a:lnTo>
                  <a:pt x="426" y="600"/>
                </a:lnTo>
                <a:lnTo>
                  <a:pt x="426" y="600"/>
                </a:lnTo>
                <a:lnTo>
                  <a:pt x="426" y="600"/>
                </a:lnTo>
                <a:lnTo>
                  <a:pt x="426" y="598"/>
                </a:lnTo>
                <a:lnTo>
                  <a:pt x="426" y="598"/>
                </a:lnTo>
                <a:lnTo>
                  <a:pt x="423" y="598"/>
                </a:lnTo>
                <a:lnTo>
                  <a:pt x="423" y="598"/>
                </a:lnTo>
                <a:close/>
                <a:moveTo>
                  <a:pt x="423" y="593"/>
                </a:moveTo>
                <a:lnTo>
                  <a:pt x="423" y="593"/>
                </a:lnTo>
                <a:lnTo>
                  <a:pt x="423" y="596"/>
                </a:lnTo>
                <a:lnTo>
                  <a:pt x="423" y="596"/>
                </a:lnTo>
                <a:lnTo>
                  <a:pt x="426" y="596"/>
                </a:lnTo>
                <a:lnTo>
                  <a:pt x="426" y="596"/>
                </a:lnTo>
                <a:lnTo>
                  <a:pt x="426" y="593"/>
                </a:lnTo>
                <a:lnTo>
                  <a:pt x="426" y="593"/>
                </a:lnTo>
                <a:lnTo>
                  <a:pt x="423" y="593"/>
                </a:lnTo>
                <a:lnTo>
                  <a:pt x="423" y="593"/>
                </a:lnTo>
                <a:close/>
                <a:moveTo>
                  <a:pt x="421" y="596"/>
                </a:moveTo>
                <a:lnTo>
                  <a:pt x="421" y="596"/>
                </a:lnTo>
                <a:lnTo>
                  <a:pt x="421" y="596"/>
                </a:lnTo>
                <a:lnTo>
                  <a:pt x="421" y="593"/>
                </a:lnTo>
                <a:lnTo>
                  <a:pt x="421" y="593"/>
                </a:lnTo>
                <a:lnTo>
                  <a:pt x="423" y="591"/>
                </a:lnTo>
                <a:lnTo>
                  <a:pt x="423" y="591"/>
                </a:lnTo>
                <a:lnTo>
                  <a:pt x="423" y="593"/>
                </a:lnTo>
                <a:lnTo>
                  <a:pt x="423" y="593"/>
                </a:lnTo>
                <a:lnTo>
                  <a:pt x="421" y="596"/>
                </a:lnTo>
                <a:lnTo>
                  <a:pt x="421" y="596"/>
                </a:lnTo>
                <a:close/>
                <a:moveTo>
                  <a:pt x="411" y="586"/>
                </a:moveTo>
                <a:lnTo>
                  <a:pt x="411" y="586"/>
                </a:lnTo>
                <a:lnTo>
                  <a:pt x="411" y="583"/>
                </a:lnTo>
                <a:lnTo>
                  <a:pt x="411" y="583"/>
                </a:lnTo>
                <a:lnTo>
                  <a:pt x="411" y="581"/>
                </a:lnTo>
                <a:lnTo>
                  <a:pt x="411" y="581"/>
                </a:lnTo>
                <a:lnTo>
                  <a:pt x="413" y="578"/>
                </a:lnTo>
                <a:lnTo>
                  <a:pt x="413" y="578"/>
                </a:lnTo>
                <a:lnTo>
                  <a:pt x="413" y="576"/>
                </a:lnTo>
                <a:lnTo>
                  <a:pt x="413" y="576"/>
                </a:lnTo>
                <a:lnTo>
                  <a:pt x="416" y="573"/>
                </a:lnTo>
                <a:lnTo>
                  <a:pt x="416" y="573"/>
                </a:lnTo>
                <a:lnTo>
                  <a:pt x="416" y="571"/>
                </a:lnTo>
                <a:lnTo>
                  <a:pt x="416" y="571"/>
                </a:lnTo>
                <a:lnTo>
                  <a:pt x="418" y="573"/>
                </a:lnTo>
                <a:lnTo>
                  <a:pt x="418" y="573"/>
                </a:lnTo>
                <a:lnTo>
                  <a:pt x="418" y="578"/>
                </a:lnTo>
                <a:lnTo>
                  <a:pt x="418" y="578"/>
                </a:lnTo>
                <a:lnTo>
                  <a:pt x="418" y="578"/>
                </a:lnTo>
                <a:lnTo>
                  <a:pt x="416" y="583"/>
                </a:lnTo>
                <a:lnTo>
                  <a:pt x="416" y="583"/>
                </a:lnTo>
                <a:lnTo>
                  <a:pt x="416" y="583"/>
                </a:lnTo>
                <a:lnTo>
                  <a:pt x="413" y="586"/>
                </a:lnTo>
                <a:lnTo>
                  <a:pt x="413" y="586"/>
                </a:lnTo>
                <a:lnTo>
                  <a:pt x="411" y="586"/>
                </a:lnTo>
                <a:lnTo>
                  <a:pt x="411" y="586"/>
                </a:lnTo>
                <a:close/>
                <a:moveTo>
                  <a:pt x="473" y="593"/>
                </a:moveTo>
                <a:lnTo>
                  <a:pt x="473" y="593"/>
                </a:lnTo>
                <a:lnTo>
                  <a:pt x="480" y="591"/>
                </a:lnTo>
                <a:lnTo>
                  <a:pt x="480" y="591"/>
                </a:lnTo>
                <a:lnTo>
                  <a:pt x="480" y="588"/>
                </a:lnTo>
                <a:lnTo>
                  <a:pt x="480" y="588"/>
                </a:lnTo>
                <a:lnTo>
                  <a:pt x="473" y="583"/>
                </a:lnTo>
                <a:lnTo>
                  <a:pt x="473" y="583"/>
                </a:lnTo>
                <a:lnTo>
                  <a:pt x="473" y="583"/>
                </a:lnTo>
                <a:lnTo>
                  <a:pt x="473" y="586"/>
                </a:lnTo>
                <a:lnTo>
                  <a:pt x="473" y="586"/>
                </a:lnTo>
                <a:lnTo>
                  <a:pt x="470" y="588"/>
                </a:lnTo>
                <a:lnTo>
                  <a:pt x="470" y="588"/>
                </a:lnTo>
                <a:lnTo>
                  <a:pt x="473" y="591"/>
                </a:lnTo>
                <a:lnTo>
                  <a:pt x="473" y="591"/>
                </a:lnTo>
                <a:lnTo>
                  <a:pt x="473" y="593"/>
                </a:lnTo>
                <a:lnTo>
                  <a:pt x="473" y="593"/>
                </a:lnTo>
                <a:close/>
                <a:moveTo>
                  <a:pt x="470" y="596"/>
                </a:moveTo>
                <a:lnTo>
                  <a:pt x="470" y="596"/>
                </a:lnTo>
                <a:lnTo>
                  <a:pt x="470" y="598"/>
                </a:lnTo>
                <a:lnTo>
                  <a:pt x="470" y="598"/>
                </a:lnTo>
                <a:lnTo>
                  <a:pt x="475" y="598"/>
                </a:lnTo>
                <a:lnTo>
                  <a:pt x="475" y="598"/>
                </a:lnTo>
                <a:lnTo>
                  <a:pt x="477" y="600"/>
                </a:lnTo>
                <a:lnTo>
                  <a:pt x="477" y="600"/>
                </a:lnTo>
                <a:lnTo>
                  <a:pt x="480" y="598"/>
                </a:lnTo>
                <a:lnTo>
                  <a:pt x="480" y="598"/>
                </a:lnTo>
                <a:lnTo>
                  <a:pt x="475" y="596"/>
                </a:lnTo>
                <a:lnTo>
                  <a:pt x="475" y="596"/>
                </a:lnTo>
                <a:lnTo>
                  <a:pt x="473" y="596"/>
                </a:lnTo>
                <a:lnTo>
                  <a:pt x="473" y="596"/>
                </a:lnTo>
                <a:lnTo>
                  <a:pt x="470" y="596"/>
                </a:lnTo>
                <a:lnTo>
                  <a:pt x="470" y="596"/>
                </a:lnTo>
                <a:close/>
                <a:moveTo>
                  <a:pt x="473" y="603"/>
                </a:moveTo>
                <a:lnTo>
                  <a:pt x="473" y="603"/>
                </a:lnTo>
                <a:lnTo>
                  <a:pt x="473" y="603"/>
                </a:lnTo>
                <a:lnTo>
                  <a:pt x="475" y="600"/>
                </a:lnTo>
                <a:lnTo>
                  <a:pt x="475" y="600"/>
                </a:lnTo>
                <a:lnTo>
                  <a:pt x="473" y="603"/>
                </a:lnTo>
                <a:lnTo>
                  <a:pt x="473" y="603"/>
                </a:lnTo>
                <a:close/>
                <a:moveTo>
                  <a:pt x="458" y="655"/>
                </a:moveTo>
                <a:lnTo>
                  <a:pt x="458" y="655"/>
                </a:lnTo>
                <a:lnTo>
                  <a:pt x="458" y="652"/>
                </a:lnTo>
                <a:lnTo>
                  <a:pt x="458" y="652"/>
                </a:lnTo>
                <a:lnTo>
                  <a:pt x="458" y="652"/>
                </a:lnTo>
                <a:lnTo>
                  <a:pt x="458" y="655"/>
                </a:lnTo>
                <a:lnTo>
                  <a:pt x="458" y="655"/>
                </a:lnTo>
                <a:close/>
                <a:moveTo>
                  <a:pt x="438" y="672"/>
                </a:moveTo>
                <a:lnTo>
                  <a:pt x="438" y="672"/>
                </a:lnTo>
                <a:lnTo>
                  <a:pt x="436" y="669"/>
                </a:lnTo>
                <a:lnTo>
                  <a:pt x="436" y="669"/>
                </a:lnTo>
                <a:lnTo>
                  <a:pt x="438" y="667"/>
                </a:lnTo>
                <a:lnTo>
                  <a:pt x="438" y="667"/>
                </a:lnTo>
                <a:lnTo>
                  <a:pt x="438" y="664"/>
                </a:lnTo>
                <a:lnTo>
                  <a:pt x="438" y="664"/>
                </a:lnTo>
                <a:lnTo>
                  <a:pt x="441" y="664"/>
                </a:lnTo>
                <a:lnTo>
                  <a:pt x="441" y="664"/>
                </a:lnTo>
                <a:lnTo>
                  <a:pt x="441" y="664"/>
                </a:lnTo>
                <a:lnTo>
                  <a:pt x="441" y="667"/>
                </a:lnTo>
                <a:lnTo>
                  <a:pt x="441" y="667"/>
                </a:lnTo>
                <a:lnTo>
                  <a:pt x="438" y="672"/>
                </a:lnTo>
                <a:lnTo>
                  <a:pt x="438" y="672"/>
                </a:lnTo>
                <a:close/>
                <a:moveTo>
                  <a:pt x="418" y="669"/>
                </a:moveTo>
                <a:lnTo>
                  <a:pt x="418" y="669"/>
                </a:lnTo>
                <a:lnTo>
                  <a:pt x="418" y="667"/>
                </a:lnTo>
                <a:lnTo>
                  <a:pt x="418" y="667"/>
                </a:lnTo>
                <a:lnTo>
                  <a:pt x="421" y="664"/>
                </a:lnTo>
                <a:lnTo>
                  <a:pt x="421" y="664"/>
                </a:lnTo>
                <a:lnTo>
                  <a:pt x="418" y="664"/>
                </a:lnTo>
                <a:lnTo>
                  <a:pt x="418" y="664"/>
                </a:lnTo>
                <a:lnTo>
                  <a:pt x="416" y="659"/>
                </a:lnTo>
                <a:lnTo>
                  <a:pt x="416" y="659"/>
                </a:lnTo>
                <a:lnTo>
                  <a:pt x="418" y="659"/>
                </a:lnTo>
                <a:lnTo>
                  <a:pt x="418" y="659"/>
                </a:lnTo>
                <a:lnTo>
                  <a:pt x="416" y="657"/>
                </a:lnTo>
                <a:lnTo>
                  <a:pt x="416" y="657"/>
                </a:lnTo>
                <a:lnTo>
                  <a:pt x="416" y="650"/>
                </a:lnTo>
                <a:lnTo>
                  <a:pt x="416" y="650"/>
                </a:lnTo>
                <a:lnTo>
                  <a:pt x="416" y="647"/>
                </a:lnTo>
                <a:lnTo>
                  <a:pt x="416" y="647"/>
                </a:lnTo>
                <a:lnTo>
                  <a:pt x="413" y="645"/>
                </a:lnTo>
                <a:lnTo>
                  <a:pt x="413" y="645"/>
                </a:lnTo>
                <a:lnTo>
                  <a:pt x="413" y="640"/>
                </a:lnTo>
                <a:lnTo>
                  <a:pt x="413" y="640"/>
                </a:lnTo>
                <a:lnTo>
                  <a:pt x="416" y="637"/>
                </a:lnTo>
                <a:lnTo>
                  <a:pt x="416" y="637"/>
                </a:lnTo>
                <a:lnTo>
                  <a:pt x="418" y="640"/>
                </a:lnTo>
                <a:lnTo>
                  <a:pt x="418" y="640"/>
                </a:lnTo>
                <a:lnTo>
                  <a:pt x="421" y="640"/>
                </a:lnTo>
                <a:lnTo>
                  <a:pt x="421" y="640"/>
                </a:lnTo>
                <a:lnTo>
                  <a:pt x="418" y="637"/>
                </a:lnTo>
                <a:lnTo>
                  <a:pt x="418" y="637"/>
                </a:lnTo>
                <a:lnTo>
                  <a:pt x="418" y="635"/>
                </a:lnTo>
                <a:lnTo>
                  <a:pt x="418" y="635"/>
                </a:lnTo>
                <a:lnTo>
                  <a:pt x="416" y="635"/>
                </a:lnTo>
                <a:lnTo>
                  <a:pt x="416" y="635"/>
                </a:lnTo>
                <a:lnTo>
                  <a:pt x="418" y="630"/>
                </a:lnTo>
                <a:lnTo>
                  <a:pt x="418" y="630"/>
                </a:lnTo>
                <a:lnTo>
                  <a:pt x="416" y="625"/>
                </a:lnTo>
                <a:lnTo>
                  <a:pt x="416" y="625"/>
                </a:lnTo>
                <a:lnTo>
                  <a:pt x="416" y="618"/>
                </a:lnTo>
                <a:lnTo>
                  <a:pt x="416" y="618"/>
                </a:lnTo>
                <a:lnTo>
                  <a:pt x="418" y="613"/>
                </a:lnTo>
                <a:lnTo>
                  <a:pt x="418" y="613"/>
                </a:lnTo>
                <a:lnTo>
                  <a:pt x="416" y="608"/>
                </a:lnTo>
                <a:lnTo>
                  <a:pt x="416" y="608"/>
                </a:lnTo>
                <a:lnTo>
                  <a:pt x="416" y="605"/>
                </a:lnTo>
                <a:lnTo>
                  <a:pt x="416" y="605"/>
                </a:lnTo>
                <a:lnTo>
                  <a:pt x="418" y="603"/>
                </a:lnTo>
                <a:lnTo>
                  <a:pt x="418" y="603"/>
                </a:lnTo>
                <a:lnTo>
                  <a:pt x="418" y="600"/>
                </a:lnTo>
                <a:lnTo>
                  <a:pt x="418" y="600"/>
                </a:lnTo>
                <a:lnTo>
                  <a:pt x="418" y="598"/>
                </a:lnTo>
                <a:lnTo>
                  <a:pt x="418" y="598"/>
                </a:lnTo>
                <a:lnTo>
                  <a:pt x="421" y="600"/>
                </a:lnTo>
                <a:lnTo>
                  <a:pt x="421" y="600"/>
                </a:lnTo>
                <a:lnTo>
                  <a:pt x="426" y="603"/>
                </a:lnTo>
                <a:lnTo>
                  <a:pt x="426" y="603"/>
                </a:lnTo>
                <a:lnTo>
                  <a:pt x="426" y="605"/>
                </a:lnTo>
                <a:lnTo>
                  <a:pt x="426" y="605"/>
                </a:lnTo>
                <a:lnTo>
                  <a:pt x="428" y="603"/>
                </a:lnTo>
                <a:lnTo>
                  <a:pt x="428" y="603"/>
                </a:lnTo>
                <a:lnTo>
                  <a:pt x="428" y="600"/>
                </a:lnTo>
                <a:lnTo>
                  <a:pt x="428" y="600"/>
                </a:lnTo>
                <a:lnTo>
                  <a:pt x="428" y="605"/>
                </a:lnTo>
                <a:lnTo>
                  <a:pt x="428" y="605"/>
                </a:lnTo>
                <a:lnTo>
                  <a:pt x="433" y="608"/>
                </a:lnTo>
                <a:lnTo>
                  <a:pt x="433" y="608"/>
                </a:lnTo>
                <a:lnTo>
                  <a:pt x="438" y="613"/>
                </a:lnTo>
                <a:lnTo>
                  <a:pt x="438" y="613"/>
                </a:lnTo>
                <a:lnTo>
                  <a:pt x="441" y="615"/>
                </a:lnTo>
                <a:lnTo>
                  <a:pt x="441" y="615"/>
                </a:lnTo>
                <a:lnTo>
                  <a:pt x="443" y="613"/>
                </a:lnTo>
                <a:lnTo>
                  <a:pt x="443" y="613"/>
                </a:lnTo>
                <a:lnTo>
                  <a:pt x="445" y="613"/>
                </a:lnTo>
                <a:lnTo>
                  <a:pt x="445" y="613"/>
                </a:lnTo>
                <a:lnTo>
                  <a:pt x="448" y="615"/>
                </a:lnTo>
                <a:lnTo>
                  <a:pt x="448" y="615"/>
                </a:lnTo>
                <a:lnTo>
                  <a:pt x="448" y="613"/>
                </a:lnTo>
                <a:lnTo>
                  <a:pt x="448" y="613"/>
                </a:lnTo>
                <a:lnTo>
                  <a:pt x="450" y="610"/>
                </a:lnTo>
                <a:lnTo>
                  <a:pt x="450" y="610"/>
                </a:lnTo>
                <a:lnTo>
                  <a:pt x="460" y="613"/>
                </a:lnTo>
                <a:lnTo>
                  <a:pt x="460" y="613"/>
                </a:lnTo>
                <a:lnTo>
                  <a:pt x="460" y="610"/>
                </a:lnTo>
                <a:lnTo>
                  <a:pt x="460" y="610"/>
                </a:lnTo>
                <a:lnTo>
                  <a:pt x="463" y="608"/>
                </a:lnTo>
                <a:lnTo>
                  <a:pt x="463" y="608"/>
                </a:lnTo>
                <a:lnTo>
                  <a:pt x="465" y="608"/>
                </a:lnTo>
                <a:lnTo>
                  <a:pt x="465" y="608"/>
                </a:lnTo>
                <a:lnTo>
                  <a:pt x="465" y="610"/>
                </a:lnTo>
                <a:lnTo>
                  <a:pt x="465" y="610"/>
                </a:lnTo>
                <a:lnTo>
                  <a:pt x="468" y="608"/>
                </a:lnTo>
                <a:lnTo>
                  <a:pt x="468" y="608"/>
                </a:lnTo>
                <a:lnTo>
                  <a:pt x="470" y="608"/>
                </a:lnTo>
                <a:lnTo>
                  <a:pt x="470" y="608"/>
                </a:lnTo>
                <a:lnTo>
                  <a:pt x="473" y="610"/>
                </a:lnTo>
                <a:lnTo>
                  <a:pt x="473" y="610"/>
                </a:lnTo>
                <a:lnTo>
                  <a:pt x="473" y="613"/>
                </a:lnTo>
                <a:lnTo>
                  <a:pt x="473" y="613"/>
                </a:lnTo>
                <a:lnTo>
                  <a:pt x="470" y="620"/>
                </a:lnTo>
                <a:lnTo>
                  <a:pt x="470" y="620"/>
                </a:lnTo>
                <a:lnTo>
                  <a:pt x="468" y="623"/>
                </a:lnTo>
                <a:lnTo>
                  <a:pt x="468" y="623"/>
                </a:lnTo>
                <a:lnTo>
                  <a:pt x="468" y="630"/>
                </a:lnTo>
                <a:lnTo>
                  <a:pt x="468" y="630"/>
                </a:lnTo>
                <a:lnTo>
                  <a:pt x="465" y="632"/>
                </a:lnTo>
                <a:lnTo>
                  <a:pt x="465" y="632"/>
                </a:lnTo>
                <a:lnTo>
                  <a:pt x="465" y="635"/>
                </a:lnTo>
                <a:lnTo>
                  <a:pt x="465" y="635"/>
                </a:lnTo>
                <a:lnTo>
                  <a:pt x="465" y="637"/>
                </a:lnTo>
                <a:lnTo>
                  <a:pt x="465" y="637"/>
                </a:lnTo>
                <a:lnTo>
                  <a:pt x="465" y="640"/>
                </a:lnTo>
                <a:lnTo>
                  <a:pt x="465" y="640"/>
                </a:lnTo>
                <a:lnTo>
                  <a:pt x="463" y="645"/>
                </a:lnTo>
                <a:lnTo>
                  <a:pt x="463" y="645"/>
                </a:lnTo>
                <a:lnTo>
                  <a:pt x="463" y="642"/>
                </a:lnTo>
                <a:lnTo>
                  <a:pt x="463" y="642"/>
                </a:lnTo>
                <a:lnTo>
                  <a:pt x="463" y="637"/>
                </a:lnTo>
                <a:lnTo>
                  <a:pt x="463" y="637"/>
                </a:lnTo>
                <a:lnTo>
                  <a:pt x="460" y="640"/>
                </a:lnTo>
                <a:lnTo>
                  <a:pt x="460" y="640"/>
                </a:lnTo>
                <a:lnTo>
                  <a:pt x="458" y="642"/>
                </a:lnTo>
                <a:lnTo>
                  <a:pt x="458" y="642"/>
                </a:lnTo>
                <a:lnTo>
                  <a:pt x="458" y="647"/>
                </a:lnTo>
                <a:lnTo>
                  <a:pt x="458" y="647"/>
                </a:lnTo>
                <a:lnTo>
                  <a:pt x="458" y="650"/>
                </a:lnTo>
                <a:lnTo>
                  <a:pt x="458" y="650"/>
                </a:lnTo>
                <a:lnTo>
                  <a:pt x="455" y="650"/>
                </a:lnTo>
                <a:lnTo>
                  <a:pt x="455" y="650"/>
                </a:lnTo>
                <a:lnTo>
                  <a:pt x="455" y="652"/>
                </a:lnTo>
                <a:lnTo>
                  <a:pt x="455" y="652"/>
                </a:lnTo>
                <a:lnTo>
                  <a:pt x="453" y="655"/>
                </a:lnTo>
                <a:lnTo>
                  <a:pt x="453" y="655"/>
                </a:lnTo>
                <a:lnTo>
                  <a:pt x="455" y="657"/>
                </a:lnTo>
                <a:lnTo>
                  <a:pt x="455" y="657"/>
                </a:lnTo>
                <a:lnTo>
                  <a:pt x="455" y="659"/>
                </a:lnTo>
                <a:lnTo>
                  <a:pt x="455" y="659"/>
                </a:lnTo>
                <a:lnTo>
                  <a:pt x="450" y="664"/>
                </a:lnTo>
                <a:lnTo>
                  <a:pt x="450" y="664"/>
                </a:lnTo>
                <a:lnTo>
                  <a:pt x="450" y="664"/>
                </a:lnTo>
                <a:lnTo>
                  <a:pt x="448" y="664"/>
                </a:lnTo>
                <a:lnTo>
                  <a:pt x="448" y="664"/>
                </a:lnTo>
                <a:lnTo>
                  <a:pt x="448" y="659"/>
                </a:lnTo>
                <a:lnTo>
                  <a:pt x="448" y="659"/>
                </a:lnTo>
                <a:lnTo>
                  <a:pt x="450" y="662"/>
                </a:lnTo>
                <a:lnTo>
                  <a:pt x="450" y="662"/>
                </a:lnTo>
                <a:lnTo>
                  <a:pt x="450" y="659"/>
                </a:lnTo>
                <a:lnTo>
                  <a:pt x="450" y="659"/>
                </a:lnTo>
                <a:lnTo>
                  <a:pt x="448" y="657"/>
                </a:lnTo>
                <a:lnTo>
                  <a:pt x="448" y="657"/>
                </a:lnTo>
                <a:lnTo>
                  <a:pt x="445" y="657"/>
                </a:lnTo>
                <a:lnTo>
                  <a:pt x="445" y="657"/>
                </a:lnTo>
                <a:lnTo>
                  <a:pt x="445" y="662"/>
                </a:lnTo>
                <a:lnTo>
                  <a:pt x="445" y="662"/>
                </a:lnTo>
                <a:lnTo>
                  <a:pt x="443" y="659"/>
                </a:lnTo>
                <a:lnTo>
                  <a:pt x="443" y="659"/>
                </a:lnTo>
                <a:lnTo>
                  <a:pt x="443" y="657"/>
                </a:lnTo>
                <a:lnTo>
                  <a:pt x="443" y="657"/>
                </a:lnTo>
                <a:lnTo>
                  <a:pt x="441" y="659"/>
                </a:lnTo>
                <a:lnTo>
                  <a:pt x="441" y="659"/>
                </a:lnTo>
                <a:lnTo>
                  <a:pt x="438" y="662"/>
                </a:lnTo>
                <a:lnTo>
                  <a:pt x="438" y="662"/>
                </a:lnTo>
                <a:lnTo>
                  <a:pt x="438" y="664"/>
                </a:lnTo>
                <a:lnTo>
                  <a:pt x="438" y="664"/>
                </a:lnTo>
                <a:lnTo>
                  <a:pt x="436" y="662"/>
                </a:lnTo>
                <a:lnTo>
                  <a:pt x="436" y="662"/>
                </a:lnTo>
                <a:lnTo>
                  <a:pt x="436" y="667"/>
                </a:lnTo>
                <a:lnTo>
                  <a:pt x="436" y="667"/>
                </a:lnTo>
                <a:lnTo>
                  <a:pt x="433" y="669"/>
                </a:lnTo>
                <a:lnTo>
                  <a:pt x="433" y="669"/>
                </a:lnTo>
                <a:lnTo>
                  <a:pt x="431" y="674"/>
                </a:lnTo>
                <a:lnTo>
                  <a:pt x="431" y="674"/>
                </a:lnTo>
                <a:lnTo>
                  <a:pt x="428" y="674"/>
                </a:lnTo>
                <a:lnTo>
                  <a:pt x="428" y="674"/>
                </a:lnTo>
                <a:lnTo>
                  <a:pt x="428" y="672"/>
                </a:lnTo>
                <a:lnTo>
                  <a:pt x="428" y="672"/>
                </a:lnTo>
                <a:lnTo>
                  <a:pt x="428" y="669"/>
                </a:lnTo>
                <a:lnTo>
                  <a:pt x="428" y="669"/>
                </a:lnTo>
                <a:lnTo>
                  <a:pt x="426" y="672"/>
                </a:lnTo>
                <a:lnTo>
                  <a:pt x="426" y="672"/>
                </a:lnTo>
                <a:lnTo>
                  <a:pt x="423" y="669"/>
                </a:lnTo>
                <a:lnTo>
                  <a:pt x="423" y="669"/>
                </a:lnTo>
                <a:lnTo>
                  <a:pt x="421" y="672"/>
                </a:lnTo>
                <a:lnTo>
                  <a:pt x="418" y="669"/>
                </a:lnTo>
                <a:lnTo>
                  <a:pt x="418" y="669"/>
                </a:lnTo>
                <a:close/>
                <a:moveTo>
                  <a:pt x="5" y="428"/>
                </a:moveTo>
                <a:lnTo>
                  <a:pt x="5" y="428"/>
                </a:lnTo>
                <a:lnTo>
                  <a:pt x="8" y="431"/>
                </a:lnTo>
                <a:lnTo>
                  <a:pt x="8" y="431"/>
                </a:lnTo>
                <a:lnTo>
                  <a:pt x="10" y="431"/>
                </a:lnTo>
                <a:lnTo>
                  <a:pt x="10" y="431"/>
                </a:lnTo>
                <a:lnTo>
                  <a:pt x="17" y="436"/>
                </a:lnTo>
                <a:lnTo>
                  <a:pt x="17" y="436"/>
                </a:lnTo>
                <a:lnTo>
                  <a:pt x="17" y="438"/>
                </a:lnTo>
                <a:lnTo>
                  <a:pt x="17" y="438"/>
                </a:lnTo>
                <a:lnTo>
                  <a:pt x="17" y="441"/>
                </a:lnTo>
                <a:lnTo>
                  <a:pt x="17" y="441"/>
                </a:lnTo>
                <a:lnTo>
                  <a:pt x="22" y="441"/>
                </a:lnTo>
                <a:lnTo>
                  <a:pt x="22" y="441"/>
                </a:lnTo>
                <a:lnTo>
                  <a:pt x="22" y="443"/>
                </a:lnTo>
                <a:lnTo>
                  <a:pt x="22" y="443"/>
                </a:lnTo>
                <a:lnTo>
                  <a:pt x="27" y="443"/>
                </a:lnTo>
                <a:lnTo>
                  <a:pt x="27" y="443"/>
                </a:lnTo>
                <a:lnTo>
                  <a:pt x="30" y="443"/>
                </a:lnTo>
                <a:lnTo>
                  <a:pt x="30" y="443"/>
                </a:lnTo>
                <a:lnTo>
                  <a:pt x="30" y="446"/>
                </a:lnTo>
                <a:lnTo>
                  <a:pt x="30" y="446"/>
                </a:lnTo>
                <a:lnTo>
                  <a:pt x="35" y="446"/>
                </a:lnTo>
                <a:lnTo>
                  <a:pt x="35" y="446"/>
                </a:lnTo>
                <a:lnTo>
                  <a:pt x="37" y="443"/>
                </a:lnTo>
                <a:lnTo>
                  <a:pt x="37" y="443"/>
                </a:lnTo>
                <a:lnTo>
                  <a:pt x="40" y="446"/>
                </a:lnTo>
                <a:lnTo>
                  <a:pt x="40" y="446"/>
                </a:lnTo>
                <a:lnTo>
                  <a:pt x="40" y="446"/>
                </a:lnTo>
                <a:lnTo>
                  <a:pt x="42" y="446"/>
                </a:lnTo>
                <a:lnTo>
                  <a:pt x="42" y="446"/>
                </a:lnTo>
                <a:lnTo>
                  <a:pt x="47" y="446"/>
                </a:lnTo>
                <a:lnTo>
                  <a:pt x="47" y="446"/>
                </a:lnTo>
                <a:lnTo>
                  <a:pt x="49" y="446"/>
                </a:lnTo>
                <a:lnTo>
                  <a:pt x="49" y="446"/>
                </a:lnTo>
                <a:lnTo>
                  <a:pt x="49" y="443"/>
                </a:lnTo>
                <a:lnTo>
                  <a:pt x="49" y="443"/>
                </a:lnTo>
                <a:lnTo>
                  <a:pt x="52" y="443"/>
                </a:lnTo>
                <a:lnTo>
                  <a:pt x="52" y="443"/>
                </a:lnTo>
                <a:lnTo>
                  <a:pt x="54" y="438"/>
                </a:lnTo>
                <a:lnTo>
                  <a:pt x="54" y="438"/>
                </a:lnTo>
                <a:lnTo>
                  <a:pt x="59" y="438"/>
                </a:lnTo>
                <a:lnTo>
                  <a:pt x="59" y="438"/>
                </a:lnTo>
                <a:lnTo>
                  <a:pt x="59" y="436"/>
                </a:lnTo>
                <a:lnTo>
                  <a:pt x="59" y="436"/>
                </a:lnTo>
                <a:lnTo>
                  <a:pt x="62" y="436"/>
                </a:lnTo>
                <a:lnTo>
                  <a:pt x="62" y="436"/>
                </a:lnTo>
                <a:lnTo>
                  <a:pt x="64" y="436"/>
                </a:lnTo>
                <a:lnTo>
                  <a:pt x="64" y="436"/>
                </a:lnTo>
                <a:lnTo>
                  <a:pt x="67" y="438"/>
                </a:lnTo>
                <a:lnTo>
                  <a:pt x="67" y="438"/>
                </a:lnTo>
                <a:lnTo>
                  <a:pt x="69" y="433"/>
                </a:lnTo>
                <a:lnTo>
                  <a:pt x="69" y="433"/>
                </a:lnTo>
                <a:lnTo>
                  <a:pt x="72" y="433"/>
                </a:lnTo>
                <a:lnTo>
                  <a:pt x="72" y="433"/>
                </a:lnTo>
                <a:lnTo>
                  <a:pt x="72" y="433"/>
                </a:lnTo>
                <a:lnTo>
                  <a:pt x="74" y="431"/>
                </a:lnTo>
                <a:lnTo>
                  <a:pt x="74" y="431"/>
                </a:lnTo>
                <a:lnTo>
                  <a:pt x="81" y="423"/>
                </a:lnTo>
                <a:lnTo>
                  <a:pt x="81" y="423"/>
                </a:lnTo>
                <a:lnTo>
                  <a:pt x="84" y="426"/>
                </a:lnTo>
                <a:lnTo>
                  <a:pt x="84" y="426"/>
                </a:lnTo>
                <a:lnTo>
                  <a:pt x="86" y="426"/>
                </a:lnTo>
                <a:lnTo>
                  <a:pt x="86" y="426"/>
                </a:lnTo>
                <a:lnTo>
                  <a:pt x="89" y="423"/>
                </a:lnTo>
                <a:lnTo>
                  <a:pt x="89" y="423"/>
                </a:lnTo>
                <a:lnTo>
                  <a:pt x="99" y="423"/>
                </a:lnTo>
                <a:lnTo>
                  <a:pt x="99" y="423"/>
                </a:lnTo>
                <a:lnTo>
                  <a:pt x="99" y="423"/>
                </a:lnTo>
                <a:lnTo>
                  <a:pt x="104" y="423"/>
                </a:lnTo>
                <a:lnTo>
                  <a:pt x="104" y="423"/>
                </a:lnTo>
                <a:lnTo>
                  <a:pt x="106" y="423"/>
                </a:lnTo>
                <a:lnTo>
                  <a:pt x="106" y="423"/>
                </a:lnTo>
                <a:lnTo>
                  <a:pt x="108" y="423"/>
                </a:lnTo>
                <a:lnTo>
                  <a:pt x="108" y="423"/>
                </a:lnTo>
                <a:lnTo>
                  <a:pt x="111" y="423"/>
                </a:lnTo>
                <a:lnTo>
                  <a:pt x="111" y="423"/>
                </a:lnTo>
                <a:lnTo>
                  <a:pt x="113" y="426"/>
                </a:lnTo>
                <a:lnTo>
                  <a:pt x="113" y="426"/>
                </a:lnTo>
                <a:lnTo>
                  <a:pt x="116" y="426"/>
                </a:lnTo>
                <a:lnTo>
                  <a:pt x="116" y="426"/>
                </a:lnTo>
                <a:lnTo>
                  <a:pt x="118" y="426"/>
                </a:lnTo>
                <a:lnTo>
                  <a:pt x="118" y="426"/>
                </a:lnTo>
                <a:lnTo>
                  <a:pt x="118" y="426"/>
                </a:lnTo>
                <a:lnTo>
                  <a:pt x="121" y="426"/>
                </a:lnTo>
                <a:lnTo>
                  <a:pt x="121" y="426"/>
                </a:lnTo>
                <a:lnTo>
                  <a:pt x="128" y="426"/>
                </a:lnTo>
                <a:lnTo>
                  <a:pt x="128" y="426"/>
                </a:lnTo>
                <a:lnTo>
                  <a:pt x="126" y="428"/>
                </a:lnTo>
                <a:lnTo>
                  <a:pt x="126" y="428"/>
                </a:lnTo>
                <a:lnTo>
                  <a:pt x="128" y="428"/>
                </a:lnTo>
                <a:lnTo>
                  <a:pt x="128" y="428"/>
                </a:lnTo>
                <a:lnTo>
                  <a:pt x="131" y="426"/>
                </a:lnTo>
                <a:lnTo>
                  <a:pt x="131" y="426"/>
                </a:lnTo>
                <a:lnTo>
                  <a:pt x="135" y="426"/>
                </a:lnTo>
                <a:lnTo>
                  <a:pt x="135" y="426"/>
                </a:lnTo>
                <a:lnTo>
                  <a:pt x="138" y="423"/>
                </a:lnTo>
                <a:lnTo>
                  <a:pt x="138" y="423"/>
                </a:lnTo>
                <a:lnTo>
                  <a:pt x="140" y="418"/>
                </a:lnTo>
                <a:lnTo>
                  <a:pt x="140" y="418"/>
                </a:lnTo>
                <a:lnTo>
                  <a:pt x="140" y="418"/>
                </a:lnTo>
                <a:lnTo>
                  <a:pt x="145" y="416"/>
                </a:lnTo>
                <a:lnTo>
                  <a:pt x="145" y="416"/>
                </a:lnTo>
                <a:lnTo>
                  <a:pt x="148" y="411"/>
                </a:lnTo>
                <a:lnTo>
                  <a:pt x="148" y="411"/>
                </a:lnTo>
                <a:lnTo>
                  <a:pt x="150" y="406"/>
                </a:lnTo>
                <a:lnTo>
                  <a:pt x="150" y="406"/>
                </a:lnTo>
                <a:lnTo>
                  <a:pt x="155" y="406"/>
                </a:lnTo>
                <a:lnTo>
                  <a:pt x="155" y="406"/>
                </a:lnTo>
                <a:lnTo>
                  <a:pt x="158" y="406"/>
                </a:lnTo>
                <a:lnTo>
                  <a:pt x="158" y="406"/>
                </a:lnTo>
                <a:lnTo>
                  <a:pt x="163" y="404"/>
                </a:lnTo>
                <a:lnTo>
                  <a:pt x="163" y="404"/>
                </a:lnTo>
                <a:lnTo>
                  <a:pt x="170" y="399"/>
                </a:lnTo>
                <a:lnTo>
                  <a:pt x="170" y="399"/>
                </a:lnTo>
                <a:lnTo>
                  <a:pt x="177" y="394"/>
                </a:lnTo>
                <a:lnTo>
                  <a:pt x="177" y="394"/>
                </a:lnTo>
                <a:lnTo>
                  <a:pt x="177" y="394"/>
                </a:lnTo>
                <a:lnTo>
                  <a:pt x="180" y="394"/>
                </a:lnTo>
                <a:lnTo>
                  <a:pt x="180" y="394"/>
                </a:lnTo>
                <a:lnTo>
                  <a:pt x="182" y="394"/>
                </a:lnTo>
                <a:lnTo>
                  <a:pt x="182" y="394"/>
                </a:lnTo>
                <a:lnTo>
                  <a:pt x="187" y="396"/>
                </a:lnTo>
                <a:lnTo>
                  <a:pt x="187" y="396"/>
                </a:lnTo>
                <a:lnTo>
                  <a:pt x="192" y="396"/>
                </a:lnTo>
                <a:lnTo>
                  <a:pt x="192" y="396"/>
                </a:lnTo>
                <a:lnTo>
                  <a:pt x="195" y="396"/>
                </a:lnTo>
                <a:lnTo>
                  <a:pt x="195" y="396"/>
                </a:lnTo>
                <a:lnTo>
                  <a:pt x="202" y="396"/>
                </a:lnTo>
                <a:lnTo>
                  <a:pt x="202" y="396"/>
                </a:lnTo>
                <a:lnTo>
                  <a:pt x="209" y="391"/>
                </a:lnTo>
                <a:lnTo>
                  <a:pt x="209" y="391"/>
                </a:lnTo>
                <a:lnTo>
                  <a:pt x="214" y="391"/>
                </a:lnTo>
                <a:lnTo>
                  <a:pt x="214" y="391"/>
                </a:lnTo>
                <a:lnTo>
                  <a:pt x="219" y="389"/>
                </a:lnTo>
                <a:lnTo>
                  <a:pt x="219" y="389"/>
                </a:lnTo>
                <a:lnTo>
                  <a:pt x="222" y="389"/>
                </a:lnTo>
                <a:lnTo>
                  <a:pt x="222" y="389"/>
                </a:lnTo>
                <a:lnTo>
                  <a:pt x="224" y="386"/>
                </a:lnTo>
                <a:lnTo>
                  <a:pt x="224" y="386"/>
                </a:lnTo>
                <a:lnTo>
                  <a:pt x="231" y="384"/>
                </a:lnTo>
                <a:lnTo>
                  <a:pt x="231" y="384"/>
                </a:lnTo>
                <a:lnTo>
                  <a:pt x="249" y="384"/>
                </a:lnTo>
                <a:lnTo>
                  <a:pt x="249" y="384"/>
                </a:lnTo>
                <a:lnTo>
                  <a:pt x="254" y="386"/>
                </a:lnTo>
                <a:lnTo>
                  <a:pt x="254" y="386"/>
                </a:lnTo>
                <a:lnTo>
                  <a:pt x="258" y="386"/>
                </a:lnTo>
                <a:lnTo>
                  <a:pt x="258" y="386"/>
                </a:lnTo>
                <a:lnTo>
                  <a:pt x="263" y="384"/>
                </a:lnTo>
                <a:lnTo>
                  <a:pt x="263" y="384"/>
                </a:lnTo>
                <a:lnTo>
                  <a:pt x="266" y="384"/>
                </a:lnTo>
                <a:lnTo>
                  <a:pt x="266" y="384"/>
                </a:lnTo>
                <a:lnTo>
                  <a:pt x="271" y="389"/>
                </a:lnTo>
                <a:lnTo>
                  <a:pt x="271" y="389"/>
                </a:lnTo>
                <a:lnTo>
                  <a:pt x="276" y="394"/>
                </a:lnTo>
                <a:lnTo>
                  <a:pt x="276" y="394"/>
                </a:lnTo>
                <a:lnTo>
                  <a:pt x="278" y="396"/>
                </a:lnTo>
                <a:lnTo>
                  <a:pt x="278" y="396"/>
                </a:lnTo>
                <a:lnTo>
                  <a:pt x="278" y="394"/>
                </a:lnTo>
                <a:lnTo>
                  <a:pt x="278" y="394"/>
                </a:lnTo>
                <a:lnTo>
                  <a:pt x="281" y="394"/>
                </a:lnTo>
                <a:lnTo>
                  <a:pt x="281" y="394"/>
                </a:lnTo>
                <a:lnTo>
                  <a:pt x="283" y="394"/>
                </a:lnTo>
                <a:lnTo>
                  <a:pt x="283" y="394"/>
                </a:lnTo>
                <a:lnTo>
                  <a:pt x="286" y="394"/>
                </a:lnTo>
                <a:lnTo>
                  <a:pt x="286" y="394"/>
                </a:lnTo>
                <a:lnTo>
                  <a:pt x="288" y="394"/>
                </a:lnTo>
                <a:lnTo>
                  <a:pt x="288" y="394"/>
                </a:lnTo>
                <a:lnTo>
                  <a:pt x="290" y="399"/>
                </a:lnTo>
                <a:lnTo>
                  <a:pt x="290" y="399"/>
                </a:lnTo>
                <a:lnTo>
                  <a:pt x="295" y="399"/>
                </a:lnTo>
                <a:lnTo>
                  <a:pt x="295" y="399"/>
                </a:lnTo>
                <a:lnTo>
                  <a:pt x="295" y="399"/>
                </a:lnTo>
                <a:lnTo>
                  <a:pt x="303" y="404"/>
                </a:lnTo>
                <a:lnTo>
                  <a:pt x="303" y="404"/>
                </a:lnTo>
                <a:lnTo>
                  <a:pt x="303" y="406"/>
                </a:lnTo>
                <a:lnTo>
                  <a:pt x="303" y="406"/>
                </a:lnTo>
                <a:lnTo>
                  <a:pt x="305" y="406"/>
                </a:lnTo>
                <a:lnTo>
                  <a:pt x="305" y="406"/>
                </a:lnTo>
                <a:lnTo>
                  <a:pt x="308" y="409"/>
                </a:lnTo>
                <a:lnTo>
                  <a:pt x="308" y="409"/>
                </a:lnTo>
                <a:lnTo>
                  <a:pt x="305" y="411"/>
                </a:lnTo>
                <a:lnTo>
                  <a:pt x="305" y="411"/>
                </a:lnTo>
                <a:lnTo>
                  <a:pt x="303" y="411"/>
                </a:lnTo>
                <a:lnTo>
                  <a:pt x="303" y="411"/>
                </a:lnTo>
                <a:lnTo>
                  <a:pt x="303" y="414"/>
                </a:lnTo>
                <a:lnTo>
                  <a:pt x="303" y="414"/>
                </a:lnTo>
                <a:lnTo>
                  <a:pt x="305" y="418"/>
                </a:lnTo>
                <a:lnTo>
                  <a:pt x="305" y="418"/>
                </a:lnTo>
                <a:lnTo>
                  <a:pt x="308" y="418"/>
                </a:lnTo>
                <a:lnTo>
                  <a:pt x="308" y="418"/>
                </a:lnTo>
                <a:lnTo>
                  <a:pt x="310" y="423"/>
                </a:lnTo>
                <a:lnTo>
                  <a:pt x="310" y="423"/>
                </a:lnTo>
                <a:lnTo>
                  <a:pt x="313" y="426"/>
                </a:lnTo>
                <a:lnTo>
                  <a:pt x="313" y="426"/>
                </a:lnTo>
                <a:lnTo>
                  <a:pt x="313" y="431"/>
                </a:lnTo>
                <a:lnTo>
                  <a:pt x="313" y="431"/>
                </a:lnTo>
                <a:lnTo>
                  <a:pt x="315" y="438"/>
                </a:lnTo>
                <a:lnTo>
                  <a:pt x="315" y="438"/>
                </a:lnTo>
                <a:lnTo>
                  <a:pt x="315" y="441"/>
                </a:lnTo>
                <a:lnTo>
                  <a:pt x="315" y="441"/>
                </a:lnTo>
                <a:lnTo>
                  <a:pt x="315" y="443"/>
                </a:lnTo>
                <a:lnTo>
                  <a:pt x="315" y="443"/>
                </a:lnTo>
                <a:lnTo>
                  <a:pt x="315" y="448"/>
                </a:lnTo>
                <a:lnTo>
                  <a:pt x="315" y="448"/>
                </a:lnTo>
                <a:lnTo>
                  <a:pt x="313" y="450"/>
                </a:lnTo>
                <a:lnTo>
                  <a:pt x="313" y="450"/>
                </a:lnTo>
                <a:lnTo>
                  <a:pt x="313" y="448"/>
                </a:lnTo>
                <a:lnTo>
                  <a:pt x="313" y="448"/>
                </a:lnTo>
                <a:lnTo>
                  <a:pt x="310" y="448"/>
                </a:lnTo>
                <a:lnTo>
                  <a:pt x="310" y="448"/>
                </a:lnTo>
                <a:lnTo>
                  <a:pt x="313" y="453"/>
                </a:lnTo>
                <a:lnTo>
                  <a:pt x="313" y="453"/>
                </a:lnTo>
                <a:lnTo>
                  <a:pt x="315" y="453"/>
                </a:lnTo>
                <a:lnTo>
                  <a:pt x="315" y="453"/>
                </a:lnTo>
                <a:lnTo>
                  <a:pt x="318" y="458"/>
                </a:lnTo>
                <a:lnTo>
                  <a:pt x="318" y="458"/>
                </a:lnTo>
                <a:lnTo>
                  <a:pt x="320" y="455"/>
                </a:lnTo>
                <a:lnTo>
                  <a:pt x="320" y="455"/>
                </a:lnTo>
                <a:lnTo>
                  <a:pt x="322" y="458"/>
                </a:lnTo>
                <a:lnTo>
                  <a:pt x="322" y="458"/>
                </a:lnTo>
                <a:lnTo>
                  <a:pt x="322" y="455"/>
                </a:lnTo>
                <a:lnTo>
                  <a:pt x="322" y="455"/>
                </a:lnTo>
                <a:lnTo>
                  <a:pt x="320" y="453"/>
                </a:lnTo>
                <a:lnTo>
                  <a:pt x="320" y="453"/>
                </a:lnTo>
                <a:lnTo>
                  <a:pt x="322" y="450"/>
                </a:lnTo>
                <a:lnTo>
                  <a:pt x="322" y="450"/>
                </a:lnTo>
                <a:lnTo>
                  <a:pt x="325" y="448"/>
                </a:lnTo>
                <a:lnTo>
                  <a:pt x="325" y="448"/>
                </a:lnTo>
                <a:lnTo>
                  <a:pt x="327" y="448"/>
                </a:lnTo>
                <a:lnTo>
                  <a:pt x="327" y="448"/>
                </a:lnTo>
                <a:lnTo>
                  <a:pt x="327" y="446"/>
                </a:lnTo>
                <a:lnTo>
                  <a:pt x="327" y="446"/>
                </a:lnTo>
                <a:lnTo>
                  <a:pt x="330" y="443"/>
                </a:lnTo>
                <a:lnTo>
                  <a:pt x="330" y="443"/>
                </a:lnTo>
                <a:lnTo>
                  <a:pt x="332" y="441"/>
                </a:lnTo>
                <a:lnTo>
                  <a:pt x="332" y="441"/>
                </a:lnTo>
                <a:lnTo>
                  <a:pt x="335" y="438"/>
                </a:lnTo>
                <a:lnTo>
                  <a:pt x="335" y="438"/>
                </a:lnTo>
                <a:lnTo>
                  <a:pt x="340" y="433"/>
                </a:lnTo>
                <a:lnTo>
                  <a:pt x="340" y="433"/>
                </a:lnTo>
                <a:lnTo>
                  <a:pt x="342" y="433"/>
                </a:lnTo>
                <a:lnTo>
                  <a:pt x="342" y="433"/>
                </a:lnTo>
                <a:lnTo>
                  <a:pt x="342" y="433"/>
                </a:lnTo>
                <a:lnTo>
                  <a:pt x="347" y="431"/>
                </a:lnTo>
                <a:lnTo>
                  <a:pt x="347" y="431"/>
                </a:lnTo>
                <a:lnTo>
                  <a:pt x="350" y="426"/>
                </a:lnTo>
                <a:lnTo>
                  <a:pt x="350" y="426"/>
                </a:lnTo>
                <a:lnTo>
                  <a:pt x="352" y="418"/>
                </a:lnTo>
                <a:lnTo>
                  <a:pt x="352" y="418"/>
                </a:lnTo>
                <a:lnTo>
                  <a:pt x="357" y="418"/>
                </a:lnTo>
                <a:lnTo>
                  <a:pt x="357" y="418"/>
                </a:lnTo>
                <a:lnTo>
                  <a:pt x="359" y="416"/>
                </a:lnTo>
                <a:lnTo>
                  <a:pt x="359" y="416"/>
                </a:lnTo>
                <a:lnTo>
                  <a:pt x="357" y="411"/>
                </a:lnTo>
                <a:lnTo>
                  <a:pt x="357" y="411"/>
                </a:lnTo>
                <a:lnTo>
                  <a:pt x="359" y="409"/>
                </a:lnTo>
                <a:lnTo>
                  <a:pt x="359" y="409"/>
                </a:lnTo>
                <a:lnTo>
                  <a:pt x="362" y="414"/>
                </a:lnTo>
                <a:lnTo>
                  <a:pt x="362" y="414"/>
                </a:lnTo>
                <a:lnTo>
                  <a:pt x="362" y="416"/>
                </a:lnTo>
                <a:lnTo>
                  <a:pt x="362" y="416"/>
                </a:lnTo>
                <a:lnTo>
                  <a:pt x="362" y="421"/>
                </a:lnTo>
                <a:lnTo>
                  <a:pt x="362" y="421"/>
                </a:lnTo>
                <a:lnTo>
                  <a:pt x="359" y="423"/>
                </a:lnTo>
                <a:lnTo>
                  <a:pt x="359" y="423"/>
                </a:lnTo>
                <a:lnTo>
                  <a:pt x="357" y="431"/>
                </a:lnTo>
                <a:lnTo>
                  <a:pt x="357" y="431"/>
                </a:lnTo>
                <a:lnTo>
                  <a:pt x="352" y="436"/>
                </a:lnTo>
                <a:lnTo>
                  <a:pt x="352" y="436"/>
                </a:lnTo>
                <a:lnTo>
                  <a:pt x="350" y="438"/>
                </a:lnTo>
                <a:lnTo>
                  <a:pt x="350" y="438"/>
                </a:lnTo>
                <a:lnTo>
                  <a:pt x="350" y="441"/>
                </a:lnTo>
                <a:lnTo>
                  <a:pt x="350" y="441"/>
                </a:lnTo>
                <a:lnTo>
                  <a:pt x="350" y="446"/>
                </a:lnTo>
                <a:lnTo>
                  <a:pt x="350" y="446"/>
                </a:lnTo>
                <a:lnTo>
                  <a:pt x="345" y="450"/>
                </a:lnTo>
                <a:lnTo>
                  <a:pt x="345" y="450"/>
                </a:lnTo>
                <a:lnTo>
                  <a:pt x="347" y="450"/>
                </a:lnTo>
                <a:lnTo>
                  <a:pt x="347" y="450"/>
                </a:lnTo>
                <a:lnTo>
                  <a:pt x="345" y="458"/>
                </a:lnTo>
                <a:lnTo>
                  <a:pt x="345" y="458"/>
                </a:lnTo>
                <a:lnTo>
                  <a:pt x="337" y="458"/>
                </a:lnTo>
                <a:lnTo>
                  <a:pt x="337" y="458"/>
                </a:lnTo>
                <a:lnTo>
                  <a:pt x="335" y="463"/>
                </a:lnTo>
                <a:lnTo>
                  <a:pt x="335" y="463"/>
                </a:lnTo>
                <a:lnTo>
                  <a:pt x="332" y="465"/>
                </a:lnTo>
                <a:lnTo>
                  <a:pt x="332" y="465"/>
                </a:lnTo>
                <a:lnTo>
                  <a:pt x="332" y="465"/>
                </a:lnTo>
                <a:lnTo>
                  <a:pt x="337" y="465"/>
                </a:lnTo>
                <a:lnTo>
                  <a:pt x="337" y="465"/>
                </a:lnTo>
                <a:lnTo>
                  <a:pt x="342" y="463"/>
                </a:lnTo>
                <a:lnTo>
                  <a:pt x="342" y="463"/>
                </a:lnTo>
                <a:lnTo>
                  <a:pt x="347" y="465"/>
                </a:lnTo>
                <a:lnTo>
                  <a:pt x="347" y="465"/>
                </a:lnTo>
                <a:lnTo>
                  <a:pt x="352" y="455"/>
                </a:lnTo>
                <a:lnTo>
                  <a:pt x="352" y="455"/>
                </a:lnTo>
                <a:lnTo>
                  <a:pt x="354" y="448"/>
                </a:lnTo>
                <a:lnTo>
                  <a:pt x="354" y="448"/>
                </a:lnTo>
                <a:lnTo>
                  <a:pt x="357" y="443"/>
                </a:lnTo>
                <a:lnTo>
                  <a:pt x="357" y="443"/>
                </a:lnTo>
                <a:lnTo>
                  <a:pt x="359" y="446"/>
                </a:lnTo>
                <a:lnTo>
                  <a:pt x="359" y="446"/>
                </a:lnTo>
                <a:lnTo>
                  <a:pt x="359" y="453"/>
                </a:lnTo>
                <a:lnTo>
                  <a:pt x="359" y="453"/>
                </a:lnTo>
                <a:lnTo>
                  <a:pt x="362" y="458"/>
                </a:lnTo>
                <a:lnTo>
                  <a:pt x="362" y="458"/>
                </a:lnTo>
                <a:lnTo>
                  <a:pt x="359" y="458"/>
                </a:lnTo>
                <a:lnTo>
                  <a:pt x="359" y="458"/>
                </a:lnTo>
                <a:lnTo>
                  <a:pt x="359" y="465"/>
                </a:lnTo>
                <a:lnTo>
                  <a:pt x="359" y="465"/>
                </a:lnTo>
                <a:lnTo>
                  <a:pt x="357" y="470"/>
                </a:lnTo>
                <a:lnTo>
                  <a:pt x="357" y="470"/>
                </a:lnTo>
                <a:lnTo>
                  <a:pt x="352" y="473"/>
                </a:lnTo>
                <a:lnTo>
                  <a:pt x="352" y="473"/>
                </a:lnTo>
                <a:lnTo>
                  <a:pt x="352" y="475"/>
                </a:lnTo>
                <a:lnTo>
                  <a:pt x="352" y="475"/>
                </a:lnTo>
                <a:lnTo>
                  <a:pt x="354" y="475"/>
                </a:lnTo>
                <a:lnTo>
                  <a:pt x="354" y="475"/>
                </a:lnTo>
                <a:lnTo>
                  <a:pt x="359" y="475"/>
                </a:lnTo>
                <a:lnTo>
                  <a:pt x="359" y="475"/>
                </a:lnTo>
                <a:lnTo>
                  <a:pt x="362" y="473"/>
                </a:lnTo>
                <a:lnTo>
                  <a:pt x="362" y="473"/>
                </a:lnTo>
                <a:lnTo>
                  <a:pt x="364" y="473"/>
                </a:lnTo>
                <a:lnTo>
                  <a:pt x="364" y="473"/>
                </a:lnTo>
                <a:lnTo>
                  <a:pt x="367" y="470"/>
                </a:lnTo>
                <a:lnTo>
                  <a:pt x="367" y="470"/>
                </a:lnTo>
                <a:lnTo>
                  <a:pt x="369" y="470"/>
                </a:lnTo>
                <a:lnTo>
                  <a:pt x="369" y="470"/>
                </a:lnTo>
                <a:lnTo>
                  <a:pt x="372" y="470"/>
                </a:lnTo>
                <a:lnTo>
                  <a:pt x="372" y="470"/>
                </a:lnTo>
                <a:lnTo>
                  <a:pt x="369" y="473"/>
                </a:lnTo>
                <a:lnTo>
                  <a:pt x="369" y="473"/>
                </a:lnTo>
                <a:lnTo>
                  <a:pt x="369" y="475"/>
                </a:lnTo>
                <a:lnTo>
                  <a:pt x="369" y="475"/>
                </a:lnTo>
                <a:lnTo>
                  <a:pt x="367" y="475"/>
                </a:lnTo>
                <a:lnTo>
                  <a:pt x="367" y="475"/>
                </a:lnTo>
                <a:lnTo>
                  <a:pt x="364" y="477"/>
                </a:lnTo>
                <a:lnTo>
                  <a:pt x="364" y="477"/>
                </a:lnTo>
                <a:lnTo>
                  <a:pt x="367" y="482"/>
                </a:lnTo>
                <a:lnTo>
                  <a:pt x="367" y="482"/>
                </a:lnTo>
                <a:lnTo>
                  <a:pt x="369" y="485"/>
                </a:lnTo>
                <a:lnTo>
                  <a:pt x="369" y="485"/>
                </a:lnTo>
                <a:lnTo>
                  <a:pt x="372" y="490"/>
                </a:lnTo>
                <a:lnTo>
                  <a:pt x="372" y="490"/>
                </a:lnTo>
                <a:lnTo>
                  <a:pt x="372" y="495"/>
                </a:lnTo>
                <a:lnTo>
                  <a:pt x="372" y="495"/>
                </a:lnTo>
                <a:lnTo>
                  <a:pt x="372" y="502"/>
                </a:lnTo>
                <a:lnTo>
                  <a:pt x="372" y="502"/>
                </a:lnTo>
                <a:lnTo>
                  <a:pt x="367" y="507"/>
                </a:lnTo>
                <a:lnTo>
                  <a:pt x="367" y="507"/>
                </a:lnTo>
                <a:lnTo>
                  <a:pt x="367" y="509"/>
                </a:lnTo>
                <a:lnTo>
                  <a:pt x="367" y="509"/>
                </a:lnTo>
                <a:lnTo>
                  <a:pt x="367" y="514"/>
                </a:lnTo>
                <a:lnTo>
                  <a:pt x="367" y="514"/>
                </a:lnTo>
                <a:lnTo>
                  <a:pt x="369" y="517"/>
                </a:lnTo>
                <a:lnTo>
                  <a:pt x="369" y="517"/>
                </a:lnTo>
                <a:lnTo>
                  <a:pt x="372" y="519"/>
                </a:lnTo>
                <a:lnTo>
                  <a:pt x="372" y="519"/>
                </a:lnTo>
                <a:lnTo>
                  <a:pt x="372" y="524"/>
                </a:lnTo>
                <a:lnTo>
                  <a:pt x="372" y="524"/>
                </a:lnTo>
                <a:lnTo>
                  <a:pt x="379" y="532"/>
                </a:lnTo>
                <a:lnTo>
                  <a:pt x="379" y="532"/>
                </a:lnTo>
                <a:lnTo>
                  <a:pt x="381" y="534"/>
                </a:lnTo>
                <a:lnTo>
                  <a:pt x="381" y="534"/>
                </a:lnTo>
                <a:lnTo>
                  <a:pt x="386" y="537"/>
                </a:lnTo>
                <a:lnTo>
                  <a:pt x="386" y="537"/>
                </a:lnTo>
                <a:lnTo>
                  <a:pt x="386" y="539"/>
                </a:lnTo>
                <a:lnTo>
                  <a:pt x="386" y="539"/>
                </a:lnTo>
                <a:lnTo>
                  <a:pt x="389" y="539"/>
                </a:lnTo>
                <a:lnTo>
                  <a:pt x="389" y="539"/>
                </a:lnTo>
                <a:lnTo>
                  <a:pt x="391" y="539"/>
                </a:lnTo>
                <a:lnTo>
                  <a:pt x="391" y="539"/>
                </a:lnTo>
                <a:lnTo>
                  <a:pt x="391" y="539"/>
                </a:lnTo>
                <a:lnTo>
                  <a:pt x="396" y="539"/>
                </a:lnTo>
                <a:lnTo>
                  <a:pt x="396" y="539"/>
                </a:lnTo>
                <a:lnTo>
                  <a:pt x="399" y="544"/>
                </a:lnTo>
                <a:lnTo>
                  <a:pt x="399" y="544"/>
                </a:lnTo>
                <a:lnTo>
                  <a:pt x="404" y="544"/>
                </a:lnTo>
                <a:lnTo>
                  <a:pt x="404" y="544"/>
                </a:lnTo>
                <a:lnTo>
                  <a:pt x="406" y="546"/>
                </a:lnTo>
                <a:lnTo>
                  <a:pt x="406" y="546"/>
                </a:lnTo>
                <a:lnTo>
                  <a:pt x="409" y="551"/>
                </a:lnTo>
                <a:lnTo>
                  <a:pt x="409" y="551"/>
                </a:lnTo>
                <a:lnTo>
                  <a:pt x="411" y="551"/>
                </a:lnTo>
                <a:lnTo>
                  <a:pt x="411" y="551"/>
                </a:lnTo>
                <a:lnTo>
                  <a:pt x="413" y="554"/>
                </a:lnTo>
                <a:lnTo>
                  <a:pt x="413" y="554"/>
                </a:lnTo>
                <a:lnTo>
                  <a:pt x="416" y="554"/>
                </a:lnTo>
                <a:lnTo>
                  <a:pt x="416" y="554"/>
                </a:lnTo>
                <a:lnTo>
                  <a:pt x="418" y="554"/>
                </a:lnTo>
                <a:lnTo>
                  <a:pt x="418" y="554"/>
                </a:lnTo>
                <a:lnTo>
                  <a:pt x="423" y="549"/>
                </a:lnTo>
                <a:lnTo>
                  <a:pt x="423" y="549"/>
                </a:lnTo>
                <a:lnTo>
                  <a:pt x="426" y="546"/>
                </a:lnTo>
                <a:lnTo>
                  <a:pt x="426" y="546"/>
                </a:lnTo>
                <a:lnTo>
                  <a:pt x="428" y="546"/>
                </a:lnTo>
                <a:lnTo>
                  <a:pt x="428" y="546"/>
                </a:lnTo>
                <a:lnTo>
                  <a:pt x="433" y="544"/>
                </a:lnTo>
                <a:lnTo>
                  <a:pt x="433" y="544"/>
                </a:lnTo>
                <a:lnTo>
                  <a:pt x="436" y="544"/>
                </a:lnTo>
                <a:lnTo>
                  <a:pt x="436" y="544"/>
                </a:lnTo>
                <a:lnTo>
                  <a:pt x="436" y="541"/>
                </a:lnTo>
                <a:lnTo>
                  <a:pt x="436" y="541"/>
                </a:lnTo>
                <a:lnTo>
                  <a:pt x="436" y="541"/>
                </a:lnTo>
                <a:lnTo>
                  <a:pt x="433" y="539"/>
                </a:lnTo>
                <a:lnTo>
                  <a:pt x="433" y="539"/>
                </a:lnTo>
                <a:lnTo>
                  <a:pt x="433" y="539"/>
                </a:lnTo>
                <a:lnTo>
                  <a:pt x="441" y="534"/>
                </a:lnTo>
                <a:lnTo>
                  <a:pt x="441" y="534"/>
                </a:lnTo>
                <a:lnTo>
                  <a:pt x="445" y="537"/>
                </a:lnTo>
                <a:lnTo>
                  <a:pt x="445" y="537"/>
                </a:lnTo>
                <a:lnTo>
                  <a:pt x="445" y="541"/>
                </a:lnTo>
                <a:lnTo>
                  <a:pt x="445" y="541"/>
                </a:lnTo>
                <a:lnTo>
                  <a:pt x="438" y="544"/>
                </a:lnTo>
                <a:lnTo>
                  <a:pt x="438" y="544"/>
                </a:lnTo>
                <a:lnTo>
                  <a:pt x="441" y="546"/>
                </a:lnTo>
                <a:lnTo>
                  <a:pt x="441" y="546"/>
                </a:lnTo>
                <a:lnTo>
                  <a:pt x="443" y="546"/>
                </a:lnTo>
                <a:lnTo>
                  <a:pt x="443" y="546"/>
                </a:lnTo>
                <a:lnTo>
                  <a:pt x="443" y="544"/>
                </a:lnTo>
                <a:lnTo>
                  <a:pt x="443" y="544"/>
                </a:lnTo>
                <a:lnTo>
                  <a:pt x="448" y="544"/>
                </a:lnTo>
                <a:lnTo>
                  <a:pt x="448" y="544"/>
                </a:lnTo>
                <a:lnTo>
                  <a:pt x="450" y="544"/>
                </a:lnTo>
                <a:lnTo>
                  <a:pt x="450" y="544"/>
                </a:lnTo>
                <a:lnTo>
                  <a:pt x="450" y="549"/>
                </a:lnTo>
                <a:lnTo>
                  <a:pt x="450" y="549"/>
                </a:lnTo>
                <a:lnTo>
                  <a:pt x="448" y="549"/>
                </a:lnTo>
                <a:lnTo>
                  <a:pt x="448" y="549"/>
                </a:lnTo>
                <a:lnTo>
                  <a:pt x="445" y="551"/>
                </a:lnTo>
                <a:lnTo>
                  <a:pt x="445" y="551"/>
                </a:lnTo>
                <a:lnTo>
                  <a:pt x="450" y="556"/>
                </a:lnTo>
                <a:lnTo>
                  <a:pt x="450" y="556"/>
                </a:lnTo>
                <a:lnTo>
                  <a:pt x="450" y="561"/>
                </a:lnTo>
                <a:lnTo>
                  <a:pt x="450" y="561"/>
                </a:lnTo>
                <a:lnTo>
                  <a:pt x="453" y="559"/>
                </a:lnTo>
                <a:lnTo>
                  <a:pt x="453" y="559"/>
                </a:lnTo>
                <a:lnTo>
                  <a:pt x="453" y="559"/>
                </a:lnTo>
                <a:lnTo>
                  <a:pt x="453" y="564"/>
                </a:lnTo>
                <a:lnTo>
                  <a:pt x="453" y="564"/>
                </a:lnTo>
                <a:lnTo>
                  <a:pt x="455" y="566"/>
                </a:lnTo>
                <a:lnTo>
                  <a:pt x="455" y="566"/>
                </a:lnTo>
                <a:lnTo>
                  <a:pt x="458" y="561"/>
                </a:lnTo>
                <a:lnTo>
                  <a:pt x="458" y="561"/>
                </a:lnTo>
                <a:lnTo>
                  <a:pt x="458" y="559"/>
                </a:lnTo>
                <a:lnTo>
                  <a:pt x="458" y="559"/>
                </a:lnTo>
                <a:lnTo>
                  <a:pt x="455" y="559"/>
                </a:lnTo>
                <a:lnTo>
                  <a:pt x="455" y="559"/>
                </a:lnTo>
                <a:lnTo>
                  <a:pt x="455" y="559"/>
                </a:lnTo>
                <a:lnTo>
                  <a:pt x="458" y="556"/>
                </a:lnTo>
                <a:lnTo>
                  <a:pt x="458" y="556"/>
                </a:lnTo>
                <a:lnTo>
                  <a:pt x="465" y="556"/>
                </a:lnTo>
                <a:lnTo>
                  <a:pt x="465" y="556"/>
                </a:lnTo>
                <a:lnTo>
                  <a:pt x="465" y="559"/>
                </a:lnTo>
                <a:lnTo>
                  <a:pt x="465" y="559"/>
                </a:lnTo>
                <a:lnTo>
                  <a:pt x="468" y="556"/>
                </a:lnTo>
                <a:lnTo>
                  <a:pt x="468" y="556"/>
                </a:lnTo>
                <a:lnTo>
                  <a:pt x="470" y="551"/>
                </a:lnTo>
                <a:lnTo>
                  <a:pt x="470" y="551"/>
                </a:lnTo>
                <a:lnTo>
                  <a:pt x="477" y="546"/>
                </a:lnTo>
                <a:lnTo>
                  <a:pt x="477" y="546"/>
                </a:lnTo>
                <a:lnTo>
                  <a:pt x="482" y="541"/>
                </a:lnTo>
                <a:lnTo>
                  <a:pt x="482" y="541"/>
                </a:lnTo>
                <a:lnTo>
                  <a:pt x="480" y="541"/>
                </a:lnTo>
                <a:lnTo>
                  <a:pt x="480" y="541"/>
                </a:lnTo>
                <a:lnTo>
                  <a:pt x="480" y="544"/>
                </a:lnTo>
                <a:lnTo>
                  <a:pt x="480" y="544"/>
                </a:lnTo>
                <a:lnTo>
                  <a:pt x="480" y="541"/>
                </a:lnTo>
                <a:lnTo>
                  <a:pt x="480" y="541"/>
                </a:lnTo>
                <a:lnTo>
                  <a:pt x="477" y="541"/>
                </a:lnTo>
                <a:lnTo>
                  <a:pt x="477" y="541"/>
                </a:lnTo>
                <a:lnTo>
                  <a:pt x="480" y="541"/>
                </a:lnTo>
                <a:lnTo>
                  <a:pt x="480" y="541"/>
                </a:lnTo>
                <a:lnTo>
                  <a:pt x="485" y="541"/>
                </a:lnTo>
                <a:lnTo>
                  <a:pt x="485" y="541"/>
                </a:lnTo>
                <a:lnTo>
                  <a:pt x="490" y="539"/>
                </a:lnTo>
                <a:lnTo>
                  <a:pt x="490" y="539"/>
                </a:lnTo>
                <a:lnTo>
                  <a:pt x="502" y="537"/>
                </a:lnTo>
                <a:lnTo>
                  <a:pt x="502" y="537"/>
                </a:lnTo>
                <a:lnTo>
                  <a:pt x="512" y="539"/>
                </a:lnTo>
                <a:lnTo>
                  <a:pt x="512" y="539"/>
                </a:lnTo>
                <a:lnTo>
                  <a:pt x="514" y="537"/>
                </a:lnTo>
                <a:lnTo>
                  <a:pt x="514" y="537"/>
                </a:lnTo>
                <a:lnTo>
                  <a:pt x="514" y="534"/>
                </a:lnTo>
                <a:lnTo>
                  <a:pt x="514" y="534"/>
                </a:lnTo>
                <a:lnTo>
                  <a:pt x="517" y="534"/>
                </a:lnTo>
                <a:lnTo>
                  <a:pt x="517" y="534"/>
                </a:lnTo>
                <a:lnTo>
                  <a:pt x="522" y="532"/>
                </a:lnTo>
                <a:lnTo>
                  <a:pt x="522" y="532"/>
                </a:lnTo>
                <a:lnTo>
                  <a:pt x="524" y="527"/>
                </a:lnTo>
                <a:lnTo>
                  <a:pt x="524" y="527"/>
                </a:lnTo>
                <a:lnTo>
                  <a:pt x="522" y="519"/>
                </a:lnTo>
                <a:lnTo>
                  <a:pt x="522" y="519"/>
                </a:lnTo>
                <a:lnTo>
                  <a:pt x="522" y="517"/>
                </a:lnTo>
                <a:lnTo>
                  <a:pt x="522" y="517"/>
                </a:lnTo>
                <a:lnTo>
                  <a:pt x="527" y="512"/>
                </a:lnTo>
                <a:lnTo>
                  <a:pt x="527" y="512"/>
                </a:lnTo>
                <a:lnTo>
                  <a:pt x="527" y="502"/>
                </a:lnTo>
                <a:lnTo>
                  <a:pt x="527" y="502"/>
                </a:lnTo>
                <a:lnTo>
                  <a:pt x="529" y="500"/>
                </a:lnTo>
                <a:lnTo>
                  <a:pt x="529" y="500"/>
                </a:lnTo>
                <a:lnTo>
                  <a:pt x="532" y="492"/>
                </a:lnTo>
                <a:lnTo>
                  <a:pt x="532" y="492"/>
                </a:lnTo>
                <a:lnTo>
                  <a:pt x="534" y="492"/>
                </a:lnTo>
                <a:lnTo>
                  <a:pt x="534" y="492"/>
                </a:lnTo>
                <a:lnTo>
                  <a:pt x="534" y="487"/>
                </a:lnTo>
                <a:lnTo>
                  <a:pt x="534" y="487"/>
                </a:lnTo>
                <a:lnTo>
                  <a:pt x="544" y="477"/>
                </a:lnTo>
                <a:lnTo>
                  <a:pt x="544" y="477"/>
                </a:lnTo>
                <a:lnTo>
                  <a:pt x="546" y="477"/>
                </a:lnTo>
                <a:lnTo>
                  <a:pt x="546" y="477"/>
                </a:lnTo>
                <a:lnTo>
                  <a:pt x="546" y="470"/>
                </a:lnTo>
                <a:lnTo>
                  <a:pt x="546" y="470"/>
                </a:lnTo>
                <a:lnTo>
                  <a:pt x="551" y="465"/>
                </a:lnTo>
                <a:lnTo>
                  <a:pt x="551" y="465"/>
                </a:lnTo>
                <a:lnTo>
                  <a:pt x="554" y="458"/>
                </a:lnTo>
                <a:lnTo>
                  <a:pt x="554" y="458"/>
                </a:lnTo>
                <a:lnTo>
                  <a:pt x="556" y="455"/>
                </a:lnTo>
                <a:lnTo>
                  <a:pt x="556" y="455"/>
                </a:lnTo>
                <a:lnTo>
                  <a:pt x="556" y="450"/>
                </a:lnTo>
                <a:lnTo>
                  <a:pt x="556" y="450"/>
                </a:lnTo>
                <a:lnTo>
                  <a:pt x="559" y="450"/>
                </a:lnTo>
                <a:lnTo>
                  <a:pt x="559" y="450"/>
                </a:lnTo>
                <a:lnTo>
                  <a:pt x="561" y="443"/>
                </a:lnTo>
                <a:lnTo>
                  <a:pt x="561" y="443"/>
                </a:lnTo>
                <a:lnTo>
                  <a:pt x="559" y="443"/>
                </a:lnTo>
                <a:lnTo>
                  <a:pt x="559" y="443"/>
                </a:lnTo>
                <a:lnTo>
                  <a:pt x="564" y="441"/>
                </a:lnTo>
                <a:lnTo>
                  <a:pt x="564" y="441"/>
                </a:lnTo>
                <a:lnTo>
                  <a:pt x="568" y="436"/>
                </a:lnTo>
                <a:lnTo>
                  <a:pt x="568" y="436"/>
                </a:lnTo>
                <a:lnTo>
                  <a:pt x="571" y="433"/>
                </a:lnTo>
                <a:lnTo>
                  <a:pt x="571" y="433"/>
                </a:lnTo>
                <a:lnTo>
                  <a:pt x="573" y="428"/>
                </a:lnTo>
                <a:lnTo>
                  <a:pt x="573" y="428"/>
                </a:lnTo>
                <a:lnTo>
                  <a:pt x="576" y="426"/>
                </a:lnTo>
                <a:lnTo>
                  <a:pt x="576" y="426"/>
                </a:lnTo>
                <a:lnTo>
                  <a:pt x="581" y="426"/>
                </a:lnTo>
                <a:lnTo>
                  <a:pt x="581" y="426"/>
                </a:lnTo>
                <a:lnTo>
                  <a:pt x="576" y="426"/>
                </a:lnTo>
                <a:lnTo>
                  <a:pt x="576" y="426"/>
                </a:lnTo>
                <a:lnTo>
                  <a:pt x="576" y="423"/>
                </a:lnTo>
                <a:lnTo>
                  <a:pt x="576" y="423"/>
                </a:lnTo>
                <a:lnTo>
                  <a:pt x="581" y="423"/>
                </a:lnTo>
                <a:lnTo>
                  <a:pt x="581" y="423"/>
                </a:lnTo>
                <a:lnTo>
                  <a:pt x="586" y="421"/>
                </a:lnTo>
                <a:lnTo>
                  <a:pt x="586" y="421"/>
                </a:lnTo>
                <a:lnTo>
                  <a:pt x="588" y="416"/>
                </a:lnTo>
                <a:lnTo>
                  <a:pt x="588" y="416"/>
                </a:lnTo>
                <a:lnTo>
                  <a:pt x="586" y="414"/>
                </a:lnTo>
                <a:lnTo>
                  <a:pt x="586" y="414"/>
                </a:lnTo>
                <a:lnTo>
                  <a:pt x="588" y="411"/>
                </a:lnTo>
                <a:lnTo>
                  <a:pt x="588" y="411"/>
                </a:lnTo>
                <a:lnTo>
                  <a:pt x="593" y="409"/>
                </a:lnTo>
                <a:lnTo>
                  <a:pt x="593" y="409"/>
                </a:lnTo>
                <a:lnTo>
                  <a:pt x="593" y="404"/>
                </a:lnTo>
                <a:lnTo>
                  <a:pt x="593" y="404"/>
                </a:lnTo>
                <a:lnTo>
                  <a:pt x="596" y="404"/>
                </a:lnTo>
                <a:lnTo>
                  <a:pt x="596" y="404"/>
                </a:lnTo>
                <a:lnTo>
                  <a:pt x="600" y="396"/>
                </a:lnTo>
                <a:lnTo>
                  <a:pt x="600" y="396"/>
                </a:lnTo>
                <a:lnTo>
                  <a:pt x="598" y="394"/>
                </a:lnTo>
                <a:lnTo>
                  <a:pt x="598" y="394"/>
                </a:lnTo>
                <a:lnTo>
                  <a:pt x="600" y="389"/>
                </a:lnTo>
                <a:lnTo>
                  <a:pt x="600" y="389"/>
                </a:lnTo>
                <a:lnTo>
                  <a:pt x="600" y="389"/>
                </a:lnTo>
                <a:lnTo>
                  <a:pt x="600" y="386"/>
                </a:lnTo>
                <a:lnTo>
                  <a:pt x="600" y="386"/>
                </a:lnTo>
                <a:lnTo>
                  <a:pt x="605" y="374"/>
                </a:lnTo>
                <a:lnTo>
                  <a:pt x="605" y="374"/>
                </a:lnTo>
                <a:lnTo>
                  <a:pt x="605" y="369"/>
                </a:lnTo>
                <a:lnTo>
                  <a:pt x="605" y="369"/>
                </a:lnTo>
                <a:lnTo>
                  <a:pt x="610" y="359"/>
                </a:lnTo>
                <a:lnTo>
                  <a:pt x="610" y="359"/>
                </a:lnTo>
                <a:lnTo>
                  <a:pt x="610" y="357"/>
                </a:lnTo>
                <a:lnTo>
                  <a:pt x="610" y="357"/>
                </a:lnTo>
                <a:lnTo>
                  <a:pt x="613" y="350"/>
                </a:lnTo>
                <a:lnTo>
                  <a:pt x="613" y="350"/>
                </a:lnTo>
                <a:lnTo>
                  <a:pt x="618" y="345"/>
                </a:lnTo>
                <a:lnTo>
                  <a:pt x="618" y="345"/>
                </a:lnTo>
                <a:lnTo>
                  <a:pt x="620" y="342"/>
                </a:lnTo>
                <a:lnTo>
                  <a:pt x="620" y="342"/>
                </a:lnTo>
                <a:lnTo>
                  <a:pt x="618" y="337"/>
                </a:lnTo>
                <a:lnTo>
                  <a:pt x="618" y="337"/>
                </a:lnTo>
                <a:lnTo>
                  <a:pt x="620" y="332"/>
                </a:lnTo>
                <a:lnTo>
                  <a:pt x="620" y="332"/>
                </a:lnTo>
                <a:lnTo>
                  <a:pt x="618" y="327"/>
                </a:lnTo>
                <a:lnTo>
                  <a:pt x="618" y="327"/>
                </a:lnTo>
                <a:lnTo>
                  <a:pt x="618" y="323"/>
                </a:lnTo>
                <a:lnTo>
                  <a:pt x="618" y="323"/>
                </a:lnTo>
                <a:lnTo>
                  <a:pt x="618" y="318"/>
                </a:lnTo>
                <a:lnTo>
                  <a:pt x="618" y="318"/>
                </a:lnTo>
                <a:lnTo>
                  <a:pt x="615" y="315"/>
                </a:lnTo>
                <a:lnTo>
                  <a:pt x="615" y="315"/>
                </a:lnTo>
                <a:lnTo>
                  <a:pt x="615" y="313"/>
                </a:lnTo>
                <a:lnTo>
                  <a:pt x="615" y="313"/>
                </a:lnTo>
                <a:lnTo>
                  <a:pt x="618" y="310"/>
                </a:lnTo>
                <a:lnTo>
                  <a:pt x="618" y="310"/>
                </a:lnTo>
                <a:lnTo>
                  <a:pt x="618" y="308"/>
                </a:lnTo>
                <a:lnTo>
                  <a:pt x="618" y="308"/>
                </a:lnTo>
                <a:lnTo>
                  <a:pt x="620" y="303"/>
                </a:lnTo>
                <a:lnTo>
                  <a:pt x="620" y="303"/>
                </a:lnTo>
                <a:lnTo>
                  <a:pt x="620" y="300"/>
                </a:lnTo>
                <a:lnTo>
                  <a:pt x="620" y="300"/>
                </a:lnTo>
                <a:lnTo>
                  <a:pt x="620" y="293"/>
                </a:lnTo>
                <a:lnTo>
                  <a:pt x="620" y="293"/>
                </a:lnTo>
                <a:lnTo>
                  <a:pt x="620" y="288"/>
                </a:lnTo>
                <a:lnTo>
                  <a:pt x="620" y="288"/>
                </a:lnTo>
                <a:lnTo>
                  <a:pt x="620" y="288"/>
                </a:lnTo>
                <a:lnTo>
                  <a:pt x="618" y="283"/>
                </a:lnTo>
                <a:lnTo>
                  <a:pt x="618" y="283"/>
                </a:lnTo>
                <a:lnTo>
                  <a:pt x="618" y="278"/>
                </a:lnTo>
                <a:lnTo>
                  <a:pt x="618" y="278"/>
                </a:lnTo>
                <a:lnTo>
                  <a:pt x="618" y="278"/>
                </a:lnTo>
                <a:lnTo>
                  <a:pt x="620" y="273"/>
                </a:lnTo>
                <a:lnTo>
                  <a:pt x="620" y="273"/>
                </a:lnTo>
                <a:lnTo>
                  <a:pt x="615" y="273"/>
                </a:lnTo>
                <a:lnTo>
                  <a:pt x="615" y="273"/>
                </a:lnTo>
                <a:lnTo>
                  <a:pt x="615" y="271"/>
                </a:lnTo>
                <a:lnTo>
                  <a:pt x="615" y="271"/>
                </a:lnTo>
                <a:lnTo>
                  <a:pt x="615" y="266"/>
                </a:lnTo>
                <a:lnTo>
                  <a:pt x="615" y="266"/>
                </a:lnTo>
                <a:lnTo>
                  <a:pt x="610" y="264"/>
                </a:lnTo>
                <a:lnTo>
                  <a:pt x="610" y="264"/>
                </a:lnTo>
                <a:lnTo>
                  <a:pt x="608" y="259"/>
                </a:lnTo>
                <a:lnTo>
                  <a:pt x="608" y="259"/>
                </a:lnTo>
                <a:lnTo>
                  <a:pt x="608" y="254"/>
                </a:lnTo>
                <a:lnTo>
                  <a:pt x="608" y="254"/>
                </a:lnTo>
                <a:lnTo>
                  <a:pt x="605" y="251"/>
                </a:lnTo>
                <a:lnTo>
                  <a:pt x="605" y="251"/>
                </a:lnTo>
                <a:lnTo>
                  <a:pt x="603" y="251"/>
                </a:lnTo>
                <a:lnTo>
                  <a:pt x="603" y="251"/>
                </a:lnTo>
                <a:lnTo>
                  <a:pt x="600" y="251"/>
                </a:lnTo>
                <a:lnTo>
                  <a:pt x="600" y="251"/>
                </a:lnTo>
                <a:lnTo>
                  <a:pt x="600" y="249"/>
                </a:lnTo>
                <a:lnTo>
                  <a:pt x="600" y="249"/>
                </a:lnTo>
                <a:lnTo>
                  <a:pt x="598" y="246"/>
                </a:lnTo>
                <a:lnTo>
                  <a:pt x="598" y="246"/>
                </a:lnTo>
                <a:lnTo>
                  <a:pt x="598" y="244"/>
                </a:lnTo>
                <a:lnTo>
                  <a:pt x="598" y="244"/>
                </a:lnTo>
                <a:lnTo>
                  <a:pt x="598" y="244"/>
                </a:lnTo>
                <a:lnTo>
                  <a:pt x="593" y="239"/>
                </a:lnTo>
                <a:lnTo>
                  <a:pt x="593" y="239"/>
                </a:lnTo>
                <a:lnTo>
                  <a:pt x="591" y="239"/>
                </a:lnTo>
                <a:lnTo>
                  <a:pt x="591" y="239"/>
                </a:lnTo>
                <a:lnTo>
                  <a:pt x="593" y="236"/>
                </a:lnTo>
                <a:lnTo>
                  <a:pt x="593" y="236"/>
                </a:lnTo>
                <a:lnTo>
                  <a:pt x="591" y="232"/>
                </a:lnTo>
                <a:lnTo>
                  <a:pt x="591" y="232"/>
                </a:lnTo>
                <a:lnTo>
                  <a:pt x="593" y="229"/>
                </a:lnTo>
                <a:lnTo>
                  <a:pt x="593" y="229"/>
                </a:lnTo>
                <a:lnTo>
                  <a:pt x="593" y="224"/>
                </a:lnTo>
                <a:lnTo>
                  <a:pt x="593" y="224"/>
                </a:lnTo>
                <a:lnTo>
                  <a:pt x="593" y="222"/>
                </a:lnTo>
                <a:lnTo>
                  <a:pt x="593" y="222"/>
                </a:lnTo>
                <a:lnTo>
                  <a:pt x="593" y="219"/>
                </a:lnTo>
                <a:lnTo>
                  <a:pt x="593" y="219"/>
                </a:lnTo>
                <a:lnTo>
                  <a:pt x="591" y="217"/>
                </a:lnTo>
                <a:lnTo>
                  <a:pt x="591" y="217"/>
                </a:lnTo>
                <a:lnTo>
                  <a:pt x="591" y="219"/>
                </a:lnTo>
                <a:lnTo>
                  <a:pt x="591" y="219"/>
                </a:lnTo>
                <a:lnTo>
                  <a:pt x="591" y="219"/>
                </a:lnTo>
                <a:lnTo>
                  <a:pt x="591" y="222"/>
                </a:lnTo>
                <a:lnTo>
                  <a:pt x="591" y="222"/>
                </a:lnTo>
                <a:lnTo>
                  <a:pt x="583" y="214"/>
                </a:lnTo>
                <a:lnTo>
                  <a:pt x="583" y="214"/>
                </a:lnTo>
                <a:lnTo>
                  <a:pt x="583" y="212"/>
                </a:lnTo>
                <a:lnTo>
                  <a:pt x="583" y="212"/>
                </a:lnTo>
                <a:lnTo>
                  <a:pt x="581" y="212"/>
                </a:lnTo>
                <a:lnTo>
                  <a:pt x="581" y="212"/>
                </a:lnTo>
                <a:lnTo>
                  <a:pt x="581" y="214"/>
                </a:lnTo>
                <a:lnTo>
                  <a:pt x="581" y="214"/>
                </a:lnTo>
                <a:lnTo>
                  <a:pt x="581" y="217"/>
                </a:lnTo>
                <a:lnTo>
                  <a:pt x="581" y="217"/>
                </a:lnTo>
                <a:lnTo>
                  <a:pt x="581" y="222"/>
                </a:lnTo>
                <a:lnTo>
                  <a:pt x="581" y="222"/>
                </a:lnTo>
                <a:lnTo>
                  <a:pt x="578" y="217"/>
                </a:lnTo>
                <a:lnTo>
                  <a:pt x="578" y="217"/>
                </a:lnTo>
                <a:lnTo>
                  <a:pt x="576" y="219"/>
                </a:lnTo>
                <a:lnTo>
                  <a:pt x="576" y="219"/>
                </a:lnTo>
                <a:lnTo>
                  <a:pt x="576" y="217"/>
                </a:lnTo>
                <a:lnTo>
                  <a:pt x="576" y="217"/>
                </a:lnTo>
                <a:lnTo>
                  <a:pt x="576" y="214"/>
                </a:lnTo>
                <a:lnTo>
                  <a:pt x="576" y="214"/>
                </a:lnTo>
                <a:lnTo>
                  <a:pt x="576" y="204"/>
                </a:lnTo>
                <a:lnTo>
                  <a:pt x="576" y="204"/>
                </a:lnTo>
                <a:lnTo>
                  <a:pt x="576" y="204"/>
                </a:lnTo>
                <a:lnTo>
                  <a:pt x="576" y="202"/>
                </a:lnTo>
                <a:lnTo>
                  <a:pt x="576" y="202"/>
                </a:lnTo>
                <a:lnTo>
                  <a:pt x="573" y="200"/>
                </a:lnTo>
                <a:lnTo>
                  <a:pt x="573" y="200"/>
                </a:lnTo>
                <a:lnTo>
                  <a:pt x="573" y="197"/>
                </a:lnTo>
                <a:lnTo>
                  <a:pt x="573" y="197"/>
                </a:lnTo>
                <a:lnTo>
                  <a:pt x="571" y="197"/>
                </a:lnTo>
                <a:lnTo>
                  <a:pt x="571" y="197"/>
                </a:lnTo>
                <a:lnTo>
                  <a:pt x="573" y="195"/>
                </a:lnTo>
                <a:lnTo>
                  <a:pt x="573" y="195"/>
                </a:lnTo>
                <a:lnTo>
                  <a:pt x="568" y="190"/>
                </a:lnTo>
                <a:lnTo>
                  <a:pt x="568" y="190"/>
                </a:lnTo>
                <a:lnTo>
                  <a:pt x="566" y="187"/>
                </a:lnTo>
                <a:lnTo>
                  <a:pt x="566" y="187"/>
                </a:lnTo>
                <a:lnTo>
                  <a:pt x="566" y="182"/>
                </a:lnTo>
                <a:lnTo>
                  <a:pt x="566" y="182"/>
                </a:lnTo>
                <a:lnTo>
                  <a:pt x="568" y="182"/>
                </a:lnTo>
                <a:lnTo>
                  <a:pt x="568" y="182"/>
                </a:lnTo>
                <a:lnTo>
                  <a:pt x="568" y="180"/>
                </a:lnTo>
                <a:lnTo>
                  <a:pt x="568" y="180"/>
                </a:lnTo>
                <a:lnTo>
                  <a:pt x="566" y="175"/>
                </a:lnTo>
                <a:lnTo>
                  <a:pt x="566" y="175"/>
                </a:lnTo>
                <a:lnTo>
                  <a:pt x="566" y="177"/>
                </a:lnTo>
                <a:lnTo>
                  <a:pt x="566" y="177"/>
                </a:lnTo>
                <a:lnTo>
                  <a:pt x="561" y="175"/>
                </a:lnTo>
                <a:lnTo>
                  <a:pt x="561" y="175"/>
                </a:lnTo>
                <a:lnTo>
                  <a:pt x="559" y="173"/>
                </a:lnTo>
                <a:lnTo>
                  <a:pt x="559" y="173"/>
                </a:lnTo>
                <a:lnTo>
                  <a:pt x="556" y="173"/>
                </a:lnTo>
                <a:lnTo>
                  <a:pt x="556" y="173"/>
                </a:lnTo>
                <a:lnTo>
                  <a:pt x="554" y="170"/>
                </a:lnTo>
                <a:lnTo>
                  <a:pt x="554" y="170"/>
                </a:lnTo>
                <a:lnTo>
                  <a:pt x="551" y="170"/>
                </a:lnTo>
                <a:lnTo>
                  <a:pt x="551" y="170"/>
                </a:lnTo>
                <a:lnTo>
                  <a:pt x="551" y="170"/>
                </a:lnTo>
                <a:lnTo>
                  <a:pt x="549" y="168"/>
                </a:lnTo>
                <a:lnTo>
                  <a:pt x="549" y="168"/>
                </a:lnTo>
                <a:lnTo>
                  <a:pt x="546" y="170"/>
                </a:lnTo>
                <a:lnTo>
                  <a:pt x="546" y="170"/>
                </a:lnTo>
                <a:lnTo>
                  <a:pt x="546" y="168"/>
                </a:lnTo>
                <a:lnTo>
                  <a:pt x="546" y="168"/>
                </a:lnTo>
                <a:lnTo>
                  <a:pt x="551" y="165"/>
                </a:lnTo>
                <a:lnTo>
                  <a:pt x="551" y="165"/>
                </a:lnTo>
                <a:lnTo>
                  <a:pt x="551" y="165"/>
                </a:lnTo>
                <a:lnTo>
                  <a:pt x="549" y="163"/>
                </a:lnTo>
                <a:lnTo>
                  <a:pt x="549" y="163"/>
                </a:lnTo>
                <a:lnTo>
                  <a:pt x="546" y="163"/>
                </a:lnTo>
                <a:lnTo>
                  <a:pt x="546" y="163"/>
                </a:lnTo>
                <a:lnTo>
                  <a:pt x="544" y="163"/>
                </a:lnTo>
                <a:lnTo>
                  <a:pt x="544" y="163"/>
                </a:lnTo>
                <a:lnTo>
                  <a:pt x="544" y="160"/>
                </a:lnTo>
                <a:lnTo>
                  <a:pt x="544" y="160"/>
                </a:lnTo>
                <a:lnTo>
                  <a:pt x="541" y="160"/>
                </a:lnTo>
                <a:lnTo>
                  <a:pt x="541" y="160"/>
                </a:lnTo>
                <a:lnTo>
                  <a:pt x="534" y="158"/>
                </a:lnTo>
                <a:lnTo>
                  <a:pt x="534" y="158"/>
                </a:lnTo>
                <a:lnTo>
                  <a:pt x="532" y="150"/>
                </a:lnTo>
                <a:lnTo>
                  <a:pt x="532" y="150"/>
                </a:lnTo>
                <a:lnTo>
                  <a:pt x="532" y="145"/>
                </a:lnTo>
                <a:lnTo>
                  <a:pt x="532" y="145"/>
                </a:lnTo>
                <a:lnTo>
                  <a:pt x="529" y="143"/>
                </a:lnTo>
                <a:lnTo>
                  <a:pt x="529" y="143"/>
                </a:lnTo>
                <a:lnTo>
                  <a:pt x="529" y="138"/>
                </a:lnTo>
                <a:lnTo>
                  <a:pt x="529" y="138"/>
                </a:lnTo>
                <a:lnTo>
                  <a:pt x="532" y="138"/>
                </a:lnTo>
                <a:lnTo>
                  <a:pt x="532" y="138"/>
                </a:lnTo>
                <a:lnTo>
                  <a:pt x="532" y="133"/>
                </a:lnTo>
                <a:lnTo>
                  <a:pt x="532" y="133"/>
                </a:lnTo>
                <a:lnTo>
                  <a:pt x="532" y="123"/>
                </a:lnTo>
                <a:lnTo>
                  <a:pt x="532" y="123"/>
                </a:lnTo>
                <a:lnTo>
                  <a:pt x="529" y="121"/>
                </a:lnTo>
                <a:lnTo>
                  <a:pt x="529" y="121"/>
                </a:lnTo>
                <a:lnTo>
                  <a:pt x="532" y="121"/>
                </a:lnTo>
                <a:lnTo>
                  <a:pt x="532" y="121"/>
                </a:lnTo>
                <a:lnTo>
                  <a:pt x="529" y="118"/>
                </a:lnTo>
                <a:lnTo>
                  <a:pt x="529" y="118"/>
                </a:lnTo>
                <a:lnTo>
                  <a:pt x="527" y="118"/>
                </a:lnTo>
                <a:lnTo>
                  <a:pt x="527" y="118"/>
                </a:lnTo>
                <a:lnTo>
                  <a:pt x="524" y="111"/>
                </a:lnTo>
                <a:lnTo>
                  <a:pt x="524" y="111"/>
                </a:lnTo>
                <a:lnTo>
                  <a:pt x="524" y="104"/>
                </a:lnTo>
                <a:lnTo>
                  <a:pt x="524" y="104"/>
                </a:lnTo>
                <a:lnTo>
                  <a:pt x="524" y="104"/>
                </a:lnTo>
                <a:lnTo>
                  <a:pt x="524" y="101"/>
                </a:lnTo>
                <a:lnTo>
                  <a:pt x="524" y="101"/>
                </a:lnTo>
                <a:lnTo>
                  <a:pt x="524" y="99"/>
                </a:lnTo>
                <a:lnTo>
                  <a:pt x="524" y="99"/>
                </a:lnTo>
                <a:lnTo>
                  <a:pt x="522" y="91"/>
                </a:lnTo>
                <a:lnTo>
                  <a:pt x="522" y="91"/>
                </a:lnTo>
                <a:lnTo>
                  <a:pt x="524" y="89"/>
                </a:lnTo>
                <a:lnTo>
                  <a:pt x="524" y="89"/>
                </a:lnTo>
                <a:lnTo>
                  <a:pt x="522" y="84"/>
                </a:lnTo>
                <a:lnTo>
                  <a:pt x="522" y="84"/>
                </a:lnTo>
                <a:lnTo>
                  <a:pt x="524" y="84"/>
                </a:lnTo>
                <a:lnTo>
                  <a:pt x="524" y="84"/>
                </a:lnTo>
                <a:lnTo>
                  <a:pt x="524" y="82"/>
                </a:lnTo>
                <a:lnTo>
                  <a:pt x="524" y="82"/>
                </a:lnTo>
                <a:lnTo>
                  <a:pt x="519" y="77"/>
                </a:lnTo>
                <a:lnTo>
                  <a:pt x="519" y="77"/>
                </a:lnTo>
                <a:lnTo>
                  <a:pt x="514" y="74"/>
                </a:lnTo>
                <a:lnTo>
                  <a:pt x="514" y="74"/>
                </a:lnTo>
                <a:lnTo>
                  <a:pt x="517" y="74"/>
                </a:lnTo>
                <a:lnTo>
                  <a:pt x="517" y="74"/>
                </a:lnTo>
                <a:lnTo>
                  <a:pt x="512" y="69"/>
                </a:lnTo>
                <a:lnTo>
                  <a:pt x="512" y="69"/>
                </a:lnTo>
                <a:lnTo>
                  <a:pt x="509" y="72"/>
                </a:lnTo>
                <a:lnTo>
                  <a:pt x="509" y="72"/>
                </a:lnTo>
                <a:lnTo>
                  <a:pt x="507" y="72"/>
                </a:lnTo>
                <a:lnTo>
                  <a:pt x="507" y="72"/>
                </a:lnTo>
                <a:lnTo>
                  <a:pt x="507" y="74"/>
                </a:lnTo>
                <a:lnTo>
                  <a:pt x="507" y="74"/>
                </a:lnTo>
                <a:lnTo>
                  <a:pt x="504" y="74"/>
                </a:lnTo>
                <a:lnTo>
                  <a:pt x="504" y="74"/>
                </a:lnTo>
                <a:lnTo>
                  <a:pt x="500" y="69"/>
                </a:lnTo>
                <a:lnTo>
                  <a:pt x="500" y="69"/>
                </a:lnTo>
                <a:lnTo>
                  <a:pt x="500" y="67"/>
                </a:lnTo>
                <a:lnTo>
                  <a:pt x="500" y="67"/>
                </a:lnTo>
                <a:lnTo>
                  <a:pt x="500" y="62"/>
                </a:lnTo>
                <a:lnTo>
                  <a:pt x="500" y="62"/>
                </a:lnTo>
                <a:lnTo>
                  <a:pt x="500" y="57"/>
                </a:lnTo>
                <a:lnTo>
                  <a:pt x="500" y="57"/>
                </a:lnTo>
                <a:lnTo>
                  <a:pt x="500" y="50"/>
                </a:lnTo>
                <a:lnTo>
                  <a:pt x="500" y="50"/>
                </a:lnTo>
                <a:lnTo>
                  <a:pt x="497" y="50"/>
                </a:lnTo>
                <a:lnTo>
                  <a:pt x="497" y="50"/>
                </a:lnTo>
                <a:lnTo>
                  <a:pt x="497" y="47"/>
                </a:lnTo>
                <a:lnTo>
                  <a:pt x="497" y="47"/>
                </a:lnTo>
                <a:lnTo>
                  <a:pt x="497" y="45"/>
                </a:lnTo>
                <a:lnTo>
                  <a:pt x="497" y="45"/>
                </a:lnTo>
                <a:lnTo>
                  <a:pt x="495" y="42"/>
                </a:lnTo>
                <a:lnTo>
                  <a:pt x="495" y="42"/>
                </a:lnTo>
                <a:lnTo>
                  <a:pt x="495" y="40"/>
                </a:lnTo>
                <a:lnTo>
                  <a:pt x="495" y="40"/>
                </a:lnTo>
                <a:lnTo>
                  <a:pt x="495" y="37"/>
                </a:lnTo>
                <a:lnTo>
                  <a:pt x="495" y="37"/>
                </a:lnTo>
                <a:lnTo>
                  <a:pt x="495" y="35"/>
                </a:lnTo>
                <a:lnTo>
                  <a:pt x="495" y="35"/>
                </a:lnTo>
                <a:lnTo>
                  <a:pt x="497" y="32"/>
                </a:lnTo>
                <a:lnTo>
                  <a:pt x="497" y="32"/>
                </a:lnTo>
                <a:lnTo>
                  <a:pt x="495" y="30"/>
                </a:lnTo>
                <a:lnTo>
                  <a:pt x="495" y="30"/>
                </a:lnTo>
                <a:lnTo>
                  <a:pt x="492" y="32"/>
                </a:lnTo>
                <a:lnTo>
                  <a:pt x="492" y="32"/>
                </a:lnTo>
                <a:lnTo>
                  <a:pt x="490" y="30"/>
                </a:lnTo>
                <a:lnTo>
                  <a:pt x="490" y="30"/>
                </a:lnTo>
                <a:lnTo>
                  <a:pt x="490" y="22"/>
                </a:lnTo>
                <a:lnTo>
                  <a:pt x="490" y="22"/>
                </a:lnTo>
                <a:lnTo>
                  <a:pt x="490" y="20"/>
                </a:lnTo>
                <a:lnTo>
                  <a:pt x="490" y="20"/>
                </a:lnTo>
                <a:lnTo>
                  <a:pt x="490" y="18"/>
                </a:lnTo>
                <a:lnTo>
                  <a:pt x="490" y="18"/>
                </a:lnTo>
                <a:lnTo>
                  <a:pt x="485" y="15"/>
                </a:lnTo>
                <a:lnTo>
                  <a:pt x="485" y="15"/>
                </a:lnTo>
                <a:lnTo>
                  <a:pt x="485" y="13"/>
                </a:lnTo>
                <a:lnTo>
                  <a:pt x="485" y="13"/>
                </a:lnTo>
                <a:lnTo>
                  <a:pt x="482" y="15"/>
                </a:lnTo>
                <a:lnTo>
                  <a:pt x="482" y="15"/>
                </a:lnTo>
                <a:lnTo>
                  <a:pt x="480" y="18"/>
                </a:lnTo>
                <a:lnTo>
                  <a:pt x="480" y="18"/>
                </a:lnTo>
                <a:lnTo>
                  <a:pt x="480" y="22"/>
                </a:lnTo>
                <a:lnTo>
                  <a:pt x="480" y="22"/>
                </a:lnTo>
                <a:lnTo>
                  <a:pt x="477" y="27"/>
                </a:lnTo>
                <a:lnTo>
                  <a:pt x="477" y="27"/>
                </a:lnTo>
                <a:lnTo>
                  <a:pt x="477" y="30"/>
                </a:lnTo>
                <a:lnTo>
                  <a:pt x="477" y="30"/>
                </a:lnTo>
                <a:lnTo>
                  <a:pt x="477" y="32"/>
                </a:lnTo>
                <a:lnTo>
                  <a:pt x="477" y="32"/>
                </a:lnTo>
                <a:lnTo>
                  <a:pt x="475" y="32"/>
                </a:lnTo>
                <a:lnTo>
                  <a:pt x="475" y="32"/>
                </a:lnTo>
                <a:lnTo>
                  <a:pt x="475" y="37"/>
                </a:lnTo>
                <a:lnTo>
                  <a:pt x="475" y="37"/>
                </a:lnTo>
                <a:lnTo>
                  <a:pt x="473" y="40"/>
                </a:lnTo>
                <a:lnTo>
                  <a:pt x="473" y="40"/>
                </a:lnTo>
                <a:lnTo>
                  <a:pt x="473" y="42"/>
                </a:lnTo>
                <a:lnTo>
                  <a:pt x="473" y="42"/>
                </a:lnTo>
                <a:lnTo>
                  <a:pt x="477" y="45"/>
                </a:lnTo>
                <a:lnTo>
                  <a:pt x="477" y="45"/>
                </a:lnTo>
                <a:lnTo>
                  <a:pt x="475" y="47"/>
                </a:lnTo>
                <a:lnTo>
                  <a:pt x="475" y="47"/>
                </a:lnTo>
                <a:lnTo>
                  <a:pt x="473" y="47"/>
                </a:lnTo>
                <a:lnTo>
                  <a:pt x="473" y="47"/>
                </a:lnTo>
                <a:lnTo>
                  <a:pt x="473" y="50"/>
                </a:lnTo>
                <a:lnTo>
                  <a:pt x="473" y="50"/>
                </a:lnTo>
                <a:lnTo>
                  <a:pt x="470" y="52"/>
                </a:lnTo>
                <a:lnTo>
                  <a:pt x="470" y="52"/>
                </a:lnTo>
                <a:lnTo>
                  <a:pt x="473" y="57"/>
                </a:lnTo>
                <a:lnTo>
                  <a:pt x="473" y="57"/>
                </a:lnTo>
                <a:lnTo>
                  <a:pt x="473" y="59"/>
                </a:lnTo>
                <a:lnTo>
                  <a:pt x="473" y="59"/>
                </a:lnTo>
                <a:lnTo>
                  <a:pt x="470" y="57"/>
                </a:lnTo>
                <a:lnTo>
                  <a:pt x="470" y="57"/>
                </a:lnTo>
                <a:lnTo>
                  <a:pt x="468" y="59"/>
                </a:lnTo>
                <a:lnTo>
                  <a:pt x="468" y="59"/>
                </a:lnTo>
                <a:lnTo>
                  <a:pt x="468" y="67"/>
                </a:lnTo>
                <a:lnTo>
                  <a:pt x="468" y="67"/>
                </a:lnTo>
                <a:lnTo>
                  <a:pt x="468" y="72"/>
                </a:lnTo>
                <a:lnTo>
                  <a:pt x="468" y="72"/>
                </a:lnTo>
                <a:lnTo>
                  <a:pt x="468" y="77"/>
                </a:lnTo>
                <a:lnTo>
                  <a:pt x="468" y="77"/>
                </a:lnTo>
                <a:lnTo>
                  <a:pt x="468" y="82"/>
                </a:lnTo>
                <a:lnTo>
                  <a:pt x="468" y="82"/>
                </a:lnTo>
                <a:lnTo>
                  <a:pt x="468" y="86"/>
                </a:lnTo>
                <a:lnTo>
                  <a:pt x="468" y="86"/>
                </a:lnTo>
                <a:lnTo>
                  <a:pt x="465" y="89"/>
                </a:lnTo>
                <a:lnTo>
                  <a:pt x="465" y="89"/>
                </a:lnTo>
                <a:lnTo>
                  <a:pt x="465" y="91"/>
                </a:lnTo>
                <a:lnTo>
                  <a:pt x="465" y="91"/>
                </a:lnTo>
                <a:lnTo>
                  <a:pt x="463" y="96"/>
                </a:lnTo>
                <a:lnTo>
                  <a:pt x="463" y="96"/>
                </a:lnTo>
                <a:lnTo>
                  <a:pt x="463" y="106"/>
                </a:lnTo>
                <a:lnTo>
                  <a:pt x="463" y="106"/>
                </a:lnTo>
                <a:lnTo>
                  <a:pt x="460" y="109"/>
                </a:lnTo>
                <a:lnTo>
                  <a:pt x="460" y="109"/>
                </a:lnTo>
                <a:lnTo>
                  <a:pt x="460" y="111"/>
                </a:lnTo>
                <a:lnTo>
                  <a:pt x="460" y="111"/>
                </a:lnTo>
                <a:lnTo>
                  <a:pt x="458" y="116"/>
                </a:lnTo>
                <a:lnTo>
                  <a:pt x="458" y="116"/>
                </a:lnTo>
                <a:lnTo>
                  <a:pt x="455" y="118"/>
                </a:lnTo>
                <a:lnTo>
                  <a:pt x="455" y="118"/>
                </a:lnTo>
                <a:lnTo>
                  <a:pt x="455" y="126"/>
                </a:lnTo>
                <a:lnTo>
                  <a:pt x="455" y="126"/>
                </a:lnTo>
                <a:lnTo>
                  <a:pt x="450" y="128"/>
                </a:lnTo>
                <a:lnTo>
                  <a:pt x="450" y="128"/>
                </a:lnTo>
                <a:lnTo>
                  <a:pt x="441" y="133"/>
                </a:lnTo>
                <a:lnTo>
                  <a:pt x="441" y="133"/>
                </a:lnTo>
                <a:lnTo>
                  <a:pt x="436" y="131"/>
                </a:lnTo>
                <a:lnTo>
                  <a:pt x="436" y="131"/>
                </a:lnTo>
                <a:lnTo>
                  <a:pt x="433" y="131"/>
                </a:lnTo>
                <a:lnTo>
                  <a:pt x="433" y="131"/>
                </a:lnTo>
                <a:lnTo>
                  <a:pt x="431" y="126"/>
                </a:lnTo>
                <a:lnTo>
                  <a:pt x="431" y="126"/>
                </a:lnTo>
                <a:lnTo>
                  <a:pt x="426" y="123"/>
                </a:lnTo>
                <a:lnTo>
                  <a:pt x="426" y="123"/>
                </a:lnTo>
                <a:lnTo>
                  <a:pt x="426" y="121"/>
                </a:lnTo>
                <a:lnTo>
                  <a:pt x="426" y="121"/>
                </a:lnTo>
                <a:lnTo>
                  <a:pt x="426" y="121"/>
                </a:lnTo>
                <a:lnTo>
                  <a:pt x="423" y="118"/>
                </a:lnTo>
                <a:lnTo>
                  <a:pt x="423" y="118"/>
                </a:lnTo>
                <a:lnTo>
                  <a:pt x="421" y="116"/>
                </a:lnTo>
                <a:lnTo>
                  <a:pt x="421" y="116"/>
                </a:lnTo>
                <a:lnTo>
                  <a:pt x="418" y="116"/>
                </a:lnTo>
                <a:lnTo>
                  <a:pt x="418" y="116"/>
                </a:lnTo>
                <a:lnTo>
                  <a:pt x="413" y="116"/>
                </a:lnTo>
                <a:lnTo>
                  <a:pt x="413" y="116"/>
                </a:lnTo>
                <a:lnTo>
                  <a:pt x="409" y="113"/>
                </a:lnTo>
                <a:lnTo>
                  <a:pt x="409" y="113"/>
                </a:lnTo>
                <a:lnTo>
                  <a:pt x="409" y="109"/>
                </a:lnTo>
                <a:lnTo>
                  <a:pt x="409" y="109"/>
                </a:lnTo>
                <a:lnTo>
                  <a:pt x="404" y="106"/>
                </a:lnTo>
                <a:lnTo>
                  <a:pt x="404" y="106"/>
                </a:lnTo>
                <a:lnTo>
                  <a:pt x="401" y="106"/>
                </a:lnTo>
                <a:lnTo>
                  <a:pt x="401" y="106"/>
                </a:lnTo>
                <a:lnTo>
                  <a:pt x="396" y="104"/>
                </a:lnTo>
                <a:lnTo>
                  <a:pt x="396" y="104"/>
                </a:lnTo>
                <a:lnTo>
                  <a:pt x="396" y="101"/>
                </a:lnTo>
                <a:lnTo>
                  <a:pt x="396" y="101"/>
                </a:lnTo>
                <a:lnTo>
                  <a:pt x="394" y="101"/>
                </a:lnTo>
                <a:lnTo>
                  <a:pt x="394" y="101"/>
                </a:lnTo>
                <a:lnTo>
                  <a:pt x="394" y="99"/>
                </a:lnTo>
                <a:lnTo>
                  <a:pt x="394" y="99"/>
                </a:lnTo>
                <a:lnTo>
                  <a:pt x="389" y="99"/>
                </a:lnTo>
                <a:lnTo>
                  <a:pt x="389" y="99"/>
                </a:lnTo>
                <a:lnTo>
                  <a:pt x="386" y="99"/>
                </a:lnTo>
                <a:lnTo>
                  <a:pt x="386" y="99"/>
                </a:lnTo>
                <a:lnTo>
                  <a:pt x="386" y="96"/>
                </a:lnTo>
                <a:lnTo>
                  <a:pt x="386" y="96"/>
                </a:lnTo>
                <a:lnTo>
                  <a:pt x="384" y="94"/>
                </a:lnTo>
                <a:lnTo>
                  <a:pt x="384" y="94"/>
                </a:lnTo>
                <a:lnTo>
                  <a:pt x="384" y="91"/>
                </a:lnTo>
                <a:lnTo>
                  <a:pt x="384" y="91"/>
                </a:lnTo>
                <a:lnTo>
                  <a:pt x="379" y="86"/>
                </a:lnTo>
                <a:lnTo>
                  <a:pt x="379" y="86"/>
                </a:lnTo>
                <a:lnTo>
                  <a:pt x="377" y="86"/>
                </a:lnTo>
                <a:lnTo>
                  <a:pt x="377" y="86"/>
                </a:lnTo>
                <a:lnTo>
                  <a:pt x="374" y="82"/>
                </a:lnTo>
                <a:lnTo>
                  <a:pt x="374" y="82"/>
                </a:lnTo>
                <a:lnTo>
                  <a:pt x="372" y="79"/>
                </a:lnTo>
                <a:lnTo>
                  <a:pt x="372" y="79"/>
                </a:lnTo>
                <a:lnTo>
                  <a:pt x="377" y="74"/>
                </a:lnTo>
                <a:lnTo>
                  <a:pt x="377" y="74"/>
                </a:lnTo>
                <a:lnTo>
                  <a:pt x="377" y="69"/>
                </a:lnTo>
                <a:lnTo>
                  <a:pt x="377" y="69"/>
                </a:lnTo>
                <a:lnTo>
                  <a:pt x="379" y="69"/>
                </a:lnTo>
                <a:lnTo>
                  <a:pt x="379" y="69"/>
                </a:lnTo>
                <a:lnTo>
                  <a:pt x="381" y="64"/>
                </a:lnTo>
                <a:lnTo>
                  <a:pt x="381" y="64"/>
                </a:lnTo>
                <a:lnTo>
                  <a:pt x="381" y="62"/>
                </a:lnTo>
                <a:lnTo>
                  <a:pt x="381" y="62"/>
                </a:lnTo>
                <a:lnTo>
                  <a:pt x="379" y="64"/>
                </a:lnTo>
                <a:lnTo>
                  <a:pt x="379" y="64"/>
                </a:lnTo>
                <a:lnTo>
                  <a:pt x="377" y="59"/>
                </a:lnTo>
                <a:lnTo>
                  <a:pt x="377" y="59"/>
                </a:lnTo>
                <a:lnTo>
                  <a:pt x="379" y="57"/>
                </a:lnTo>
                <a:lnTo>
                  <a:pt x="379" y="57"/>
                </a:lnTo>
                <a:lnTo>
                  <a:pt x="379" y="54"/>
                </a:lnTo>
                <a:lnTo>
                  <a:pt x="379" y="54"/>
                </a:lnTo>
                <a:lnTo>
                  <a:pt x="381" y="54"/>
                </a:lnTo>
                <a:lnTo>
                  <a:pt x="381" y="54"/>
                </a:lnTo>
                <a:lnTo>
                  <a:pt x="384" y="52"/>
                </a:lnTo>
                <a:lnTo>
                  <a:pt x="384" y="52"/>
                </a:lnTo>
                <a:lnTo>
                  <a:pt x="384" y="54"/>
                </a:lnTo>
                <a:lnTo>
                  <a:pt x="384" y="54"/>
                </a:lnTo>
                <a:lnTo>
                  <a:pt x="386" y="54"/>
                </a:lnTo>
                <a:lnTo>
                  <a:pt x="386" y="54"/>
                </a:lnTo>
                <a:lnTo>
                  <a:pt x="391" y="52"/>
                </a:lnTo>
                <a:lnTo>
                  <a:pt x="391" y="52"/>
                </a:lnTo>
                <a:lnTo>
                  <a:pt x="391" y="50"/>
                </a:lnTo>
                <a:lnTo>
                  <a:pt x="391" y="50"/>
                </a:lnTo>
                <a:lnTo>
                  <a:pt x="389" y="47"/>
                </a:lnTo>
                <a:lnTo>
                  <a:pt x="389" y="47"/>
                </a:lnTo>
                <a:lnTo>
                  <a:pt x="391" y="45"/>
                </a:lnTo>
                <a:lnTo>
                  <a:pt x="391" y="45"/>
                </a:lnTo>
                <a:lnTo>
                  <a:pt x="394" y="47"/>
                </a:lnTo>
                <a:lnTo>
                  <a:pt x="394" y="47"/>
                </a:lnTo>
                <a:lnTo>
                  <a:pt x="394" y="40"/>
                </a:lnTo>
                <a:lnTo>
                  <a:pt x="394" y="40"/>
                </a:lnTo>
                <a:lnTo>
                  <a:pt x="396" y="40"/>
                </a:lnTo>
                <a:lnTo>
                  <a:pt x="396" y="40"/>
                </a:lnTo>
                <a:lnTo>
                  <a:pt x="399" y="37"/>
                </a:lnTo>
                <a:lnTo>
                  <a:pt x="399" y="37"/>
                </a:lnTo>
                <a:lnTo>
                  <a:pt x="399" y="35"/>
                </a:lnTo>
                <a:lnTo>
                  <a:pt x="399" y="35"/>
                </a:lnTo>
                <a:lnTo>
                  <a:pt x="396" y="35"/>
                </a:lnTo>
                <a:lnTo>
                  <a:pt x="396" y="35"/>
                </a:lnTo>
                <a:lnTo>
                  <a:pt x="394" y="37"/>
                </a:lnTo>
                <a:lnTo>
                  <a:pt x="394" y="37"/>
                </a:lnTo>
                <a:lnTo>
                  <a:pt x="391" y="35"/>
                </a:lnTo>
                <a:lnTo>
                  <a:pt x="391" y="35"/>
                </a:lnTo>
                <a:lnTo>
                  <a:pt x="391" y="30"/>
                </a:lnTo>
                <a:lnTo>
                  <a:pt x="391" y="30"/>
                </a:lnTo>
                <a:lnTo>
                  <a:pt x="389" y="32"/>
                </a:lnTo>
                <a:lnTo>
                  <a:pt x="389" y="32"/>
                </a:lnTo>
                <a:lnTo>
                  <a:pt x="384" y="35"/>
                </a:lnTo>
                <a:lnTo>
                  <a:pt x="384" y="35"/>
                </a:lnTo>
                <a:lnTo>
                  <a:pt x="386" y="37"/>
                </a:lnTo>
                <a:lnTo>
                  <a:pt x="386" y="37"/>
                </a:lnTo>
                <a:lnTo>
                  <a:pt x="386" y="40"/>
                </a:lnTo>
                <a:lnTo>
                  <a:pt x="386" y="40"/>
                </a:lnTo>
                <a:lnTo>
                  <a:pt x="384" y="40"/>
                </a:lnTo>
                <a:lnTo>
                  <a:pt x="384" y="40"/>
                </a:lnTo>
                <a:lnTo>
                  <a:pt x="381" y="37"/>
                </a:lnTo>
                <a:lnTo>
                  <a:pt x="381" y="37"/>
                </a:lnTo>
                <a:lnTo>
                  <a:pt x="381" y="37"/>
                </a:lnTo>
                <a:lnTo>
                  <a:pt x="379" y="35"/>
                </a:lnTo>
                <a:lnTo>
                  <a:pt x="379" y="35"/>
                </a:lnTo>
                <a:lnTo>
                  <a:pt x="379" y="37"/>
                </a:lnTo>
                <a:lnTo>
                  <a:pt x="379" y="37"/>
                </a:lnTo>
                <a:lnTo>
                  <a:pt x="377" y="37"/>
                </a:lnTo>
                <a:lnTo>
                  <a:pt x="377" y="37"/>
                </a:lnTo>
                <a:lnTo>
                  <a:pt x="377" y="35"/>
                </a:lnTo>
                <a:lnTo>
                  <a:pt x="377" y="35"/>
                </a:lnTo>
                <a:lnTo>
                  <a:pt x="379" y="32"/>
                </a:lnTo>
                <a:lnTo>
                  <a:pt x="379" y="32"/>
                </a:lnTo>
                <a:lnTo>
                  <a:pt x="379" y="32"/>
                </a:lnTo>
                <a:lnTo>
                  <a:pt x="377" y="32"/>
                </a:lnTo>
                <a:lnTo>
                  <a:pt x="377" y="32"/>
                </a:lnTo>
                <a:lnTo>
                  <a:pt x="377" y="35"/>
                </a:lnTo>
                <a:lnTo>
                  <a:pt x="377" y="35"/>
                </a:lnTo>
                <a:lnTo>
                  <a:pt x="372" y="35"/>
                </a:lnTo>
                <a:lnTo>
                  <a:pt x="372" y="35"/>
                </a:lnTo>
                <a:lnTo>
                  <a:pt x="372" y="37"/>
                </a:lnTo>
                <a:lnTo>
                  <a:pt x="372" y="37"/>
                </a:lnTo>
                <a:lnTo>
                  <a:pt x="369" y="37"/>
                </a:lnTo>
                <a:lnTo>
                  <a:pt x="369" y="37"/>
                </a:lnTo>
                <a:lnTo>
                  <a:pt x="369" y="37"/>
                </a:lnTo>
                <a:lnTo>
                  <a:pt x="367" y="35"/>
                </a:lnTo>
                <a:lnTo>
                  <a:pt x="367" y="35"/>
                </a:lnTo>
                <a:lnTo>
                  <a:pt x="367" y="35"/>
                </a:lnTo>
                <a:lnTo>
                  <a:pt x="364" y="32"/>
                </a:lnTo>
                <a:lnTo>
                  <a:pt x="364" y="32"/>
                </a:lnTo>
                <a:lnTo>
                  <a:pt x="362" y="30"/>
                </a:lnTo>
                <a:lnTo>
                  <a:pt x="362" y="30"/>
                </a:lnTo>
                <a:lnTo>
                  <a:pt x="359" y="32"/>
                </a:lnTo>
                <a:lnTo>
                  <a:pt x="359" y="32"/>
                </a:lnTo>
                <a:lnTo>
                  <a:pt x="357" y="32"/>
                </a:lnTo>
                <a:lnTo>
                  <a:pt x="357" y="32"/>
                </a:lnTo>
                <a:lnTo>
                  <a:pt x="354" y="32"/>
                </a:lnTo>
                <a:lnTo>
                  <a:pt x="354" y="32"/>
                </a:lnTo>
                <a:lnTo>
                  <a:pt x="354" y="30"/>
                </a:lnTo>
                <a:lnTo>
                  <a:pt x="354" y="30"/>
                </a:lnTo>
                <a:lnTo>
                  <a:pt x="352" y="30"/>
                </a:lnTo>
                <a:lnTo>
                  <a:pt x="352" y="30"/>
                </a:lnTo>
                <a:lnTo>
                  <a:pt x="350" y="27"/>
                </a:lnTo>
                <a:lnTo>
                  <a:pt x="350" y="27"/>
                </a:lnTo>
                <a:lnTo>
                  <a:pt x="347" y="30"/>
                </a:lnTo>
                <a:lnTo>
                  <a:pt x="347" y="30"/>
                </a:lnTo>
                <a:lnTo>
                  <a:pt x="342" y="27"/>
                </a:lnTo>
                <a:lnTo>
                  <a:pt x="342" y="27"/>
                </a:lnTo>
                <a:lnTo>
                  <a:pt x="340" y="27"/>
                </a:lnTo>
                <a:lnTo>
                  <a:pt x="340" y="27"/>
                </a:lnTo>
                <a:lnTo>
                  <a:pt x="340" y="25"/>
                </a:lnTo>
                <a:lnTo>
                  <a:pt x="340" y="25"/>
                </a:lnTo>
                <a:lnTo>
                  <a:pt x="337" y="22"/>
                </a:lnTo>
                <a:lnTo>
                  <a:pt x="337" y="22"/>
                </a:lnTo>
                <a:lnTo>
                  <a:pt x="337" y="22"/>
                </a:lnTo>
                <a:lnTo>
                  <a:pt x="337" y="22"/>
                </a:lnTo>
                <a:lnTo>
                  <a:pt x="332" y="25"/>
                </a:lnTo>
                <a:lnTo>
                  <a:pt x="332" y="25"/>
                </a:lnTo>
                <a:lnTo>
                  <a:pt x="330" y="22"/>
                </a:lnTo>
                <a:lnTo>
                  <a:pt x="330" y="22"/>
                </a:lnTo>
                <a:lnTo>
                  <a:pt x="327" y="20"/>
                </a:lnTo>
                <a:lnTo>
                  <a:pt x="327" y="20"/>
                </a:lnTo>
                <a:lnTo>
                  <a:pt x="325" y="18"/>
                </a:lnTo>
                <a:lnTo>
                  <a:pt x="325" y="18"/>
                </a:lnTo>
                <a:lnTo>
                  <a:pt x="322" y="20"/>
                </a:lnTo>
                <a:lnTo>
                  <a:pt x="322" y="20"/>
                </a:lnTo>
                <a:lnTo>
                  <a:pt x="322" y="18"/>
                </a:lnTo>
                <a:lnTo>
                  <a:pt x="322" y="18"/>
                </a:lnTo>
                <a:lnTo>
                  <a:pt x="318" y="20"/>
                </a:lnTo>
                <a:lnTo>
                  <a:pt x="318" y="20"/>
                </a:lnTo>
                <a:lnTo>
                  <a:pt x="322" y="22"/>
                </a:lnTo>
                <a:lnTo>
                  <a:pt x="322" y="22"/>
                </a:lnTo>
                <a:lnTo>
                  <a:pt x="320" y="22"/>
                </a:lnTo>
                <a:lnTo>
                  <a:pt x="320" y="22"/>
                </a:lnTo>
                <a:lnTo>
                  <a:pt x="325" y="25"/>
                </a:lnTo>
                <a:lnTo>
                  <a:pt x="325" y="25"/>
                </a:lnTo>
                <a:lnTo>
                  <a:pt x="327" y="22"/>
                </a:lnTo>
                <a:lnTo>
                  <a:pt x="327" y="22"/>
                </a:lnTo>
                <a:lnTo>
                  <a:pt x="330" y="27"/>
                </a:lnTo>
                <a:lnTo>
                  <a:pt x="330" y="27"/>
                </a:lnTo>
                <a:lnTo>
                  <a:pt x="330" y="27"/>
                </a:lnTo>
                <a:lnTo>
                  <a:pt x="332" y="32"/>
                </a:lnTo>
                <a:lnTo>
                  <a:pt x="332" y="32"/>
                </a:lnTo>
                <a:lnTo>
                  <a:pt x="327" y="35"/>
                </a:lnTo>
                <a:lnTo>
                  <a:pt x="327" y="35"/>
                </a:lnTo>
                <a:lnTo>
                  <a:pt x="327" y="37"/>
                </a:lnTo>
                <a:lnTo>
                  <a:pt x="327" y="37"/>
                </a:lnTo>
                <a:lnTo>
                  <a:pt x="325" y="35"/>
                </a:lnTo>
                <a:lnTo>
                  <a:pt x="325" y="35"/>
                </a:lnTo>
                <a:lnTo>
                  <a:pt x="322" y="35"/>
                </a:lnTo>
                <a:lnTo>
                  <a:pt x="322" y="35"/>
                </a:lnTo>
                <a:lnTo>
                  <a:pt x="320" y="35"/>
                </a:lnTo>
                <a:lnTo>
                  <a:pt x="320" y="35"/>
                </a:lnTo>
                <a:lnTo>
                  <a:pt x="313" y="37"/>
                </a:lnTo>
                <a:lnTo>
                  <a:pt x="313" y="37"/>
                </a:lnTo>
                <a:lnTo>
                  <a:pt x="308" y="32"/>
                </a:lnTo>
                <a:lnTo>
                  <a:pt x="308" y="32"/>
                </a:lnTo>
                <a:lnTo>
                  <a:pt x="308" y="35"/>
                </a:lnTo>
                <a:lnTo>
                  <a:pt x="308" y="35"/>
                </a:lnTo>
                <a:lnTo>
                  <a:pt x="305" y="37"/>
                </a:lnTo>
                <a:lnTo>
                  <a:pt x="305" y="37"/>
                </a:lnTo>
                <a:lnTo>
                  <a:pt x="305" y="40"/>
                </a:lnTo>
                <a:lnTo>
                  <a:pt x="305" y="40"/>
                </a:lnTo>
                <a:lnTo>
                  <a:pt x="303" y="37"/>
                </a:lnTo>
                <a:lnTo>
                  <a:pt x="303" y="37"/>
                </a:lnTo>
                <a:lnTo>
                  <a:pt x="303" y="42"/>
                </a:lnTo>
                <a:lnTo>
                  <a:pt x="303" y="42"/>
                </a:lnTo>
                <a:lnTo>
                  <a:pt x="303" y="42"/>
                </a:lnTo>
                <a:lnTo>
                  <a:pt x="298" y="40"/>
                </a:lnTo>
                <a:lnTo>
                  <a:pt x="298" y="40"/>
                </a:lnTo>
                <a:lnTo>
                  <a:pt x="298" y="42"/>
                </a:lnTo>
                <a:lnTo>
                  <a:pt x="298" y="42"/>
                </a:lnTo>
                <a:lnTo>
                  <a:pt x="298" y="45"/>
                </a:lnTo>
                <a:lnTo>
                  <a:pt x="298" y="45"/>
                </a:lnTo>
                <a:lnTo>
                  <a:pt x="298" y="45"/>
                </a:lnTo>
                <a:lnTo>
                  <a:pt x="295" y="45"/>
                </a:lnTo>
                <a:lnTo>
                  <a:pt x="295" y="45"/>
                </a:lnTo>
                <a:lnTo>
                  <a:pt x="293" y="47"/>
                </a:lnTo>
                <a:lnTo>
                  <a:pt x="293" y="47"/>
                </a:lnTo>
                <a:lnTo>
                  <a:pt x="293" y="47"/>
                </a:lnTo>
                <a:lnTo>
                  <a:pt x="293" y="50"/>
                </a:lnTo>
                <a:lnTo>
                  <a:pt x="293" y="50"/>
                </a:lnTo>
                <a:lnTo>
                  <a:pt x="290" y="50"/>
                </a:lnTo>
                <a:lnTo>
                  <a:pt x="290" y="50"/>
                </a:lnTo>
                <a:lnTo>
                  <a:pt x="290" y="52"/>
                </a:lnTo>
                <a:lnTo>
                  <a:pt x="290" y="52"/>
                </a:lnTo>
                <a:lnTo>
                  <a:pt x="293" y="54"/>
                </a:lnTo>
                <a:lnTo>
                  <a:pt x="293" y="54"/>
                </a:lnTo>
                <a:lnTo>
                  <a:pt x="293" y="57"/>
                </a:lnTo>
                <a:lnTo>
                  <a:pt x="293" y="57"/>
                </a:lnTo>
                <a:lnTo>
                  <a:pt x="290" y="54"/>
                </a:lnTo>
                <a:lnTo>
                  <a:pt x="290" y="54"/>
                </a:lnTo>
                <a:lnTo>
                  <a:pt x="288" y="57"/>
                </a:lnTo>
                <a:lnTo>
                  <a:pt x="288" y="57"/>
                </a:lnTo>
                <a:lnTo>
                  <a:pt x="286" y="57"/>
                </a:lnTo>
                <a:lnTo>
                  <a:pt x="286" y="57"/>
                </a:lnTo>
                <a:lnTo>
                  <a:pt x="283" y="62"/>
                </a:lnTo>
                <a:lnTo>
                  <a:pt x="283" y="62"/>
                </a:lnTo>
                <a:lnTo>
                  <a:pt x="281" y="67"/>
                </a:lnTo>
                <a:lnTo>
                  <a:pt x="281" y="67"/>
                </a:lnTo>
                <a:lnTo>
                  <a:pt x="278" y="67"/>
                </a:lnTo>
                <a:lnTo>
                  <a:pt x="278" y="67"/>
                </a:lnTo>
                <a:lnTo>
                  <a:pt x="278" y="69"/>
                </a:lnTo>
                <a:lnTo>
                  <a:pt x="278" y="69"/>
                </a:lnTo>
                <a:lnTo>
                  <a:pt x="276" y="72"/>
                </a:lnTo>
                <a:lnTo>
                  <a:pt x="276" y="72"/>
                </a:lnTo>
                <a:lnTo>
                  <a:pt x="278" y="74"/>
                </a:lnTo>
                <a:lnTo>
                  <a:pt x="278" y="74"/>
                </a:lnTo>
                <a:lnTo>
                  <a:pt x="283" y="74"/>
                </a:lnTo>
                <a:lnTo>
                  <a:pt x="283" y="74"/>
                </a:lnTo>
                <a:lnTo>
                  <a:pt x="281" y="77"/>
                </a:lnTo>
                <a:lnTo>
                  <a:pt x="281" y="77"/>
                </a:lnTo>
                <a:lnTo>
                  <a:pt x="278" y="77"/>
                </a:lnTo>
                <a:lnTo>
                  <a:pt x="278" y="77"/>
                </a:lnTo>
                <a:lnTo>
                  <a:pt x="286" y="79"/>
                </a:lnTo>
                <a:lnTo>
                  <a:pt x="286" y="79"/>
                </a:lnTo>
                <a:lnTo>
                  <a:pt x="283" y="82"/>
                </a:lnTo>
                <a:lnTo>
                  <a:pt x="283" y="82"/>
                </a:lnTo>
                <a:lnTo>
                  <a:pt x="278" y="82"/>
                </a:lnTo>
                <a:lnTo>
                  <a:pt x="278" y="82"/>
                </a:lnTo>
                <a:lnTo>
                  <a:pt x="278" y="79"/>
                </a:lnTo>
                <a:lnTo>
                  <a:pt x="278" y="79"/>
                </a:lnTo>
                <a:lnTo>
                  <a:pt x="278" y="82"/>
                </a:lnTo>
                <a:lnTo>
                  <a:pt x="278" y="82"/>
                </a:lnTo>
                <a:lnTo>
                  <a:pt x="281" y="82"/>
                </a:lnTo>
                <a:lnTo>
                  <a:pt x="281" y="82"/>
                </a:lnTo>
                <a:lnTo>
                  <a:pt x="281" y="86"/>
                </a:lnTo>
                <a:lnTo>
                  <a:pt x="281" y="86"/>
                </a:lnTo>
                <a:lnTo>
                  <a:pt x="283" y="89"/>
                </a:lnTo>
                <a:lnTo>
                  <a:pt x="283" y="89"/>
                </a:lnTo>
                <a:lnTo>
                  <a:pt x="278" y="86"/>
                </a:lnTo>
                <a:lnTo>
                  <a:pt x="278" y="86"/>
                </a:lnTo>
                <a:lnTo>
                  <a:pt x="276" y="82"/>
                </a:lnTo>
                <a:lnTo>
                  <a:pt x="276" y="82"/>
                </a:lnTo>
                <a:lnTo>
                  <a:pt x="273" y="82"/>
                </a:lnTo>
                <a:lnTo>
                  <a:pt x="273" y="82"/>
                </a:lnTo>
                <a:lnTo>
                  <a:pt x="273" y="84"/>
                </a:lnTo>
                <a:lnTo>
                  <a:pt x="273" y="84"/>
                </a:lnTo>
                <a:lnTo>
                  <a:pt x="273" y="86"/>
                </a:lnTo>
                <a:lnTo>
                  <a:pt x="273" y="86"/>
                </a:lnTo>
                <a:lnTo>
                  <a:pt x="271" y="84"/>
                </a:lnTo>
                <a:lnTo>
                  <a:pt x="271" y="84"/>
                </a:lnTo>
                <a:lnTo>
                  <a:pt x="266" y="79"/>
                </a:lnTo>
                <a:lnTo>
                  <a:pt x="266" y="79"/>
                </a:lnTo>
                <a:lnTo>
                  <a:pt x="261" y="79"/>
                </a:lnTo>
                <a:lnTo>
                  <a:pt x="261" y="79"/>
                </a:lnTo>
                <a:lnTo>
                  <a:pt x="261" y="82"/>
                </a:lnTo>
                <a:lnTo>
                  <a:pt x="261" y="82"/>
                </a:lnTo>
                <a:lnTo>
                  <a:pt x="261" y="84"/>
                </a:lnTo>
                <a:lnTo>
                  <a:pt x="261" y="84"/>
                </a:lnTo>
                <a:lnTo>
                  <a:pt x="258" y="82"/>
                </a:lnTo>
                <a:lnTo>
                  <a:pt x="258" y="82"/>
                </a:lnTo>
                <a:lnTo>
                  <a:pt x="258" y="82"/>
                </a:lnTo>
                <a:lnTo>
                  <a:pt x="256" y="84"/>
                </a:lnTo>
                <a:lnTo>
                  <a:pt x="256" y="84"/>
                </a:lnTo>
                <a:lnTo>
                  <a:pt x="258" y="86"/>
                </a:lnTo>
                <a:lnTo>
                  <a:pt x="258" y="86"/>
                </a:lnTo>
                <a:lnTo>
                  <a:pt x="258" y="89"/>
                </a:lnTo>
                <a:lnTo>
                  <a:pt x="258" y="89"/>
                </a:lnTo>
                <a:lnTo>
                  <a:pt x="258" y="86"/>
                </a:lnTo>
                <a:lnTo>
                  <a:pt x="258" y="86"/>
                </a:lnTo>
                <a:lnTo>
                  <a:pt x="256" y="86"/>
                </a:lnTo>
                <a:lnTo>
                  <a:pt x="256" y="86"/>
                </a:lnTo>
                <a:lnTo>
                  <a:pt x="256" y="89"/>
                </a:lnTo>
                <a:lnTo>
                  <a:pt x="256" y="89"/>
                </a:lnTo>
                <a:lnTo>
                  <a:pt x="254" y="91"/>
                </a:lnTo>
                <a:lnTo>
                  <a:pt x="254" y="91"/>
                </a:lnTo>
                <a:lnTo>
                  <a:pt x="249" y="91"/>
                </a:lnTo>
                <a:lnTo>
                  <a:pt x="249" y="91"/>
                </a:lnTo>
                <a:lnTo>
                  <a:pt x="251" y="89"/>
                </a:lnTo>
                <a:lnTo>
                  <a:pt x="251" y="89"/>
                </a:lnTo>
                <a:lnTo>
                  <a:pt x="254" y="86"/>
                </a:lnTo>
                <a:lnTo>
                  <a:pt x="254" y="86"/>
                </a:lnTo>
                <a:lnTo>
                  <a:pt x="254" y="82"/>
                </a:lnTo>
                <a:lnTo>
                  <a:pt x="254" y="82"/>
                </a:lnTo>
                <a:lnTo>
                  <a:pt x="256" y="79"/>
                </a:lnTo>
                <a:lnTo>
                  <a:pt x="256" y="79"/>
                </a:lnTo>
                <a:lnTo>
                  <a:pt x="256" y="77"/>
                </a:lnTo>
                <a:lnTo>
                  <a:pt x="256" y="77"/>
                </a:lnTo>
                <a:lnTo>
                  <a:pt x="251" y="77"/>
                </a:lnTo>
                <a:lnTo>
                  <a:pt x="251" y="77"/>
                </a:lnTo>
                <a:lnTo>
                  <a:pt x="249" y="69"/>
                </a:lnTo>
                <a:lnTo>
                  <a:pt x="249" y="69"/>
                </a:lnTo>
                <a:lnTo>
                  <a:pt x="246" y="64"/>
                </a:lnTo>
                <a:lnTo>
                  <a:pt x="246" y="64"/>
                </a:lnTo>
                <a:lnTo>
                  <a:pt x="241" y="64"/>
                </a:lnTo>
                <a:lnTo>
                  <a:pt x="241" y="64"/>
                </a:lnTo>
                <a:lnTo>
                  <a:pt x="239" y="62"/>
                </a:lnTo>
                <a:lnTo>
                  <a:pt x="239" y="62"/>
                </a:lnTo>
                <a:lnTo>
                  <a:pt x="236" y="62"/>
                </a:lnTo>
                <a:lnTo>
                  <a:pt x="236" y="62"/>
                </a:lnTo>
                <a:lnTo>
                  <a:pt x="239" y="64"/>
                </a:lnTo>
                <a:lnTo>
                  <a:pt x="239" y="64"/>
                </a:lnTo>
                <a:lnTo>
                  <a:pt x="236" y="64"/>
                </a:lnTo>
                <a:lnTo>
                  <a:pt x="236" y="64"/>
                </a:lnTo>
                <a:lnTo>
                  <a:pt x="234" y="69"/>
                </a:lnTo>
                <a:lnTo>
                  <a:pt x="234" y="69"/>
                </a:lnTo>
                <a:lnTo>
                  <a:pt x="231" y="67"/>
                </a:lnTo>
                <a:lnTo>
                  <a:pt x="231" y="67"/>
                </a:lnTo>
                <a:lnTo>
                  <a:pt x="234" y="67"/>
                </a:lnTo>
                <a:lnTo>
                  <a:pt x="234" y="67"/>
                </a:lnTo>
                <a:lnTo>
                  <a:pt x="229" y="67"/>
                </a:lnTo>
                <a:lnTo>
                  <a:pt x="229" y="67"/>
                </a:lnTo>
                <a:lnTo>
                  <a:pt x="229" y="69"/>
                </a:lnTo>
                <a:lnTo>
                  <a:pt x="229" y="69"/>
                </a:lnTo>
                <a:lnTo>
                  <a:pt x="227" y="64"/>
                </a:lnTo>
                <a:lnTo>
                  <a:pt x="227" y="64"/>
                </a:lnTo>
                <a:lnTo>
                  <a:pt x="227" y="64"/>
                </a:lnTo>
                <a:lnTo>
                  <a:pt x="224" y="67"/>
                </a:lnTo>
                <a:lnTo>
                  <a:pt x="224" y="67"/>
                </a:lnTo>
                <a:lnTo>
                  <a:pt x="227" y="67"/>
                </a:lnTo>
                <a:lnTo>
                  <a:pt x="227" y="67"/>
                </a:lnTo>
                <a:lnTo>
                  <a:pt x="224" y="69"/>
                </a:lnTo>
                <a:lnTo>
                  <a:pt x="224" y="69"/>
                </a:lnTo>
                <a:lnTo>
                  <a:pt x="224" y="74"/>
                </a:lnTo>
                <a:lnTo>
                  <a:pt x="224" y="74"/>
                </a:lnTo>
                <a:lnTo>
                  <a:pt x="224" y="74"/>
                </a:lnTo>
                <a:lnTo>
                  <a:pt x="222" y="77"/>
                </a:lnTo>
                <a:lnTo>
                  <a:pt x="222" y="77"/>
                </a:lnTo>
                <a:lnTo>
                  <a:pt x="219" y="74"/>
                </a:lnTo>
                <a:lnTo>
                  <a:pt x="219" y="74"/>
                </a:lnTo>
                <a:lnTo>
                  <a:pt x="217" y="74"/>
                </a:lnTo>
                <a:lnTo>
                  <a:pt x="217" y="74"/>
                </a:lnTo>
                <a:lnTo>
                  <a:pt x="217" y="72"/>
                </a:lnTo>
                <a:lnTo>
                  <a:pt x="217" y="72"/>
                </a:lnTo>
                <a:lnTo>
                  <a:pt x="219" y="69"/>
                </a:lnTo>
                <a:lnTo>
                  <a:pt x="219" y="69"/>
                </a:lnTo>
                <a:lnTo>
                  <a:pt x="217" y="72"/>
                </a:lnTo>
                <a:lnTo>
                  <a:pt x="217" y="72"/>
                </a:lnTo>
                <a:lnTo>
                  <a:pt x="217" y="74"/>
                </a:lnTo>
                <a:lnTo>
                  <a:pt x="217" y="74"/>
                </a:lnTo>
                <a:lnTo>
                  <a:pt x="212" y="74"/>
                </a:lnTo>
                <a:lnTo>
                  <a:pt x="212" y="74"/>
                </a:lnTo>
                <a:lnTo>
                  <a:pt x="212" y="77"/>
                </a:lnTo>
                <a:lnTo>
                  <a:pt x="212" y="77"/>
                </a:lnTo>
                <a:lnTo>
                  <a:pt x="212" y="79"/>
                </a:lnTo>
                <a:lnTo>
                  <a:pt x="212" y="79"/>
                </a:lnTo>
                <a:lnTo>
                  <a:pt x="214" y="82"/>
                </a:lnTo>
                <a:lnTo>
                  <a:pt x="214" y="82"/>
                </a:lnTo>
                <a:lnTo>
                  <a:pt x="212" y="84"/>
                </a:lnTo>
                <a:lnTo>
                  <a:pt x="212" y="84"/>
                </a:lnTo>
                <a:lnTo>
                  <a:pt x="209" y="84"/>
                </a:lnTo>
                <a:lnTo>
                  <a:pt x="209" y="84"/>
                </a:lnTo>
                <a:lnTo>
                  <a:pt x="204" y="86"/>
                </a:lnTo>
                <a:lnTo>
                  <a:pt x="204" y="86"/>
                </a:lnTo>
                <a:lnTo>
                  <a:pt x="204" y="86"/>
                </a:lnTo>
                <a:lnTo>
                  <a:pt x="209" y="89"/>
                </a:lnTo>
                <a:lnTo>
                  <a:pt x="209" y="89"/>
                </a:lnTo>
                <a:lnTo>
                  <a:pt x="209" y="91"/>
                </a:lnTo>
                <a:lnTo>
                  <a:pt x="209" y="91"/>
                </a:lnTo>
                <a:lnTo>
                  <a:pt x="207" y="91"/>
                </a:lnTo>
                <a:lnTo>
                  <a:pt x="207" y="91"/>
                </a:lnTo>
                <a:lnTo>
                  <a:pt x="204" y="86"/>
                </a:lnTo>
                <a:lnTo>
                  <a:pt x="204" y="86"/>
                </a:lnTo>
                <a:lnTo>
                  <a:pt x="199" y="91"/>
                </a:lnTo>
                <a:lnTo>
                  <a:pt x="199" y="91"/>
                </a:lnTo>
                <a:lnTo>
                  <a:pt x="197" y="91"/>
                </a:lnTo>
                <a:lnTo>
                  <a:pt x="197" y="91"/>
                </a:lnTo>
                <a:lnTo>
                  <a:pt x="197" y="94"/>
                </a:lnTo>
                <a:lnTo>
                  <a:pt x="197" y="94"/>
                </a:lnTo>
                <a:lnTo>
                  <a:pt x="199" y="96"/>
                </a:lnTo>
                <a:lnTo>
                  <a:pt x="199" y="96"/>
                </a:lnTo>
                <a:lnTo>
                  <a:pt x="199" y="96"/>
                </a:lnTo>
                <a:lnTo>
                  <a:pt x="202" y="96"/>
                </a:lnTo>
                <a:lnTo>
                  <a:pt x="202" y="96"/>
                </a:lnTo>
                <a:lnTo>
                  <a:pt x="199" y="99"/>
                </a:lnTo>
                <a:lnTo>
                  <a:pt x="199" y="99"/>
                </a:lnTo>
                <a:lnTo>
                  <a:pt x="199" y="101"/>
                </a:lnTo>
                <a:lnTo>
                  <a:pt x="199" y="101"/>
                </a:lnTo>
                <a:lnTo>
                  <a:pt x="197" y="104"/>
                </a:lnTo>
                <a:lnTo>
                  <a:pt x="197" y="104"/>
                </a:lnTo>
                <a:lnTo>
                  <a:pt x="197" y="106"/>
                </a:lnTo>
                <a:lnTo>
                  <a:pt x="197" y="106"/>
                </a:lnTo>
                <a:lnTo>
                  <a:pt x="202" y="106"/>
                </a:lnTo>
                <a:lnTo>
                  <a:pt x="202" y="106"/>
                </a:lnTo>
                <a:lnTo>
                  <a:pt x="197" y="109"/>
                </a:lnTo>
                <a:lnTo>
                  <a:pt x="197" y="109"/>
                </a:lnTo>
                <a:lnTo>
                  <a:pt x="197" y="109"/>
                </a:lnTo>
                <a:lnTo>
                  <a:pt x="195" y="109"/>
                </a:lnTo>
                <a:lnTo>
                  <a:pt x="195" y="109"/>
                </a:lnTo>
                <a:lnTo>
                  <a:pt x="192" y="106"/>
                </a:lnTo>
                <a:lnTo>
                  <a:pt x="192" y="106"/>
                </a:lnTo>
                <a:lnTo>
                  <a:pt x="190" y="104"/>
                </a:lnTo>
                <a:lnTo>
                  <a:pt x="190" y="104"/>
                </a:lnTo>
                <a:lnTo>
                  <a:pt x="187" y="106"/>
                </a:lnTo>
                <a:lnTo>
                  <a:pt x="187" y="106"/>
                </a:lnTo>
                <a:lnTo>
                  <a:pt x="187" y="104"/>
                </a:lnTo>
                <a:lnTo>
                  <a:pt x="187" y="104"/>
                </a:lnTo>
                <a:lnTo>
                  <a:pt x="185" y="104"/>
                </a:lnTo>
                <a:lnTo>
                  <a:pt x="185" y="104"/>
                </a:lnTo>
                <a:lnTo>
                  <a:pt x="182" y="104"/>
                </a:lnTo>
                <a:lnTo>
                  <a:pt x="182" y="104"/>
                </a:lnTo>
                <a:lnTo>
                  <a:pt x="185" y="106"/>
                </a:lnTo>
                <a:lnTo>
                  <a:pt x="185" y="106"/>
                </a:lnTo>
                <a:lnTo>
                  <a:pt x="185" y="109"/>
                </a:lnTo>
                <a:lnTo>
                  <a:pt x="185" y="109"/>
                </a:lnTo>
                <a:lnTo>
                  <a:pt x="182" y="111"/>
                </a:lnTo>
                <a:lnTo>
                  <a:pt x="182" y="111"/>
                </a:lnTo>
                <a:lnTo>
                  <a:pt x="185" y="113"/>
                </a:lnTo>
                <a:lnTo>
                  <a:pt x="185" y="113"/>
                </a:lnTo>
                <a:lnTo>
                  <a:pt x="190" y="113"/>
                </a:lnTo>
                <a:lnTo>
                  <a:pt x="190" y="113"/>
                </a:lnTo>
                <a:lnTo>
                  <a:pt x="187" y="116"/>
                </a:lnTo>
                <a:lnTo>
                  <a:pt x="187" y="116"/>
                </a:lnTo>
                <a:lnTo>
                  <a:pt x="187" y="118"/>
                </a:lnTo>
                <a:lnTo>
                  <a:pt x="187" y="118"/>
                </a:lnTo>
                <a:lnTo>
                  <a:pt x="187" y="118"/>
                </a:lnTo>
                <a:lnTo>
                  <a:pt x="185" y="118"/>
                </a:lnTo>
                <a:lnTo>
                  <a:pt x="185" y="118"/>
                </a:lnTo>
                <a:lnTo>
                  <a:pt x="185" y="121"/>
                </a:lnTo>
                <a:lnTo>
                  <a:pt x="185" y="121"/>
                </a:lnTo>
                <a:lnTo>
                  <a:pt x="185" y="123"/>
                </a:lnTo>
                <a:lnTo>
                  <a:pt x="185" y="123"/>
                </a:lnTo>
                <a:lnTo>
                  <a:pt x="182" y="128"/>
                </a:lnTo>
                <a:lnTo>
                  <a:pt x="182" y="128"/>
                </a:lnTo>
                <a:lnTo>
                  <a:pt x="177" y="118"/>
                </a:lnTo>
                <a:lnTo>
                  <a:pt x="177" y="118"/>
                </a:lnTo>
                <a:lnTo>
                  <a:pt x="175" y="111"/>
                </a:lnTo>
                <a:lnTo>
                  <a:pt x="175" y="111"/>
                </a:lnTo>
                <a:lnTo>
                  <a:pt x="172" y="109"/>
                </a:lnTo>
                <a:lnTo>
                  <a:pt x="172" y="109"/>
                </a:lnTo>
                <a:lnTo>
                  <a:pt x="175" y="106"/>
                </a:lnTo>
                <a:lnTo>
                  <a:pt x="175" y="106"/>
                </a:lnTo>
                <a:lnTo>
                  <a:pt x="172" y="106"/>
                </a:lnTo>
                <a:lnTo>
                  <a:pt x="172" y="106"/>
                </a:lnTo>
                <a:lnTo>
                  <a:pt x="170" y="109"/>
                </a:lnTo>
                <a:lnTo>
                  <a:pt x="170" y="109"/>
                </a:lnTo>
                <a:lnTo>
                  <a:pt x="170" y="113"/>
                </a:lnTo>
                <a:lnTo>
                  <a:pt x="170" y="113"/>
                </a:lnTo>
                <a:lnTo>
                  <a:pt x="167" y="113"/>
                </a:lnTo>
                <a:lnTo>
                  <a:pt x="167" y="113"/>
                </a:lnTo>
                <a:lnTo>
                  <a:pt x="165" y="116"/>
                </a:lnTo>
                <a:lnTo>
                  <a:pt x="165" y="116"/>
                </a:lnTo>
                <a:lnTo>
                  <a:pt x="163" y="116"/>
                </a:lnTo>
                <a:lnTo>
                  <a:pt x="163" y="116"/>
                </a:lnTo>
                <a:lnTo>
                  <a:pt x="163" y="118"/>
                </a:lnTo>
                <a:lnTo>
                  <a:pt x="163" y="118"/>
                </a:lnTo>
                <a:lnTo>
                  <a:pt x="158" y="121"/>
                </a:lnTo>
                <a:lnTo>
                  <a:pt x="158" y="121"/>
                </a:lnTo>
                <a:lnTo>
                  <a:pt x="160" y="123"/>
                </a:lnTo>
                <a:lnTo>
                  <a:pt x="160" y="123"/>
                </a:lnTo>
                <a:lnTo>
                  <a:pt x="160" y="133"/>
                </a:lnTo>
                <a:lnTo>
                  <a:pt x="160" y="133"/>
                </a:lnTo>
                <a:lnTo>
                  <a:pt x="160" y="133"/>
                </a:lnTo>
                <a:lnTo>
                  <a:pt x="160" y="136"/>
                </a:lnTo>
                <a:lnTo>
                  <a:pt x="160" y="136"/>
                </a:lnTo>
                <a:lnTo>
                  <a:pt x="158" y="138"/>
                </a:lnTo>
                <a:lnTo>
                  <a:pt x="158" y="138"/>
                </a:lnTo>
                <a:lnTo>
                  <a:pt x="158" y="141"/>
                </a:lnTo>
                <a:lnTo>
                  <a:pt x="158" y="141"/>
                </a:lnTo>
                <a:lnTo>
                  <a:pt x="153" y="141"/>
                </a:lnTo>
                <a:lnTo>
                  <a:pt x="153" y="141"/>
                </a:lnTo>
                <a:lnTo>
                  <a:pt x="153" y="143"/>
                </a:lnTo>
                <a:lnTo>
                  <a:pt x="153" y="143"/>
                </a:lnTo>
                <a:lnTo>
                  <a:pt x="148" y="145"/>
                </a:lnTo>
                <a:lnTo>
                  <a:pt x="148" y="145"/>
                </a:lnTo>
                <a:lnTo>
                  <a:pt x="150" y="150"/>
                </a:lnTo>
                <a:lnTo>
                  <a:pt x="150" y="150"/>
                </a:lnTo>
                <a:lnTo>
                  <a:pt x="148" y="150"/>
                </a:lnTo>
                <a:lnTo>
                  <a:pt x="148" y="150"/>
                </a:lnTo>
                <a:lnTo>
                  <a:pt x="143" y="158"/>
                </a:lnTo>
                <a:lnTo>
                  <a:pt x="143" y="158"/>
                </a:lnTo>
                <a:lnTo>
                  <a:pt x="133" y="163"/>
                </a:lnTo>
                <a:lnTo>
                  <a:pt x="133" y="163"/>
                </a:lnTo>
                <a:lnTo>
                  <a:pt x="126" y="165"/>
                </a:lnTo>
                <a:lnTo>
                  <a:pt x="126" y="165"/>
                </a:lnTo>
                <a:lnTo>
                  <a:pt x="121" y="165"/>
                </a:lnTo>
                <a:lnTo>
                  <a:pt x="121" y="165"/>
                </a:lnTo>
                <a:lnTo>
                  <a:pt x="118" y="165"/>
                </a:lnTo>
                <a:lnTo>
                  <a:pt x="118" y="165"/>
                </a:lnTo>
                <a:lnTo>
                  <a:pt x="113" y="168"/>
                </a:lnTo>
                <a:lnTo>
                  <a:pt x="113" y="168"/>
                </a:lnTo>
                <a:lnTo>
                  <a:pt x="111" y="165"/>
                </a:lnTo>
                <a:lnTo>
                  <a:pt x="111" y="165"/>
                </a:lnTo>
                <a:lnTo>
                  <a:pt x="106" y="168"/>
                </a:lnTo>
                <a:lnTo>
                  <a:pt x="106" y="168"/>
                </a:lnTo>
                <a:lnTo>
                  <a:pt x="104" y="170"/>
                </a:lnTo>
                <a:lnTo>
                  <a:pt x="104" y="170"/>
                </a:lnTo>
                <a:lnTo>
                  <a:pt x="101" y="173"/>
                </a:lnTo>
                <a:lnTo>
                  <a:pt x="101" y="173"/>
                </a:lnTo>
                <a:lnTo>
                  <a:pt x="91" y="173"/>
                </a:lnTo>
                <a:lnTo>
                  <a:pt x="91" y="173"/>
                </a:lnTo>
                <a:lnTo>
                  <a:pt x="89" y="173"/>
                </a:lnTo>
                <a:lnTo>
                  <a:pt x="89" y="173"/>
                </a:lnTo>
                <a:lnTo>
                  <a:pt x="89" y="175"/>
                </a:lnTo>
                <a:lnTo>
                  <a:pt x="89" y="175"/>
                </a:lnTo>
                <a:lnTo>
                  <a:pt x="81" y="177"/>
                </a:lnTo>
                <a:lnTo>
                  <a:pt x="81" y="177"/>
                </a:lnTo>
                <a:lnTo>
                  <a:pt x="76" y="177"/>
                </a:lnTo>
                <a:lnTo>
                  <a:pt x="76" y="177"/>
                </a:lnTo>
                <a:lnTo>
                  <a:pt x="74" y="177"/>
                </a:lnTo>
                <a:lnTo>
                  <a:pt x="74" y="177"/>
                </a:lnTo>
                <a:lnTo>
                  <a:pt x="72" y="177"/>
                </a:lnTo>
                <a:lnTo>
                  <a:pt x="72" y="177"/>
                </a:lnTo>
                <a:lnTo>
                  <a:pt x="72" y="175"/>
                </a:lnTo>
                <a:lnTo>
                  <a:pt x="72" y="175"/>
                </a:lnTo>
                <a:lnTo>
                  <a:pt x="69" y="177"/>
                </a:lnTo>
                <a:lnTo>
                  <a:pt x="69" y="177"/>
                </a:lnTo>
                <a:lnTo>
                  <a:pt x="67" y="180"/>
                </a:lnTo>
                <a:lnTo>
                  <a:pt x="67" y="180"/>
                </a:lnTo>
                <a:lnTo>
                  <a:pt x="59" y="182"/>
                </a:lnTo>
                <a:lnTo>
                  <a:pt x="59" y="182"/>
                </a:lnTo>
                <a:lnTo>
                  <a:pt x="59" y="182"/>
                </a:lnTo>
                <a:lnTo>
                  <a:pt x="57" y="182"/>
                </a:lnTo>
                <a:lnTo>
                  <a:pt x="57" y="182"/>
                </a:lnTo>
                <a:lnTo>
                  <a:pt x="52" y="187"/>
                </a:lnTo>
                <a:lnTo>
                  <a:pt x="52" y="187"/>
                </a:lnTo>
                <a:lnTo>
                  <a:pt x="44" y="192"/>
                </a:lnTo>
                <a:lnTo>
                  <a:pt x="44" y="192"/>
                </a:lnTo>
                <a:lnTo>
                  <a:pt x="37" y="195"/>
                </a:lnTo>
                <a:lnTo>
                  <a:pt x="37" y="195"/>
                </a:lnTo>
                <a:lnTo>
                  <a:pt x="32" y="200"/>
                </a:lnTo>
                <a:lnTo>
                  <a:pt x="32" y="200"/>
                </a:lnTo>
                <a:lnTo>
                  <a:pt x="32" y="204"/>
                </a:lnTo>
                <a:lnTo>
                  <a:pt x="32" y="204"/>
                </a:lnTo>
                <a:lnTo>
                  <a:pt x="30" y="207"/>
                </a:lnTo>
                <a:lnTo>
                  <a:pt x="30" y="207"/>
                </a:lnTo>
                <a:lnTo>
                  <a:pt x="27" y="204"/>
                </a:lnTo>
                <a:lnTo>
                  <a:pt x="27" y="204"/>
                </a:lnTo>
                <a:lnTo>
                  <a:pt x="27" y="204"/>
                </a:lnTo>
                <a:lnTo>
                  <a:pt x="27" y="202"/>
                </a:lnTo>
                <a:lnTo>
                  <a:pt x="27" y="202"/>
                </a:lnTo>
                <a:lnTo>
                  <a:pt x="30" y="197"/>
                </a:lnTo>
                <a:lnTo>
                  <a:pt x="30" y="197"/>
                </a:lnTo>
                <a:lnTo>
                  <a:pt x="30" y="195"/>
                </a:lnTo>
                <a:lnTo>
                  <a:pt x="30" y="195"/>
                </a:lnTo>
                <a:lnTo>
                  <a:pt x="25" y="200"/>
                </a:lnTo>
                <a:lnTo>
                  <a:pt x="25" y="200"/>
                </a:lnTo>
                <a:lnTo>
                  <a:pt x="22" y="202"/>
                </a:lnTo>
                <a:lnTo>
                  <a:pt x="22" y="202"/>
                </a:lnTo>
                <a:lnTo>
                  <a:pt x="20" y="209"/>
                </a:lnTo>
                <a:lnTo>
                  <a:pt x="20" y="209"/>
                </a:lnTo>
                <a:lnTo>
                  <a:pt x="22" y="214"/>
                </a:lnTo>
                <a:lnTo>
                  <a:pt x="22" y="214"/>
                </a:lnTo>
                <a:lnTo>
                  <a:pt x="20" y="219"/>
                </a:lnTo>
                <a:lnTo>
                  <a:pt x="20" y="219"/>
                </a:lnTo>
                <a:lnTo>
                  <a:pt x="20" y="224"/>
                </a:lnTo>
                <a:lnTo>
                  <a:pt x="20" y="224"/>
                </a:lnTo>
                <a:lnTo>
                  <a:pt x="15" y="232"/>
                </a:lnTo>
                <a:lnTo>
                  <a:pt x="15" y="232"/>
                </a:lnTo>
                <a:lnTo>
                  <a:pt x="12" y="244"/>
                </a:lnTo>
                <a:lnTo>
                  <a:pt x="12" y="244"/>
                </a:lnTo>
                <a:lnTo>
                  <a:pt x="12" y="249"/>
                </a:lnTo>
                <a:lnTo>
                  <a:pt x="12" y="249"/>
                </a:lnTo>
                <a:lnTo>
                  <a:pt x="12" y="256"/>
                </a:lnTo>
                <a:lnTo>
                  <a:pt x="12" y="256"/>
                </a:lnTo>
                <a:lnTo>
                  <a:pt x="17" y="264"/>
                </a:lnTo>
                <a:lnTo>
                  <a:pt x="17" y="264"/>
                </a:lnTo>
                <a:lnTo>
                  <a:pt x="17" y="268"/>
                </a:lnTo>
                <a:lnTo>
                  <a:pt x="17" y="268"/>
                </a:lnTo>
                <a:lnTo>
                  <a:pt x="20" y="271"/>
                </a:lnTo>
                <a:lnTo>
                  <a:pt x="20" y="271"/>
                </a:lnTo>
                <a:lnTo>
                  <a:pt x="17" y="276"/>
                </a:lnTo>
                <a:lnTo>
                  <a:pt x="17" y="276"/>
                </a:lnTo>
                <a:lnTo>
                  <a:pt x="20" y="278"/>
                </a:lnTo>
                <a:lnTo>
                  <a:pt x="20" y="278"/>
                </a:lnTo>
                <a:lnTo>
                  <a:pt x="15" y="281"/>
                </a:lnTo>
                <a:lnTo>
                  <a:pt x="15" y="281"/>
                </a:lnTo>
                <a:lnTo>
                  <a:pt x="15" y="278"/>
                </a:lnTo>
                <a:lnTo>
                  <a:pt x="15" y="278"/>
                </a:lnTo>
                <a:lnTo>
                  <a:pt x="15" y="273"/>
                </a:lnTo>
                <a:lnTo>
                  <a:pt x="15" y="273"/>
                </a:lnTo>
                <a:lnTo>
                  <a:pt x="12" y="276"/>
                </a:lnTo>
                <a:lnTo>
                  <a:pt x="12" y="276"/>
                </a:lnTo>
                <a:lnTo>
                  <a:pt x="12" y="276"/>
                </a:lnTo>
                <a:lnTo>
                  <a:pt x="12" y="271"/>
                </a:lnTo>
                <a:lnTo>
                  <a:pt x="12" y="271"/>
                </a:lnTo>
                <a:lnTo>
                  <a:pt x="8" y="264"/>
                </a:lnTo>
                <a:lnTo>
                  <a:pt x="8" y="264"/>
                </a:lnTo>
                <a:lnTo>
                  <a:pt x="8" y="266"/>
                </a:lnTo>
                <a:lnTo>
                  <a:pt x="8" y="266"/>
                </a:lnTo>
                <a:lnTo>
                  <a:pt x="8" y="273"/>
                </a:lnTo>
                <a:lnTo>
                  <a:pt x="8" y="273"/>
                </a:lnTo>
                <a:lnTo>
                  <a:pt x="12" y="278"/>
                </a:lnTo>
                <a:lnTo>
                  <a:pt x="12" y="278"/>
                </a:lnTo>
                <a:lnTo>
                  <a:pt x="15" y="283"/>
                </a:lnTo>
                <a:lnTo>
                  <a:pt x="15" y="283"/>
                </a:lnTo>
                <a:lnTo>
                  <a:pt x="10" y="283"/>
                </a:lnTo>
                <a:lnTo>
                  <a:pt x="10" y="283"/>
                </a:lnTo>
                <a:lnTo>
                  <a:pt x="8" y="278"/>
                </a:lnTo>
                <a:lnTo>
                  <a:pt x="8" y="278"/>
                </a:lnTo>
                <a:lnTo>
                  <a:pt x="5" y="273"/>
                </a:lnTo>
                <a:lnTo>
                  <a:pt x="5" y="273"/>
                </a:lnTo>
                <a:lnTo>
                  <a:pt x="5" y="276"/>
                </a:lnTo>
                <a:lnTo>
                  <a:pt x="5" y="276"/>
                </a:lnTo>
                <a:lnTo>
                  <a:pt x="3" y="276"/>
                </a:lnTo>
                <a:lnTo>
                  <a:pt x="3" y="276"/>
                </a:lnTo>
                <a:lnTo>
                  <a:pt x="5" y="283"/>
                </a:lnTo>
                <a:lnTo>
                  <a:pt x="5" y="283"/>
                </a:lnTo>
                <a:lnTo>
                  <a:pt x="10" y="288"/>
                </a:lnTo>
                <a:lnTo>
                  <a:pt x="10" y="288"/>
                </a:lnTo>
                <a:lnTo>
                  <a:pt x="15" y="298"/>
                </a:lnTo>
                <a:lnTo>
                  <a:pt x="15" y="298"/>
                </a:lnTo>
                <a:lnTo>
                  <a:pt x="12" y="313"/>
                </a:lnTo>
                <a:lnTo>
                  <a:pt x="12" y="313"/>
                </a:lnTo>
                <a:lnTo>
                  <a:pt x="15" y="315"/>
                </a:lnTo>
                <a:lnTo>
                  <a:pt x="15" y="315"/>
                </a:lnTo>
                <a:lnTo>
                  <a:pt x="17" y="325"/>
                </a:lnTo>
                <a:lnTo>
                  <a:pt x="17" y="325"/>
                </a:lnTo>
                <a:lnTo>
                  <a:pt x="22" y="337"/>
                </a:lnTo>
                <a:lnTo>
                  <a:pt x="22" y="337"/>
                </a:lnTo>
                <a:lnTo>
                  <a:pt x="20" y="340"/>
                </a:lnTo>
                <a:lnTo>
                  <a:pt x="20" y="340"/>
                </a:lnTo>
                <a:lnTo>
                  <a:pt x="20" y="357"/>
                </a:lnTo>
                <a:lnTo>
                  <a:pt x="20" y="357"/>
                </a:lnTo>
                <a:lnTo>
                  <a:pt x="20" y="359"/>
                </a:lnTo>
                <a:lnTo>
                  <a:pt x="20" y="359"/>
                </a:lnTo>
                <a:lnTo>
                  <a:pt x="22" y="364"/>
                </a:lnTo>
                <a:lnTo>
                  <a:pt x="22" y="364"/>
                </a:lnTo>
                <a:lnTo>
                  <a:pt x="22" y="369"/>
                </a:lnTo>
                <a:lnTo>
                  <a:pt x="22" y="369"/>
                </a:lnTo>
                <a:lnTo>
                  <a:pt x="25" y="377"/>
                </a:lnTo>
                <a:lnTo>
                  <a:pt x="25" y="377"/>
                </a:lnTo>
                <a:lnTo>
                  <a:pt x="25" y="382"/>
                </a:lnTo>
                <a:lnTo>
                  <a:pt x="25" y="382"/>
                </a:lnTo>
                <a:lnTo>
                  <a:pt x="22" y="384"/>
                </a:lnTo>
                <a:lnTo>
                  <a:pt x="22" y="384"/>
                </a:lnTo>
                <a:lnTo>
                  <a:pt x="22" y="386"/>
                </a:lnTo>
                <a:lnTo>
                  <a:pt x="22" y="386"/>
                </a:lnTo>
                <a:lnTo>
                  <a:pt x="22" y="389"/>
                </a:lnTo>
                <a:lnTo>
                  <a:pt x="22" y="389"/>
                </a:lnTo>
                <a:lnTo>
                  <a:pt x="22" y="396"/>
                </a:lnTo>
                <a:lnTo>
                  <a:pt x="22" y="396"/>
                </a:lnTo>
                <a:lnTo>
                  <a:pt x="20" y="399"/>
                </a:lnTo>
                <a:lnTo>
                  <a:pt x="20" y="399"/>
                </a:lnTo>
                <a:lnTo>
                  <a:pt x="20" y="401"/>
                </a:lnTo>
                <a:lnTo>
                  <a:pt x="20" y="401"/>
                </a:lnTo>
                <a:lnTo>
                  <a:pt x="20" y="404"/>
                </a:lnTo>
                <a:lnTo>
                  <a:pt x="20" y="404"/>
                </a:lnTo>
                <a:lnTo>
                  <a:pt x="17" y="406"/>
                </a:lnTo>
                <a:lnTo>
                  <a:pt x="17" y="406"/>
                </a:lnTo>
                <a:lnTo>
                  <a:pt x="17" y="411"/>
                </a:lnTo>
                <a:lnTo>
                  <a:pt x="17" y="411"/>
                </a:lnTo>
                <a:lnTo>
                  <a:pt x="12" y="414"/>
                </a:lnTo>
                <a:lnTo>
                  <a:pt x="12" y="414"/>
                </a:lnTo>
                <a:lnTo>
                  <a:pt x="10" y="414"/>
                </a:lnTo>
                <a:lnTo>
                  <a:pt x="10" y="414"/>
                </a:lnTo>
                <a:lnTo>
                  <a:pt x="5" y="418"/>
                </a:lnTo>
                <a:lnTo>
                  <a:pt x="5" y="428"/>
                </a:lnTo>
                <a:close/>
              </a:path>
            </a:pathLst>
          </a:custGeom>
          <a:blipFill>
            <a:blip r:embed="rId9"/>
            <a:srcRect/>
            <a:stretch>
              <a:fillRect l="-1687" t="2008" r="1687" b="-2008"/>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Freeform 163"/>
          <p:cNvSpPr>
            <a:spLocks noEditPoints="1"/>
          </p:cNvSpPr>
          <p:nvPr/>
        </p:nvSpPr>
        <p:spPr bwMode="auto">
          <a:xfrm>
            <a:off x="8606347" y="5449336"/>
            <a:ext cx="508859" cy="732691"/>
          </a:xfrm>
          <a:custGeom>
            <a:avLst/>
            <a:gdLst/>
            <a:ahLst/>
            <a:cxnLst>
              <a:cxn ang="0">
                <a:pos x="64" y="278"/>
              </a:cxn>
              <a:cxn ang="0">
                <a:pos x="19" y="475"/>
              </a:cxn>
              <a:cxn ang="0">
                <a:pos x="2" y="416"/>
              </a:cxn>
              <a:cxn ang="0">
                <a:pos x="263" y="66"/>
              </a:cxn>
              <a:cxn ang="0">
                <a:pos x="273" y="56"/>
              </a:cxn>
              <a:cxn ang="0">
                <a:pos x="273" y="56"/>
              </a:cxn>
              <a:cxn ang="0">
                <a:pos x="231" y="179"/>
              </a:cxn>
              <a:cxn ang="0">
                <a:pos x="261" y="157"/>
              </a:cxn>
              <a:cxn ang="0">
                <a:pos x="275" y="138"/>
              </a:cxn>
              <a:cxn ang="0">
                <a:pos x="290" y="125"/>
              </a:cxn>
              <a:cxn ang="0">
                <a:pos x="297" y="113"/>
              </a:cxn>
              <a:cxn ang="0">
                <a:pos x="312" y="93"/>
              </a:cxn>
              <a:cxn ang="0">
                <a:pos x="290" y="96"/>
              </a:cxn>
              <a:cxn ang="0">
                <a:pos x="275" y="74"/>
              </a:cxn>
              <a:cxn ang="0">
                <a:pos x="268" y="59"/>
              </a:cxn>
              <a:cxn ang="0">
                <a:pos x="268" y="76"/>
              </a:cxn>
              <a:cxn ang="0">
                <a:pos x="261" y="64"/>
              </a:cxn>
              <a:cxn ang="0">
                <a:pos x="258" y="42"/>
              </a:cxn>
              <a:cxn ang="0">
                <a:pos x="263" y="24"/>
              </a:cxn>
              <a:cxn ang="0">
                <a:pos x="256" y="17"/>
              </a:cxn>
              <a:cxn ang="0">
                <a:pos x="251" y="15"/>
              </a:cxn>
              <a:cxn ang="0">
                <a:pos x="246" y="2"/>
              </a:cxn>
              <a:cxn ang="0">
                <a:pos x="243" y="22"/>
              </a:cxn>
              <a:cxn ang="0">
                <a:pos x="251" y="47"/>
              </a:cxn>
              <a:cxn ang="0">
                <a:pos x="256" y="52"/>
              </a:cxn>
              <a:cxn ang="0">
                <a:pos x="251" y="59"/>
              </a:cxn>
              <a:cxn ang="0">
                <a:pos x="256" y="76"/>
              </a:cxn>
              <a:cxn ang="0">
                <a:pos x="251" y="91"/>
              </a:cxn>
              <a:cxn ang="0">
                <a:pos x="241" y="115"/>
              </a:cxn>
              <a:cxn ang="0">
                <a:pos x="233" y="135"/>
              </a:cxn>
              <a:cxn ang="0">
                <a:pos x="233" y="165"/>
              </a:cxn>
              <a:cxn ang="0">
                <a:pos x="214" y="160"/>
              </a:cxn>
              <a:cxn ang="0">
                <a:pos x="211" y="170"/>
              </a:cxn>
              <a:cxn ang="0">
                <a:pos x="214" y="167"/>
              </a:cxn>
              <a:cxn ang="0">
                <a:pos x="83" y="312"/>
              </a:cxn>
              <a:cxn ang="0">
                <a:pos x="71" y="312"/>
              </a:cxn>
              <a:cxn ang="0">
                <a:pos x="76" y="312"/>
              </a:cxn>
              <a:cxn ang="0">
                <a:pos x="74" y="317"/>
              </a:cxn>
              <a:cxn ang="0">
                <a:pos x="64" y="285"/>
              </a:cxn>
              <a:cxn ang="0">
                <a:pos x="69" y="275"/>
              </a:cxn>
              <a:cxn ang="0">
                <a:pos x="79" y="261"/>
              </a:cxn>
              <a:cxn ang="0">
                <a:pos x="93" y="251"/>
              </a:cxn>
              <a:cxn ang="0">
                <a:pos x="115" y="236"/>
              </a:cxn>
              <a:cxn ang="0">
                <a:pos x="135" y="221"/>
              </a:cxn>
              <a:cxn ang="0">
                <a:pos x="165" y="199"/>
              </a:cxn>
              <a:cxn ang="0">
                <a:pos x="179" y="179"/>
              </a:cxn>
              <a:cxn ang="0">
                <a:pos x="202" y="155"/>
              </a:cxn>
              <a:cxn ang="0">
                <a:pos x="204" y="165"/>
              </a:cxn>
              <a:cxn ang="0">
                <a:pos x="211" y="172"/>
              </a:cxn>
              <a:cxn ang="0">
                <a:pos x="216" y="172"/>
              </a:cxn>
              <a:cxn ang="0">
                <a:pos x="216" y="187"/>
              </a:cxn>
              <a:cxn ang="0">
                <a:pos x="194" y="211"/>
              </a:cxn>
              <a:cxn ang="0">
                <a:pos x="179" y="234"/>
              </a:cxn>
              <a:cxn ang="0">
                <a:pos x="177" y="241"/>
              </a:cxn>
              <a:cxn ang="0">
                <a:pos x="167" y="238"/>
              </a:cxn>
              <a:cxn ang="0">
                <a:pos x="155" y="246"/>
              </a:cxn>
              <a:cxn ang="0">
                <a:pos x="140" y="265"/>
              </a:cxn>
              <a:cxn ang="0">
                <a:pos x="128" y="288"/>
              </a:cxn>
              <a:cxn ang="0">
                <a:pos x="108" y="295"/>
              </a:cxn>
              <a:cxn ang="0">
                <a:pos x="86" y="307"/>
              </a:cxn>
              <a:cxn ang="0">
                <a:pos x="79" y="295"/>
              </a:cxn>
              <a:cxn ang="0">
                <a:pos x="66" y="290"/>
              </a:cxn>
            </a:cxnLst>
            <a:rect l="0" t="0" r="r" b="b"/>
            <a:pathLst>
              <a:path w="312" h="477">
                <a:moveTo>
                  <a:pt x="64" y="278"/>
                </a:moveTo>
                <a:lnTo>
                  <a:pt x="66" y="278"/>
                </a:lnTo>
                <a:lnTo>
                  <a:pt x="69" y="278"/>
                </a:lnTo>
                <a:lnTo>
                  <a:pt x="69" y="275"/>
                </a:lnTo>
                <a:lnTo>
                  <a:pt x="66" y="275"/>
                </a:lnTo>
                <a:lnTo>
                  <a:pt x="64" y="275"/>
                </a:lnTo>
                <a:lnTo>
                  <a:pt x="64" y="278"/>
                </a:lnTo>
                <a:lnTo>
                  <a:pt x="64" y="278"/>
                </a:lnTo>
                <a:lnTo>
                  <a:pt x="64" y="278"/>
                </a:lnTo>
                <a:close/>
                <a:moveTo>
                  <a:pt x="19" y="475"/>
                </a:moveTo>
                <a:lnTo>
                  <a:pt x="22" y="477"/>
                </a:lnTo>
                <a:lnTo>
                  <a:pt x="24" y="477"/>
                </a:lnTo>
                <a:lnTo>
                  <a:pt x="27" y="472"/>
                </a:lnTo>
                <a:lnTo>
                  <a:pt x="27" y="470"/>
                </a:lnTo>
                <a:lnTo>
                  <a:pt x="24" y="475"/>
                </a:lnTo>
                <a:lnTo>
                  <a:pt x="22" y="475"/>
                </a:lnTo>
                <a:lnTo>
                  <a:pt x="19" y="475"/>
                </a:lnTo>
                <a:lnTo>
                  <a:pt x="19" y="475"/>
                </a:lnTo>
                <a:lnTo>
                  <a:pt x="19" y="475"/>
                </a:lnTo>
                <a:close/>
                <a:moveTo>
                  <a:pt x="0" y="416"/>
                </a:moveTo>
                <a:lnTo>
                  <a:pt x="7" y="408"/>
                </a:lnTo>
                <a:lnTo>
                  <a:pt x="7" y="408"/>
                </a:lnTo>
                <a:lnTo>
                  <a:pt x="7" y="411"/>
                </a:lnTo>
                <a:lnTo>
                  <a:pt x="5" y="413"/>
                </a:lnTo>
                <a:lnTo>
                  <a:pt x="7" y="416"/>
                </a:lnTo>
                <a:lnTo>
                  <a:pt x="7" y="418"/>
                </a:lnTo>
                <a:lnTo>
                  <a:pt x="2" y="416"/>
                </a:lnTo>
                <a:lnTo>
                  <a:pt x="0" y="418"/>
                </a:lnTo>
                <a:lnTo>
                  <a:pt x="0" y="416"/>
                </a:lnTo>
                <a:lnTo>
                  <a:pt x="0" y="416"/>
                </a:lnTo>
                <a:lnTo>
                  <a:pt x="0" y="416"/>
                </a:lnTo>
                <a:close/>
                <a:moveTo>
                  <a:pt x="263" y="66"/>
                </a:moveTo>
                <a:lnTo>
                  <a:pt x="265" y="66"/>
                </a:lnTo>
                <a:lnTo>
                  <a:pt x="265" y="69"/>
                </a:lnTo>
                <a:lnTo>
                  <a:pt x="265" y="69"/>
                </a:lnTo>
                <a:lnTo>
                  <a:pt x="263" y="66"/>
                </a:lnTo>
                <a:lnTo>
                  <a:pt x="263" y="66"/>
                </a:lnTo>
                <a:lnTo>
                  <a:pt x="263" y="66"/>
                </a:lnTo>
                <a:close/>
                <a:moveTo>
                  <a:pt x="268" y="54"/>
                </a:moveTo>
                <a:lnTo>
                  <a:pt x="268" y="54"/>
                </a:lnTo>
                <a:lnTo>
                  <a:pt x="268" y="54"/>
                </a:lnTo>
                <a:lnTo>
                  <a:pt x="268" y="54"/>
                </a:lnTo>
                <a:lnTo>
                  <a:pt x="268" y="54"/>
                </a:lnTo>
                <a:lnTo>
                  <a:pt x="268" y="54"/>
                </a:lnTo>
                <a:close/>
                <a:moveTo>
                  <a:pt x="273" y="56"/>
                </a:moveTo>
                <a:lnTo>
                  <a:pt x="270" y="54"/>
                </a:lnTo>
                <a:lnTo>
                  <a:pt x="273" y="49"/>
                </a:lnTo>
                <a:lnTo>
                  <a:pt x="273" y="52"/>
                </a:lnTo>
                <a:lnTo>
                  <a:pt x="275" y="54"/>
                </a:lnTo>
                <a:lnTo>
                  <a:pt x="273" y="54"/>
                </a:lnTo>
                <a:lnTo>
                  <a:pt x="273" y="54"/>
                </a:lnTo>
                <a:lnTo>
                  <a:pt x="273" y="56"/>
                </a:lnTo>
                <a:lnTo>
                  <a:pt x="273" y="56"/>
                </a:lnTo>
                <a:lnTo>
                  <a:pt x="273" y="56"/>
                </a:lnTo>
                <a:close/>
                <a:moveTo>
                  <a:pt x="224" y="177"/>
                </a:moveTo>
                <a:lnTo>
                  <a:pt x="226" y="177"/>
                </a:lnTo>
                <a:lnTo>
                  <a:pt x="226" y="174"/>
                </a:lnTo>
                <a:lnTo>
                  <a:pt x="229" y="174"/>
                </a:lnTo>
                <a:lnTo>
                  <a:pt x="229" y="177"/>
                </a:lnTo>
                <a:lnTo>
                  <a:pt x="229" y="179"/>
                </a:lnTo>
                <a:lnTo>
                  <a:pt x="229" y="179"/>
                </a:lnTo>
                <a:lnTo>
                  <a:pt x="231" y="179"/>
                </a:lnTo>
                <a:lnTo>
                  <a:pt x="231" y="179"/>
                </a:lnTo>
                <a:lnTo>
                  <a:pt x="231" y="182"/>
                </a:lnTo>
                <a:lnTo>
                  <a:pt x="231" y="184"/>
                </a:lnTo>
                <a:lnTo>
                  <a:pt x="233" y="184"/>
                </a:lnTo>
                <a:lnTo>
                  <a:pt x="238" y="179"/>
                </a:lnTo>
                <a:lnTo>
                  <a:pt x="243" y="174"/>
                </a:lnTo>
                <a:lnTo>
                  <a:pt x="248" y="170"/>
                </a:lnTo>
                <a:lnTo>
                  <a:pt x="253" y="165"/>
                </a:lnTo>
                <a:lnTo>
                  <a:pt x="258" y="160"/>
                </a:lnTo>
                <a:lnTo>
                  <a:pt x="261" y="157"/>
                </a:lnTo>
                <a:lnTo>
                  <a:pt x="263" y="157"/>
                </a:lnTo>
                <a:lnTo>
                  <a:pt x="265" y="155"/>
                </a:lnTo>
                <a:lnTo>
                  <a:pt x="265" y="152"/>
                </a:lnTo>
                <a:lnTo>
                  <a:pt x="265" y="152"/>
                </a:lnTo>
                <a:lnTo>
                  <a:pt x="268" y="150"/>
                </a:lnTo>
                <a:lnTo>
                  <a:pt x="270" y="145"/>
                </a:lnTo>
                <a:lnTo>
                  <a:pt x="275" y="140"/>
                </a:lnTo>
                <a:lnTo>
                  <a:pt x="275" y="138"/>
                </a:lnTo>
                <a:lnTo>
                  <a:pt x="275" y="138"/>
                </a:lnTo>
                <a:lnTo>
                  <a:pt x="273" y="135"/>
                </a:lnTo>
                <a:lnTo>
                  <a:pt x="270" y="135"/>
                </a:lnTo>
                <a:lnTo>
                  <a:pt x="268" y="135"/>
                </a:lnTo>
                <a:lnTo>
                  <a:pt x="270" y="133"/>
                </a:lnTo>
                <a:lnTo>
                  <a:pt x="273" y="133"/>
                </a:lnTo>
                <a:lnTo>
                  <a:pt x="280" y="125"/>
                </a:lnTo>
                <a:lnTo>
                  <a:pt x="283" y="123"/>
                </a:lnTo>
                <a:lnTo>
                  <a:pt x="288" y="125"/>
                </a:lnTo>
                <a:lnTo>
                  <a:pt x="290" y="125"/>
                </a:lnTo>
                <a:lnTo>
                  <a:pt x="290" y="128"/>
                </a:lnTo>
                <a:lnTo>
                  <a:pt x="290" y="128"/>
                </a:lnTo>
                <a:lnTo>
                  <a:pt x="293" y="125"/>
                </a:lnTo>
                <a:lnTo>
                  <a:pt x="295" y="125"/>
                </a:lnTo>
                <a:lnTo>
                  <a:pt x="290" y="123"/>
                </a:lnTo>
                <a:lnTo>
                  <a:pt x="290" y="120"/>
                </a:lnTo>
                <a:lnTo>
                  <a:pt x="293" y="115"/>
                </a:lnTo>
                <a:lnTo>
                  <a:pt x="295" y="113"/>
                </a:lnTo>
                <a:lnTo>
                  <a:pt x="297" y="113"/>
                </a:lnTo>
                <a:lnTo>
                  <a:pt x="297" y="115"/>
                </a:lnTo>
                <a:lnTo>
                  <a:pt x="300" y="113"/>
                </a:lnTo>
                <a:lnTo>
                  <a:pt x="302" y="111"/>
                </a:lnTo>
                <a:lnTo>
                  <a:pt x="305" y="106"/>
                </a:lnTo>
                <a:lnTo>
                  <a:pt x="305" y="103"/>
                </a:lnTo>
                <a:lnTo>
                  <a:pt x="305" y="101"/>
                </a:lnTo>
                <a:lnTo>
                  <a:pt x="307" y="98"/>
                </a:lnTo>
                <a:lnTo>
                  <a:pt x="310" y="93"/>
                </a:lnTo>
                <a:lnTo>
                  <a:pt x="312" y="93"/>
                </a:lnTo>
                <a:lnTo>
                  <a:pt x="310" y="91"/>
                </a:lnTo>
                <a:lnTo>
                  <a:pt x="307" y="91"/>
                </a:lnTo>
                <a:lnTo>
                  <a:pt x="305" y="88"/>
                </a:lnTo>
                <a:lnTo>
                  <a:pt x="307" y="88"/>
                </a:lnTo>
                <a:lnTo>
                  <a:pt x="307" y="88"/>
                </a:lnTo>
                <a:lnTo>
                  <a:pt x="305" y="86"/>
                </a:lnTo>
                <a:lnTo>
                  <a:pt x="300" y="88"/>
                </a:lnTo>
                <a:lnTo>
                  <a:pt x="295" y="96"/>
                </a:lnTo>
                <a:lnTo>
                  <a:pt x="290" y="96"/>
                </a:lnTo>
                <a:lnTo>
                  <a:pt x="290" y="96"/>
                </a:lnTo>
                <a:lnTo>
                  <a:pt x="285" y="96"/>
                </a:lnTo>
                <a:lnTo>
                  <a:pt x="280" y="88"/>
                </a:lnTo>
                <a:lnTo>
                  <a:pt x="278" y="88"/>
                </a:lnTo>
                <a:lnTo>
                  <a:pt x="275" y="86"/>
                </a:lnTo>
                <a:lnTo>
                  <a:pt x="275" y="83"/>
                </a:lnTo>
                <a:lnTo>
                  <a:pt x="278" y="81"/>
                </a:lnTo>
                <a:lnTo>
                  <a:pt x="278" y="79"/>
                </a:lnTo>
                <a:lnTo>
                  <a:pt x="275" y="74"/>
                </a:lnTo>
                <a:lnTo>
                  <a:pt x="275" y="71"/>
                </a:lnTo>
                <a:lnTo>
                  <a:pt x="273" y="69"/>
                </a:lnTo>
                <a:lnTo>
                  <a:pt x="275" y="66"/>
                </a:lnTo>
                <a:lnTo>
                  <a:pt x="275" y="64"/>
                </a:lnTo>
                <a:lnTo>
                  <a:pt x="273" y="64"/>
                </a:lnTo>
                <a:lnTo>
                  <a:pt x="273" y="61"/>
                </a:lnTo>
                <a:lnTo>
                  <a:pt x="273" y="59"/>
                </a:lnTo>
                <a:lnTo>
                  <a:pt x="270" y="59"/>
                </a:lnTo>
                <a:lnTo>
                  <a:pt x="268" y="59"/>
                </a:lnTo>
                <a:lnTo>
                  <a:pt x="268" y="59"/>
                </a:lnTo>
                <a:lnTo>
                  <a:pt x="270" y="61"/>
                </a:lnTo>
                <a:lnTo>
                  <a:pt x="270" y="64"/>
                </a:lnTo>
                <a:lnTo>
                  <a:pt x="270" y="66"/>
                </a:lnTo>
                <a:lnTo>
                  <a:pt x="268" y="69"/>
                </a:lnTo>
                <a:lnTo>
                  <a:pt x="268" y="69"/>
                </a:lnTo>
                <a:lnTo>
                  <a:pt x="270" y="74"/>
                </a:lnTo>
                <a:lnTo>
                  <a:pt x="270" y="74"/>
                </a:lnTo>
                <a:lnTo>
                  <a:pt x="268" y="76"/>
                </a:lnTo>
                <a:lnTo>
                  <a:pt x="265" y="74"/>
                </a:lnTo>
                <a:lnTo>
                  <a:pt x="265" y="71"/>
                </a:lnTo>
                <a:lnTo>
                  <a:pt x="263" y="71"/>
                </a:lnTo>
                <a:lnTo>
                  <a:pt x="263" y="69"/>
                </a:lnTo>
                <a:lnTo>
                  <a:pt x="261" y="66"/>
                </a:lnTo>
                <a:lnTo>
                  <a:pt x="258" y="69"/>
                </a:lnTo>
                <a:lnTo>
                  <a:pt x="258" y="66"/>
                </a:lnTo>
                <a:lnTo>
                  <a:pt x="261" y="64"/>
                </a:lnTo>
                <a:lnTo>
                  <a:pt x="261" y="64"/>
                </a:lnTo>
                <a:lnTo>
                  <a:pt x="258" y="61"/>
                </a:lnTo>
                <a:lnTo>
                  <a:pt x="261" y="56"/>
                </a:lnTo>
                <a:lnTo>
                  <a:pt x="263" y="56"/>
                </a:lnTo>
                <a:lnTo>
                  <a:pt x="263" y="54"/>
                </a:lnTo>
                <a:lnTo>
                  <a:pt x="263" y="52"/>
                </a:lnTo>
                <a:lnTo>
                  <a:pt x="263" y="49"/>
                </a:lnTo>
                <a:lnTo>
                  <a:pt x="263" y="47"/>
                </a:lnTo>
                <a:lnTo>
                  <a:pt x="263" y="44"/>
                </a:lnTo>
                <a:lnTo>
                  <a:pt x="258" y="42"/>
                </a:lnTo>
                <a:lnTo>
                  <a:pt x="261" y="39"/>
                </a:lnTo>
                <a:lnTo>
                  <a:pt x="261" y="42"/>
                </a:lnTo>
                <a:lnTo>
                  <a:pt x="263" y="39"/>
                </a:lnTo>
                <a:lnTo>
                  <a:pt x="265" y="37"/>
                </a:lnTo>
                <a:lnTo>
                  <a:pt x="265" y="37"/>
                </a:lnTo>
                <a:lnTo>
                  <a:pt x="265" y="32"/>
                </a:lnTo>
                <a:lnTo>
                  <a:pt x="265" y="27"/>
                </a:lnTo>
                <a:lnTo>
                  <a:pt x="265" y="24"/>
                </a:lnTo>
                <a:lnTo>
                  <a:pt x="263" y="24"/>
                </a:lnTo>
                <a:lnTo>
                  <a:pt x="261" y="27"/>
                </a:lnTo>
                <a:lnTo>
                  <a:pt x="258" y="24"/>
                </a:lnTo>
                <a:lnTo>
                  <a:pt x="258" y="22"/>
                </a:lnTo>
                <a:lnTo>
                  <a:pt x="258" y="22"/>
                </a:lnTo>
                <a:lnTo>
                  <a:pt x="256" y="22"/>
                </a:lnTo>
                <a:lnTo>
                  <a:pt x="258" y="20"/>
                </a:lnTo>
                <a:lnTo>
                  <a:pt x="261" y="17"/>
                </a:lnTo>
                <a:lnTo>
                  <a:pt x="258" y="17"/>
                </a:lnTo>
                <a:lnTo>
                  <a:pt x="256" y="17"/>
                </a:lnTo>
                <a:lnTo>
                  <a:pt x="253" y="15"/>
                </a:lnTo>
                <a:lnTo>
                  <a:pt x="253" y="15"/>
                </a:lnTo>
                <a:lnTo>
                  <a:pt x="251" y="12"/>
                </a:lnTo>
                <a:lnTo>
                  <a:pt x="253" y="12"/>
                </a:lnTo>
                <a:lnTo>
                  <a:pt x="253" y="10"/>
                </a:lnTo>
                <a:lnTo>
                  <a:pt x="253" y="10"/>
                </a:lnTo>
                <a:lnTo>
                  <a:pt x="251" y="12"/>
                </a:lnTo>
                <a:lnTo>
                  <a:pt x="251" y="12"/>
                </a:lnTo>
                <a:lnTo>
                  <a:pt x="251" y="15"/>
                </a:lnTo>
                <a:lnTo>
                  <a:pt x="248" y="15"/>
                </a:lnTo>
                <a:lnTo>
                  <a:pt x="248" y="12"/>
                </a:lnTo>
                <a:lnTo>
                  <a:pt x="248" y="10"/>
                </a:lnTo>
                <a:lnTo>
                  <a:pt x="246" y="5"/>
                </a:lnTo>
                <a:lnTo>
                  <a:pt x="246" y="2"/>
                </a:lnTo>
                <a:lnTo>
                  <a:pt x="246" y="2"/>
                </a:lnTo>
                <a:lnTo>
                  <a:pt x="248" y="2"/>
                </a:lnTo>
                <a:lnTo>
                  <a:pt x="246" y="0"/>
                </a:lnTo>
                <a:lnTo>
                  <a:pt x="246" y="2"/>
                </a:lnTo>
                <a:lnTo>
                  <a:pt x="241" y="0"/>
                </a:lnTo>
                <a:lnTo>
                  <a:pt x="241" y="2"/>
                </a:lnTo>
                <a:lnTo>
                  <a:pt x="243" y="5"/>
                </a:lnTo>
                <a:lnTo>
                  <a:pt x="246" y="12"/>
                </a:lnTo>
                <a:lnTo>
                  <a:pt x="246" y="15"/>
                </a:lnTo>
                <a:lnTo>
                  <a:pt x="246" y="20"/>
                </a:lnTo>
                <a:lnTo>
                  <a:pt x="243" y="22"/>
                </a:lnTo>
                <a:lnTo>
                  <a:pt x="243" y="22"/>
                </a:lnTo>
                <a:lnTo>
                  <a:pt x="243" y="22"/>
                </a:lnTo>
                <a:lnTo>
                  <a:pt x="243" y="29"/>
                </a:lnTo>
                <a:lnTo>
                  <a:pt x="246" y="29"/>
                </a:lnTo>
                <a:lnTo>
                  <a:pt x="248" y="27"/>
                </a:lnTo>
                <a:lnTo>
                  <a:pt x="251" y="27"/>
                </a:lnTo>
                <a:lnTo>
                  <a:pt x="248" y="29"/>
                </a:lnTo>
                <a:lnTo>
                  <a:pt x="246" y="32"/>
                </a:lnTo>
                <a:lnTo>
                  <a:pt x="248" y="34"/>
                </a:lnTo>
                <a:lnTo>
                  <a:pt x="248" y="39"/>
                </a:lnTo>
                <a:lnTo>
                  <a:pt x="251" y="47"/>
                </a:lnTo>
                <a:lnTo>
                  <a:pt x="251" y="52"/>
                </a:lnTo>
                <a:lnTo>
                  <a:pt x="251" y="54"/>
                </a:lnTo>
                <a:lnTo>
                  <a:pt x="251" y="54"/>
                </a:lnTo>
                <a:lnTo>
                  <a:pt x="253" y="52"/>
                </a:lnTo>
                <a:lnTo>
                  <a:pt x="251" y="49"/>
                </a:lnTo>
                <a:lnTo>
                  <a:pt x="253" y="49"/>
                </a:lnTo>
                <a:lnTo>
                  <a:pt x="253" y="52"/>
                </a:lnTo>
                <a:lnTo>
                  <a:pt x="253" y="54"/>
                </a:lnTo>
                <a:lnTo>
                  <a:pt x="256" y="52"/>
                </a:lnTo>
                <a:lnTo>
                  <a:pt x="256" y="52"/>
                </a:lnTo>
                <a:lnTo>
                  <a:pt x="256" y="52"/>
                </a:lnTo>
                <a:lnTo>
                  <a:pt x="256" y="49"/>
                </a:lnTo>
                <a:lnTo>
                  <a:pt x="256" y="52"/>
                </a:lnTo>
                <a:lnTo>
                  <a:pt x="256" y="56"/>
                </a:lnTo>
                <a:lnTo>
                  <a:pt x="253" y="59"/>
                </a:lnTo>
                <a:lnTo>
                  <a:pt x="253" y="59"/>
                </a:lnTo>
                <a:lnTo>
                  <a:pt x="253" y="59"/>
                </a:lnTo>
                <a:lnTo>
                  <a:pt x="251" y="59"/>
                </a:lnTo>
                <a:lnTo>
                  <a:pt x="251" y="59"/>
                </a:lnTo>
                <a:lnTo>
                  <a:pt x="251" y="61"/>
                </a:lnTo>
                <a:lnTo>
                  <a:pt x="253" y="69"/>
                </a:lnTo>
                <a:lnTo>
                  <a:pt x="253" y="69"/>
                </a:lnTo>
                <a:lnTo>
                  <a:pt x="256" y="69"/>
                </a:lnTo>
                <a:lnTo>
                  <a:pt x="256" y="71"/>
                </a:lnTo>
                <a:lnTo>
                  <a:pt x="256" y="71"/>
                </a:lnTo>
                <a:lnTo>
                  <a:pt x="258" y="74"/>
                </a:lnTo>
                <a:lnTo>
                  <a:pt x="256" y="76"/>
                </a:lnTo>
                <a:lnTo>
                  <a:pt x="256" y="76"/>
                </a:lnTo>
                <a:lnTo>
                  <a:pt x="256" y="76"/>
                </a:lnTo>
                <a:lnTo>
                  <a:pt x="256" y="79"/>
                </a:lnTo>
                <a:lnTo>
                  <a:pt x="253" y="83"/>
                </a:lnTo>
                <a:lnTo>
                  <a:pt x="253" y="88"/>
                </a:lnTo>
                <a:lnTo>
                  <a:pt x="253" y="88"/>
                </a:lnTo>
                <a:lnTo>
                  <a:pt x="253" y="91"/>
                </a:lnTo>
                <a:lnTo>
                  <a:pt x="253" y="91"/>
                </a:lnTo>
                <a:lnTo>
                  <a:pt x="251" y="91"/>
                </a:lnTo>
                <a:lnTo>
                  <a:pt x="251" y="93"/>
                </a:lnTo>
                <a:lnTo>
                  <a:pt x="251" y="96"/>
                </a:lnTo>
                <a:lnTo>
                  <a:pt x="251" y="96"/>
                </a:lnTo>
                <a:lnTo>
                  <a:pt x="251" y="98"/>
                </a:lnTo>
                <a:lnTo>
                  <a:pt x="248" y="98"/>
                </a:lnTo>
                <a:lnTo>
                  <a:pt x="246" y="101"/>
                </a:lnTo>
                <a:lnTo>
                  <a:pt x="243" y="113"/>
                </a:lnTo>
                <a:lnTo>
                  <a:pt x="243" y="115"/>
                </a:lnTo>
                <a:lnTo>
                  <a:pt x="241" y="115"/>
                </a:lnTo>
                <a:lnTo>
                  <a:pt x="241" y="115"/>
                </a:lnTo>
                <a:lnTo>
                  <a:pt x="236" y="115"/>
                </a:lnTo>
                <a:lnTo>
                  <a:pt x="233" y="115"/>
                </a:lnTo>
                <a:lnTo>
                  <a:pt x="229" y="118"/>
                </a:lnTo>
                <a:lnTo>
                  <a:pt x="226" y="123"/>
                </a:lnTo>
                <a:lnTo>
                  <a:pt x="224" y="125"/>
                </a:lnTo>
                <a:lnTo>
                  <a:pt x="226" y="130"/>
                </a:lnTo>
                <a:lnTo>
                  <a:pt x="229" y="133"/>
                </a:lnTo>
                <a:lnTo>
                  <a:pt x="233" y="135"/>
                </a:lnTo>
                <a:lnTo>
                  <a:pt x="233" y="140"/>
                </a:lnTo>
                <a:lnTo>
                  <a:pt x="238" y="140"/>
                </a:lnTo>
                <a:lnTo>
                  <a:pt x="241" y="143"/>
                </a:lnTo>
                <a:lnTo>
                  <a:pt x="241" y="150"/>
                </a:lnTo>
                <a:lnTo>
                  <a:pt x="241" y="150"/>
                </a:lnTo>
                <a:lnTo>
                  <a:pt x="241" y="150"/>
                </a:lnTo>
                <a:lnTo>
                  <a:pt x="241" y="155"/>
                </a:lnTo>
                <a:lnTo>
                  <a:pt x="238" y="157"/>
                </a:lnTo>
                <a:lnTo>
                  <a:pt x="233" y="165"/>
                </a:lnTo>
                <a:lnTo>
                  <a:pt x="229" y="170"/>
                </a:lnTo>
                <a:lnTo>
                  <a:pt x="224" y="172"/>
                </a:lnTo>
                <a:lnTo>
                  <a:pt x="224" y="174"/>
                </a:lnTo>
                <a:lnTo>
                  <a:pt x="224" y="177"/>
                </a:lnTo>
                <a:lnTo>
                  <a:pt x="224" y="177"/>
                </a:lnTo>
                <a:lnTo>
                  <a:pt x="224" y="177"/>
                </a:lnTo>
                <a:close/>
                <a:moveTo>
                  <a:pt x="214" y="165"/>
                </a:moveTo>
                <a:lnTo>
                  <a:pt x="214" y="162"/>
                </a:lnTo>
                <a:lnTo>
                  <a:pt x="214" y="160"/>
                </a:lnTo>
                <a:lnTo>
                  <a:pt x="216" y="160"/>
                </a:lnTo>
                <a:lnTo>
                  <a:pt x="216" y="162"/>
                </a:lnTo>
                <a:lnTo>
                  <a:pt x="214" y="162"/>
                </a:lnTo>
                <a:lnTo>
                  <a:pt x="214" y="165"/>
                </a:lnTo>
                <a:lnTo>
                  <a:pt x="214" y="165"/>
                </a:lnTo>
                <a:lnTo>
                  <a:pt x="214" y="165"/>
                </a:lnTo>
                <a:lnTo>
                  <a:pt x="214" y="165"/>
                </a:lnTo>
                <a:lnTo>
                  <a:pt x="214" y="165"/>
                </a:lnTo>
                <a:close/>
                <a:moveTo>
                  <a:pt x="211" y="170"/>
                </a:moveTo>
                <a:lnTo>
                  <a:pt x="214" y="167"/>
                </a:lnTo>
                <a:lnTo>
                  <a:pt x="214" y="167"/>
                </a:lnTo>
                <a:lnTo>
                  <a:pt x="214" y="170"/>
                </a:lnTo>
                <a:lnTo>
                  <a:pt x="211" y="170"/>
                </a:lnTo>
                <a:lnTo>
                  <a:pt x="211" y="170"/>
                </a:lnTo>
                <a:lnTo>
                  <a:pt x="211" y="170"/>
                </a:lnTo>
                <a:close/>
                <a:moveTo>
                  <a:pt x="209" y="167"/>
                </a:moveTo>
                <a:lnTo>
                  <a:pt x="211" y="167"/>
                </a:lnTo>
                <a:lnTo>
                  <a:pt x="214" y="167"/>
                </a:lnTo>
                <a:lnTo>
                  <a:pt x="214" y="167"/>
                </a:lnTo>
                <a:lnTo>
                  <a:pt x="209" y="167"/>
                </a:lnTo>
                <a:lnTo>
                  <a:pt x="209" y="167"/>
                </a:lnTo>
                <a:lnTo>
                  <a:pt x="209" y="167"/>
                </a:lnTo>
                <a:close/>
                <a:moveTo>
                  <a:pt x="83" y="312"/>
                </a:moveTo>
                <a:lnTo>
                  <a:pt x="86" y="310"/>
                </a:lnTo>
                <a:lnTo>
                  <a:pt x="83" y="312"/>
                </a:lnTo>
                <a:lnTo>
                  <a:pt x="83" y="312"/>
                </a:lnTo>
                <a:lnTo>
                  <a:pt x="83" y="312"/>
                </a:lnTo>
                <a:lnTo>
                  <a:pt x="83" y="312"/>
                </a:lnTo>
                <a:close/>
                <a:moveTo>
                  <a:pt x="69" y="317"/>
                </a:moveTo>
                <a:lnTo>
                  <a:pt x="66" y="320"/>
                </a:lnTo>
                <a:lnTo>
                  <a:pt x="64" y="320"/>
                </a:lnTo>
                <a:lnTo>
                  <a:pt x="64" y="320"/>
                </a:lnTo>
                <a:lnTo>
                  <a:pt x="66" y="315"/>
                </a:lnTo>
                <a:lnTo>
                  <a:pt x="69" y="315"/>
                </a:lnTo>
                <a:lnTo>
                  <a:pt x="69" y="312"/>
                </a:lnTo>
                <a:lnTo>
                  <a:pt x="71" y="312"/>
                </a:lnTo>
                <a:lnTo>
                  <a:pt x="71" y="310"/>
                </a:lnTo>
                <a:lnTo>
                  <a:pt x="71" y="307"/>
                </a:lnTo>
                <a:lnTo>
                  <a:pt x="71" y="305"/>
                </a:lnTo>
                <a:lnTo>
                  <a:pt x="74" y="305"/>
                </a:lnTo>
                <a:lnTo>
                  <a:pt x="76" y="307"/>
                </a:lnTo>
                <a:lnTo>
                  <a:pt x="79" y="310"/>
                </a:lnTo>
                <a:lnTo>
                  <a:pt x="79" y="310"/>
                </a:lnTo>
                <a:lnTo>
                  <a:pt x="79" y="312"/>
                </a:lnTo>
                <a:lnTo>
                  <a:pt x="76" y="312"/>
                </a:lnTo>
                <a:lnTo>
                  <a:pt x="76" y="310"/>
                </a:lnTo>
                <a:lnTo>
                  <a:pt x="76" y="312"/>
                </a:lnTo>
                <a:lnTo>
                  <a:pt x="76" y="312"/>
                </a:lnTo>
                <a:lnTo>
                  <a:pt x="76" y="312"/>
                </a:lnTo>
                <a:lnTo>
                  <a:pt x="79" y="315"/>
                </a:lnTo>
                <a:lnTo>
                  <a:pt x="79" y="315"/>
                </a:lnTo>
                <a:lnTo>
                  <a:pt x="79" y="317"/>
                </a:lnTo>
                <a:lnTo>
                  <a:pt x="76" y="315"/>
                </a:lnTo>
                <a:lnTo>
                  <a:pt x="74" y="317"/>
                </a:lnTo>
                <a:lnTo>
                  <a:pt x="71" y="317"/>
                </a:lnTo>
                <a:lnTo>
                  <a:pt x="71" y="317"/>
                </a:lnTo>
                <a:lnTo>
                  <a:pt x="69" y="317"/>
                </a:lnTo>
                <a:lnTo>
                  <a:pt x="69" y="317"/>
                </a:lnTo>
                <a:lnTo>
                  <a:pt x="69" y="317"/>
                </a:lnTo>
                <a:lnTo>
                  <a:pt x="69" y="317"/>
                </a:lnTo>
                <a:close/>
                <a:moveTo>
                  <a:pt x="66" y="290"/>
                </a:moveTo>
                <a:lnTo>
                  <a:pt x="64" y="290"/>
                </a:lnTo>
                <a:lnTo>
                  <a:pt x="64" y="285"/>
                </a:lnTo>
                <a:lnTo>
                  <a:pt x="66" y="285"/>
                </a:lnTo>
                <a:lnTo>
                  <a:pt x="64" y="285"/>
                </a:lnTo>
                <a:lnTo>
                  <a:pt x="64" y="285"/>
                </a:lnTo>
                <a:lnTo>
                  <a:pt x="66" y="280"/>
                </a:lnTo>
                <a:lnTo>
                  <a:pt x="69" y="280"/>
                </a:lnTo>
                <a:lnTo>
                  <a:pt x="71" y="280"/>
                </a:lnTo>
                <a:lnTo>
                  <a:pt x="74" y="280"/>
                </a:lnTo>
                <a:lnTo>
                  <a:pt x="71" y="278"/>
                </a:lnTo>
                <a:lnTo>
                  <a:pt x="69" y="275"/>
                </a:lnTo>
                <a:lnTo>
                  <a:pt x="69" y="273"/>
                </a:lnTo>
                <a:lnTo>
                  <a:pt x="71" y="268"/>
                </a:lnTo>
                <a:lnTo>
                  <a:pt x="74" y="268"/>
                </a:lnTo>
                <a:lnTo>
                  <a:pt x="74" y="265"/>
                </a:lnTo>
                <a:lnTo>
                  <a:pt x="76" y="268"/>
                </a:lnTo>
                <a:lnTo>
                  <a:pt x="76" y="270"/>
                </a:lnTo>
                <a:lnTo>
                  <a:pt x="79" y="268"/>
                </a:lnTo>
                <a:lnTo>
                  <a:pt x="79" y="263"/>
                </a:lnTo>
                <a:lnTo>
                  <a:pt x="79" y="261"/>
                </a:lnTo>
                <a:lnTo>
                  <a:pt x="81" y="261"/>
                </a:lnTo>
                <a:lnTo>
                  <a:pt x="86" y="256"/>
                </a:lnTo>
                <a:lnTo>
                  <a:pt x="86" y="258"/>
                </a:lnTo>
                <a:lnTo>
                  <a:pt x="88" y="256"/>
                </a:lnTo>
                <a:lnTo>
                  <a:pt x="88" y="251"/>
                </a:lnTo>
                <a:lnTo>
                  <a:pt x="91" y="251"/>
                </a:lnTo>
                <a:lnTo>
                  <a:pt x="91" y="248"/>
                </a:lnTo>
                <a:lnTo>
                  <a:pt x="93" y="251"/>
                </a:lnTo>
                <a:lnTo>
                  <a:pt x="93" y="251"/>
                </a:lnTo>
                <a:lnTo>
                  <a:pt x="93" y="248"/>
                </a:lnTo>
                <a:lnTo>
                  <a:pt x="98" y="246"/>
                </a:lnTo>
                <a:lnTo>
                  <a:pt x="98" y="243"/>
                </a:lnTo>
                <a:lnTo>
                  <a:pt x="103" y="241"/>
                </a:lnTo>
                <a:lnTo>
                  <a:pt x="106" y="238"/>
                </a:lnTo>
                <a:lnTo>
                  <a:pt x="110" y="234"/>
                </a:lnTo>
                <a:lnTo>
                  <a:pt x="113" y="234"/>
                </a:lnTo>
                <a:lnTo>
                  <a:pt x="113" y="236"/>
                </a:lnTo>
                <a:lnTo>
                  <a:pt x="115" y="236"/>
                </a:lnTo>
                <a:lnTo>
                  <a:pt x="118" y="234"/>
                </a:lnTo>
                <a:lnTo>
                  <a:pt x="120" y="234"/>
                </a:lnTo>
                <a:lnTo>
                  <a:pt x="123" y="236"/>
                </a:lnTo>
                <a:lnTo>
                  <a:pt x="123" y="234"/>
                </a:lnTo>
                <a:lnTo>
                  <a:pt x="120" y="231"/>
                </a:lnTo>
                <a:lnTo>
                  <a:pt x="123" y="229"/>
                </a:lnTo>
                <a:lnTo>
                  <a:pt x="128" y="226"/>
                </a:lnTo>
                <a:lnTo>
                  <a:pt x="130" y="226"/>
                </a:lnTo>
                <a:lnTo>
                  <a:pt x="135" y="221"/>
                </a:lnTo>
                <a:lnTo>
                  <a:pt x="140" y="219"/>
                </a:lnTo>
                <a:lnTo>
                  <a:pt x="142" y="219"/>
                </a:lnTo>
                <a:lnTo>
                  <a:pt x="142" y="216"/>
                </a:lnTo>
                <a:lnTo>
                  <a:pt x="147" y="214"/>
                </a:lnTo>
                <a:lnTo>
                  <a:pt x="150" y="214"/>
                </a:lnTo>
                <a:lnTo>
                  <a:pt x="157" y="209"/>
                </a:lnTo>
                <a:lnTo>
                  <a:pt x="162" y="202"/>
                </a:lnTo>
                <a:lnTo>
                  <a:pt x="162" y="199"/>
                </a:lnTo>
                <a:lnTo>
                  <a:pt x="165" y="199"/>
                </a:lnTo>
                <a:lnTo>
                  <a:pt x="165" y="194"/>
                </a:lnTo>
                <a:lnTo>
                  <a:pt x="167" y="192"/>
                </a:lnTo>
                <a:lnTo>
                  <a:pt x="170" y="192"/>
                </a:lnTo>
                <a:lnTo>
                  <a:pt x="170" y="189"/>
                </a:lnTo>
                <a:lnTo>
                  <a:pt x="170" y="184"/>
                </a:lnTo>
                <a:lnTo>
                  <a:pt x="172" y="184"/>
                </a:lnTo>
                <a:lnTo>
                  <a:pt x="174" y="184"/>
                </a:lnTo>
                <a:lnTo>
                  <a:pt x="177" y="182"/>
                </a:lnTo>
                <a:lnTo>
                  <a:pt x="179" y="179"/>
                </a:lnTo>
                <a:lnTo>
                  <a:pt x="182" y="177"/>
                </a:lnTo>
                <a:lnTo>
                  <a:pt x="184" y="174"/>
                </a:lnTo>
                <a:lnTo>
                  <a:pt x="187" y="172"/>
                </a:lnTo>
                <a:lnTo>
                  <a:pt x="189" y="165"/>
                </a:lnTo>
                <a:lnTo>
                  <a:pt x="189" y="162"/>
                </a:lnTo>
                <a:lnTo>
                  <a:pt x="192" y="160"/>
                </a:lnTo>
                <a:lnTo>
                  <a:pt x="194" y="157"/>
                </a:lnTo>
                <a:lnTo>
                  <a:pt x="199" y="155"/>
                </a:lnTo>
                <a:lnTo>
                  <a:pt x="202" y="155"/>
                </a:lnTo>
                <a:lnTo>
                  <a:pt x="199" y="157"/>
                </a:lnTo>
                <a:lnTo>
                  <a:pt x="199" y="160"/>
                </a:lnTo>
                <a:lnTo>
                  <a:pt x="202" y="162"/>
                </a:lnTo>
                <a:lnTo>
                  <a:pt x="202" y="162"/>
                </a:lnTo>
                <a:lnTo>
                  <a:pt x="204" y="162"/>
                </a:lnTo>
                <a:lnTo>
                  <a:pt x="204" y="162"/>
                </a:lnTo>
                <a:lnTo>
                  <a:pt x="204" y="162"/>
                </a:lnTo>
                <a:lnTo>
                  <a:pt x="204" y="165"/>
                </a:lnTo>
                <a:lnTo>
                  <a:pt x="204" y="165"/>
                </a:lnTo>
                <a:lnTo>
                  <a:pt x="202" y="167"/>
                </a:lnTo>
                <a:lnTo>
                  <a:pt x="202" y="167"/>
                </a:lnTo>
                <a:lnTo>
                  <a:pt x="204" y="172"/>
                </a:lnTo>
                <a:lnTo>
                  <a:pt x="204" y="174"/>
                </a:lnTo>
                <a:lnTo>
                  <a:pt x="206" y="170"/>
                </a:lnTo>
                <a:lnTo>
                  <a:pt x="209" y="170"/>
                </a:lnTo>
                <a:lnTo>
                  <a:pt x="211" y="170"/>
                </a:lnTo>
                <a:lnTo>
                  <a:pt x="211" y="170"/>
                </a:lnTo>
                <a:lnTo>
                  <a:pt x="211" y="172"/>
                </a:lnTo>
                <a:lnTo>
                  <a:pt x="214" y="172"/>
                </a:lnTo>
                <a:lnTo>
                  <a:pt x="216" y="172"/>
                </a:lnTo>
                <a:lnTo>
                  <a:pt x="214" y="170"/>
                </a:lnTo>
                <a:lnTo>
                  <a:pt x="214" y="170"/>
                </a:lnTo>
                <a:lnTo>
                  <a:pt x="216" y="167"/>
                </a:lnTo>
                <a:lnTo>
                  <a:pt x="219" y="167"/>
                </a:lnTo>
                <a:lnTo>
                  <a:pt x="219" y="170"/>
                </a:lnTo>
                <a:lnTo>
                  <a:pt x="219" y="170"/>
                </a:lnTo>
                <a:lnTo>
                  <a:pt x="216" y="172"/>
                </a:lnTo>
                <a:lnTo>
                  <a:pt x="214" y="174"/>
                </a:lnTo>
                <a:lnTo>
                  <a:pt x="216" y="174"/>
                </a:lnTo>
                <a:lnTo>
                  <a:pt x="219" y="172"/>
                </a:lnTo>
                <a:lnTo>
                  <a:pt x="216" y="177"/>
                </a:lnTo>
                <a:lnTo>
                  <a:pt x="214" y="177"/>
                </a:lnTo>
                <a:lnTo>
                  <a:pt x="214" y="179"/>
                </a:lnTo>
                <a:lnTo>
                  <a:pt x="214" y="182"/>
                </a:lnTo>
                <a:lnTo>
                  <a:pt x="216" y="184"/>
                </a:lnTo>
                <a:lnTo>
                  <a:pt x="216" y="187"/>
                </a:lnTo>
                <a:lnTo>
                  <a:pt x="216" y="189"/>
                </a:lnTo>
                <a:lnTo>
                  <a:pt x="214" y="189"/>
                </a:lnTo>
                <a:lnTo>
                  <a:pt x="206" y="197"/>
                </a:lnTo>
                <a:lnTo>
                  <a:pt x="206" y="199"/>
                </a:lnTo>
                <a:lnTo>
                  <a:pt x="199" y="204"/>
                </a:lnTo>
                <a:lnTo>
                  <a:pt x="202" y="206"/>
                </a:lnTo>
                <a:lnTo>
                  <a:pt x="199" y="206"/>
                </a:lnTo>
                <a:lnTo>
                  <a:pt x="194" y="209"/>
                </a:lnTo>
                <a:lnTo>
                  <a:pt x="194" y="211"/>
                </a:lnTo>
                <a:lnTo>
                  <a:pt x="192" y="216"/>
                </a:lnTo>
                <a:lnTo>
                  <a:pt x="189" y="216"/>
                </a:lnTo>
                <a:lnTo>
                  <a:pt x="187" y="221"/>
                </a:lnTo>
                <a:lnTo>
                  <a:pt x="182" y="221"/>
                </a:lnTo>
                <a:lnTo>
                  <a:pt x="179" y="224"/>
                </a:lnTo>
                <a:lnTo>
                  <a:pt x="179" y="229"/>
                </a:lnTo>
                <a:lnTo>
                  <a:pt x="179" y="231"/>
                </a:lnTo>
                <a:lnTo>
                  <a:pt x="177" y="231"/>
                </a:lnTo>
                <a:lnTo>
                  <a:pt x="179" y="234"/>
                </a:lnTo>
                <a:lnTo>
                  <a:pt x="182" y="236"/>
                </a:lnTo>
                <a:lnTo>
                  <a:pt x="182" y="238"/>
                </a:lnTo>
                <a:lnTo>
                  <a:pt x="179" y="241"/>
                </a:lnTo>
                <a:lnTo>
                  <a:pt x="179" y="238"/>
                </a:lnTo>
                <a:lnTo>
                  <a:pt x="179" y="236"/>
                </a:lnTo>
                <a:lnTo>
                  <a:pt x="177" y="236"/>
                </a:lnTo>
                <a:lnTo>
                  <a:pt x="177" y="236"/>
                </a:lnTo>
                <a:lnTo>
                  <a:pt x="177" y="238"/>
                </a:lnTo>
                <a:lnTo>
                  <a:pt x="177" y="241"/>
                </a:lnTo>
                <a:lnTo>
                  <a:pt x="174" y="238"/>
                </a:lnTo>
                <a:lnTo>
                  <a:pt x="170" y="238"/>
                </a:lnTo>
                <a:lnTo>
                  <a:pt x="174" y="238"/>
                </a:lnTo>
                <a:lnTo>
                  <a:pt x="174" y="236"/>
                </a:lnTo>
                <a:lnTo>
                  <a:pt x="172" y="236"/>
                </a:lnTo>
                <a:lnTo>
                  <a:pt x="170" y="238"/>
                </a:lnTo>
                <a:lnTo>
                  <a:pt x="170" y="238"/>
                </a:lnTo>
                <a:lnTo>
                  <a:pt x="167" y="238"/>
                </a:lnTo>
                <a:lnTo>
                  <a:pt x="167" y="238"/>
                </a:lnTo>
                <a:lnTo>
                  <a:pt x="165" y="236"/>
                </a:lnTo>
                <a:lnTo>
                  <a:pt x="162" y="236"/>
                </a:lnTo>
                <a:lnTo>
                  <a:pt x="165" y="236"/>
                </a:lnTo>
                <a:lnTo>
                  <a:pt x="165" y="238"/>
                </a:lnTo>
                <a:lnTo>
                  <a:pt x="162" y="241"/>
                </a:lnTo>
                <a:lnTo>
                  <a:pt x="162" y="243"/>
                </a:lnTo>
                <a:lnTo>
                  <a:pt x="160" y="243"/>
                </a:lnTo>
                <a:lnTo>
                  <a:pt x="157" y="246"/>
                </a:lnTo>
                <a:lnTo>
                  <a:pt x="155" y="246"/>
                </a:lnTo>
                <a:lnTo>
                  <a:pt x="155" y="243"/>
                </a:lnTo>
                <a:lnTo>
                  <a:pt x="152" y="246"/>
                </a:lnTo>
                <a:lnTo>
                  <a:pt x="150" y="246"/>
                </a:lnTo>
                <a:lnTo>
                  <a:pt x="147" y="251"/>
                </a:lnTo>
                <a:lnTo>
                  <a:pt x="147" y="253"/>
                </a:lnTo>
                <a:lnTo>
                  <a:pt x="147" y="256"/>
                </a:lnTo>
                <a:lnTo>
                  <a:pt x="142" y="261"/>
                </a:lnTo>
                <a:lnTo>
                  <a:pt x="142" y="263"/>
                </a:lnTo>
                <a:lnTo>
                  <a:pt x="140" y="265"/>
                </a:lnTo>
                <a:lnTo>
                  <a:pt x="135" y="270"/>
                </a:lnTo>
                <a:lnTo>
                  <a:pt x="133" y="273"/>
                </a:lnTo>
                <a:lnTo>
                  <a:pt x="130" y="278"/>
                </a:lnTo>
                <a:lnTo>
                  <a:pt x="128" y="283"/>
                </a:lnTo>
                <a:lnTo>
                  <a:pt x="125" y="285"/>
                </a:lnTo>
                <a:lnTo>
                  <a:pt x="125" y="288"/>
                </a:lnTo>
                <a:lnTo>
                  <a:pt x="125" y="288"/>
                </a:lnTo>
                <a:lnTo>
                  <a:pt x="123" y="288"/>
                </a:lnTo>
                <a:lnTo>
                  <a:pt x="128" y="288"/>
                </a:lnTo>
                <a:lnTo>
                  <a:pt x="128" y="290"/>
                </a:lnTo>
                <a:lnTo>
                  <a:pt x="125" y="290"/>
                </a:lnTo>
                <a:lnTo>
                  <a:pt x="120" y="290"/>
                </a:lnTo>
                <a:lnTo>
                  <a:pt x="118" y="293"/>
                </a:lnTo>
                <a:lnTo>
                  <a:pt x="115" y="295"/>
                </a:lnTo>
                <a:lnTo>
                  <a:pt x="113" y="297"/>
                </a:lnTo>
                <a:lnTo>
                  <a:pt x="110" y="300"/>
                </a:lnTo>
                <a:lnTo>
                  <a:pt x="110" y="297"/>
                </a:lnTo>
                <a:lnTo>
                  <a:pt x="108" y="295"/>
                </a:lnTo>
                <a:lnTo>
                  <a:pt x="110" y="297"/>
                </a:lnTo>
                <a:lnTo>
                  <a:pt x="110" y="300"/>
                </a:lnTo>
                <a:lnTo>
                  <a:pt x="106" y="302"/>
                </a:lnTo>
                <a:lnTo>
                  <a:pt x="103" y="305"/>
                </a:lnTo>
                <a:lnTo>
                  <a:pt x="96" y="307"/>
                </a:lnTo>
                <a:lnTo>
                  <a:pt x="93" y="307"/>
                </a:lnTo>
                <a:lnTo>
                  <a:pt x="91" y="307"/>
                </a:lnTo>
                <a:lnTo>
                  <a:pt x="91" y="305"/>
                </a:lnTo>
                <a:lnTo>
                  <a:pt x="86" y="307"/>
                </a:lnTo>
                <a:lnTo>
                  <a:pt x="86" y="307"/>
                </a:lnTo>
                <a:lnTo>
                  <a:pt x="88" y="305"/>
                </a:lnTo>
                <a:lnTo>
                  <a:pt x="86" y="305"/>
                </a:lnTo>
                <a:lnTo>
                  <a:pt x="83" y="302"/>
                </a:lnTo>
                <a:lnTo>
                  <a:pt x="83" y="297"/>
                </a:lnTo>
                <a:lnTo>
                  <a:pt x="81" y="297"/>
                </a:lnTo>
                <a:lnTo>
                  <a:pt x="79" y="297"/>
                </a:lnTo>
                <a:lnTo>
                  <a:pt x="79" y="295"/>
                </a:lnTo>
                <a:lnTo>
                  <a:pt x="79" y="295"/>
                </a:lnTo>
                <a:lnTo>
                  <a:pt x="76" y="293"/>
                </a:lnTo>
                <a:lnTo>
                  <a:pt x="76" y="290"/>
                </a:lnTo>
                <a:lnTo>
                  <a:pt x="74" y="293"/>
                </a:lnTo>
                <a:lnTo>
                  <a:pt x="74" y="293"/>
                </a:lnTo>
                <a:lnTo>
                  <a:pt x="71" y="293"/>
                </a:lnTo>
                <a:lnTo>
                  <a:pt x="71" y="293"/>
                </a:lnTo>
                <a:lnTo>
                  <a:pt x="66" y="293"/>
                </a:lnTo>
                <a:lnTo>
                  <a:pt x="66" y="290"/>
                </a:lnTo>
                <a:lnTo>
                  <a:pt x="66" y="290"/>
                </a:lnTo>
                <a:close/>
              </a:path>
            </a:pathLst>
          </a:custGeom>
          <a:blipFill>
            <a:blip r:embed="rId10"/>
            <a:srcRect/>
            <a:stretch>
              <a:fillRect l="-3330" t="9267" r="-112304" b="-9267"/>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Freeform 164"/>
          <p:cNvSpPr>
            <a:spLocks noEditPoints="1"/>
          </p:cNvSpPr>
          <p:nvPr/>
        </p:nvSpPr>
        <p:spPr bwMode="auto">
          <a:xfrm>
            <a:off x="4245168" y="2547760"/>
            <a:ext cx="223441" cy="132099"/>
          </a:xfrm>
          <a:custGeom>
            <a:avLst/>
            <a:gdLst/>
            <a:ahLst/>
            <a:cxnLst>
              <a:cxn ang="0">
                <a:pos x="51" y="84"/>
              </a:cxn>
              <a:cxn ang="0">
                <a:pos x="44" y="71"/>
              </a:cxn>
              <a:cxn ang="0">
                <a:pos x="56" y="76"/>
              </a:cxn>
              <a:cxn ang="0">
                <a:pos x="74" y="79"/>
              </a:cxn>
              <a:cxn ang="0">
                <a:pos x="81" y="74"/>
              </a:cxn>
              <a:cxn ang="0">
                <a:pos x="88" y="74"/>
              </a:cxn>
              <a:cxn ang="0">
                <a:pos x="98" y="71"/>
              </a:cxn>
              <a:cxn ang="0">
                <a:pos x="115" y="59"/>
              </a:cxn>
              <a:cxn ang="0">
                <a:pos x="123" y="59"/>
              </a:cxn>
              <a:cxn ang="0">
                <a:pos x="125" y="52"/>
              </a:cxn>
              <a:cxn ang="0">
                <a:pos x="130" y="49"/>
              </a:cxn>
              <a:cxn ang="0">
                <a:pos x="130" y="37"/>
              </a:cxn>
              <a:cxn ang="0">
                <a:pos x="135" y="27"/>
              </a:cxn>
              <a:cxn ang="0">
                <a:pos x="125" y="22"/>
              </a:cxn>
              <a:cxn ang="0">
                <a:pos x="125" y="12"/>
              </a:cxn>
              <a:cxn ang="0">
                <a:pos x="123" y="10"/>
              </a:cxn>
              <a:cxn ang="0">
                <a:pos x="120" y="2"/>
              </a:cxn>
              <a:cxn ang="0">
                <a:pos x="113" y="7"/>
              </a:cxn>
              <a:cxn ang="0">
                <a:pos x="103" y="2"/>
              </a:cxn>
              <a:cxn ang="0">
                <a:pos x="96" y="12"/>
              </a:cxn>
              <a:cxn ang="0">
                <a:pos x="88" y="15"/>
              </a:cxn>
              <a:cxn ang="0">
                <a:pos x="78" y="15"/>
              </a:cxn>
              <a:cxn ang="0">
                <a:pos x="76" y="15"/>
              </a:cxn>
              <a:cxn ang="0">
                <a:pos x="66" y="15"/>
              </a:cxn>
              <a:cxn ang="0">
                <a:pos x="59" y="15"/>
              </a:cxn>
              <a:cxn ang="0">
                <a:pos x="54" y="20"/>
              </a:cxn>
              <a:cxn ang="0">
                <a:pos x="46" y="25"/>
              </a:cxn>
              <a:cxn ang="0">
                <a:pos x="39" y="30"/>
              </a:cxn>
              <a:cxn ang="0">
                <a:pos x="39" y="20"/>
              </a:cxn>
              <a:cxn ang="0">
                <a:pos x="39" y="12"/>
              </a:cxn>
              <a:cxn ang="0">
                <a:pos x="32" y="5"/>
              </a:cxn>
              <a:cxn ang="0">
                <a:pos x="19" y="0"/>
              </a:cxn>
              <a:cxn ang="0">
                <a:pos x="24" y="2"/>
              </a:cxn>
              <a:cxn ang="0">
                <a:pos x="22" y="5"/>
              </a:cxn>
              <a:cxn ang="0">
                <a:pos x="29" y="15"/>
              </a:cxn>
              <a:cxn ang="0">
                <a:pos x="22" y="10"/>
              </a:cxn>
              <a:cxn ang="0">
                <a:pos x="17" y="10"/>
              </a:cxn>
              <a:cxn ang="0">
                <a:pos x="14" y="12"/>
              </a:cxn>
              <a:cxn ang="0">
                <a:pos x="14" y="17"/>
              </a:cxn>
              <a:cxn ang="0">
                <a:pos x="7" y="17"/>
              </a:cxn>
              <a:cxn ang="0">
                <a:pos x="7" y="25"/>
              </a:cxn>
              <a:cxn ang="0">
                <a:pos x="7" y="27"/>
              </a:cxn>
              <a:cxn ang="0">
                <a:pos x="17" y="22"/>
              </a:cxn>
              <a:cxn ang="0">
                <a:pos x="24" y="25"/>
              </a:cxn>
              <a:cxn ang="0">
                <a:pos x="32" y="22"/>
              </a:cxn>
              <a:cxn ang="0">
                <a:pos x="37" y="27"/>
              </a:cxn>
              <a:cxn ang="0">
                <a:pos x="24" y="32"/>
              </a:cxn>
              <a:cxn ang="0">
                <a:pos x="34" y="32"/>
              </a:cxn>
              <a:cxn ang="0">
                <a:pos x="24" y="39"/>
              </a:cxn>
              <a:cxn ang="0">
                <a:pos x="19" y="34"/>
              </a:cxn>
              <a:cxn ang="0">
                <a:pos x="10" y="39"/>
              </a:cxn>
              <a:cxn ang="0">
                <a:pos x="7" y="44"/>
              </a:cxn>
              <a:cxn ang="0">
                <a:pos x="24" y="44"/>
              </a:cxn>
              <a:cxn ang="0">
                <a:pos x="27" y="54"/>
              </a:cxn>
              <a:cxn ang="0">
                <a:pos x="27" y="57"/>
              </a:cxn>
              <a:cxn ang="0">
                <a:pos x="34" y="57"/>
              </a:cxn>
              <a:cxn ang="0">
                <a:pos x="27" y="64"/>
              </a:cxn>
              <a:cxn ang="0">
                <a:pos x="19" y="61"/>
              </a:cxn>
              <a:cxn ang="0">
                <a:pos x="17" y="71"/>
              </a:cxn>
              <a:cxn ang="0">
                <a:pos x="34" y="69"/>
              </a:cxn>
              <a:cxn ang="0">
                <a:pos x="42" y="71"/>
              </a:cxn>
            </a:cxnLst>
            <a:rect l="0" t="0" r="r" b="b"/>
            <a:pathLst>
              <a:path w="137" h="86">
                <a:moveTo>
                  <a:pt x="49" y="86"/>
                </a:moveTo>
                <a:lnTo>
                  <a:pt x="46" y="84"/>
                </a:lnTo>
                <a:lnTo>
                  <a:pt x="49" y="81"/>
                </a:lnTo>
                <a:lnTo>
                  <a:pt x="49" y="81"/>
                </a:lnTo>
                <a:lnTo>
                  <a:pt x="51" y="84"/>
                </a:lnTo>
                <a:lnTo>
                  <a:pt x="49" y="86"/>
                </a:lnTo>
                <a:lnTo>
                  <a:pt x="49" y="86"/>
                </a:lnTo>
                <a:lnTo>
                  <a:pt x="49" y="86"/>
                </a:lnTo>
                <a:close/>
                <a:moveTo>
                  <a:pt x="42" y="71"/>
                </a:moveTo>
                <a:lnTo>
                  <a:pt x="44" y="71"/>
                </a:lnTo>
                <a:lnTo>
                  <a:pt x="44" y="74"/>
                </a:lnTo>
                <a:lnTo>
                  <a:pt x="49" y="79"/>
                </a:lnTo>
                <a:lnTo>
                  <a:pt x="51" y="79"/>
                </a:lnTo>
                <a:lnTo>
                  <a:pt x="54" y="76"/>
                </a:lnTo>
                <a:lnTo>
                  <a:pt x="56" y="76"/>
                </a:lnTo>
                <a:lnTo>
                  <a:pt x="61" y="81"/>
                </a:lnTo>
                <a:lnTo>
                  <a:pt x="66" y="81"/>
                </a:lnTo>
                <a:lnTo>
                  <a:pt x="69" y="84"/>
                </a:lnTo>
                <a:lnTo>
                  <a:pt x="74" y="81"/>
                </a:lnTo>
                <a:lnTo>
                  <a:pt x="74" y="79"/>
                </a:lnTo>
                <a:lnTo>
                  <a:pt x="74" y="76"/>
                </a:lnTo>
                <a:lnTo>
                  <a:pt x="76" y="79"/>
                </a:lnTo>
                <a:lnTo>
                  <a:pt x="78" y="79"/>
                </a:lnTo>
                <a:lnTo>
                  <a:pt x="81" y="76"/>
                </a:lnTo>
                <a:lnTo>
                  <a:pt x="81" y="74"/>
                </a:lnTo>
                <a:lnTo>
                  <a:pt x="86" y="71"/>
                </a:lnTo>
                <a:lnTo>
                  <a:pt x="83" y="74"/>
                </a:lnTo>
                <a:lnTo>
                  <a:pt x="86" y="76"/>
                </a:lnTo>
                <a:lnTo>
                  <a:pt x="86" y="74"/>
                </a:lnTo>
                <a:lnTo>
                  <a:pt x="88" y="74"/>
                </a:lnTo>
                <a:lnTo>
                  <a:pt x="91" y="69"/>
                </a:lnTo>
                <a:lnTo>
                  <a:pt x="93" y="71"/>
                </a:lnTo>
                <a:lnTo>
                  <a:pt x="93" y="71"/>
                </a:lnTo>
                <a:lnTo>
                  <a:pt x="98" y="71"/>
                </a:lnTo>
                <a:lnTo>
                  <a:pt x="98" y="71"/>
                </a:lnTo>
                <a:lnTo>
                  <a:pt x="98" y="71"/>
                </a:lnTo>
                <a:lnTo>
                  <a:pt x="106" y="64"/>
                </a:lnTo>
                <a:lnTo>
                  <a:pt x="108" y="61"/>
                </a:lnTo>
                <a:lnTo>
                  <a:pt x="115" y="59"/>
                </a:lnTo>
                <a:lnTo>
                  <a:pt x="115" y="59"/>
                </a:lnTo>
                <a:lnTo>
                  <a:pt x="115" y="57"/>
                </a:lnTo>
                <a:lnTo>
                  <a:pt x="115" y="54"/>
                </a:lnTo>
                <a:lnTo>
                  <a:pt x="118" y="54"/>
                </a:lnTo>
                <a:lnTo>
                  <a:pt x="118" y="57"/>
                </a:lnTo>
                <a:lnTo>
                  <a:pt x="123" y="59"/>
                </a:lnTo>
                <a:lnTo>
                  <a:pt x="125" y="57"/>
                </a:lnTo>
                <a:lnTo>
                  <a:pt x="125" y="54"/>
                </a:lnTo>
                <a:lnTo>
                  <a:pt x="123" y="54"/>
                </a:lnTo>
                <a:lnTo>
                  <a:pt x="125" y="52"/>
                </a:lnTo>
                <a:lnTo>
                  <a:pt x="125" y="52"/>
                </a:lnTo>
                <a:lnTo>
                  <a:pt x="125" y="47"/>
                </a:lnTo>
                <a:lnTo>
                  <a:pt x="125" y="44"/>
                </a:lnTo>
                <a:lnTo>
                  <a:pt x="128" y="47"/>
                </a:lnTo>
                <a:lnTo>
                  <a:pt x="128" y="49"/>
                </a:lnTo>
                <a:lnTo>
                  <a:pt x="130" y="49"/>
                </a:lnTo>
                <a:lnTo>
                  <a:pt x="133" y="47"/>
                </a:lnTo>
                <a:lnTo>
                  <a:pt x="133" y="44"/>
                </a:lnTo>
                <a:lnTo>
                  <a:pt x="130" y="39"/>
                </a:lnTo>
                <a:lnTo>
                  <a:pt x="130" y="37"/>
                </a:lnTo>
                <a:lnTo>
                  <a:pt x="130" y="37"/>
                </a:lnTo>
                <a:lnTo>
                  <a:pt x="130" y="32"/>
                </a:lnTo>
                <a:lnTo>
                  <a:pt x="133" y="32"/>
                </a:lnTo>
                <a:lnTo>
                  <a:pt x="135" y="32"/>
                </a:lnTo>
                <a:lnTo>
                  <a:pt x="137" y="30"/>
                </a:lnTo>
                <a:lnTo>
                  <a:pt x="135" y="27"/>
                </a:lnTo>
                <a:lnTo>
                  <a:pt x="128" y="27"/>
                </a:lnTo>
                <a:lnTo>
                  <a:pt x="128" y="27"/>
                </a:lnTo>
                <a:lnTo>
                  <a:pt x="128" y="25"/>
                </a:lnTo>
                <a:lnTo>
                  <a:pt x="128" y="22"/>
                </a:lnTo>
                <a:lnTo>
                  <a:pt x="125" y="22"/>
                </a:lnTo>
                <a:lnTo>
                  <a:pt x="123" y="22"/>
                </a:lnTo>
                <a:lnTo>
                  <a:pt x="123" y="20"/>
                </a:lnTo>
                <a:lnTo>
                  <a:pt x="125" y="17"/>
                </a:lnTo>
                <a:lnTo>
                  <a:pt x="128" y="17"/>
                </a:lnTo>
                <a:lnTo>
                  <a:pt x="125" y="12"/>
                </a:lnTo>
                <a:lnTo>
                  <a:pt x="125" y="12"/>
                </a:lnTo>
                <a:lnTo>
                  <a:pt x="123" y="15"/>
                </a:lnTo>
                <a:lnTo>
                  <a:pt x="120" y="12"/>
                </a:lnTo>
                <a:lnTo>
                  <a:pt x="118" y="10"/>
                </a:lnTo>
                <a:lnTo>
                  <a:pt x="123" y="10"/>
                </a:lnTo>
                <a:lnTo>
                  <a:pt x="123" y="7"/>
                </a:lnTo>
                <a:lnTo>
                  <a:pt x="123" y="5"/>
                </a:lnTo>
                <a:lnTo>
                  <a:pt x="125" y="5"/>
                </a:lnTo>
                <a:lnTo>
                  <a:pt x="123" y="2"/>
                </a:lnTo>
                <a:lnTo>
                  <a:pt x="120" y="2"/>
                </a:lnTo>
                <a:lnTo>
                  <a:pt x="115" y="7"/>
                </a:lnTo>
                <a:lnTo>
                  <a:pt x="115" y="10"/>
                </a:lnTo>
                <a:lnTo>
                  <a:pt x="113" y="12"/>
                </a:lnTo>
                <a:lnTo>
                  <a:pt x="110" y="7"/>
                </a:lnTo>
                <a:lnTo>
                  <a:pt x="113" y="7"/>
                </a:lnTo>
                <a:lnTo>
                  <a:pt x="110" y="5"/>
                </a:lnTo>
                <a:lnTo>
                  <a:pt x="110" y="2"/>
                </a:lnTo>
                <a:lnTo>
                  <a:pt x="108" y="0"/>
                </a:lnTo>
                <a:lnTo>
                  <a:pt x="106" y="2"/>
                </a:lnTo>
                <a:lnTo>
                  <a:pt x="103" y="2"/>
                </a:lnTo>
                <a:lnTo>
                  <a:pt x="103" y="5"/>
                </a:lnTo>
                <a:lnTo>
                  <a:pt x="103" y="7"/>
                </a:lnTo>
                <a:lnTo>
                  <a:pt x="103" y="10"/>
                </a:lnTo>
                <a:lnTo>
                  <a:pt x="98" y="10"/>
                </a:lnTo>
                <a:lnTo>
                  <a:pt x="96" y="12"/>
                </a:lnTo>
                <a:lnTo>
                  <a:pt x="96" y="10"/>
                </a:lnTo>
                <a:lnTo>
                  <a:pt x="93" y="7"/>
                </a:lnTo>
                <a:lnTo>
                  <a:pt x="93" y="10"/>
                </a:lnTo>
                <a:lnTo>
                  <a:pt x="91" y="15"/>
                </a:lnTo>
                <a:lnTo>
                  <a:pt x="88" y="15"/>
                </a:lnTo>
                <a:lnTo>
                  <a:pt x="86" y="10"/>
                </a:lnTo>
                <a:lnTo>
                  <a:pt x="83" y="10"/>
                </a:lnTo>
                <a:lnTo>
                  <a:pt x="81" y="10"/>
                </a:lnTo>
                <a:lnTo>
                  <a:pt x="78" y="10"/>
                </a:lnTo>
                <a:lnTo>
                  <a:pt x="78" y="15"/>
                </a:lnTo>
                <a:lnTo>
                  <a:pt x="81" y="20"/>
                </a:lnTo>
                <a:lnTo>
                  <a:pt x="78" y="27"/>
                </a:lnTo>
                <a:lnTo>
                  <a:pt x="78" y="20"/>
                </a:lnTo>
                <a:lnTo>
                  <a:pt x="76" y="17"/>
                </a:lnTo>
                <a:lnTo>
                  <a:pt x="76" y="15"/>
                </a:lnTo>
                <a:lnTo>
                  <a:pt x="76" y="12"/>
                </a:lnTo>
                <a:lnTo>
                  <a:pt x="76" y="10"/>
                </a:lnTo>
                <a:lnTo>
                  <a:pt x="71" y="7"/>
                </a:lnTo>
                <a:lnTo>
                  <a:pt x="66" y="12"/>
                </a:lnTo>
                <a:lnTo>
                  <a:pt x="66" y="15"/>
                </a:lnTo>
                <a:lnTo>
                  <a:pt x="66" y="17"/>
                </a:lnTo>
                <a:lnTo>
                  <a:pt x="64" y="22"/>
                </a:lnTo>
                <a:lnTo>
                  <a:pt x="61" y="22"/>
                </a:lnTo>
                <a:lnTo>
                  <a:pt x="61" y="17"/>
                </a:lnTo>
                <a:lnTo>
                  <a:pt x="59" y="15"/>
                </a:lnTo>
                <a:lnTo>
                  <a:pt x="59" y="10"/>
                </a:lnTo>
                <a:lnTo>
                  <a:pt x="56" y="7"/>
                </a:lnTo>
                <a:lnTo>
                  <a:pt x="51" y="10"/>
                </a:lnTo>
                <a:lnTo>
                  <a:pt x="54" y="17"/>
                </a:lnTo>
                <a:lnTo>
                  <a:pt x="54" y="20"/>
                </a:lnTo>
                <a:lnTo>
                  <a:pt x="54" y="25"/>
                </a:lnTo>
                <a:lnTo>
                  <a:pt x="51" y="27"/>
                </a:lnTo>
                <a:lnTo>
                  <a:pt x="49" y="27"/>
                </a:lnTo>
                <a:lnTo>
                  <a:pt x="49" y="25"/>
                </a:lnTo>
                <a:lnTo>
                  <a:pt x="46" y="25"/>
                </a:lnTo>
                <a:lnTo>
                  <a:pt x="46" y="30"/>
                </a:lnTo>
                <a:lnTo>
                  <a:pt x="44" y="30"/>
                </a:lnTo>
                <a:lnTo>
                  <a:pt x="44" y="34"/>
                </a:lnTo>
                <a:lnTo>
                  <a:pt x="42" y="30"/>
                </a:lnTo>
                <a:lnTo>
                  <a:pt x="39" y="30"/>
                </a:lnTo>
                <a:lnTo>
                  <a:pt x="39" y="27"/>
                </a:lnTo>
                <a:lnTo>
                  <a:pt x="42" y="25"/>
                </a:lnTo>
                <a:lnTo>
                  <a:pt x="42" y="22"/>
                </a:lnTo>
                <a:lnTo>
                  <a:pt x="39" y="22"/>
                </a:lnTo>
                <a:lnTo>
                  <a:pt x="39" y="20"/>
                </a:lnTo>
                <a:lnTo>
                  <a:pt x="39" y="17"/>
                </a:lnTo>
                <a:lnTo>
                  <a:pt x="39" y="20"/>
                </a:lnTo>
                <a:lnTo>
                  <a:pt x="42" y="17"/>
                </a:lnTo>
                <a:lnTo>
                  <a:pt x="42" y="15"/>
                </a:lnTo>
                <a:lnTo>
                  <a:pt x="39" y="12"/>
                </a:lnTo>
                <a:lnTo>
                  <a:pt x="42" y="10"/>
                </a:lnTo>
                <a:lnTo>
                  <a:pt x="39" y="7"/>
                </a:lnTo>
                <a:lnTo>
                  <a:pt x="37" y="10"/>
                </a:lnTo>
                <a:lnTo>
                  <a:pt x="37" y="7"/>
                </a:lnTo>
                <a:lnTo>
                  <a:pt x="32" y="5"/>
                </a:lnTo>
                <a:lnTo>
                  <a:pt x="32" y="2"/>
                </a:lnTo>
                <a:lnTo>
                  <a:pt x="32" y="0"/>
                </a:lnTo>
                <a:lnTo>
                  <a:pt x="27" y="0"/>
                </a:lnTo>
                <a:lnTo>
                  <a:pt x="24" y="0"/>
                </a:lnTo>
                <a:lnTo>
                  <a:pt x="19" y="0"/>
                </a:lnTo>
                <a:lnTo>
                  <a:pt x="19" y="0"/>
                </a:lnTo>
                <a:lnTo>
                  <a:pt x="22" y="2"/>
                </a:lnTo>
                <a:lnTo>
                  <a:pt x="22" y="2"/>
                </a:lnTo>
                <a:lnTo>
                  <a:pt x="24" y="2"/>
                </a:lnTo>
                <a:lnTo>
                  <a:pt x="24" y="2"/>
                </a:lnTo>
                <a:lnTo>
                  <a:pt x="27" y="2"/>
                </a:lnTo>
                <a:lnTo>
                  <a:pt x="29" y="2"/>
                </a:lnTo>
                <a:lnTo>
                  <a:pt x="29" y="5"/>
                </a:lnTo>
                <a:lnTo>
                  <a:pt x="27" y="5"/>
                </a:lnTo>
                <a:lnTo>
                  <a:pt x="22" y="5"/>
                </a:lnTo>
                <a:lnTo>
                  <a:pt x="24" y="5"/>
                </a:lnTo>
                <a:lnTo>
                  <a:pt x="27" y="7"/>
                </a:lnTo>
                <a:lnTo>
                  <a:pt x="29" y="12"/>
                </a:lnTo>
                <a:lnTo>
                  <a:pt x="29" y="15"/>
                </a:lnTo>
                <a:lnTo>
                  <a:pt x="29" y="15"/>
                </a:lnTo>
                <a:lnTo>
                  <a:pt x="29" y="12"/>
                </a:lnTo>
                <a:lnTo>
                  <a:pt x="24" y="10"/>
                </a:lnTo>
                <a:lnTo>
                  <a:pt x="22" y="12"/>
                </a:lnTo>
                <a:lnTo>
                  <a:pt x="22" y="12"/>
                </a:lnTo>
                <a:lnTo>
                  <a:pt x="22" y="10"/>
                </a:lnTo>
                <a:lnTo>
                  <a:pt x="19" y="7"/>
                </a:lnTo>
                <a:lnTo>
                  <a:pt x="17" y="5"/>
                </a:lnTo>
                <a:lnTo>
                  <a:pt x="14" y="7"/>
                </a:lnTo>
                <a:lnTo>
                  <a:pt x="17" y="10"/>
                </a:lnTo>
                <a:lnTo>
                  <a:pt x="17" y="10"/>
                </a:lnTo>
                <a:lnTo>
                  <a:pt x="14" y="7"/>
                </a:lnTo>
                <a:lnTo>
                  <a:pt x="12" y="7"/>
                </a:lnTo>
                <a:lnTo>
                  <a:pt x="12" y="10"/>
                </a:lnTo>
                <a:lnTo>
                  <a:pt x="12" y="12"/>
                </a:lnTo>
                <a:lnTo>
                  <a:pt x="14" y="12"/>
                </a:lnTo>
                <a:lnTo>
                  <a:pt x="14" y="15"/>
                </a:lnTo>
                <a:lnTo>
                  <a:pt x="12" y="12"/>
                </a:lnTo>
                <a:lnTo>
                  <a:pt x="10" y="15"/>
                </a:lnTo>
                <a:lnTo>
                  <a:pt x="12" y="17"/>
                </a:lnTo>
                <a:lnTo>
                  <a:pt x="14" y="17"/>
                </a:lnTo>
                <a:lnTo>
                  <a:pt x="14" y="17"/>
                </a:lnTo>
                <a:lnTo>
                  <a:pt x="12" y="20"/>
                </a:lnTo>
                <a:lnTo>
                  <a:pt x="14" y="20"/>
                </a:lnTo>
                <a:lnTo>
                  <a:pt x="12" y="20"/>
                </a:lnTo>
                <a:lnTo>
                  <a:pt x="7" y="17"/>
                </a:lnTo>
                <a:lnTo>
                  <a:pt x="7" y="17"/>
                </a:lnTo>
                <a:lnTo>
                  <a:pt x="5" y="17"/>
                </a:lnTo>
                <a:lnTo>
                  <a:pt x="7" y="22"/>
                </a:lnTo>
                <a:lnTo>
                  <a:pt x="10" y="25"/>
                </a:lnTo>
                <a:lnTo>
                  <a:pt x="7" y="25"/>
                </a:lnTo>
                <a:lnTo>
                  <a:pt x="5" y="20"/>
                </a:lnTo>
                <a:lnTo>
                  <a:pt x="2" y="20"/>
                </a:lnTo>
                <a:lnTo>
                  <a:pt x="0" y="22"/>
                </a:lnTo>
                <a:lnTo>
                  <a:pt x="5" y="25"/>
                </a:lnTo>
                <a:lnTo>
                  <a:pt x="7" y="27"/>
                </a:lnTo>
                <a:lnTo>
                  <a:pt x="10" y="27"/>
                </a:lnTo>
                <a:lnTo>
                  <a:pt x="12" y="25"/>
                </a:lnTo>
                <a:lnTo>
                  <a:pt x="14" y="25"/>
                </a:lnTo>
                <a:lnTo>
                  <a:pt x="17" y="22"/>
                </a:lnTo>
                <a:lnTo>
                  <a:pt x="17" y="22"/>
                </a:lnTo>
                <a:lnTo>
                  <a:pt x="17" y="25"/>
                </a:lnTo>
                <a:lnTo>
                  <a:pt x="19" y="25"/>
                </a:lnTo>
                <a:lnTo>
                  <a:pt x="22" y="22"/>
                </a:lnTo>
                <a:lnTo>
                  <a:pt x="22" y="25"/>
                </a:lnTo>
                <a:lnTo>
                  <a:pt x="24" y="25"/>
                </a:lnTo>
                <a:lnTo>
                  <a:pt x="27" y="25"/>
                </a:lnTo>
                <a:lnTo>
                  <a:pt x="27" y="22"/>
                </a:lnTo>
                <a:lnTo>
                  <a:pt x="27" y="25"/>
                </a:lnTo>
                <a:lnTo>
                  <a:pt x="27" y="25"/>
                </a:lnTo>
                <a:lnTo>
                  <a:pt x="32" y="22"/>
                </a:lnTo>
                <a:lnTo>
                  <a:pt x="32" y="25"/>
                </a:lnTo>
                <a:lnTo>
                  <a:pt x="29" y="27"/>
                </a:lnTo>
                <a:lnTo>
                  <a:pt x="32" y="27"/>
                </a:lnTo>
                <a:lnTo>
                  <a:pt x="34" y="27"/>
                </a:lnTo>
                <a:lnTo>
                  <a:pt x="37" y="27"/>
                </a:lnTo>
                <a:lnTo>
                  <a:pt x="34" y="30"/>
                </a:lnTo>
                <a:lnTo>
                  <a:pt x="32" y="30"/>
                </a:lnTo>
                <a:lnTo>
                  <a:pt x="32" y="30"/>
                </a:lnTo>
                <a:lnTo>
                  <a:pt x="29" y="30"/>
                </a:lnTo>
                <a:lnTo>
                  <a:pt x="24" y="32"/>
                </a:lnTo>
                <a:lnTo>
                  <a:pt x="24" y="34"/>
                </a:lnTo>
                <a:lnTo>
                  <a:pt x="29" y="34"/>
                </a:lnTo>
                <a:lnTo>
                  <a:pt x="32" y="34"/>
                </a:lnTo>
                <a:lnTo>
                  <a:pt x="34" y="32"/>
                </a:lnTo>
                <a:lnTo>
                  <a:pt x="34" y="32"/>
                </a:lnTo>
                <a:lnTo>
                  <a:pt x="34" y="34"/>
                </a:lnTo>
                <a:lnTo>
                  <a:pt x="32" y="37"/>
                </a:lnTo>
                <a:lnTo>
                  <a:pt x="27" y="37"/>
                </a:lnTo>
                <a:lnTo>
                  <a:pt x="27" y="37"/>
                </a:lnTo>
                <a:lnTo>
                  <a:pt x="24" y="39"/>
                </a:lnTo>
                <a:lnTo>
                  <a:pt x="22" y="37"/>
                </a:lnTo>
                <a:lnTo>
                  <a:pt x="22" y="37"/>
                </a:lnTo>
                <a:lnTo>
                  <a:pt x="22" y="34"/>
                </a:lnTo>
                <a:lnTo>
                  <a:pt x="19" y="34"/>
                </a:lnTo>
                <a:lnTo>
                  <a:pt x="19" y="34"/>
                </a:lnTo>
                <a:lnTo>
                  <a:pt x="19" y="37"/>
                </a:lnTo>
                <a:lnTo>
                  <a:pt x="17" y="39"/>
                </a:lnTo>
                <a:lnTo>
                  <a:pt x="14" y="37"/>
                </a:lnTo>
                <a:lnTo>
                  <a:pt x="12" y="37"/>
                </a:lnTo>
                <a:lnTo>
                  <a:pt x="10" y="39"/>
                </a:lnTo>
                <a:lnTo>
                  <a:pt x="7" y="37"/>
                </a:lnTo>
                <a:lnTo>
                  <a:pt x="5" y="39"/>
                </a:lnTo>
                <a:lnTo>
                  <a:pt x="5" y="39"/>
                </a:lnTo>
                <a:lnTo>
                  <a:pt x="5" y="42"/>
                </a:lnTo>
                <a:lnTo>
                  <a:pt x="7" y="44"/>
                </a:lnTo>
                <a:lnTo>
                  <a:pt x="10" y="44"/>
                </a:lnTo>
                <a:lnTo>
                  <a:pt x="10" y="44"/>
                </a:lnTo>
                <a:lnTo>
                  <a:pt x="14" y="44"/>
                </a:lnTo>
                <a:lnTo>
                  <a:pt x="22" y="44"/>
                </a:lnTo>
                <a:lnTo>
                  <a:pt x="24" y="44"/>
                </a:lnTo>
                <a:lnTo>
                  <a:pt x="24" y="47"/>
                </a:lnTo>
                <a:lnTo>
                  <a:pt x="22" y="47"/>
                </a:lnTo>
                <a:lnTo>
                  <a:pt x="22" y="49"/>
                </a:lnTo>
                <a:lnTo>
                  <a:pt x="24" y="52"/>
                </a:lnTo>
                <a:lnTo>
                  <a:pt x="27" y="54"/>
                </a:lnTo>
                <a:lnTo>
                  <a:pt x="27" y="54"/>
                </a:lnTo>
                <a:lnTo>
                  <a:pt x="32" y="49"/>
                </a:lnTo>
                <a:lnTo>
                  <a:pt x="32" y="52"/>
                </a:lnTo>
                <a:lnTo>
                  <a:pt x="29" y="54"/>
                </a:lnTo>
                <a:lnTo>
                  <a:pt x="27" y="57"/>
                </a:lnTo>
                <a:lnTo>
                  <a:pt x="29" y="59"/>
                </a:lnTo>
                <a:lnTo>
                  <a:pt x="34" y="54"/>
                </a:lnTo>
                <a:lnTo>
                  <a:pt x="37" y="57"/>
                </a:lnTo>
                <a:lnTo>
                  <a:pt x="37" y="57"/>
                </a:lnTo>
                <a:lnTo>
                  <a:pt x="34" y="57"/>
                </a:lnTo>
                <a:lnTo>
                  <a:pt x="32" y="57"/>
                </a:lnTo>
                <a:lnTo>
                  <a:pt x="29" y="59"/>
                </a:lnTo>
                <a:lnTo>
                  <a:pt x="27" y="59"/>
                </a:lnTo>
                <a:lnTo>
                  <a:pt x="27" y="61"/>
                </a:lnTo>
                <a:lnTo>
                  <a:pt x="27" y="64"/>
                </a:lnTo>
                <a:lnTo>
                  <a:pt x="24" y="64"/>
                </a:lnTo>
                <a:lnTo>
                  <a:pt x="22" y="64"/>
                </a:lnTo>
                <a:lnTo>
                  <a:pt x="22" y="61"/>
                </a:lnTo>
                <a:lnTo>
                  <a:pt x="19" y="61"/>
                </a:lnTo>
                <a:lnTo>
                  <a:pt x="19" y="61"/>
                </a:lnTo>
                <a:lnTo>
                  <a:pt x="17" y="61"/>
                </a:lnTo>
                <a:lnTo>
                  <a:pt x="17" y="66"/>
                </a:lnTo>
                <a:lnTo>
                  <a:pt x="19" y="66"/>
                </a:lnTo>
                <a:lnTo>
                  <a:pt x="19" y="66"/>
                </a:lnTo>
                <a:lnTo>
                  <a:pt x="17" y="71"/>
                </a:lnTo>
                <a:lnTo>
                  <a:pt x="22" y="71"/>
                </a:lnTo>
                <a:lnTo>
                  <a:pt x="22" y="71"/>
                </a:lnTo>
                <a:lnTo>
                  <a:pt x="24" y="71"/>
                </a:lnTo>
                <a:lnTo>
                  <a:pt x="29" y="74"/>
                </a:lnTo>
                <a:lnTo>
                  <a:pt x="34" y="69"/>
                </a:lnTo>
                <a:lnTo>
                  <a:pt x="37" y="71"/>
                </a:lnTo>
                <a:lnTo>
                  <a:pt x="39" y="71"/>
                </a:lnTo>
                <a:lnTo>
                  <a:pt x="39" y="71"/>
                </a:lnTo>
                <a:lnTo>
                  <a:pt x="42" y="71"/>
                </a:lnTo>
                <a:lnTo>
                  <a:pt x="42" y="7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Freeform 165"/>
          <p:cNvSpPr>
            <a:spLocks noEditPoints="1"/>
          </p:cNvSpPr>
          <p:nvPr/>
        </p:nvSpPr>
        <p:spPr bwMode="auto">
          <a:xfrm>
            <a:off x="761443" y="3881041"/>
            <a:ext cx="137000" cy="95234"/>
          </a:xfrm>
          <a:custGeom>
            <a:avLst/>
            <a:gdLst/>
            <a:ahLst/>
            <a:cxnLst>
              <a:cxn ang="0">
                <a:pos x="5" y="5"/>
              </a:cxn>
              <a:cxn ang="0">
                <a:pos x="0" y="5"/>
              </a:cxn>
              <a:cxn ang="0">
                <a:pos x="3" y="8"/>
              </a:cxn>
              <a:cxn ang="0">
                <a:pos x="18" y="5"/>
              </a:cxn>
              <a:cxn ang="0">
                <a:pos x="18" y="0"/>
              </a:cxn>
              <a:cxn ang="0">
                <a:pos x="13" y="3"/>
              </a:cxn>
              <a:cxn ang="0">
                <a:pos x="18" y="5"/>
              </a:cxn>
              <a:cxn ang="0">
                <a:pos x="18" y="5"/>
              </a:cxn>
              <a:cxn ang="0">
                <a:pos x="40" y="12"/>
              </a:cxn>
              <a:cxn ang="0">
                <a:pos x="35" y="10"/>
              </a:cxn>
              <a:cxn ang="0">
                <a:pos x="37" y="17"/>
              </a:cxn>
              <a:cxn ang="0">
                <a:pos x="42" y="15"/>
              </a:cxn>
              <a:cxn ang="0">
                <a:pos x="42" y="15"/>
              </a:cxn>
              <a:cxn ang="0">
                <a:pos x="52" y="20"/>
              </a:cxn>
              <a:cxn ang="0">
                <a:pos x="50" y="20"/>
              </a:cxn>
              <a:cxn ang="0">
                <a:pos x="57" y="17"/>
              </a:cxn>
              <a:cxn ang="0">
                <a:pos x="55" y="20"/>
              </a:cxn>
              <a:cxn ang="0">
                <a:pos x="62" y="27"/>
              </a:cxn>
              <a:cxn ang="0">
                <a:pos x="57" y="25"/>
              </a:cxn>
              <a:cxn ang="0">
                <a:pos x="57" y="22"/>
              </a:cxn>
              <a:cxn ang="0">
                <a:pos x="64" y="25"/>
              </a:cxn>
              <a:cxn ang="0">
                <a:pos x="64" y="27"/>
              </a:cxn>
              <a:cxn ang="0">
                <a:pos x="62" y="27"/>
              </a:cxn>
              <a:cxn ang="0">
                <a:pos x="67" y="47"/>
              </a:cxn>
              <a:cxn ang="0">
                <a:pos x="67" y="59"/>
              </a:cxn>
              <a:cxn ang="0">
                <a:pos x="77" y="54"/>
              </a:cxn>
              <a:cxn ang="0">
                <a:pos x="84" y="49"/>
              </a:cxn>
              <a:cxn ang="0">
                <a:pos x="79" y="47"/>
              </a:cxn>
              <a:cxn ang="0">
                <a:pos x="77" y="40"/>
              </a:cxn>
              <a:cxn ang="0">
                <a:pos x="72" y="37"/>
              </a:cxn>
              <a:cxn ang="0">
                <a:pos x="67" y="37"/>
              </a:cxn>
              <a:cxn ang="0">
                <a:pos x="67" y="42"/>
              </a:cxn>
              <a:cxn ang="0">
                <a:pos x="67" y="47"/>
              </a:cxn>
            </a:cxnLst>
            <a:rect l="0" t="0" r="r" b="b"/>
            <a:pathLst>
              <a:path w="84" h="62">
                <a:moveTo>
                  <a:pt x="3" y="8"/>
                </a:moveTo>
                <a:lnTo>
                  <a:pt x="5" y="5"/>
                </a:lnTo>
                <a:lnTo>
                  <a:pt x="3" y="3"/>
                </a:lnTo>
                <a:lnTo>
                  <a:pt x="0" y="5"/>
                </a:lnTo>
                <a:lnTo>
                  <a:pt x="3" y="8"/>
                </a:lnTo>
                <a:lnTo>
                  <a:pt x="3" y="8"/>
                </a:lnTo>
                <a:lnTo>
                  <a:pt x="3" y="8"/>
                </a:lnTo>
                <a:close/>
                <a:moveTo>
                  <a:pt x="18" y="5"/>
                </a:moveTo>
                <a:lnTo>
                  <a:pt x="18" y="0"/>
                </a:lnTo>
                <a:lnTo>
                  <a:pt x="18" y="0"/>
                </a:lnTo>
                <a:lnTo>
                  <a:pt x="15" y="0"/>
                </a:lnTo>
                <a:lnTo>
                  <a:pt x="13" y="3"/>
                </a:lnTo>
                <a:lnTo>
                  <a:pt x="15" y="5"/>
                </a:lnTo>
                <a:lnTo>
                  <a:pt x="18" y="5"/>
                </a:lnTo>
                <a:lnTo>
                  <a:pt x="18" y="5"/>
                </a:lnTo>
                <a:lnTo>
                  <a:pt x="18" y="5"/>
                </a:lnTo>
                <a:close/>
                <a:moveTo>
                  <a:pt x="42" y="15"/>
                </a:moveTo>
                <a:lnTo>
                  <a:pt x="40" y="12"/>
                </a:lnTo>
                <a:lnTo>
                  <a:pt x="37" y="10"/>
                </a:lnTo>
                <a:lnTo>
                  <a:pt x="35" y="10"/>
                </a:lnTo>
                <a:lnTo>
                  <a:pt x="35" y="12"/>
                </a:lnTo>
                <a:lnTo>
                  <a:pt x="37" y="17"/>
                </a:lnTo>
                <a:lnTo>
                  <a:pt x="42" y="17"/>
                </a:lnTo>
                <a:lnTo>
                  <a:pt x="42" y="15"/>
                </a:lnTo>
                <a:lnTo>
                  <a:pt x="42" y="15"/>
                </a:lnTo>
                <a:lnTo>
                  <a:pt x="42" y="15"/>
                </a:lnTo>
                <a:close/>
                <a:moveTo>
                  <a:pt x="55" y="20"/>
                </a:moveTo>
                <a:lnTo>
                  <a:pt x="52" y="20"/>
                </a:lnTo>
                <a:lnTo>
                  <a:pt x="52" y="20"/>
                </a:lnTo>
                <a:lnTo>
                  <a:pt x="50" y="20"/>
                </a:lnTo>
                <a:lnTo>
                  <a:pt x="52" y="20"/>
                </a:lnTo>
                <a:lnTo>
                  <a:pt x="57" y="17"/>
                </a:lnTo>
                <a:lnTo>
                  <a:pt x="55" y="20"/>
                </a:lnTo>
                <a:lnTo>
                  <a:pt x="55" y="20"/>
                </a:lnTo>
                <a:lnTo>
                  <a:pt x="55" y="20"/>
                </a:lnTo>
                <a:close/>
                <a:moveTo>
                  <a:pt x="62" y="27"/>
                </a:moveTo>
                <a:lnTo>
                  <a:pt x="59" y="25"/>
                </a:lnTo>
                <a:lnTo>
                  <a:pt x="57" y="25"/>
                </a:lnTo>
                <a:lnTo>
                  <a:pt x="57" y="22"/>
                </a:lnTo>
                <a:lnTo>
                  <a:pt x="57" y="22"/>
                </a:lnTo>
                <a:lnTo>
                  <a:pt x="59" y="22"/>
                </a:lnTo>
                <a:lnTo>
                  <a:pt x="64" y="25"/>
                </a:lnTo>
                <a:lnTo>
                  <a:pt x="67" y="27"/>
                </a:lnTo>
                <a:lnTo>
                  <a:pt x="64" y="27"/>
                </a:lnTo>
                <a:lnTo>
                  <a:pt x="62" y="27"/>
                </a:lnTo>
                <a:lnTo>
                  <a:pt x="62" y="27"/>
                </a:lnTo>
                <a:lnTo>
                  <a:pt x="62" y="27"/>
                </a:lnTo>
                <a:close/>
                <a:moveTo>
                  <a:pt x="67" y="47"/>
                </a:moveTo>
                <a:lnTo>
                  <a:pt x="67" y="52"/>
                </a:lnTo>
                <a:lnTo>
                  <a:pt x="67" y="59"/>
                </a:lnTo>
                <a:lnTo>
                  <a:pt x="72" y="62"/>
                </a:lnTo>
                <a:lnTo>
                  <a:pt x="77" y="54"/>
                </a:lnTo>
                <a:lnTo>
                  <a:pt x="82" y="52"/>
                </a:lnTo>
                <a:lnTo>
                  <a:pt x="84" y="49"/>
                </a:lnTo>
                <a:lnTo>
                  <a:pt x="82" y="47"/>
                </a:lnTo>
                <a:lnTo>
                  <a:pt x="79" y="47"/>
                </a:lnTo>
                <a:lnTo>
                  <a:pt x="82" y="44"/>
                </a:lnTo>
                <a:lnTo>
                  <a:pt x="77" y="40"/>
                </a:lnTo>
                <a:lnTo>
                  <a:pt x="74" y="40"/>
                </a:lnTo>
                <a:lnTo>
                  <a:pt x="72" y="37"/>
                </a:lnTo>
                <a:lnTo>
                  <a:pt x="69" y="35"/>
                </a:lnTo>
                <a:lnTo>
                  <a:pt x="67" y="37"/>
                </a:lnTo>
                <a:lnTo>
                  <a:pt x="69" y="40"/>
                </a:lnTo>
                <a:lnTo>
                  <a:pt x="67" y="42"/>
                </a:lnTo>
                <a:lnTo>
                  <a:pt x="67" y="44"/>
                </a:lnTo>
                <a:lnTo>
                  <a:pt x="67" y="47"/>
                </a:lnTo>
                <a:lnTo>
                  <a:pt x="67" y="4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Freeform 166"/>
          <p:cNvSpPr>
            <a:spLocks noEditPoints="1"/>
          </p:cNvSpPr>
          <p:nvPr/>
        </p:nvSpPr>
        <p:spPr bwMode="auto">
          <a:xfrm>
            <a:off x="2462532" y="4452447"/>
            <a:ext cx="52191" cy="33793"/>
          </a:xfrm>
          <a:custGeom>
            <a:avLst/>
            <a:gdLst/>
            <a:ahLst/>
            <a:cxnLst>
              <a:cxn ang="0">
                <a:pos x="30" y="17"/>
              </a:cxn>
              <a:cxn ang="0">
                <a:pos x="28" y="19"/>
              </a:cxn>
              <a:cxn ang="0">
                <a:pos x="28" y="22"/>
              </a:cxn>
              <a:cxn ang="0">
                <a:pos x="32" y="17"/>
              </a:cxn>
              <a:cxn ang="0">
                <a:pos x="32" y="17"/>
              </a:cxn>
              <a:cxn ang="0">
                <a:pos x="30" y="17"/>
              </a:cxn>
              <a:cxn ang="0">
                <a:pos x="30" y="17"/>
              </a:cxn>
              <a:cxn ang="0">
                <a:pos x="30" y="17"/>
              </a:cxn>
              <a:cxn ang="0">
                <a:pos x="18" y="12"/>
              </a:cxn>
              <a:cxn ang="0">
                <a:pos x="20" y="12"/>
              </a:cxn>
              <a:cxn ang="0">
                <a:pos x="23" y="12"/>
              </a:cxn>
              <a:cxn ang="0">
                <a:pos x="20" y="14"/>
              </a:cxn>
              <a:cxn ang="0">
                <a:pos x="18" y="12"/>
              </a:cxn>
              <a:cxn ang="0">
                <a:pos x="18" y="12"/>
              </a:cxn>
              <a:cxn ang="0">
                <a:pos x="18" y="12"/>
              </a:cxn>
              <a:cxn ang="0">
                <a:pos x="13" y="4"/>
              </a:cxn>
              <a:cxn ang="0">
                <a:pos x="13" y="7"/>
              </a:cxn>
              <a:cxn ang="0">
                <a:pos x="15" y="7"/>
              </a:cxn>
              <a:cxn ang="0">
                <a:pos x="13" y="4"/>
              </a:cxn>
              <a:cxn ang="0">
                <a:pos x="13" y="4"/>
              </a:cxn>
              <a:cxn ang="0">
                <a:pos x="13" y="4"/>
              </a:cxn>
              <a:cxn ang="0">
                <a:pos x="0" y="9"/>
              </a:cxn>
              <a:cxn ang="0">
                <a:pos x="3" y="9"/>
              </a:cxn>
              <a:cxn ang="0">
                <a:pos x="3" y="12"/>
              </a:cxn>
              <a:cxn ang="0">
                <a:pos x="0" y="12"/>
              </a:cxn>
              <a:cxn ang="0">
                <a:pos x="0" y="9"/>
              </a:cxn>
              <a:cxn ang="0">
                <a:pos x="0" y="9"/>
              </a:cxn>
              <a:cxn ang="0">
                <a:pos x="0" y="9"/>
              </a:cxn>
              <a:cxn ang="0">
                <a:pos x="0" y="9"/>
              </a:cxn>
              <a:cxn ang="0">
                <a:pos x="3" y="4"/>
              </a:cxn>
              <a:cxn ang="0">
                <a:pos x="5" y="4"/>
              </a:cxn>
              <a:cxn ang="0">
                <a:pos x="5" y="9"/>
              </a:cxn>
              <a:cxn ang="0">
                <a:pos x="8" y="14"/>
              </a:cxn>
              <a:cxn ang="0">
                <a:pos x="5" y="14"/>
              </a:cxn>
              <a:cxn ang="0">
                <a:pos x="3" y="19"/>
              </a:cxn>
              <a:cxn ang="0">
                <a:pos x="5" y="19"/>
              </a:cxn>
              <a:cxn ang="0">
                <a:pos x="10" y="19"/>
              </a:cxn>
              <a:cxn ang="0">
                <a:pos x="10" y="14"/>
              </a:cxn>
              <a:cxn ang="0">
                <a:pos x="8" y="12"/>
              </a:cxn>
              <a:cxn ang="0">
                <a:pos x="8" y="9"/>
              </a:cxn>
              <a:cxn ang="0">
                <a:pos x="8" y="7"/>
              </a:cxn>
              <a:cxn ang="0">
                <a:pos x="8" y="2"/>
              </a:cxn>
              <a:cxn ang="0">
                <a:pos x="5" y="0"/>
              </a:cxn>
              <a:cxn ang="0">
                <a:pos x="3" y="2"/>
              </a:cxn>
              <a:cxn ang="0">
                <a:pos x="3" y="4"/>
              </a:cxn>
              <a:cxn ang="0">
                <a:pos x="3" y="4"/>
              </a:cxn>
            </a:cxnLst>
            <a:rect l="0" t="0" r="r" b="b"/>
            <a:pathLst>
              <a:path w="32" h="22">
                <a:moveTo>
                  <a:pt x="30" y="17"/>
                </a:moveTo>
                <a:lnTo>
                  <a:pt x="28" y="19"/>
                </a:lnTo>
                <a:lnTo>
                  <a:pt x="28" y="22"/>
                </a:lnTo>
                <a:lnTo>
                  <a:pt x="32" y="17"/>
                </a:lnTo>
                <a:lnTo>
                  <a:pt x="32" y="17"/>
                </a:lnTo>
                <a:lnTo>
                  <a:pt x="30" y="17"/>
                </a:lnTo>
                <a:lnTo>
                  <a:pt x="30" y="17"/>
                </a:lnTo>
                <a:lnTo>
                  <a:pt x="30" y="17"/>
                </a:lnTo>
                <a:close/>
                <a:moveTo>
                  <a:pt x="18" y="12"/>
                </a:moveTo>
                <a:lnTo>
                  <a:pt x="20" y="12"/>
                </a:lnTo>
                <a:lnTo>
                  <a:pt x="23" y="12"/>
                </a:lnTo>
                <a:lnTo>
                  <a:pt x="20" y="14"/>
                </a:lnTo>
                <a:lnTo>
                  <a:pt x="18" y="12"/>
                </a:lnTo>
                <a:lnTo>
                  <a:pt x="18" y="12"/>
                </a:lnTo>
                <a:lnTo>
                  <a:pt x="18" y="12"/>
                </a:lnTo>
                <a:close/>
                <a:moveTo>
                  <a:pt x="13" y="4"/>
                </a:moveTo>
                <a:lnTo>
                  <a:pt x="13" y="7"/>
                </a:lnTo>
                <a:lnTo>
                  <a:pt x="15" y="7"/>
                </a:lnTo>
                <a:lnTo>
                  <a:pt x="13" y="4"/>
                </a:lnTo>
                <a:lnTo>
                  <a:pt x="13" y="4"/>
                </a:lnTo>
                <a:lnTo>
                  <a:pt x="13" y="4"/>
                </a:lnTo>
                <a:close/>
                <a:moveTo>
                  <a:pt x="0" y="9"/>
                </a:moveTo>
                <a:lnTo>
                  <a:pt x="3" y="9"/>
                </a:lnTo>
                <a:lnTo>
                  <a:pt x="3" y="12"/>
                </a:lnTo>
                <a:lnTo>
                  <a:pt x="0" y="12"/>
                </a:lnTo>
                <a:lnTo>
                  <a:pt x="0" y="9"/>
                </a:lnTo>
                <a:lnTo>
                  <a:pt x="0" y="9"/>
                </a:lnTo>
                <a:lnTo>
                  <a:pt x="0" y="9"/>
                </a:lnTo>
                <a:lnTo>
                  <a:pt x="0" y="9"/>
                </a:lnTo>
                <a:close/>
                <a:moveTo>
                  <a:pt x="3" y="4"/>
                </a:moveTo>
                <a:lnTo>
                  <a:pt x="5" y="4"/>
                </a:lnTo>
                <a:lnTo>
                  <a:pt x="5" y="9"/>
                </a:lnTo>
                <a:lnTo>
                  <a:pt x="8" y="14"/>
                </a:lnTo>
                <a:lnTo>
                  <a:pt x="5" y="14"/>
                </a:lnTo>
                <a:lnTo>
                  <a:pt x="3" y="19"/>
                </a:lnTo>
                <a:lnTo>
                  <a:pt x="5" y="19"/>
                </a:lnTo>
                <a:lnTo>
                  <a:pt x="10" y="19"/>
                </a:lnTo>
                <a:lnTo>
                  <a:pt x="10" y="14"/>
                </a:lnTo>
                <a:lnTo>
                  <a:pt x="8" y="12"/>
                </a:lnTo>
                <a:lnTo>
                  <a:pt x="8" y="9"/>
                </a:lnTo>
                <a:lnTo>
                  <a:pt x="8" y="7"/>
                </a:lnTo>
                <a:lnTo>
                  <a:pt x="8" y="2"/>
                </a:lnTo>
                <a:lnTo>
                  <a:pt x="5" y="0"/>
                </a:lnTo>
                <a:lnTo>
                  <a:pt x="3" y="2"/>
                </a:lnTo>
                <a:lnTo>
                  <a:pt x="3" y="4"/>
                </a:lnTo>
                <a:lnTo>
                  <a:pt x="3" y="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Freeform 167"/>
          <p:cNvSpPr>
            <a:spLocks noEditPoints="1"/>
          </p:cNvSpPr>
          <p:nvPr/>
        </p:nvSpPr>
        <p:spPr bwMode="auto">
          <a:xfrm>
            <a:off x="3145902" y="4002388"/>
            <a:ext cx="79917" cy="33793"/>
          </a:xfrm>
          <a:custGeom>
            <a:avLst/>
            <a:gdLst/>
            <a:ahLst/>
            <a:cxnLst>
              <a:cxn ang="0">
                <a:pos x="44" y="17"/>
              </a:cxn>
              <a:cxn ang="0">
                <a:pos x="49" y="20"/>
              </a:cxn>
              <a:cxn ang="0">
                <a:pos x="46" y="22"/>
              </a:cxn>
              <a:cxn ang="0">
                <a:pos x="44" y="20"/>
              </a:cxn>
              <a:cxn ang="0">
                <a:pos x="44" y="17"/>
              </a:cxn>
              <a:cxn ang="0">
                <a:pos x="44" y="17"/>
              </a:cxn>
              <a:cxn ang="0">
                <a:pos x="44" y="17"/>
              </a:cxn>
              <a:cxn ang="0">
                <a:pos x="46" y="7"/>
              </a:cxn>
              <a:cxn ang="0">
                <a:pos x="44" y="10"/>
              </a:cxn>
              <a:cxn ang="0">
                <a:pos x="46" y="12"/>
              </a:cxn>
              <a:cxn ang="0">
                <a:pos x="49" y="10"/>
              </a:cxn>
              <a:cxn ang="0">
                <a:pos x="46" y="7"/>
              </a:cxn>
              <a:cxn ang="0">
                <a:pos x="46" y="7"/>
              </a:cxn>
              <a:cxn ang="0">
                <a:pos x="46" y="7"/>
              </a:cxn>
              <a:cxn ang="0">
                <a:pos x="32" y="12"/>
              </a:cxn>
              <a:cxn ang="0">
                <a:pos x="29" y="15"/>
              </a:cxn>
              <a:cxn ang="0">
                <a:pos x="32" y="17"/>
              </a:cxn>
              <a:cxn ang="0">
                <a:pos x="34" y="17"/>
              </a:cxn>
              <a:cxn ang="0">
                <a:pos x="32" y="12"/>
              </a:cxn>
              <a:cxn ang="0">
                <a:pos x="32" y="12"/>
              </a:cxn>
              <a:cxn ang="0">
                <a:pos x="32" y="12"/>
              </a:cxn>
              <a:cxn ang="0">
                <a:pos x="24" y="2"/>
              </a:cxn>
              <a:cxn ang="0">
                <a:pos x="27" y="0"/>
              </a:cxn>
              <a:cxn ang="0">
                <a:pos x="32" y="0"/>
              </a:cxn>
              <a:cxn ang="0">
                <a:pos x="29" y="5"/>
              </a:cxn>
              <a:cxn ang="0">
                <a:pos x="29" y="7"/>
              </a:cxn>
              <a:cxn ang="0">
                <a:pos x="24" y="5"/>
              </a:cxn>
              <a:cxn ang="0">
                <a:pos x="24" y="2"/>
              </a:cxn>
              <a:cxn ang="0">
                <a:pos x="24" y="2"/>
              </a:cxn>
              <a:cxn ang="0">
                <a:pos x="24" y="2"/>
              </a:cxn>
              <a:cxn ang="0">
                <a:pos x="5" y="7"/>
              </a:cxn>
              <a:cxn ang="0">
                <a:pos x="5" y="10"/>
              </a:cxn>
              <a:cxn ang="0">
                <a:pos x="0" y="10"/>
              </a:cxn>
              <a:cxn ang="0">
                <a:pos x="5" y="7"/>
              </a:cxn>
              <a:cxn ang="0">
                <a:pos x="5" y="7"/>
              </a:cxn>
            </a:cxnLst>
            <a:rect l="0" t="0" r="r" b="b"/>
            <a:pathLst>
              <a:path w="49" h="22">
                <a:moveTo>
                  <a:pt x="44" y="17"/>
                </a:moveTo>
                <a:lnTo>
                  <a:pt x="49" y="20"/>
                </a:lnTo>
                <a:lnTo>
                  <a:pt x="46" y="22"/>
                </a:lnTo>
                <a:lnTo>
                  <a:pt x="44" y="20"/>
                </a:lnTo>
                <a:lnTo>
                  <a:pt x="44" y="17"/>
                </a:lnTo>
                <a:lnTo>
                  <a:pt x="44" y="17"/>
                </a:lnTo>
                <a:lnTo>
                  <a:pt x="44" y="17"/>
                </a:lnTo>
                <a:close/>
                <a:moveTo>
                  <a:pt x="46" y="7"/>
                </a:moveTo>
                <a:lnTo>
                  <a:pt x="44" y="10"/>
                </a:lnTo>
                <a:lnTo>
                  <a:pt x="46" y="12"/>
                </a:lnTo>
                <a:lnTo>
                  <a:pt x="49" y="10"/>
                </a:lnTo>
                <a:lnTo>
                  <a:pt x="46" y="7"/>
                </a:lnTo>
                <a:lnTo>
                  <a:pt x="46" y="7"/>
                </a:lnTo>
                <a:lnTo>
                  <a:pt x="46" y="7"/>
                </a:lnTo>
                <a:close/>
                <a:moveTo>
                  <a:pt x="32" y="12"/>
                </a:moveTo>
                <a:lnTo>
                  <a:pt x="29" y="15"/>
                </a:lnTo>
                <a:lnTo>
                  <a:pt x="32" y="17"/>
                </a:lnTo>
                <a:lnTo>
                  <a:pt x="34" y="17"/>
                </a:lnTo>
                <a:lnTo>
                  <a:pt x="32" y="12"/>
                </a:lnTo>
                <a:lnTo>
                  <a:pt x="32" y="12"/>
                </a:lnTo>
                <a:lnTo>
                  <a:pt x="32" y="12"/>
                </a:lnTo>
                <a:close/>
                <a:moveTo>
                  <a:pt x="24" y="2"/>
                </a:moveTo>
                <a:lnTo>
                  <a:pt x="27" y="0"/>
                </a:lnTo>
                <a:lnTo>
                  <a:pt x="32" y="0"/>
                </a:lnTo>
                <a:lnTo>
                  <a:pt x="29" y="5"/>
                </a:lnTo>
                <a:lnTo>
                  <a:pt x="29" y="7"/>
                </a:lnTo>
                <a:lnTo>
                  <a:pt x="24" y="5"/>
                </a:lnTo>
                <a:lnTo>
                  <a:pt x="24" y="2"/>
                </a:lnTo>
                <a:lnTo>
                  <a:pt x="24" y="2"/>
                </a:lnTo>
                <a:lnTo>
                  <a:pt x="24" y="2"/>
                </a:lnTo>
                <a:close/>
                <a:moveTo>
                  <a:pt x="5" y="7"/>
                </a:moveTo>
                <a:lnTo>
                  <a:pt x="5" y="10"/>
                </a:lnTo>
                <a:lnTo>
                  <a:pt x="0" y="10"/>
                </a:lnTo>
                <a:lnTo>
                  <a:pt x="5" y="7"/>
                </a:lnTo>
                <a:lnTo>
                  <a:pt x="5" y="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Freeform 168"/>
          <p:cNvSpPr>
            <a:spLocks noEditPoints="1"/>
          </p:cNvSpPr>
          <p:nvPr/>
        </p:nvSpPr>
        <p:spPr bwMode="auto">
          <a:xfrm>
            <a:off x="3085557" y="3997779"/>
            <a:ext cx="55452" cy="15360"/>
          </a:xfrm>
          <a:custGeom>
            <a:avLst/>
            <a:gdLst/>
            <a:ahLst/>
            <a:cxnLst>
              <a:cxn ang="0">
                <a:pos x="27" y="10"/>
              </a:cxn>
              <a:cxn ang="0">
                <a:pos x="29" y="8"/>
              </a:cxn>
              <a:cxn ang="0">
                <a:pos x="34" y="8"/>
              </a:cxn>
              <a:cxn ang="0">
                <a:pos x="32" y="8"/>
              </a:cxn>
              <a:cxn ang="0">
                <a:pos x="27" y="10"/>
              </a:cxn>
              <a:cxn ang="0">
                <a:pos x="27" y="10"/>
              </a:cxn>
              <a:cxn ang="0">
                <a:pos x="27" y="10"/>
              </a:cxn>
              <a:cxn ang="0">
                <a:pos x="24" y="0"/>
              </a:cxn>
              <a:cxn ang="0">
                <a:pos x="22" y="0"/>
              </a:cxn>
              <a:cxn ang="0">
                <a:pos x="17" y="0"/>
              </a:cxn>
              <a:cxn ang="0">
                <a:pos x="5" y="0"/>
              </a:cxn>
              <a:cxn ang="0">
                <a:pos x="5" y="3"/>
              </a:cxn>
              <a:cxn ang="0">
                <a:pos x="0" y="3"/>
              </a:cxn>
              <a:cxn ang="0">
                <a:pos x="2" y="5"/>
              </a:cxn>
              <a:cxn ang="0">
                <a:pos x="0" y="8"/>
              </a:cxn>
              <a:cxn ang="0">
                <a:pos x="2" y="10"/>
              </a:cxn>
              <a:cxn ang="0">
                <a:pos x="10" y="10"/>
              </a:cxn>
              <a:cxn ang="0">
                <a:pos x="12" y="10"/>
              </a:cxn>
              <a:cxn ang="0">
                <a:pos x="17" y="10"/>
              </a:cxn>
              <a:cxn ang="0">
                <a:pos x="19" y="10"/>
              </a:cxn>
              <a:cxn ang="0">
                <a:pos x="24" y="8"/>
              </a:cxn>
              <a:cxn ang="0">
                <a:pos x="27" y="5"/>
              </a:cxn>
              <a:cxn ang="0">
                <a:pos x="24" y="3"/>
              </a:cxn>
              <a:cxn ang="0">
                <a:pos x="24" y="0"/>
              </a:cxn>
              <a:cxn ang="0">
                <a:pos x="24" y="0"/>
              </a:cxn>
            </a:cxnLst>
            <a:rect l="0" t="0" r="r" b="b"/>
            <a:pathLst>
              <a:path w="34" h="10">
                <a:moveTo>
                  <a:pt x="27" y="10"/>
                </a:moveTo>
                <a:lnTo>
                  <a:pt x="29" y="8"/>
                </a:lnTo>
                <a:lnTo>
                  <a:pt x="34" y="8"/>
                </a:lnTo>
                <a:lnTo>
                  <a:pt x="32" y="8"/>
                </a:lnTo>
                <a:lnTo>
                  <a:pt x="27" y="10"/>
                </a:lnTo>
                <a:lnTo>
                  <a:pt x="27" y="10"/>
                </a:lnTo>
                <a:lnTo>
                  <a:pt x="27" y="10"/>
                </a:lnTo>
                <a:close/>
                <a:moveTo>
                  <a:pt x="24" y="0"/>
                </a:moveTo>
                <a:lnTo>
                  <a:pt x="22" y="0"/>
                </a:lnTo>
                <a:lnTo>
                  <a:pt x="17" y="0"/>
                </a:lnTo>
                <a:lnTo>
                  <a:pt x="5" y="0"/>
                </a:lnTo>
                <a:lnTo>
                  <a:pt x="5" y="3"/>
                </a:lnTo>
                <a:lnTo>
                  <a:pt x="0" y="3"/>
                </a:lnTo>
                <a:lnTo>
                  <a:pt x="2" y="5"/>
                </a:lnTo>
                <a:lnTo>
                  <a:pt x="0" y="8"/>
                </a:lnTo>
                <a:lnTo>
                  <a:pt x="2" y="10"/>
                </a:lnTo>
                <a:lnTo>
                  <a:pt x="10" y="10"/>
                </a:lnTo>
                <a:lnTo>
                  <a:pt x="12" y="10"/>
                </a:lnTo>
                <a:lnTo>
                  <a:pt x="17" y="10"/>
                </a:lnTo>
                <a:lnTo>
                  <a:pt x="19" y="10"/>
                </a:lnTo>
                <a:lnTo>
                  <a:pt x="24" y="8"/>
                </a:lnTo>
                <a:lnTo>
                  <a:pt x="27" y="5"/>
                </a:lnTo>
                <a:lnTo>
                  <a:pt x="24" y="3"/>
                </a:lnTo>
                <a:lnTo>
                  <a:pt x="24" y="0"/>
                </a:lnTo>
                <a:lnTo>
                  <a:pt x="24"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0" name="Freeform 169"/>
          <p:cNvSpPr>
            <a:spLocks noEditPoints="1"/>
          </p:cNvSpPr>
          <p:nvPr/>
        </p:nvSpPr>
        <p:spPr bwMode="auto">
          <a:xfrm>
            <a:off x="2968128" y="3960915"/>
            <a:ext cx="96227" cy="64514"/>
          </a:xfrm>
          <a:custGeom>
            <a:avLst/>
            <a:gdLst/>
            <a:ahLst/>
            <a:cxnLst>
              <a:cxn ang="0">
                <a:pos x="55" y="29"/>
              </a:cxn>
              <a:cxn ang="0">
                <a:pos x="55" y="32"/>
              </a:cxn>
              <a:cxn ang="0">
                <a:pos x="52" y="29"/>
              </a:cxn>
              <a:cxn ang="0">
                <a:pos x="52" y="29"/>
              </a:cxn>
              <a:cxn ang="0">
                <a:pos x="5" y="5"/>
              </a:cxn>
              <a:cxn ang="0">
                <a:pos x="5" y="10"/>
              </a:cxn>
              <a:cxn ang="0">
                <a:pos x="5" y="15"/>
              </a:cxn>
              <a:cxn ang="0">
                <a:pos x="3" y="17"/>
              </a:cxn>
              <a:cxn ang="0">
                <a:pos x="3" y="22"/>
              </a:cxn>
              <a:cxn ang="0">
                <a:pos x="0" y="29"/>
              </a:cxn>
              <a:cxn ang="0">
                <a:pos x="0" y="32"/>
              </a:cxn>
              <a:cxn ang="0">
                <a:pos x="3" y="37"/>
              </a:cxn>
              <a:cxn ang="0">
                <a:pos x="5" y="39"/>
              </a:cxn>
              <a:cxn ang="0">
                <a:pos x="10" y="37"/>
              </a:cxn>
              <a:cxn ang="0">
                <a:pos x="13" y="29"/>
              </a:cxn>
              <a:cxn ang="0">
                <a:pos x="15" y="29"/>
              </a:cxn>
              <a:cxn ang="0">
                <a:pos x="20" y="24"/>
              </a:cxn>
              <a:cxn ang="0">
                <a:pos x="23" y="29"/>
              </a:cxn>
              <a:cxn ang="0">
                <a:pos x="27" y="29"/>
              </a:cxn>
              <a:cxn ang="0">
                <a:pos x="37" y="24"/>
              </a:cxn>
              <a:cxn ang="0">
                <a:pos x="45" y="24"/>
              </a:cxn>
              <a:cxn ang="0">
                <a:pos x="50" y="27"/>
              </a:cxn>
              <a:cxn ang="0">
                <a:pos x="55" y="24"/>
              </a:cxn>
              <a:cxn ang="0">
                <a:pos x="59" y="22"/>
              </a:cxn>
              <a:cxn ang="0">
                <a:pos x="52" y="17"/>
              </a:cxn>
              <a:cxn ang="0">
                <a:pos x="45" y="15"/>
              </a:cxn>
              <a:cxn ang="0">
                <a:pos x="40" y="15"/>
              </a:cxn>
              <a:cxn ang="0">
                <a:pos x="32" y="12"/>
              </a:cxn>
              <a:cxn ang="0">
                <a:pos x="37" y="12"/>
              </a:cxn>
              <a:cxn ang="0">
                <a:pos x="47" y="12"/>
              </a:cxn>
              <a:cxn ang="0">
                <a:pos x="42" y="10"/>
              </a:cxn>
              <a:cxn ang="0">
                <a:pos x="35" y="5"/>
              </a:cxn>
              <a:cxn ang="0">
                <a:pos x="32" y="5"/>
              </a:cxn>
              <a:cxn ang="0">
                <a:pos x="18" y="0"/>
              </a:cxn>
              <a:cxn ang="0">
                <a:pos x="13" y="0"/>
              </a:cxn>
              <a:cxn ang="0">
                <a:pos x="5" y="5"/>
              </a:cxn>
            </a:cxnLst>
            <a:rect l="0" t="0" r="r" b="b"/>
            <a:pathLst>
              <a:path w="59" h="42">
                <a:moveTo>
                  <a:pt x="52" y="29"/>
                </a:moveTo>
                <a:lnTo>
                  <a:pt x="55" y="29"/>
                </a:lnTo>
                <a:lnTo>
                  <a:pt x="57" y="32"/>
                </a:lnTo>
                <a:lnTo>
                  <a:pt x="55" y="32"/>
                </a:lnTo>
                <a:lnTo>
                  <a:pt x="52" y="32"/>
                </a:lnTo>
                <a:lnTo>
                  <a:pt x="52" y="29"/>
                </a:lnTo>
                <a:lnTo>
                  <a:pt x="52" y="29"/>
                </a:lnTo>
                <a:lnTo>
                  <a:pt x="52" y="29"/>
                </a:lnTo>
                <a:lnTo>
                  <a:pt x="52" y="29"/>
                </a:lnTo>
                <a:close/>
                <a:moveTo>
                  <a:pt x="5" y="5"/>
                </a:moveTo>
                <a:lnTo>
                  <a:pt x="5" y="7"/>
                </a:lnTo>
                <a:lnTo>
                  <a:pt x="5" y="10"/>
                </a:lnTo>
                <a:lnTo>
                  <a:pt x="5" y="12"/>
                </a:lnTo>
                <a:lnTo>
                  <a:pt x="5" y="15"/>
                </a:lnTo>
                <a:lnTo>
                  <a:pt x="3" y="17"/>
                </a:lnTo>
                <a:lnTo>
                  <a:pt x="3" y="17"/>
                </a:lnTo>
                <a:lnTo>
                  <a:pt x="3" y="20"/>
                </a:lnTo>
                <a:lnTo>
                  <a:pt x="3" y="22"/>
                </a:lnTo>
                <a:lnTo>
                  <a:pt x="3" y="24"/>
                </a:lnTo>
                <a:lnTo>
                  <a:pt x="0" y="29"/>
                </a:lnTo>
                <a:lnTo>
                  <a:pt x="0" y="32"/>
                </a:lnTo>
                <a:lnTo>
                  <a:pt x="0" y="32"/>
                </a:lnTo>
                <a:lnTo>
                  <a:pt x="3" y="34"/>
                </a:lnTo>
                <a:lnTo>
                  <a:pt x="3" y="37"/>
                </a:lnTo>
                <a:lnTo>
                  <a:pt x="5" y="37"/>
                </a:lnTo>
                <a:lnTo>
                  <a:pt x="5" y="39"/>
                </a:lnTo>
                <a:lnTo>
                  <a:pt x="8" y="42"/>
                </a:lnTo>
                <a:lnTo>
                  <a:pt x="10" y="37"/>
                </a:lnTo>
                <a:lnTo>
                  <a:pt x="13" y="32"/>
                </a:lnTo>
                <a:lnTo>
                  <a:pt x="13" y="29"/>
                </a:lnTo>
                <a:lnTo>
                  <a:pt x="15" y="27"/>
                </a:lnTo>
                <a:lnTo>
                  <a:pt x="15" y="29"/>
                </a:lnTo>
                <a:lnTo>
                  <a:pt x="18" y="29"/>
                </a:lnTo>
                <a:lnTo>
                  <a:pt x="20" y="24"/>
                </a:lnTo>
                <a:lnTo>
                  <a:pt x="23" y="27"/>
                </a:lnTo>
                <a:lnTo>
                  <a:pt x="23" y="29"/>
                </a:lnTo>
                <a:lnTo>
                  <a:pt x="25" y="32"/>
                </a:lnTo>
                <a:lnTo>
                  <a:pt x="27" y="29"/>
                </a:lnTo>
                <a:lnTo>
                  <a:pt x="32" y="27"/>
                </a:lnTo>
                <a:lnTo>
                  <a:pt x="37" y="24"/>
                </a:lnTo>
                <a:lnTo>
                  <a:pt x="42" y="27"/>
                </a:lnTo>
                <a:lnTo>
                  <a:pt x="45" y="24"/>
                </a:lnTo>
                <a:lnTo>
                  <a:pt x="47" y="27"/>
                </a:lnTo>
                <a:lnTo>
                  <a:pt x="50" y="27"/>
                </a:lnTo>
                <a:lnTo>
                  <a:pt x="55" y="27"/>
                </a:lnTo>
                <a:lnTo>
                  <a:pt x="55" y="24"/>
                </a:lnTo>
                <a:lnTo>
                  <a:pt x="57" y="24"/>
                </a:lnTo>
                <a:lnTo>
                  <a:pt x="59" y="22"/>
                </a:lnTo>
                <a:lnTo>
                  <a:pt x="57" y="20"/>
                </a:lnTo>
                <a:lnTo>
                  <a:pt x="52" y="17"/>
                </a:lnTo>
                <a:lnTo>
                  <a:pt x="50" y="17"/>
                </a:lnTo>
                <a:lnTo>
                  <a:pt x="45" y="15"/>
                </a:lnTo>
                <a:lnTo>
                  <a:pt x="42" y="17"/>
                </a:lnTo>
                <a:lnTo>
                  <a:pt x="40" y="15"/>
                </a:lnTo>
                <a:lnTo>
                  <a:pt x="35" y="12"/>
                </a:lnTo>
                <a:lnTo>
                  <a:pt x="32" y="12"/>
                </a:lnTo>
                <a:lnTo>
                  <a:pt x="32" y="10"/>
                </a:lnTo>
                <a:lnTo>
                  <a:pt x="37" y="12"/>
                </a:lnTo>
                <a:lnTo>
                  <a:pt x="45" y="12"/>
                </a:lnTo>
                <a:lnTo>
                  <a:pt x="47" y="12"/>
                </a:lnTo>
                <a:lnTo>
                  <a:pt x="45" y="10"/>
                </a:lnTo>
                <a:lnTo>
                  <a:pt x="42" y="10"/>
                </a:lnTo>
                <a:lnTo>
                  <a:pt x="37" y="10"/>
                </a:lnTo>
                <a:lnTo>
                  <a:pt x="35" y="5"/>
                </a:lnTo>
                <a:lnTo>
                  <a:pt x="32" y="5"/>
                </a:lnTo>
                <a:lnTo>
                  <a:pt x="32" y="5"/>
                </a:lnTo>
                <a:lnTo>
                  <a:pt x="30" y="5"/>
                </a:lnTo>
                <a:lnTo>
                  <a:pt x="18" y="0"/>
                </a:lnTo>
                <a:lnTo>
                  <a:pt x="15" y="2"/>
                </a:lnTo>
                <a:lnTo>
                  <a:pt x="13" y="0"/>
                </a:lnTo>
                <a:lnTo>
                  <a:pt x="8" y="2"/>
                </a:lnTo>
                <a:lnTo>
                  <a:pt x="5" y="5"/>
                </a:lnTo>
                <a:lnTo>
                  <a:pt x="5"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1" name="Freeform 170"/>
          <p:cNvSpPr>
            <a:spLocks noEditPoints="1"/>
          </p:cNvSpPr>
          <p:nvPr/>
        </p:nvSpPr>
        <p:spPr bwMode="auto">
          <a:xfrm>
            <a:off x="3498188" y="1501718"/>
            <a:ext cx="1068277" cy="1287200"/>
          </a:xfrm>
          <a:custGeom>
            <a:avLst/>
            <a:gdLst/>
            <a:ahLst/>
            <a:cxnLst>
              <a:cxn ang="0">
                <a:pos x="167" y="799"/>
              </a:cxn>
              <a:cxn ang="0">
                <a:pos x="123" y="774"/>
              </a:cxn>
              <a:cxn ang="0">
                <a:pos x="106" y="728"/>
              </a:cxn>
              <a:cxn ang="0">
                <a:pos x="106" y="701"/>
              </a:cxn>
              <a:cxn ang="0">
                <a:pos x="101" y="666"/>
              </a:cxn>
              <a:cxn ang="0">
                <a:pos x="99" y="637"/>
              </a:cxn>
              <a:cxn ang="0">
                <a:pos x="135" y="612"/>
              </a:cxn>
              <a:cxn ang="0">
                <a:pos x="140" y="595"/>
              </a:cxn>
              <a:cxn ang="0">
                <a:pos x="155" y="565"/>
              </a:cxn>
              <a:cxn ang="0">
                <a:pos x="155" y="536"/>
              </a:cxn>
              <a:cxn ang="0">
                <a:pos x="148" y="489"/>
              </a:cxn>
              <a:cxn ang="0">
                <a:pos x="123" y="482"/>
              </a:cxn>
              <a:cxn ang="0">
                <a:pos x="126" y="401"/>
              </a:cxn>
              <a:cxn ang="0">
                <a:pos x="86" y="310"/>
              </a:cxn>
              <a:cxn ang="0">
                <a:pos x="32" y="280"/>
              </a:cxn>
              <a:cxn ang="0">
                <a:pos x="64" y="243"/>
              </a:cxn>
              <a:cxn ang="0">
                <a:pos x="32" y="192"/>
              </a:cxn>
              <a:cxn ang="0">
                <a:pos x="128" y="142"/>
              </a:cxn>
              <a:cxn ang="0">
                <a:pos x="170" y="96"/>
              </a:cxn>
              <a:cxn ang="0">
                <a:pos x="254" y="56"/>
              </a:cxn>
              <a:cxn ang="0">
                <a:pos x="293" y="88"/>
              </a:cxn>
              <a:cxn ang="0">
                <a:pos x="362" y="103"/>
              </a:cxn>
              <a:cxn ang="0">
                <a:pos x="394" y="49"/>
              </a:cxn>
              <a:cxn ang="0">
                <a:pos x="428" y="19"/>
              </a:cxn>
              <a:cxn ang="0">
                <a:pos x="529" y="34"/>
              </a:cxn>
              <a:cxn ang="0">
                <a:pos x="472" y="44"/>
              </a:cxn>
              <a:cxn ang="0">
                <a:pos x="564" y="61"/>
              </a:cxn>
              <a:cxn ang="0">
                <a:pos x="477" y="93"/>
              </a:cxn>
              <a:cxn ang="0">
                <a:pos x="517" y="120"/>
              </a:cxn>
              <a:cxn ang="0">
                <a:pos x="514" y="179"/>
              </a:cxn>
              <a:cxn ang="0">
                <a:pos x="637" y="128"/>
              </a:cxn>
              <a:cxn ang="0">
                <a:pos x="600" y="187"/>
              </a:cxn>
              <a:cxn ang="0">
                <a:pos x="568" y="278"/>
              </a:cxn>
              <a:cxn ang="0">
                <a:pos x="571" y="334"/>
              </a:cxn>
              <a:cxn ang="0">
                <a:pos x="551" y="369"/>
              </a:cxn>
              <a:cxn ang="0">
                <a:pos x="539" y="403"/>
              </a:cxn>
              <a:cxn ang="0">
                <a:pos x="514" y="440"/>
              </a:cxn>
              <a:cxn ang="0">
                <a:pos x="492" y="450"/>
              </a:cxn>
              <a:cxn ang="0">
                <a:pos x="480" y="477"/>
              </a:cxn>
              <a:cxn ang="0">
                <a:pos x="500" y="514"/>
              </a:cxn>
              <a:cxn ang="0">
                <a:pos x="500" y="553"/>
              </a:cxn>
              <a:cxn ang="0">
                <a:pos x="453" y="529"/>
              </a:cxn>
              <a:cxn ang="0">
                <a:pos x="431" y="573"/>
              </a:cxn>
              <a:cxn ang="0">
                <a:pos x="463" y="600"/>
              </a:cxn>
              <a:cxn ang="0">
                <a:pos x="377" y="622"/>
              </a:cxn>
              <a:cxn ang="0">
                <a:pos x="320" y="674"/>
              </a:cxn>
              <a:cxn ang="0">
                <a:pos x="263" y="688"/>
              </a:cxn>
              <a:cxn ang="0">
                <a:pos x="236" y="745"/>
              </a:cxn>
              <a:cxn ang="0">
                <a:pos x="214" y="774"/>
              </a:cxn>
              <a:cxn ang="0">
                <a:pos x="190" y="816"/>
              </a:cxn>
              <a:cxn ang="0">
                <a:pos x="219" y="765"/>
              </a:cxn>
              <a:cxn ang="0">
                <a:pos x="487" y="588"/>
              </a:cxn>
              <a:cxn ang="0">
                <a:pos x="492" y="482"/>
              </a:cxn>
              <a:cxn ang="0">
                <a:pos x="536" y="438"/>
              </a:cxn>
              <a:cxn ang="0">
                <a:pos x="566" y="371"/>
              </a:cxn>
              <a:cxn ang="0">
                <a:pos x="581" y="204"/>
              </a:cxn>
              <a:cxn ang="0">
                <a:pos x="409" y="19"/>
              </a:cxn>
              <a:cxn ang="0">
                <a:pos x="337" y="98"/>
              </a:cxn>
              <a:cxn ang="0">
                <a:pos x="118" y="371"/>
              </a:cxn>
              <a:cxn ang="0">
                <a:pos x="118" y="452"/>
              </a:cxn>
              <a:cxn ang="0">
                <a:pos x="158" y="809"/>
              </a:cxn>
              <a:cxn ang="0">
                <a:pos x="128" y="605"/>
              </a:cxn>
              <a:cxn ang="0">
                <a:pos x="108" y="529"/>
              </a:cxn>
            </a:cxnLst>
            <a:rect l="0" t="0" r="r" b="b"/>
            <a:pathLst>
              <a:path w="655" h="838">
                <a:moveTo>
                  <a:pt x="194" y="831"/>
                </a:moveTo>
                <a:lnTo>
                  <a:pt x="194" y="831"/>
                </a:lnTo>
                <a:lnTo>
                  <a:pt x="187" y="826"/>
                </a:lnTo>
                <a:lnTo>
                  <a:pt x="187" y="826"/>
                </a:lnTo>
                <a:lnTo>
                  <a:pt x="185" y="826"/>
                </a:lnTo>
                <a:lnTo>
                  <a:pt x="185" y="826"/>
                </a:lnTo>
                <a:lnTo>
                  <a:pt x="185" y="826"/>
                </a:lnTo>
                <a:lnTo>
                  <a:pt x="185" y="824"/>
                </a:lnTo>
                <a:lnTo>
                  <a:pt x="185" y="824"/>
                </a:lnTo>
                <a:lnTo>
                  <a:pt x="185" y="824"/>
                </a:lnTo>
                <a:lnTo>
                  <a:pt x="185" y="821"/>
                </a:lnTo>
                <a:lnTo>
                  <a:pt x="185" y="821"/>
                </a:lnTo>
                <a:lnTo>
                  <a:pt x="185" y="821"/>
                </a:lnTo>
                <a:lnTo>
                  <a:pt x="182" y="824"/>
                </a:lnTo>
                <a:lnTo>
                  <a:pt x="182" y="824"/>
                </a:lnTo>
                <a:lnTo>
                  <a:pt x="182" y="824"/>
                </a:lnTo>
                <a:lnTo>
                  <a:pt x="182" y="826"/>
                </a:lnTo>
                <a:lnTo>
                  <a:pt x="182" y="826"/>
                </a:lnTo>
                <a:lnTo>
                  <a:pt x="180" y="826"/>
                </a:lnTo>
                <a:lnTo>
                  <a:pt x="180" y="826"/>
                </a:lnTo>
                <a:lnTo>
                  <a:pt x="177" y="826"/>
                </a:lnTo>
                <a:lnTo>
                  <a:pt x="177" y="826"/>
                </a:lnTo>
                <a:lnTo>
                  <a:pt x="177" y="829"/>
                </a:lnTo>
                <a:lnTo>
                  <a:pt x="177" y="829"/>
                </a:lnTo>
                <a:lnTo>
                  <a:pt x="177" y="831"/>
                </a:lnTo>
                <a:lnTo>
                  <a:pt x="177" y="831"/>
                </a:lnTo>
                <a:lnTo>
                  <a:pt x="177" y="831"/>
                </a:lnTo>
                <a:lnTo>
                  <a:pt x="175" y="831"/>
                </a:lnTo>
                <a:lnTo>
                  <a:pt x="175" y="831"/>
                </a:lnTo>
                <a:lnTo>
                  <a:pt x="175" y="829"/>
                </a:lnTo>
                <a:lnTo>
                  <a:pt x="175" y="829"/>
                </a:lnTo>
                <a:lnTo>
                  <a:pt x="177" y="826"/>
                </a:lnTo>
                <a:lnTo>
                  <a:pt x="177" y="826"/>
                </a:lnTo>
                <a:lnTo>
                  <a:pt x="177" y="824"/>
                </a:lnTo>
                <a:lnTo>
                  <a:pt x="177" y="824"/>
                </a:lnTo>
                <a:lnTo>
                  <a:pt x="180" y="819"/>
                </a:lnTo>
                <a:lnTo>
                  <a:pt x="180" y="819"/>
                </a:lnTo>
                <a:lnTo>
                  <a:pt x="180" y="819"/>
                </a:lnTo>
                <a:lnTo>
                  <a:pt x="177" y="821"/>
                </a:lnTo>
                <a:lnTo>
                  <a:pt x="177" y="821"/>
                </a:lnTo>
                <a:lnTo>
                  <a:pt x="175" y="826"/>
                </a:lnTo>
                <a:lnTo>
                  <a:pt x="175" y="826"/>
                </a:lnTo>
                <a:lnTo>
                  <a:pt x="172" y="829"/>
                </a:lnTo>
                <a:lnTo>
                  <a:pt x="172" y="829"/>
                </a:lnTo>
                <a:lnTo>
                  <a:pt x="170" y="826"/>
                </a:lnTo>
                <a:lnTo>
                  <a:pt x="170" y="826"/>
                </a:lnTo>
                <a:lnTo>
                  <a:pt x="172" y="826"/>
                </a:lnTo>
                <a:lnTo>
                  <a:pt x="172" y="826"/>
                </a:lnTo>
                <a:lnTo>
                  <a:pt x="175" y="824"/>
                </a:lnTo>
                <a:lnTo>
                  <a:pt x="175" y="824"/>
                </a:lnTo>
                <a:lnTo>
                  <a:pt x="175" y="819"/>
                </a:lnTo>
                <a:lnTo>
                  <a:pt x="175" y="819"/>
                </a:lnTo>
                <a:lnTo>
                  <a:pt x="177" y="816"/>
                </a:lnTo>
                <a:lnTo>
                  <a:pt x="177" y="816"/>
                </a:lnTo>
                <a:lnTo>
                  <a:pt x="175" y="816"/>
                </a:lnTo>
                <a:lnTo>
                  <a:pt x="175" y="816"/>
                </a:lnTo>
                <a:lnTo>
                  <a:pt x="172" y="816"/>
                </a:lnTo>
                <a:lnTo>
                  <a:pt x="172" y="816"/>
                </a:lnTo>
                <a:lnTo>
                  <a:pt x="172" y="819"/>
                </a:lnTo>
                <a:lnTo>
                  <a:pt x="172" y="819"/>
                </a:lnTo>
                <a:lnTo>
                  <a:pt x="170" y="821"/>
                </a:lnTo>
                <a:lnTo>
                  <a:pt x="170" y="821"/>
                </a:lnTo>
                <a:lnTo>
                  <a:pt x="170" y="819"/>
                </a:lnTo>
                <a:lnTo>
                  <a:pt x="170" y="819"/>
                </a:lnTo>
                <a:lnTo>
                  <a:pt x="170" y="816"/>
                </a:lnTo>
                <a:lnTo>
                  <a:pt x="170" y="816"/>
                </a:lnTo>
                <a:lnTo>
                  <a:pt x="172" y="816"/>
                </a:lnTo>
                <a:lnTo>
                  <a:pt x="172" y="816"/>
                </a:lnTo>
                <a:lnTo>
                  <a:pt x="172" y="814"/>
                </a:lnTo>
                <a:lnTo>
                  <a:pt x="172" y="814"/>
                </a:lnTo>
                <a:lnTo>
                  <a:pt x="170" y="814"/>
                </a:lnTo>
                <a:lnTo>
                  <a:pt x="170" y="814"/>
                </a:lnTo>
                <a:lnTo>
                  <a:pt x="170" y="816"/>
                </a:lnTo>
                <a:lnTo>
                  <a:pt x="170" y="816"/>
                </a:lnTo>
                <a:lnTo>
                  <a:pt x="167" y="819"/>
                </a:lnTo>
                <a:lnTo>
                  <a:pt x="167" y="819"/>
                </a:lnTo>
                <a:lnTo>
                  <a:pt x="167" y="819"/>
                </a:lnTo>
                <a:lnTo>
                  <a:pt x="165" y="816"/>
                </a:lnTo>
                <a:lnTo>
                  <a:pt x="165" y="816"/>
                </a:lnTo>
                <a:lnTo>
                  <a:pt x="165" y="816"/>
                </a:lnTo>
                <a:lnTo>
                  <a:pt x="165" y="816"/>
                </a:lnTo>
                <a:lnTo>
                  <a:pt x="163" y="816"/>
                </a:lnTo>
                <a:lnTo>
                  <a:pt x="163" y="816"/>
                </a:lnTo>
                <a:lnTo>
                  <a:pt x="163" y="816"/>
                </a:lnTo>
                <a:lnTo>
                  <a:pt x="163" y="816"/>
                </a:lnTo>
                <a:lnTo>
                  <a:pt x="167" y="814"/>
                </a:lnTo>
                <a:lnTo>
                  <a:pt x="167" y="814"/>
                </a:lnTo>
                <a:lnTo>
                  <a:pt x="167" y="811"/>
                </a:lnTo>
                <a:lnTo>
                  <a:pt x="167" y="811"/>
                </a:lnTo>
                <a:lnTo>
                  <a:pt x="170" y="809"/>
                </a:lnTo>
                <a:lnTo>
                  <a:pt x="170" y="809"/>
                </a:lnTo>
                <a:lnTo>
                  <a:pt x="172" y="806"/>
                </a:lnTo>
                <a:lnTo>
                  <a:pt x="172" y="806"/>
                </a:lnTo>
                <a:lnTo>
                  <a:pt x="172" y="806"/>
                </a:lnTo>
                <a:lnTo>
                  <a:pt x="167" y="809"/>
                </a:lnTo>
                <a:lnTo>
                  <a:pt x="167" y="809"/>
                </a:lnTo>
                <a:lnTo>
                  <a:pt x="165" y="809"/>
                </a:lnTo>
                <a:lnTo>
                  <a:pt x="165" y="809"/>
                </a:lnTo>
                <a:lnTo>
                  <a:pt x="165" y="809"/>
                </a:lnTo>
                <a:lnTo>
                  <a:pt x="165" y="809"/>
                </a:lnTo>
                <a:lnTo>
                  <a:pt x="167" y="809"/>
                </a:lnTo>
                <a:lnTo>
                  <a:pt x="167" y="809"/>
                </a:lnTo>
                <a:lnTo>
                  <a:pt x="170" y="806"/>
                </a:lnTo>
                <a:lnTo>
                  <a:pt x="170" y="806"/>
                </a:lnTo>
                <a:lnTo>
                  <a:pt x="172" y="804"/>
                </a:lnTo>
                <a:lnTo>
                  <a:pt x="172" y="804"/>
                </a:lnTo>
                <a:lnTo>
                  <a:pt x="175" y="804"/>
                </a:lnTo>
                <a:lnTo>
                  <a:pt x="175" y="804"/>
                </a:lnTo>
                <a:lnTo>
                  <a:pt x="175" y="802"/>
                </a:lnTo>
                <a:lnTo>
                  <a:pt x="175" y="802"/>
                </a:lnTo>
                <a:lnTo>
                  <a:pt x="175" y="799"/>
                </a:lnTo>
                <a:lnTo>
                  <a:pt x="175" y="799"/>
                </a:lnTo>
                <a:lnTo>
                  <a:pt x="172" y="799"/>
                </a:lnTo>
                <a:lnTo>
                  <a:pt x="172" y="799"/>
                </a:lnTo>
                <a:lnTo>
                  <a:pt x="170" y="804"/>
                </a:lnTo>
                <a:lnTo>
                  <a:pt x="170" y="804"/>
                </a:lnTo>
                <a:lnTo>
                  <a:pt x="165" y="806"/>
                </a:lnTo>
                <a:lnTo>
                  <a:pt x="165" y="806"/>
                </a:lnTo>
                <a:lnTo>
                  <a:pt x="163" y="806"/>
                </a:lnTo>
                <a:lnTo>
                  <a:pt x="163" y="806"/>
                </a:lnTo>
                <a:lnTo>
                  <a:pt x="163" y="806"/>
                </a:lnTo>
                <a:lnTo>
                  <a:pt x="163" y="804"/>
                </a:lnTo>
                <a:lnTo>
                  <a:pt x="163" y="804"/>
                </a:lnTo>
                <a:lnTo>
                  <a:pt x="165" y="804"/>
                </a:lnTo>
                <a:lnTo>
                  <a:pt x="165" y="804"/>
                </a:lnTo>
                <a:lnTo>
                  <a:pt x="167" y="802"/>
                </a:lnTo>
                <a:lnTo>
                  <a:pt x="167" y="802"/>
                </a:lnTo>
                <a:lnTo>
                  <a:pt x="167" y="799"/>
                </a:lnTo>
                <a:lnTo>
                  <a:pt x="167" y="799"/>
                </a:lnTo>
                <a:lnTo>
                  <a:pt x="165" y="797"/>
                </a:lnTo>
                <a:lnTo>
                  <a:pt x="165" y="797"/>
                </a:lnTo>
                <a:lnTo>
                  <a:pt x="165" y="797"/>
                </a:lnTo>
                <a:lnTo>
                  <a:pt x="163" y="797"/>
                </a:lnTo>
                <a:lnTo>
                  <a:pt x="163" y="797"/>
                </a:lnTo>
                <a:lnTo>
                  <a:pt x="163" y="799"/>
                </a:lnTo>
                <a:lnTo>
                  <a:pt x="163" y="799"/>
                </a:lnTo>
                <a:lnTo>
                  <a:pt x="165" y="799"/>
                </a:lnTo>
                <a:lnTo>
                  <a:pt x="165" y="799"/>
                </a:lnTo>
                <a:lnTo>
                  <a:pt x="165" y="802"/>
                </a:lnTo>
                <a:lnTo>
                  <a:pt x="165" y="802"/>
                </a:lnTo>
                <a:lnTo>
                  <a:pt x="163" y="802"/>
                </a:lnTo>
                <a:lnTo>
                  <a:pt x="163" y="802"/>
                </a:lnTo>
                <a:lnTo>
                  <a:pt x="160" y="802"/>
                </a:lnTo>
                <a:lnTo>
                  <a:pt x="160" y="802"/>
                </a:lnTo>
                <a:lnTo>
                  <a:pt x="158" y="802"/>
                </a:lnTo>
                <a:lnTo>
                  <a:pt x="158" y="802"/>
                </a:lnTo>
                <a:lnTo>
                  <a:pt x="158" y="802"/>
                </a:lnTo>
                <a:lnTo>
                  <a:pt x="155" y="804"/>
                </a:lnTo>
                <a:lnTo>
                  <a:pt x="155" y="804"/>
                </a:lnTo>
                <a:lnTo>
                  <a:pt x="153" y="806"/>
                </a:lnTo>
                <a:lnTo>
                  <a:pt x="153" y="806"/>
                </a:lnTo>
                <a:lnTo>
                  <a:pt x="153" y="806"/>
                </a:lnTo>
                <a:lnTo>
                  <a:pt x="150" y="806"/>
                </a:lnTo>
                <a:lnTo>
                  <a:pt x="150" y="806"/>
                </a:lnTo>
                <a:lnTo>
                  <a:pt x="150" y="804"/>
                </a:lnTo>
                <a:lnTo>
                  <a:pt x="150" y="804"/>
                </a:lnTo>
                <a:lnTo>
                  <a:pt x="148" y="804"/>
                </a:lnTo>
                <a:lnTo>
                  <a:pt x="148" y="804"/>
                </a:lnTo>
                <a:lnTo>
                  <a:pt x="145" y="806"/>
                </a:lnTo>
                <a:lnTo>
                  <a:pt x="145" y="806"/>
                </a:lnTo>
                <a:lnTo>
                  <a:pt x="143" y="806"/>
                </a:lnTo>
                <a:lnTo>
                  <a:pt x="143" y="806"/>
                </a:lnTo>
                <a:lnTo>
                  <a:pt x="143" y="806"/>
                </a:lnTo>
                <a:lnTo>
                  <a:pt x="143" y="806"/>
                </a:lnTo>
                <a:lnTo>
                  <a:pt x="143" y="809"/>
                </a:lnTo>
                <a:lnTo>
                  <a:pt x="143" y="809"/>
                </a:lnTo>
                <a:lnTo>
                  <a:pt x="140" y="809"/>
                </a:lnTo>
                <a:lnTo>
                  <a:pt x="140" y="809"/>
                </a:lnTo>
                <a:lnTo>
                  <a:pt x="138" y="809"/>
                </a:lnTo>
                <a:lnTo>
                  <a:pt x="138" y="809"/>
                </a:lnTo>
                <a:lnTo>
                  <a:pt x="135" y="806"/>
                </a:lnTo>
                <a:lnTo>
                  <a:pt x="135" y="806"/>
                </a:lnTo>
                <a:lnTo>
                  <a:pt x="138" y="804"/>
                </a:lnTo>
                <a:lnTo>
                  <a:pt x="138" y="804"/>
                </a:lnTo>
                <a:lnTo>
                  <a:pt x="140" y="804"/>
                </a:lnTo>
                <a:lnTo>
                  <a:pt x="140" y="804"/>
                </a:lnTo>
                <a:lnTo>
                  <a:pt x="143" y="804"/>
                </a:lnTo>
                <a:lnTo>
                  <a:pt x="143" y="804"/>
                </a:lnTo>
                <a:lnTo>
                  <a:pt x="140" y="802"/>
                </a:lnTo>
                <a:lnTo>
                  <a:pt x="140" y="802"/>
                </a:lnTo>
                <a:lnTo>
                  <a:pt x="138" y="802"/>
                </a:lnTo>
                <a:lnTo>
                  <a:pt x="138" y="802"/>
                </a:lnTo>
                <a:lnTo>
                  <a:pt x="138" y="799"/>
                </a:lnTo>
                <a:lnTo>
                  <a:pt x="138" y="799"/>
                </a:lnTo>
                <a:lnTo>
                  <a:pt x="138" y="797"/>
                </a:lnTo>
                <a:lnTo>
                  <a:pt x="138" y="797"/>
                </a:lnTo>
                <a:lnTo>
                  <a:pt x="135" y="794"/>
                </a:lnTo>
                <a:lnTo>
                  <a:pt x="135" y="794"/>
                </a:lnTo>
                <a:lnTo>
                  <a:pt x="135" y="797"/>
                </a:lnTo>
                <a:lnTo>
                  <a:pt x="135" y="797"/>
                </a:lnTo>
                <a:lnTo>
                  <a:pt x="131" y="799"/>
                </a:lnTo>
                <a:lnTo>
                  <a:pt x="131" y="799"/>
                </a:lnTo>
                <a:lnTo>
                  <a:pt x="128" y="799"/>
                </a:lnTo>
                <a:lnTo>
                  <a:pt x="128" y="799"/>
                </a:lnTo>
                <a:lnTo>
                  <a:pt x="128" y="797"/>
                </a:lnTo>
                <a:lnTo>
                  <a:pt x="128" y="797"/>
                </a:lnTo>
                <a:lnTo>
                  <a:pt x="131" y="794"/>
                </a:lnTo>
                <a:lnTo>
                  <a:pt x="131" y="794"/>
                </a:lnTo>
                <a:lnTo>
                  <a:pt x="128" y="792"/>
                </a:lnTo>
                <a:lnTo>
                  <a:pt x="128" y="792"/>
                </a:lnTo>
                <a:lnTo>
                  <a:pt x="128" y="792"/>
                </a:lnTo>
                <a:lnTo>
                  <a:pt x="128" y="792"/>
                </a:lnTo>
                <a:lnTo>
                  <a:pt x="131" y="789"/>
                </a:lnTo>
                <a:lnTo>
                  <a:pt x="131" y="789"/>
                </a:lnTo>
                <a:lnTo>
                  <a:pt x="133" y="789"/>
                </a:lnTo>
                <a:lnTo>
                  <a:pt x="133" y="789"/>
                </a:lnTo>
                <a:lnTo>
                  <a:pt x="133" y="789"/>
                </a:lnTo>
                <a:lnTo>
                  <a:pt x="133" y="787"/>
                </a:lnTo>
                <a:lnTo>
                  <a:pt x="133" y="787"/>
                </a:lnTo>
                <a:lnTo>
                  <a:pt x="131" y="787"/>
                </a:lnTo>
                <a:lnTo>
                  <a:pt x="131" y="787"/>
                </a:lnTo>
                <a:lnTo>
                  <a:pt x="128" y="787"/>
                </a:lnTo>
                <a:lnTo>
                  <a:pt x="128" y="787"/>
                </a:lnTo>
                <a:lnTo>
                  <a:pt x="126" y="789"/>
                </a:lnTo>
                <a:lnTo>
                  <a:pt x="126" y="789"/>
                </a:lnTo>
                <a:lnTo>
                  <a:pt x="123" y="789"/>
                </a:lnTo>
                <a:lnTo>
                  <a:pt x="123" y="789"/>
                </a:lnTo>
                <a:lnTo>
                  <a:pt x="121" y="789"/>
                </a:lnTo>
                <a:lnTo>
                  <a:pt x="121" y="789"/>
                </a:lnTo>
                <a:lnTo>
                  <a:pt x="121" y="787"/>
                </a:lnTo>
                <a:lnTo>
                  <a:pt x="121" y="787"/>
                </a:lnTo>
                <a:lnTo>
                  <a:pt x="123" y="787"/>
                </a:lnTo>
                <a:lnTo>
                  <a:pt x="123" y="787"/>
                </a:lnTo>
                <a:lnTo>
                  <a:pt x="126" y="784"/>
                </a:lnTo>
                <a:lnTo>
                  <a:pt x="126" y="784"/>
                </a:lnTo>
                <a:lnTo>
                  <a:pt x="126" y="782"/>
                </a:lnTo>
                <a:lnTo>
                  <a:pt x="126" y="782"/>
                </a:lnTo>
                <a:lnTo>
                  <a:pt x="128" y="782"/>
                </a:lnTo>
                <a:lnTo>
                  <a:pt x="128" y="782"/>
                </a:lnTo>
                <a:lnTo>
                  <a:pt x="128" y="779"/>
                </a:lnTo>
                <a:lnTo>
                  <a:pt x="128" y="779"/>
                </a:lnTo>
                <a:lnTo>
                  <a:pt x="128" y="779"/>
                </a:lnTo>
                <a:lnTo>
                  <a:pt x="126" y="779"/>
                </a:lnTo>
                <a:lnTo>
                  <a:pt x="126" y="779"/>
                </a:lnTo>
                <a:lnTo>
                  <a:pt x="123" y="779"/>
                </a:lnTo>
                <a:lnTo>
                  <a:pt x="123" y="779"/>
                </a:lnTo>
                <a:lnTo>
                  <a:pt x="121" y="782"/>
                </a:lnTo>
                <a:lnTo>
                  <a:pt x="121" y="782"/>
                </a:lnTo>
                <a:lnTo>
                  <a:pt x="121" y="779"/>
                </a:lnTo>
                <a:lnTo>
                  <a:pt x="121" y="779"/>
                </a:lnTo>
                <a:lnTo>
                  <a:pt x="121" y="777"/>
                </a:lnTo>
                <a:lnTo>
                  <a:pt x="121" y="777"/>
                </a:lnTo>
                <a:lnTo>
                  <a:pt x="123" y="777"/>
                </a:lnTo>
                <a:lnTo>
                  <a:pt x="123" y="777"/>
                </a:lnTo>
                <a:lnTo>
                  <a:pt x="126" y="777"/>
                </a:lnTo>
                <a:lnTo>
                  <a:pt x="126" y="777"/>
                </a:lnTo>
                <a:lnTo>
                  <a:pt x="126" y="777"/>
                </a:lnTo>
                <a:lnTo>
                  <a:pt x="128" y="774"/>
                </a:lnTo>
                <a:lnTo>
                  <a:pt x="128" y="774"/>
                </a:lnTo>
                <a:lnTo>
                  <a:pt x="128" y="774"/>
                </a:lnTo>
                <a:lnTo>
                  <a:pt x="128" y="772"/>
                </a:lnTo>
                <a:lnTo>
                  <a:pt x="128" y="772"/>
                </a:lnTo>
                <a:lnTo>
                  <a:pt x="128" y="772"/>
                </a:lnTo>
                <a:lnTo>
                  <a:pt x="126" y="772"/>
                </a:lnTo>
                <a:lnTo>
                  <a:pt x="126" y="772"/>
                </a:lnTo>
                <a:lnTo>
                  <a:pt x="123" y="774"/>
                </a:lnTo>
                <a:lnTo>
                  <a:pt x="123" y="774"/>
                </a:lnTo>
                <a:lnTo>
                  <a:pt x="123" y="774"/>
                </a:lnTo>
                <a:lnTo>
                  <a:pt x="121" y="774"/>
                </a:lnTo>
                <a:lnTo>
                  <a:pt x="121" y="774"/>
                </a:lnTo>
                <a:lnTo>
                  <a:pt x="121" y="774"/>
                </a:lnTo>
                <a:lnTo>
                  <a:pt x="123" y="772"/>
                </a:lnTo>
                <a:lnTo>
                  <a:pt x="123" y="772"/>
                </a:lnTo>
                <a:lnTo>
                  <a:pt x="123" y="772"/>
                </a:lnTo>
                <a:lnTo>
                  <a:pt x="121" y="770"/>
                </a:lnTo>
                <a:lnTo>
                  <a:pt x="121" y="770"/>
                </a:lnTo>
                <a:lnTo>
                  <a:pt x="123" y="770"/>
                </a:lnTo>
                <a:lnTo>
                  <a:pt x="123" y="770"/>
                </a:lnTo>
                <a:lnTo>
                  <a:pt x="123" y="767"/>
                </a:lnTo>
                <a:lnTo>
                  <a:pt x="123" y="767"/>
                </a:lnTo>
                <a:lnTo>
                  <a:pt x="123" y="767"/>
                </a:lnTo>
                <a:lnTo>
                  <a:pt x="121" y="767"/>
                </a:lnTo>
                <a:lnTo>
                  <a:pt x="121" y="767"/>
                </a:lnTo>
                <a:lnTo>
                  <a:pt x="121" y="767"/>
                </a:lnTo>
                <a:lnTo>
                  <a:pt x="121" y="765"/>
                </a:lnTo>
                <a:lnTo>
                  <a:pt x="121" y="765"/>
                </a:lnTo>
                <a:lnTo>
                  <a:pt x="121" y="762"/>
                </a:lnTo>
                <a:lnTo>
                  <a:pt x="121" y="762"/>
                </a:lnTo>
                <a:lnTo>
                  <a:pt x="118" y="762"/>
                </a:lnTo>
                <a:lnTo>
                  <a:pt x="118" y="762"/>
                </a:lnTo>
                <a:lnTo>
                  <a:pt x="118" y="762"/>
                </a:lnTo>
                <a:lnTo>
                  <a:pt x="116" y="765"/>
                </a:lnTo>
                <a:lnTo>
                  <a:pt x="116" y="765"/>
                </a:lnTo>
                <a:lnTo>
                  <a:pt x="116" y="762"/>
                </a:lnTo>
                <a:lnTo>
                  <a:pt x="116" y="762"/>
                </a:lnTo>
                <a:lnTo>
                  <a:pt x="116" y="760"/>
                </a:lnTo>
                <a:lnTo>
                  <a:pt x="116" y="760"/>
                </a:lnTo>
                <a:lnTo>
                  <a:pt x="118" y="757"/>
                </a:lnTo>
                <a:lnTo>
                  <a:pt x="118" y="757"/>
                </a:lnTo>
                <a:lnTo>
                  <a:pt x="118" y="757"/>
                </a:lnTo>
                <a:lnTo>
                  <a:pt x="121" y="755"/>
                </a:lnTo>
                <a:lnTo>
                  <a:pt x="121" y="755"/>
                </a:lnTo>
                <a:lnTo>
                  <a:pt x="121" y="752"/>
                </a:lnTo>
                <a:lnTo>
                  <a:pt x="121" y="752"/>
                </a:lnTo>
                <a:lnTo>
                  <a:pt x="121" y="752"/>
                </a:lnTo>
                <a:lnTo>
                  <a:pt x="121" y="750"/>
                </a:lnTo>
                <a:lnTo>
                  <a:pt x="121" y="750"/>
                </a:lnTo>
                <a:lnTo>
                  <a:pt x="121" y="750"/>
                </a:lnTo>
                <a:lnTo>
                  <a:pt x="121" y="750"/>
                </a:lnTo>
                <a:lnTo>
                  <a:pt x="118" y="752"/>
                </a:lnTo>
                <a:lnTo>
                  <a:pt x="118" y="752"/>
                </a:lnTo>
                <a:lnTo>
                  <a:pt x="118" y="750"/>
                </a:lnTo>
                <a:lnTo>
                  <a:pt x="118" y="750"/>
                </a:lnTo>
                <a:lnTo>
                  <a:pt x="116" y="750"/>
                </a:lnTo>
                <a:lnTo>
                  <a:pt x="116" y="750"/>
                </a:lnTo>
                <a:lnTo>
                  <a:pt x="116" y="750"/>
                </a:lnTo>
                <a:lnTo>
                  <a:pt x="113" y="750"/>
                </a:lnTo>
                <a:lnTo>
                  <a:pt x="113" y="750"/>
                </a:lnTo>
                <a:lnTo>
                  <a:pt x="113" y="747"/>
                </a:lnTo>
                <a:lnTo>
                  <a:pt x="113" y="747"/>
                </a:lnTo>
                <a:lnTo>
                  <a:pt x="113" y="745"/>
                </a:lnTo>
                <a:lnTo>
                  <a:pt x="113" y="745"/>
                </a:lnTo>
                <a:lnTo>
                  <a:pt x="118" y="745"/>
                </a:lnTo>
                <a:lnTo>
                  <a:pt x="118" y="745"/>
                </a:lnTo>
                <a:lnTo>
                  <a:pt x="118" y="742"/>
                </a:lnTo>
                <a:lnTo>
                  <a:pt x="118" y="742"/>
                </a:lnTo>
                <a:lnTo>
                  <a:pt x="116" y="742"/>
                </a:lnTo>
                <a:lnTo>
                  <a:pt x="116" y="742"/>
                </a:lnTo>
                <a:lnTo>
                  <a:pt x="113" y="742"/>
                </a:lnTo>
                <a:lnTo>
                  <a:pt x="113" y="742"/>
                </a:lnTo>
                <a:lnTo>
                  <a:pt x="111" y="742"/>
                </a:lnTo>
                <a:lnTo>
                  <a:pt x="111" y="742"/>
                </a:lnTo>
                <a:lnTo>
                  <a:pt x="108" y="742"/>
                </a:lnTo>
                <a:lnTo>
                  <a:pt x="108" y="742"/>
                </a:lnTo>
                <a:lnTo>
                  <a:pt x="108" y="742"/>
                </a:lnTo>
                <a:lnTo>
                  <a:pt x="108" y="740"/>
                </a:lnTo>
                <a:lnTo>
                  <a:pt x="108" y="740"/>
                </a:lnTo>
                <a:lnTo>
                  <a:pt x="111" y="740"/>
                </a:lnTo>
                <a:lnTo>
                  <a:pt x="111" y="740"/>
                </a:lnTo>
                <a:lnTo>
                  <a:pt x="113" y="740"/>
                </a:lnTo>
                <a:lnTo>
                  <a:pt x="113" y="740"/>
                </a:lnTo>
                <a:lnTo>
                  <a:pt x="118" y="740"/>
                </a:lnTo>
                <a:lnTo>
                  <a:pt x="118" y="740"/>
                </a:lnTo>
                <a:lnTo>
                  <a:pt x="118" y="738"/>
                </a:lnTo>
                <a:lnTo>
                  <a:pt x="118" y="738"/>
                </a:lnTo>
                <a:lnTo>
                  <a:pt x="118" y="738"/>
                </a:lnTo>
                <a:lnTo>
                  <a:pt x="116" y="738"/>
                </a:lnTo>
                <a:lnTo>
                  <a:pt x="116" y="738"/>
                </a:lnTo>
                <a:lnTo>
                  <a:pt x="113" y="738"/>
                </a:lnTo>
                <a:lnTo>
                  <a:pt x="113" y="738"/>
                </a:lnTo>
                <a:lnTo>
                  <a:pt x="111" y="738"/>
                </a:lnTo>
                <a:lnTo>
                  <a:pt x="111" y="738"/>
                </a:lnTo>
                <a:lnTo>
                  <a:pt x="108" y="738"/>
                </a:lnTo>
                <a:lnTo>
                  <a:pt x="108" y="738"/>
                </a:lnTo>
                <a:lnTo>
                  <a:pt x="108" y="738"/>
                </a:lnTo>
                <a:lnTo>
                  <a:pt x="111" y="735"/>
                </a:lnTo>
                <a:lnTo>
                  <a:pt x="111" y="735"/>
                </a:lnTo>
                <a:lnTo>
                  <a:pt x="113" y="735"/>
                </a:lnTo>
                <a:lnTo>
                  <a:pt x="113" y="735"/>
                </a:lnTo>
                <a:lnTo>
                  <a:pt x="116" y="733"/>
                </a:lnTo>
                <a:lnTo>
                  <a:pt x="116" y="733"/>
                </a:lnTo>
                <a:lnTo>
                  <a:pt x="113" y="733"/>
                </a:lnTo>
                <a:lnTo>
                  <a:pt x="113" y="733"/>
                </a:lnTo>
                <a:lnTo>
                  <a:pt x="113" y="733"/>
                </a:lnTo>
                <a:lnTo>
                  <a:pt x="111" y="733"/>
                </a:lnTo>
                <a:lnTo>
                  <a:pt x="111" y="733"/>
                </a:lnTo>
                <a:lnTo>
                  <a:pt x="111" y="730"/>
                </a:lnTo>
                <a:lnTo>
                  <a:pt x="111" y="730"/>
                </a:lnTo>
                <a:lnTo>
                  <a:pt x="113" y="733"/>
                </a:lnTo>
                <a:lnTo>
                  <a:pt x="113" y="733"/>
                </a:lnTo>
                <a:lnTo>
                  <a:pt x="116" y="733"/>
                </a:lnTo>
                <a:lnTo>
                  <a:pt x="116" y="733"/>
                </a:lnTo>
                <a:lnTo>
                  <a:pt x="118" y="730"/>
                </a:lnTo>
                <a:lnTo>
                  <a:pt x="118" y="730"/>
                </a:lnTo>
                <a:lnTo>
                  <a:pt x="121" y="730"/>
                </a:lnTo>
                <a:lnTo>
                  <a:pt x="121" y="730"/>
                </a:lnTo>
                <a:lnTo>
                  <a:pt x="118" y="730"/>
                </a:lnTo>
                <a:lnTo>
                  <a:pt x="118" y="730"/>
                </a:lnTo>
                <a:lnTo>
                  <a:pt x="118" y="730"/>
                </a:lnTo>
                <a:lnTo>
                  <a:pt x="116" y="730"/>
                </a:lnTo>
                <a:lnTo>
                  <a:pt x="116" y="730"/>
                </a:lnTo>
                <a:lnTo>
                  <a:pt x="113" y="730"/>
                </a:lnTo>
                <a:lnTo>
                  <a:pt x="113" y="730"/>
                </a:lnTo>
                <a:lnTo>
                  <a:pt x="113" y="730"/>
                </a:lnTo>
                <a:lnTo>
                  <a:pt x="111" y="730"/>
                </a:lnTo>
                <a:lnTo>
                  <a:pt x="111" y="730"/>
                </a:lnTo>
                <a:lnTo>
                  <a:pt x="111" y="730"/>
                </a:lnTo>
                <a:lnTo>
                  <a:pt x="108" y="733"/>
                </a:lnTo>
                <a:lnTo>
                  <a:pt x="108" y="733"/>
                </a:lnTo>
                <a:lnTo>
                  <a:pt x="106" y="730"/>
                </a:lnTo>
                <a:lnTo>
                  <a:pt x="106" y="730"/>
                </a:lnTo>
                <a:lnTo>
                  <a:pt x="106" y="730"/>
                </a:lnTo>
                <a:lnTo>
                  <a:pt x="106" y="728"/>
                </a:lnTo>
                <a:lnTo>
                  <a:pt x="106" y="728"/>
                </a:lnTo>
                <a:lnTo>
                  <a:pt x="111" y="728"/>
                </a:lnTo>
                <a:lnTo>
                  <a:pt x="111" y="728"/>
                </a:lnTo>
                <a:lnTo>
                  <a:pt x="113" y="725"/>
                </a:lnTo>
                <a:lnTo>
                  <a:pt x="113" y="725"/>
                </a:lnTo>
                <a:lnTo>
                  <a:pt x="111" y="725"/>
                </a:lnTo>
                <a:lnTo>
                  <a:pt x="111" y="725"/>
                </a:lnTo>
                <a:lnTo>
                  <a:pt x="108" y="725"/>
                </a:lnTo>
                <a:lnTo>
                  <a:pt x="108" y="725"/>
                </a:lnTo>
                <a:lnTo>
                  <a:pt x="106" y="725"/>
                </a:lnTo>
                <a:lnTo>
                  <a:pt x="106" y="725"/>
                </a:lnTo>
                <a:lnTo>
                  <a:pt x="106" y="723"/>
                </a:lnTo>
                <a:lnTo>
                  <a:pt x="106" y="723"/>
                </a:lnTo>
                <a:lnTo>
                  <a:pt x="106" y="720"/>
                </a:lnTo>
                <a:lnTo>
                  <a:pt x="106" y="720"/>
                </a:lnTo>
                <a:lnTo>
                  <a:pt x="108" y="720"/>
                </a:lnTo>
                <a:lnTo>
                  <a:pt x="108" y="720"/>
                </a:lnTo>
                <a:lnTo>
                  <a:pt x="116" y="720"/>
                </a:lnTo>
                <a:lnTo>
                  <a:pt x="116" y="720"/>
                </a:lnTo>
                <a:lnTo>
                  <a:pt x="118" y="718"/>
                </a:lnTo>
                <a:lnTo>
                  <a:pt x="118" y="718"/>
                </a:lnTo>
                <a:lnTo>
                  <a:pt x="123" y="718"/>
                </a:lnTo>
                <a:lnTo>
                  <a:pt x="123" y="718"/>
                </a:lnTo>
                <a:lnTo>
                  <a:pt x="126" y="718"/>
                </a:lnTo>
                <a:lnTo>
                  <a:pt x="126" y="718"/>
                </a:lnTo>
                <a:lnTo>
                  <a:pt x="126" y="715"/>
                </a:lnTo>
                <a:lnTo>
                  <a:pt x="126" y="715"/>
                </a:lnTo>
                <a:lnTo>
                  <a:pt x="123" y="715"/>
                </a:lnTo>
                <a:lnTo>
                  <a:pt x="123" y="715"/>
                </a:lnTo>
                <a:lnTo>
                  <a:pt x="121" y="715"/>
                </a:lnTo>
                <a:lnTo>
                  <a:pt x="121" y="715"/>
                </a:lnTo>
                <a:lnTo>
                  <a:pt x="118" y="718"/>
                </a:lnTo>
                <a:lnTo>
                  <a:pt x="118" y="718"/>
                </a:lnTo>
                <a:lnTo>
                  <a:pt x="113" y="718"/>
                </a:lnTo>
                <a:lnTo>
                  <a:pt x="113" y="718"/>
                </a:lnTo>
                <a:lnTo>
                  <a:pt x="111" y="718"/>
                </a:lnTo>
                <a:lnTo>
                  <a:pt x="111" y="718"/>
                </a:lnTo>
                <a:lnTo>
                  <a:pt x="108" y="718"/>
                </a:lnTo>
                <a:lnTo>
                  <a:pt x="108" y="718"/>
                </a:lnTo>
                <a:lnTo>
                  <a:pt x="106" y="718"/>
                </a:lnTo>
                <a:lnTo>
                  <a:pt x="106" y="718"/>
                </a:lnTo>
                <a:lnTo>
                  <a:pt x="108" y="718"/>
                </a:lnTo>
                <a:lnTo>
                  <a:pt x="108" y="718"/>
                </a:lnTo>
                <a:lnTo>
                  <a:pt x="113" y="718"/>
                </a:lnTo>
                <a:lnTo>
                  <a:pt x="113" y="718"/>
                </a:lnTo>
                <a:lnTo>
                  <a:pt x="116" y="715"/>
                </a:lnTo>
                <a:lnTo>
                  <a:pt x="116" y="715"/>
                </a:lnTo>
                <a:lnTo>
                  <a:pt x="118" y="713"/>
                </a:lnTo>
                <a:lnTo>
                  <a:pt x="118" y="713"/>
                </a:lnTo>
                <a:lnTo>
                  <a:pt x="121" y="713"/>
                </a:lnTo>
                <a:lnTo>
                  <a:pt x="121" y="713"/>
                </a:lnTo>
                <a:lnTo>
                  <a:pt x="121" y="713"/>
                </a:lnTo>
                <a:lnTo>
                  <a:pt x="123" y="715"/>
                </a:lnTo>
                <a:lnTo>
                  <a:pt x="123" y="715"/>
                </a:lnTo>
                <a:lnTo>
                  <a:pt x="126" y="715"/>
                </a:lnTo>
                <a:lnTo>
                  <a:pt x="126" y="715"/>
                </a:lnTo>
                <a:lnTo>
                  <a:pt x="126" y="713"/>
                </a:lnTo>
                <a:lnTo>
                  <a:pt x="126" y="713"/>
                </a:lnTo>
                <a:lnTo>
                  <a:pt x="123" y="713"/>
                </a:lnTo>
                <a:lnTo>
                  <a:pt x="123" y="713"/>
                </a:lnTo>
                <a:lnTo>
                  <a:pt x="121" y="711"/>
                </a:lnTo>
                <a:lnTo>
                  <a:pt x="121" y="711"/>
                </a:lnTo>
                <a:lnTo>
                  <a:pt x="121" y="711"/>
                </a:lnTo>
                <a:lnTo>
                  <a:pt x="118" y="708"/>
                </a:lnTo>
                <a:lnTo>
                  <a:pt x="118" y="708"/>
                </a:lnTo>
                <a:lnTo>
                  <a:pt x="121" y="708"/>
                </a:lnTo>
                <a:lnTo>
                  <a:pt x="121" y="708"/>
                </a:lnTo>
                <a:lnTo>
                  <a:pt x="121" y="708"/>
                </a:lnTo>
                <a:lnTo>
                  <a:pt x="123" y="706"/>
                </a:lnTo>
                <a:lnTo>
                  <a:pt x="123" y="706"/>
                </a:lnTo>
                <a:lnTo>
                  <a:pt x="123" y="708"/>
                </a:lnTo>
                <a:lnTo>
                  <a:pt x="123" y="708"/>
                </a:lnTo>
                <a:lnTo>
                  <a:pt x="126" y="708"/>
                </a:lnTo>
                <a:lnTo>
                  <a:pt x="126" y="708"/>
                </a:lnTo>
                <a:lnTo>
                  <a:pt x="128" y="713"/>
                </a:lnTo>
                <a:lnTo>
                  <a:pt x="128" y="713"/>
                </a:lnTo>
                <a:lnTo>
                  <a:pt x="128" y="713"/>
                </a:lnTo>
                <a:lnTo>
                  <a:pt x="131" y="713"/>
                </a:lnTo>
                <a:lnTo>
                  <a:pt x="131" y="713"/>
                </a:lnTo>
                <a:lnTo>
                  <a:pt x="128" y="711"/>
                </a:lnTo>
                <a:lnTo>
                  <a:pt x="128" y="711"/>
                </a:lnTo>
                <a:lnTo>
                  <a:pt x="128" y="708"/>
                </a:lnTo>
                <a:lnTo>
                  <a:pt x="128" y="708"/>
                </a:lnTo>
                <a:lnTo>
                  <a:pt x="128" y="703"/>
                </a:lnTo>
                <a:lnTo>
                  <a:pt x="128" y="703"/>
                </a:lnTo>
                <a:lnTo>
                  <a:pt x="128" y="703"/>
                </a:lnTo>
                <a:lnTo>
                  <a:pt x="128" y="701"/>
                </a:lnTo>
                <a:lnTo>
                  <a:pt x="128" y="701"/>
                </a:lnTo>
                <a:lnTo>
                  <a:pt x="128" y="701"/>
                </a:lnTo>
                <a:lnTo>
                  <a:pt x="126" y="703"/>
                </a:lnTo>
                <a:lnTo>
                  <a:pt x="126" y="703"/>
                </a:lnTo>
                <a:lnTo>
                  <a:pt x="123" y="703"/>
                </a:lnTo>
                <a:lnTo>
                  <a:pt x="123" y="703"/>
                </a:lnTo>
                <a:lnTo>
                  <a:pt x="123" y="701"/>
                </a:lnTo>
                <a:lnTo>
                  <a:pt x="123" y="701"/>
                </a:lnTo>
                <a:lnTo>
                  <a:pt x="121" y="703"/>
                </a:lnTo>
                <a:lnTo>
                  <a:pt x="121" y="703"/>
                </a:lnTo>
                <a:lnTo>
                  <a:pt x="118" y="706"/>
                </a:lnTo>
                <a:lnTo>
                  <a:pt x="118" y="706"/>
                </a:lnTo>
                <a:lnTo>
                  <a:pt x="116" y="706"/>
                </a:lnTo>
                <a:lnTo>
                  <a:pt x="116" y="706"/>
                </a:lnTo>
                <a:lnTo>
                  <a:pt x="116" y="706"/>
                </a:lnTo>
                <a:lnTo>
                  <a:pt x="116" y="706"/>
                </a:lnTo>
                <a:lnTo>
                  <a:pt x="116" y="703"/>
                </a:lnTo>
                <a:lnTo>
                  <a:pt x="116" y="703"/>
                </a:lnTo>
                <a:lnTo>
                  <a:pt x="116" y="703"/>
                </a:lnTo>
                <a:lnTo>
                  <a:pt x="116" y="703"/>
                </a:lnTo>
                <a:lnTo>
                  <a:pt x="113" y="706"/>
                </a:lnTo>
                <a:lnTo>
                  <a:pt x="113" y="706"/>
                </a:lnTo>
                <a:lnTo>
                  <a:pt x="113" y="706"/>
                </a:lnTo>
                <a:lnTo>
                  <a:pt x="108" y="711"/>
                </a:lnTo>
                <a:lnTo>
                  <a:pt x="108" y="711"/>
                </a:lnTo>
                <a:lnTo>
                  <a:pt x="108" y="711"/>
                </a:lnTo>
                <a:lnTo>
                  <a:pt x="106" y="713"/>
                </a:lnTo>
                <a:lnTo>
                  <a:pt x="106" y="713"/>
                </a:lnTo>
                <a:lnTo>
                  <a:pt x="103" y="713"/>
                </a:lnTo>
                <a:lnTo>
                  <a:pt x="103" y="713"/>
                </a:lnTo>
                <a:lnTo>
                  <a:pt x="103" y="711"/>
                </a:lnTo>
                <a:lnTo>
                  <a:pt x="103" y="711"/>
                </a:lnTo>
                <a:lnTo>
                  <a:pt x="103" y="708"/>
                </a:lnTo>
                <a:lnTo>
                  <a:pt x="103" y="708"/>
                </a:lnTo>
                <a:lnTo>
                  <a:pt x="103" y="706"/>
                </a:lnTo>
                <a:lnTo>
                  <a:pt x="103" y="706"/>
                </a:lnTo>
                <a:lnTo>
                  <a:pt x="103" y="706"/>
                </a:lnTo>
                <a:lnTo>
                  <a:pt x="103" y="703"/>
                </a:lnTo>
                <a:lnTo>
                  <a:pt x="103" y="703"/>
                </a:lnTo>
                <a:lnTo>
                  <a:pt x="103" y="701"/>
                </a:lnTo>
                <a:lnTo>
                  <a:pt x="103" y="701"/>
                </a:lnTo>
                <a:lnTo>
                  <a:pt x="106" y="701"/>
                </a:lnTo>
                <a:lnTo>
                  <a:pt x="106" y="701"/>
                </a:lnTo>
                <a:lnTo>
                  <a:pt x="111" y="698"/>
                </a:lnTo>
                <a:lnTo>
                  <a:pt x="111" y="698"/>
                </a:lnTo>
                <a:lnTo>
                  <a:pt x="111" y="698"/>
                </a:lnTo>
                <a:lnTo>
                  <a:pt x="113" y="696"/>
                </a:lnTo>
                <a:lnTo>
                  <a:pt x="113" y="696"/>
                </a:lnTo>
                <a:lnTo>
                  <a:pt x="116" y="696"/>
                </a:lnTo>
                <a:lnTo>
                  <a:pt x="116" y="696"/>
                </a:lnTo>
                <a:lnTo>
                  <a:pt x="113" y="693"/>
                </a:lnTo>
                <a:lnTo>
                  <a:pt x="113" y="693"/>
                </a:lnTo>
                <a:lnTo>
                  <a:pt x="113" y="693"/>
                </a:lnTo>
                <a:lnTo>
                  <a:pt x="111" y="696"/>
                </a:lnTo>
                <a:lnTo>
                  <a:pt x="111" y="696"/>
                </a:lnTo>
                <a:lnTo>
                  <a:pt x="108" y="696"/>
                </a:lnTo>
                <a:lnTo>
                  <a:pt x="108" y="696"/>
                </a:lnTo>
                <a:lnTo>
                  <a:pt x="108" y="698"/>
                </a:lnTo>
                <a:lnTo>
                  <a:pt x="108" y="698"/>
                </a:lnTo>
                <a:lnTo>
                  <a:pt x="106" y="698"/>
                </a:lnTo>
                <a:lnTo>
                  <a:pt x="106" y="698"/>
                </a:lnTo>
                <a:lnTo>
                  <a:pt x="103" y="698"/>
                </a:lnTo>
                <a:lnTo>
                  <a:pt x="103" y="698"/>
                </a:lnTo>
                <a:lnTo>
                  <a:pt x="103" y="696"/>
                </a:lnTo>
                <a:lnTo>
                  <a:pt x="103" y="696"/>
                </a:lnTo>
                <a:lnTo>
                  <a:pt x="103" y="693"/>
                </a:lnTo>
                <a:lnTo>
                  <a:pt x="103" y="693"/>
                </a:lnTo>
                <a:lnTo>
                  <a:pt x="106" y="691"/>
                </a:lnTo>
                <a:lnTo>
                  <a:pt x="106" y="691"/>
                </a:lnTo>
                <a:lnTo>
                  <a:pt x="106" y="688"/>
                </a:lnTo>
                <a:lnTo>
                  <a:pt x="106" y="688"/>
                </a:lnTo>
                <a:lnTo>
                  <a:pt x="103" y="686"/>
                </a:lnTo>
                <a:lnTo>
                  <a:pt x="103" y="686"/>
                </a:lnTo>
                <a:lnTo>
                  <a:pt x="103" y="686"/>
                </a:lnTo>
                <a:lnTo>
                  <a:pt x="101" y="688"/>
                </a:lnTo>
                <a:lnTo>
                  <a:pt x="101" y="688"/>
                </a:lnTo>
                <a:lnTo>
                  <a:pt x="101" y="688"/>
                </a:lnTo>
                <a:lnTo>
                  <a:pt x="101" y="686"/>
                </a:lnTo>
                <a:lnTo>
                  <a:pt x="101" y="686"/>
                </a:lnTo>
                <a:lnTo>
                  <a:pt x="101" y="683"/>
                </a:lnTo>
                <a:lnTo>
                  <a:pt x="101" y="683"/>
                </a:lnTo>
                <a:lnTo>
                  <a:pt x="106" y="683"/>
                </a:lnTo>
                <a:lnTo>
                  <a:pt x="106" y="683"/>
                </a:lnTo>
                <a:lnTo>
                  <a:pt x="106" y="681"/>
                </a:lnTo>
                <a:lnTo>
                  <a:pt x="106" y="681"/>
                </a:lnTo>
                <a:lnTo>
                  <a:pt x="111" y="681"/>
                </a:lnTo>
                <a:lnTo>
                  <a:pt x="111" y="681"/>
                </a:lnTo>
                <a:lnTo>
                  <a:pt x="111" y="679"/>
                </a:lnTo>
                <a:lnTo>
                  <a:pt x="111" y="679"/>
                </a:lnTo>
                <a:lnTo>
                  <a:pt x="113" y="679"/>
                </a:lnTo>
                <a:lnTo>
                  <a:pt x="113" y="679"/>
                </a:lnTo>
                <a:lnTo>
                  <a:pt x="113" y="676"/>
                </a:lnTo>
                <a:lnTo>
                  <a:pt x="113" y="676"/>
                </a:lnTo>
                <a:lnTo>
                  <a:pt x="116" y="676"/>
                </a:lnTo>
                <a:lnTo>
                  <a:pt x="116" y="676"/>
                </a:lnTo>
                <a:lnTo>
                  <a:pt x="116" y="676"/>
                </a:lnTo>
                <a:lnTo>
                  <a:pt x="118" y="676"/>
                </a:lnTo>
                <a:lnTo>
                  <a:pt x="118" y="676"/>
                </a:lnTo>
                <a:lnTo>
                  <a:pt x="123" y="676"/>
                </a:lnTo>
                <a:lnTo>
                  <a:pt x="123" y="676"/>
                </a:lnTo>
                <a:lnTo>
                  <a:pt x="123" y="676"/>
                </a:lnTo>
                <a:lnTo>
                  <a:pt x="126" y="676"/>
                </a:lnTo>
                <a:lnTo>
                  <a:pt x="126" y="676"/>
                </a:lnTo>
                <a:lnTo>
                  <a:pt x="126" y="674"/>
                </a:lnTo>
                <a:lnTo>
                  <a:pt x="126" y="674"/>
                </a:lnTo>
                <a:lnTo>
                  <a:pt x="123" y="674"/>
                </a:lnTo>
                <a:lnTo>
                  <a:pt x="123" y="674"/>
                </a:lnTo>
                <a:lnTo>
                  <a:pt x="123" y="671"/>
                </a:lnTo>
                <a:lnTo>
                  <a:pt x="123" y="671"/>
                </a:lnTo>
                <a:lnTo>
                  <a:pt x="121" y="671"/>
                </a:lnTo>
                <a:lnTo>
                  <a:pt x="121" y="671"/>
                </a:lnTo>
                <a:lnTo>
                  <a:pt x="113" y="676"/>
                </a:lnTo>
                <a:lnTo>
                  <a:pt x="113" y="676"/>
                </a:lnTo>
                <a:lnTo>
                  <a:pt x="113" y="676"/>
                </a:lnTo>
                <a:lnTo>
                  <a:pt x="111" y="676"/>
                </a:lnTo>
                <a:lnTo>
                  <a:pt x="111" y="676"/>
                </a:lnTo>
                <a:lnTo>
                  <a:pt x="111" y="679"/>
                </a:lnTo>
                <a:lnTo>
                  <a:pt x="111" y="679"/>
                </a:lnTo>
                <a:lnTo>
                  <a:pt x="108" y="679"/>
                </a:lnTo>
                <a:lnTo>
                  <a:pt x="108" y="679"/>
                </a:lnTo>
                <a:lnTo>
                  <a:pt x="106" y="681"/>
                </a:lnTo>
                <a:lnTo>
                  <a:pt x="106" y="681"/>
                </a:lnTo>
                <a:lnTo>
                  <a:pt x="103" y="681"/>
                </a:lnTo>
                <a:lnTo>
                  <a:pt x="103" y="681"/>
                </a:lnTo>
                <a:lnTo>
                  <a:pt x="103" y="681"/>
                </a:lnTo>
                <a:lnTo>
                  <a:pt x="103" y="681"/>
                </a:lnTo>
                <a:lnTo>
                  <a:pt x="103" y="679"/>
                </a:lnTo>
                <a:lnTo>
                  <a:pt x="103" y="679"/>
                </a:lnTo>
                <a:lnTo>
                  <a:pt x="101" y="679"/>
                </a:lnTo>
                <a:lnTo>
                  <a:pt x="101" y="679"/>
                </a:lnTo>
                <a:lnTo>
                  <a:pt x="101" y="679"/>
                </a:lnTo>
                <a:lnTo>
                  <a:pt x="103" y="676"/>
                </a:lnTo>
                <a:lnTo>
                  <a:pt x="103" y="676"/>
                </a:lnTo>
                <a:lnTo>
                  <a:pt x="101" y="674"/>
                </a:lnTo>
                <a:lnTo>
                  <a:pt x="101" y="674"/>
                </a:lnTo>
                <a:lnTo>
                  <a:pt x="99" y="674"/>
                </a:lnTo>
                <a:lnTo>
                  <a:pt x="99" y="674"/>
                </a:lnTo>
                <a:lnTo>
                  <a:pt x="99" y="671"/>
                </a:lnTo>
                <a:lnTo>
                  <a:pt x="99" y="671"/>
                </a:lnTo>
                <a:lnTo>
                  <a:pt x="99" y="671"/>
                </a:lnTo>
                <a:lnTo>
                  <a:pt x="101" y="669"/>
                </a:lnTo>
                <a:lnTo>
                  <a:pt x="101" y="669"/>
                </a:lnTo>
                <a:lnTo>
                  <a:pt x="103" y="669"/>
                </a:lnTo>
                <a:lnTo>
                  <a:pt x="103" y="669"/>
                </a:lnTo>
                <a:lnTo>
                  <a:pt x="103" y="669"/>
                </a:lnTo>
                <a:lnTo>
                  <a:pt x="106" y="669"/>
                </a:lnTo>
                <a:lnTo>
                  <a:pt x="106" y="669"/>
                </a:lnTo>
                <a:lnTo>
                  <a:pt x="108" y="669"/>
                </a:lnTo>
                <a:lnTo>
                  <a:pt x="108" y="669"/>
                </a:lnTo>
                <a:lnTo>
                  <a:pt x="111" y="669"/>
                </a:lnTo>
                <a:lnTo>
                  <a:pt x="111" y="669"/>
                </a:lnTo>
                <a:lnTo>
                  <a:pt x="113" y="666"/>
                </a:lnTo>
                <a:lnTo>
                  <a:pt x="113" y="666"/>
                </a:lnTo>
                <a:lnTo>
                  <a:pt x="116" y="666"/>
                </a:lnTo>
                <a:lnTo>
                  <a:pt x="116" y="666"/>
                </a:lnTo>
                <a:lnTo>
                  <a:pt x="116" y="664"/>
                </a:lnTo>
                <a:lnTo>
                  <a:pt x="116" y="664"/>
                </a:lnTo>
                <a:lnTo>
                  <a:pt x="116" y="664"/>
                </a:lnTo>
                <a:lnTo>
                  <a:pt x="113" y="664"/>
                </a:lnTo>
                <a:lnTo>
                  <a:pt x="113" y="664"/>
                </a:lnTo>
                <a:lnTo>
                  <a:pt x="111" y="666"/>
                </a:lnTo>
                <a:lnTo>
                  <a:pt x="111" y="666"/>
                </a:lnTo>
                <a:lnTo>
                  <a:pt x="108" y="666"/>
                </a:lnTo>
                <a:lnTo>
                  <a:pt x="108" y="666"/>
                </a:lnTo>
                <a:lnTo>
                  <a:pt x="106" y="666"/>
                </a:lnTo>
                <a:lnTo>
                  <a:pt x="106" y="666"/>
                </a:lnTo>
                <a:lnTo>
                  <a:pt x="103" y="664"/>
                </a:lnTo>
                <a:lnTo>
                  <a:pt x="103" y="664"/>
                </a:lnTo>
                <a:lnTo>
                  <a:pt x="103" y="664"/>
                </a:lnTo>
                <a:lnTo>
                  <a:pt x="101" y="666"/>
                </a:lnTo>
                <a:lnTo>
                  <a:pt x="101" y="666"/>
                </a:lnTo>
                <a:lnTo>
                  <a:pt x="99" y="669"/>
                </a:lnTo>
                <a:lnTo>
                  <a:pt x="99" y="669"/>
                </a:lnTo>
                <a:lnTo>
                  <a:pt x="99" y="666"/>
                </a:lnTo>
                <a:lnTo>
                  <a:pt x="99" y="666"/>
                </a:lnTo>
                <a:lnTo>
                  <a:pt x="99" y="666"/>
                </a:lnTo>
                <a:lnTo>
                  <a:pt x="96" y="666"/>
                </a:lnTo>
                <a:lnTo>
                  <a:pt x="96" y="666"/>
                </a:lnTo>
                <a:lnTo>
                  <a:pt x="94" y="666"/>
                </a:lnTo>
                <a:lnTo>
                  <a:pt x="94" y="666"/>
                </a:lnTo>
                <a:lnTo>
                  <a:pt x="96" y="666"/>
                </a:lnTo>
                <a:lnTo>
                  <a:pt x="96" y="666"/>
                </a:lnTo>
                <a:lnTo>
                  <a:pt x="96" y="664"/>
                </a:lnTo>
                <a:lnTo>
                  <a:pt x="96" y="664"/>
                </a:lnTo>
                <a:lnTo>
                  <a:pt x="101" y="664"/>
                </a:lnTo>
                <a:lnTo>
                  <a:pt x="101" y="664"/>
                </a:lnTo>
                <a:lnTo>
                  <a:pt x="106" y="661"/>
                </a:lnTo>
                <a:lnTo>
                  <a:pt x="106" y="661"/>
                </a:lnTo>
                <a:lnTo>
                  <a:pt x="108" y="659"/>
                </a:lnTo>
                <a:lnTo>
                  <a:pt x="108" y="659"/>
                </a:lnTo>
                <a:lnTo>
                  <a:pt x="111" y="659"/>
                </a:lnTo>
                <a:lnTo>
                  <a:pt x="111" y="659"/>
                </a:lnTo>
                <a:lnTo>
                  <a:pt x="113" y="656"/>
                </a:lnTo>
                <a:lnTo>
                  <a:pt x="113" y="656"/>
                </a:lnTo>
                <a:lnTo>
                  <a:pt x="118" y="651"/>
                </a:lnTo>
                <a:lnTo>
                  <a:pt x="118" y="651"/>
                </a:lnTo>
                <a:lnTo>
                  <a:pt x="123" y="649"/>
                </a:lnTo>
                <a:lnTo>
                  <a:pt x="123" y="649"/>
                </a:lnTo>
                <a:lnTo>
                  <a:pt x="128" y="647"/>
                </a:lnTo>
                <a:lnTo>
                  <a:pt x="128" y="647"/>
                </a:lnTo>
                <a:lnTo>
                  <a:pt x="131" y="647"/>
                </a:lnTo>
                <a:lnTo>
                  <a:pt x="131" y="647"/>
                </a:lnTo>
                <a:lnTo>
                  <a:pt x="131" y="647"/>
                </a:lnTo>
                <a:lnTo>
                  <a:pt x="131" y="644"/>
                </a:lnTo>
                <a:lnTo>
                  <a:pt x="131" y="644"/>
                </a:lnTo>
                <a:lnTo>
                  <a:pt x="128" y="644"/>
                </a:lnTo>
                <a:lnTo>
                  <a:pt x="128" y="644"/>
                </a:lnTo>
                <a:lnTo>
                  <a:pt x="126" y="647"/>
                </a:lnTo>
                <a:lnTo>
                  <a:pt x="126" y="647"/>
                </a:lnTo>
                <a:lnTo>
                  <a:pt x="118" y="649"/>
                </a:lnTo>
                <a:lnTo>
                  <a:pt x="118" y="649"/>
                </a:lnTo>
                <a:lnTo>
                  <a:pt x="113" y="651"/>
                </a:lnTo>
                <a:lnTo>
                  <a:pt x="113" y="651"/>
                </a:lnTo>
                <a:lnTo>
                  <a:pt x="111" y="656"/>
                </a:lnTo>
                <a:lnTo>
                  <a:pt x="111" y="656"/>
                </a:lnTo>
                <a:lnTo>
                  <a:pt x="108" y="656"/>
                </a:lnTo>
                <a:lnTo>
                  <a:pt x="108" y="656"/>
                </a:lnTo>
                <a:lnTo>
                  <a:pt x="103" y="659"/>
                </a:lnTo>
                <a:lnTo>
                  <a:pt x="103" y="659"/>
                </a:lnTo>
                <a:lnTo>
                  <a:pt x="101" y="659"/>
                </a:lnTo>
                <a:lnTo>
                  <a:pt x="101" y="659"/>
                </a:lnTo>
                <a:lnTo>
                  <a:pt x="96" y="661"/>
                </a:lnTo>
                <a:lnTo>
                  <a:pt x="96" y="661"/>
                </a:lnTo>
                <a:lnTo>
                  <a:pt x="94" y="661"/>
                </a:lnTo>
                <a:lnTo>
                  <a:pt x="94" y="661"/>
                </a:lnTo>
                <a:lnTo>
                  <a:pt x="94" y="661"/>
                </a:lnTo>
                <a:lnTo>
                  <a:pt x="94" y="659"/>
                </a:lnTo>
                <a:lnTo>
                  <a:pt x="94" y="659"/>
                </a:lnTo>
                <a:lnTo>
                  <a:pt x="94" y="654"/>
                </a:lnTo>
                <a:lnTo>
                  <a:pt x="94" y="654"/>
                </a:lnTo>
                <a:lnTo>
                  <a:pt x="96" y="651"/>
                </a:lnTo>
                <a:lnTo>
                  <a:pt x="96" y="651"/>
                </a:lnTo>
                <a:lnTo>
                  <a:pt x="99" y="651"/>
                </a:lnTo>
                <a:lnTo>
                  <a:pt x="99" y="651"/>
                </a:lnTo>
                <a:lnTo>
                  <a:pt x="101" y="654"/>
                </a:lnTo>
                <a:lnTo>
                  <a:pt x="101" y="654"/>
                </a:lnTo>
                <a:lnTo>
                  <a:pt x="101" y="654"/>
                </a:lnTo>
                <a:lnTo>
                  <a:pt x="106" y="654"/>
                </a:lnTo>
                <a:lnTo>
                  <a:pt x="106" y="654"/>
                </a:lnTo>
                <a:lnTo>
                  <a:pt x="108" y="654"/>
                </a:lnTo>
                <a:lnTo>
                  <a:pt x="108" y="654"/>
                </a:lnTo>
                <a:lnTo>
                  <a:pt x="106" y="651"/>
                </a:lnTo>
                <a:lnTo>
                  <a:pt x="106" y="651"/>
                </a:lnTo>
                <a:lnTo>
                  <a:pt x="106" y="651"/>
                </a:lnTo>
                <a:lnTo>
                  <a:pt x="103" y="651"/>
                </a:lnTo>
                <a:lnTo>
                  <a:pt x="103" y="651"/>
                </a:lnTo>
                <a:lnTo>
                  <a:pt x="101" y="651"/>
                </a:lnTo>
                <a:lnTo>
                  <a:pt x="101" y="651"/>
                </a:lnTo>
                <a:lnTo>
                  <a:pt x="99" y="651"/>
                </a:lnTo>
                <a:lnTo>
                  <a:pt x="99" y="651"/>
                </a:lnTo>
                <a:lnTo>
                  <a:pt x="99" y="649"/>
                </a:lnTo>
                <a:lnTo>
                  <a:pt x="99" y="649"/>
                </a:lnTo>
                <a:lnTo>
                  <a:pt x="99" y="649"/>
                </a:lnTo>
                <a:lnTo>
                  <a:pt x="101" y="647"/>
                </a:lnTo>
                <a:lnTo>
                  <a:pt x="101" y="647"/>
                </a:lnTo>
                <a:lnTo>
                  <a:pt x="103" y="649"/>
                </a:lnTo>
                <a:lnTo>
                  <a:pt x="103" y="649"/>
                </a:lnTo>
                <a:lnTo>
                  <a:pt x="106" y="649"/>
                </a:lnTo>
                <a:lnTo>
                  <a:pt x="106" y="649"/>
                </a:lnTo>
                <a:lnTo>
                  <a:pt x="108" y="649"/>
                </a:lnTo>
                <a:lnTo>
                  <a:pt x="108" y="649"/>
                </a:lnTo>
                <a:lnTo>
                  <a:pt x="108" y="647"/>
                </a:lnTo>
                <a:lnTo>
                  <a:pt x="108" y="647"/>
                </a:lnTo>
                <a:lnTo>
                  <a:pt x="106" y="647"/>
                </a:lnTo>
                <a:lnTo>
                  <a:pt x="106" y="647"/>
                </a:lnTo>
                <a:lnTo>
                  <a:pt x="106" y="647"/>
                </a:lnTo>
                <a:lnTo>
                  <a:pt x="103" y="647"/>
                </a:lnTo>
                <a:lnTo>
                  <a:pt x="103" y="647"/>
                </a:lnTo>
                <a:lnTo>
                  <a:pt x="106" y="644"/>
                </a:lnTo>
                <a:lnTo>
                  <a:pt x="106" y="644"/>
                </a:lnTo>
                <a:lnTo>
                  <a:pt x="108" y="644"/>
                </a:lnTo>
                <a:lnTo>
                  <a:pt x="108" y="644"/>
                </a:lnTo>
                <a:lnTo>
                  <a:pt x="108" y="644"/>
                </a:lnTo>
                <a:lnTo>
                  <a:pt x="108" y="644"/>
                </a:lnTo>
                <a:lnTo>
                  <a:pt x="111" y="644"/>
                </a:lnTo>
                <a:lnTo>
                  <a:pt x="111" y="644"/>
                </a:lnTo>
                <a:lnTo>
                  <a:pt x="113" y="644"/>
                </a:lnTo>
                <a:lnTo>
                  <a:pt x="113" y="644"/>
                </a:lnTo>
                <a:lnTo>
                  <a:pt x="113" y="642"/>
                </a:lnTo>
                <a:lnTo>
                  <a:pt x="113" y="642"/>
                </a:lnTo>
                <a:lnTo>
                  <a:pt x="113" y="639"/>
                </a:lnTo>
                <a:lnTo>
                  <a:pt x="113" y="639"/>
                </a:lnTo>
                <a:lnTo>
                  <a:pt x="111" y="639"/>
                </a:lnTo>
                <a:lnTo>
                  <a:pt x="111" y="639"/>
                </a:lnTo>
                <a:lnTo>
                  <a:pt x="111" y="639"/>
                </a:lnTo>
                <a:lnTo>
                  <a:pt x="108" y="642"/>
                </a:lnTo>
                <a:lnTo>
                  <a:pt x="108" y="642"/>
                </a:lnTo>
                <a:lnTo>
                  <a:pt x="106" y="642"/>
                </a:lnTo>
                <a:lnTo>
                  <a:pt x="106" y="642"/>
                </a:lnTo>
                <a:lnTo>
                  <a:pt x="101" y="639"/>
                </a:lnTo>
                <a:lnTo>
                  <a:pt x="101" y="639"/>
                </a:lnTo>
                <a:lnTo>
                  <a:pt x="96" y="639"/>
                </a:lnTo>
                <a:lnTo>
                  <a:pt x="96" y="639"/>
                </a:lnTo>
                <a:lnTo>
                  <a:pt x="96" y="637"/>
                </a:lnTo>
                <a:lnTo>
                  <a:pt x="96" y="637"/>
                </a:lnTo>
                <a:lnTo>
                  <a:pt x="96" y="637"/>
                </a:lnTo>
                <a:lnTo>
                  <a:pt x="99" y="637"/>
                </a:lnTo>
                <a:lnTo>
                  <a:pt x="99" y="637"/>
                </a:lnTo>
                <a:lnTo>
                  <a:pt x="101" y="637"/>
                </a:lnTo>
                <a:lnTo>
                  <a:pt x="101" y="637"/>
                </a:lnTo>
                <a:lnTo>
                  <a:pt x="101" y="637"/>
                </a:lnTo>
                <a:lnTo>
                  <a:pt x="101" y="634"/>
                </a:lnTo>
                <a:lnTo>
                  <a:pt x="101" y="634"/>
                </a:lnTo>
                <a:lnTo>
                  <a:pt x="99" y="634"/>
                </a:lnTo>
                <a:lnTo>
                  <a:pt x="99" y="634"/>
                </a:lnTo>
                <a:lnTo>
                  <a:pt x="99" y="634"/>
                </a:lnTo>
                <a:lnTo>
                  <a:pt x="99" y="632"/>
                </a:lnTo>
                <a:lnTo>
                  <a:pt x="99" y="632"/>
                </a:lnTo>
                <a:lnTo>
                  <a:pt x="101" y="632"/>
                </a:lnTo>
                <a:lnTo>
                  <a:pt x="101" y="632"/>
                </a:lnTo>
                <a:lnTo>
                  <a:pt x="103" y="632"/>
                </a:lnTo>
                <a:lnTo>
                  <a:pt x="103" y="632"/>
                </a:lnTo>
                <a:lnTo>
                  <a:pt x="106" y="632"/>
                </a:lnTo>
                <a:lnTo>
                  <a:pt x="106" y="632"/>
                </a:lnTo>
                <a:lnTo>
                  <a:pt x="116" y="632"/>
                </a:lnTo>
                <a:lnTo>
                  <a:pt x="116" y="632"/>
                </a:lnTo>
                <a:lnTo>
                  <a:pt x="118" y="632"/>
                </a:lnTo>
                <a:lnTo>
                  <a:pt x="118" y="632"/>
                </a:lnTo>
                <a:lnTo>
                  <a:pt x="121" y="632"/>
                </a:lnTo>
                <a:lnTo>
                  <a:pt x="121" y="632"/>
                </a:lnTo>
                <a:lnTo>
                  <a:pt x="123" y="632"/>
                </a:lnTo>
                <a:lnTo>
                  <a:pt x="123" y="632"/>
                </a:lnTo>
                <a:lnTo>
                  <a:pt x="123" y="629"/>
                </a:lnTo>
                <a:lnTo>
                  <a:pt x="123" y="629"/>
                </a:lnTo>
                <a:lnTo>
                  <a:pt x="118" y="629"/>
                </a:lnTo>
                <a:lnTo>
                  <a:pt x="118" y="629"/>
                </a:lnTo>
                <a:lnTo>
                  <a:pt x="113" y="629"/>
                </a:lnTo>
                <a:lnTo>
                  <a:pt x="113" y="629"/>
                </a:lnTo>
                <a:lnTo>
                  <a:pt x="108" y="629"/>
                </a:lnTo>
                <a:lnTo>
                  <a:pt x="108" y="629"/>
                </a:lnTo>
                <a:lnTo>
                  <a:pt x="106" y="629"/>
                </a:lnTo>
                <a:lnTo>
                  <a:pt x="106" y="629"/>
                </a:lnTo>
                <a:lnTo>
                  <a:pt x="106" y="629"/>
                </a:lnTo>
                <a:lnTo>
                  <a:pt x="103" y="629"/>
                </a:lnTo>
                <a:lnTo>
                  <a:pt x="103" y="629"/>
                </a:lnTo>
                <a:lnTo>
                  <a:pt x="101" y="629"/>
                </a:lnTo>
                <a:lnTo>
                  <a:pt x="101" y="629"/>
                </a:lnTo>
                <a:lnTo>
                  <a:pt x="99" y="632"/>
                </a:lnTo>
                <a:lnTo>
                  <a:pt x="99" y="632"/>
                </a:lnTo>
                <a:lnTo>
                  <a:pt x="99" y="632"/>
                </a:lnTo>
                <a:lnTo>
                  <a:pt x="99" y="629"/>
                </a:lnTo>
                <a:lnTo>
                  <a:pt x="99" y="629"/>
                </a:lnTo>
                <a:lnTo>
                  <a:pt x="101" y="627"/>
                </a:lnTo>
                <a:lnTo>
                  <a:pt x="101" y="627"/>
                </a:lnTo>
                <a:lnTo>
                  <a:pt x="103" y="624"/>
                </a:lnTo>
                <a:lnTo>
                  <a:pt x="103" y="624"/>
                </a:lnTo>
                <a:lnTo>
                  <a:pt x="106" y="624"/>
                </a:lnTo>
                <a:lnTo>
                  <a:pt x="106" y="624"/>
                </a:lnTo>
                <a:lnTo>
                  <a:pt x="108" y="622"/>
                </a:lnTo>
                <a:lnTo>
                  <a:pt x="108" y="622"/>
                </a:lnTo>
                <a:lnTo>
                  <a:pt x="108" y="620"/>
                </a:lnTo>
                <a:lnTo>
                  <a:pt x="108" y="620"/>
                </a:lnTo>
                <a:lnTo>
                  <a:pt x="111" y="617"/>
                </a:lnTo>
                <a:lnTo>
                  <a:pt x="111" y="617"/>
                </a:lnTo>
                <a:lnTo>
                  <a:pt x="113" y="617"/>
                </a:lnTo>
                <a:lnTo>
                  <a:pt x="113" y="617"/>
                </a:lnTo>
                <a:lnTo>
                  <a:pt x="113" y="620"/>
                </a:lnTo>
                <a:lnTo>
                  <a:pt x="113" y="620"/>
                </a:lnTo>
                <a:lnTo>
                  <a:pt x="116" y="620"/>
                </a:lnTo>
                <a:lnTo>
                  <a:pt x="116" y="620"/>
                </a:lnTo>
                <a:lnTo>
                  <a:pt x="118" y="617"/>
                </a:lnTo>
                <a:lnTo>
                  <a:pt x="118" y="617"/>
                </a:lnTo>
                <a:lnTo>
                  <a:pt x="121" y="617"/>
                </a:lnTo>
                <a:lnTo>
                  <a:pt x="121" y="617"/>
                </a:lnTo>
                <a:lnTo>
                  <a:pt x="121" y="620"/>
                </a:lnTo>
                <a:lnTo>
                  <a:pt x="121" y="620"/>
                </a:lnTo>
                <a:lnTo>
                  <a:pt x="123" y="620"/>
                </a:lnTo>
                <a:lnTo>
                  <a:pt x="123" y="620"/>
                </a:lnTo>
                <a:lnTo>
                  <a:pt x="126" y="622"/>
                </a:lnTo>
                <a:lnTo>
                  <a:pt x="126" y="622"/>
                </a:lnTo>
                <a:lnTo>
                  <a:pt x="131" y="622"/>
                </a:lnTo>
                <a:lnTo>
                  <a:pt x="131" y="622"/>
                </a:lnTo>
                <a:lnTo>
                  <a:pt x="133" y="622"/>
                </a:lnTo>
                <a:lnTo>
                  <a:pt x="133" y="622"/>
                </a:lnTo>
                <a:lnTo>
                  <a:pt x="135" y="627"/>
                </a:lnTo>
                <a:lnTo>
                  <a:pt x="135" y="627"/>
                </a:lnTo>
                <a:lnTo>
                  <a:pt x="138" y="629"/>
                </a:lnTo>
                <a:lnTo>
                  <a:pt x="138" y="629"/>
                </a:lnTo>
                <a:lnTo>
                  <a:pt x="143" y="629"/>
                </a:lnTo>
                <a:lnTo>
                  <a:pt x="143" y="629"/>
                </a:lnTo>
                <a:lnTo>
                  <a:pt x="145" y="629"/>
                </a:lnTo>
                <a:lnTo>
                  <a:pt x="145" y="629"/>
                </a:lnTo>
                <a:lnTo>
                  <a:pt x="145" y="629"/>
                </a:lnTo>
                <a:lnTo>
                  <a:pt x="148" y="627"/>
                </a:lnTo>
                <a:lnTo>
                  <a:pt x="148" y="627"/>
                </a:lnTo>
                <a:lnTo>
                  <a:pt x="145" y="627"/>
                </a:lnTo>
                <a:lnTo>
                  <a:pt x="145" y="627"/>
                </a:lnTo>
                <a:lnTo>
                  <a:pt x="143" y="627"/>
                </a:lnTo>
                <a:lnTo>
                  <a:pt x="143" y="627"/>
                </a:lnTo>
                <a:lnTo>
                  <a:pt x="143" y="627"/>
                </a:lnTo>
                <a:lnTo>
                  <a:pt x="140" y="627"/>
                </a:lnTo>
                <a:lnTo>
                  <a:pt x="140" y="627"/>
                </a:lnTo>
                <a:lnTo>
                  <a:pt x="138" y="624"/>
                </a:lnTo>
                <a:lnTo>
                  <a:pt x="138" y="624"/>
                </a:lnTo>
                <a:lnTo>
                  <a:pt x="135" y="622"/>
                </a:lnTo>
                <a:lnTo>
                  <a:pt x="135" y="622"/>
                </a:lnTo>
                <a:lnTo>
                  <a:pt x="135" y="620"/>
                </a:lnTo>
                <a:lnTo>
                  <a:pt x="135" y="620"/>
                </a:lnTo>
                <a:lnTo>
                  <a:pt x="135" y="620"/>
                </a:lnTo>
                <a:lnTo>
                  <a:pt x="140" y="620"/>
                </a:lnTo>
                <a:lnTo>
                  <a:pt x="140" y="620"/>
                </a:lnTo>
                <a:lnTo>
                  <a:pt x="145" y="620"/>
                </a:lnTo>
                <a:lnTo>
                  <a:pt x="145" y="620"/>
                </a:lnTo>
                <a:lnTo>
                  <a:pt x="145" y="617"/>
                </a:lnTo>
                <a:lnTo>
                  <a:pt x="145" y="617"/>
                </a:lnTo>
                <a:lnTo>
                  <a:pt x="145" y="615"/>
                </a:lnTo>
                <a:lnTo>
                  <a:pt x="145" y="615"/>
                </a:lnTo>
                <a:lnTo>
                  <a:pt x="143" y="615"/>
                </a:lnTo>
                <a:lnTo>
                  <a:pt x="143" y="615"/>
                </a:lnTo>
                <a:lnTo>
                  <a:pt x="140" y="615"/>
                </a:lnTo>
                <a:lnTo>
                  <a:pt x="140" y="615"/>
                </a:lnTo>
                <a:lnTo>
                  <a:pt x="140" y="617"/>
                </a:lnTo>
                <a:lnTo>
                  <a:pt x="140" y="617"/>
                </a:lnTo>
                <a:lnTo>
                  <a:pt x="140" y="617"/>
                </a:lnTo>
                <a:lnTo>
                  <a:pt x="140" y="617"/>
                </a:lnTo>
                <a:lnTo>
                  <a:pt x="135" y="617"/>
                </a:lnTo>
                <a:lnTo>
                  <a:pt x="135" y="617"/>
                </a:lnTo>
                <a:lnTo>
                  <a:pt x="135" y="617"/>
                </a:lnTo>
                <a:lnTo>
                  <a:pt x="133" y="615"/>
                </a:lnTo>
                <a:lnTo>
                  <a:pt x="133" y="615"/>
                </a:lnTo>
                <a:lnTo>
                  <a:pt x="135" y="615"/>
                </a:lnTo>
                <a:lnTo>
                  <a:pt x="135" y="615"/>
                </a:lnTo>
                <a:lnTo>
                  <a:pt x="138" y="615"/>
                </a:lnTo>
                <a:lnTo>
                  <a:pt x="138" y="615"/>
                </a:lnTo>
                <a:lnTo>
                  <a:pt x="138" y="615"/>
                </a:lnTo>
                <a:lnTo>
                  <a:pt x="135" y="612"/>
                </a:lnTo>
                <a:lnTo>
                  <a:pt x="135" y="612"/>
                </a:lnTo>
                <a:lnTo>
                  <a:pt x="135" y="612"/>
                </a:lnTo>
                <a:lnTo>
                  <a:pt x="133" y="612"/>
                </a:lnTo>
                <a:lnTo>
                  <a:pt x="133" y="612"/>
                </a:lnTo>
                <a:lnTo>
                  <a:pt x="133" y="612"/>
                </a:lnTo>
                <a:lnTo>
                  <a:pt x="131" y="612"/>
                </a:lnTo>
                <a:lnTo>
                  <a:pt x="131" y="612"/>
                </a:lnTo>
                <a:lnTo>
                  <a:pt x="131" y="615"/>
                </a:lnTo>
                <a:lnTo>
                  <a:pt x="131" y="615"/>
                </a:lnTo>
                <a:lnTo>
                  <a:pt x="133" y="615"/>
                </a:lnTo>
                <a:lnTo>
                  <a:pt x="133" y="615"/>
                </a:lnTo>
                <a:lnTo>
                  <a:pt x="133" y="617"/>
                </a:lnTo>
                <a:lnTo>
                  <a:pt x="133" y="617"/>
                </a:lnTo>
                <a:lnTo>
                  <a:pt x="131" y="620"/>
                </a:lnTo>
                <a:lnTo>
                  <a:pt x="131" y="620"/>
                </a:lnTo>
                <a:lnTo>
                  <a:pt x="128" y="620"/>
                </a:lnTo>
                <a:lnTo>
                  <a:pt x="128" y="620"/>
                </a:lnTo>
                <a:lnTo>
                  <a:pt x="126" y="620"/>
                </a:lnTo>
                <a:lnTo>
                  <a:pt x="126" y="620"/>
                </a:lnTo>
                <a:lnTo>
                  <a:pt x="123" y="617"/>
                </a:lnTo>
                <a:lnTo>
                  <a:pt x="123" y="617"/>
                </a:lnTo>
                <a:lnTo>
                  <a:pt x="121" y="617"/>
                </a:lnTo>
                <a:lnTo>
                  <a:pt x="121" y="617"/>
                </a:lnTo>
                <a:lnTo>
                  <a:pt x="121" y="615"/>
                </a:lnTo>
                <a:lnTo>
                  <a:pt x="121" y="615"/>
                </a:lnTo>
                <a:lnTo>
                  <a:pt x="118" y="615"/>
                </a:lnTo>
                <a:lnTo>
                  <a:pt x="118" y="615"/>
                </a:lnTo>
                <a:lnTo>
                  <a:pt x="118" y="615"/>
                </a:lnTo>
                <a:lnTo>
                  <a:pt x="116" y="615"/>
                </a:lnTo>
                <a:lnTo>
                  <a:pt x="116" y="615"/>
                </a:lnTo>
                <a:lnTo>
                  <a:pt x="113" y="615"/>
                </a:lnTo>
                <a:lnTo>
                  <a:pt x="113" y="615"/>
                </a:lnTo>
                <a:lnTo>
                  <a:pt x="111" y="615"/>
                </a:lnTo>
                <a:lnTo>
                  <a:pt x="111" y="615"/>
                </a:lnTo>
                <a:lnTo>
                  <a:pt x="108" y="617"/>
                </a:lnTo>
                <a:lnTo>
                  <a:pt x="108" y="617"/>
                </a:lnTo>
                <a:lnTo>
                  <a:pt x="106" y="620"/>
                </a:lnTo>
                <a:lnTo>
                  <a:pt x="106" y="620"/>
                </a:lnTo>
                <a:lnTo>
                  <a:pt x="103" y="622"/>
                </a:lnTo>
                <a:lnTo>
                  <a:pt x="103" y="622"/>
                </a:lnTo>
                <a:lnTo>
                  <a:pt x="103" y="620"/>
                </a:lnTo>
                <a:lnTo>
                  <a:pt x="103" y="620"/>
                </a:lnTo>
                <a:lnTo>
                  <a:pt x="103" y="620"/>
                </a:lnTo>
                <a:lnTo>
                  <a:pt x="106" y="615"/>
                </a:lnTo>
                <a:lnTo>
                  <a:pt x="106" y="615"/>
                </a:lnTo>
                <a:lnTo>
                  <a:pt x="108" y="615"/>
                </a:lnTo>
                <a:lnTo>
                  <a:pt x="108" y="615"/>
                </a:lnTo>
                <a:lnTo>
                  <a:pt x="108" y="615"/>
                </a:lnTo>
                <a:lnTo>
                  <a:pt x="108" y="612"/>
                </a:lnTo>
                <a:lnTo>
                  <a:pt x="108" y="612"/>
                </a:lnTo>
                <a:lnTo>
                  <a:pt x="108" y="612"/>
                </a:lnTo>
                <a:lnTo>
                  <a:pt x="111" y="610"/>
                </a:lnTo>
                <a:lnTo>
                  <a:pt x="111" y="610"/>
                </a:lnTo>
                <a:lnTo>
                  <a:pt x="111" y="610"/>
                </a:lnTo>
                <a:lnTo>
                  <a:pt x="113" y="607"/>
                </a:lnTo>
                <a:lnTo>
                  <a:pt x="113" y="607"/>
                </a:lnTo>
                <a:lnTo>
                  <a:pt x="113" y="607"/>
                </a:lnTo>
                <a:lnTo>
                  <a:pt x="116" y="610"/>
                </a:lnTo>
                <a:lnTo>
                  <a:pt x="116" y="610"/>
                </a:lnTo>
                <a:lnTo>
                  <a:pt x="118" y="610"/>
                </a:lnTo>
                <a:lnTo>
                  <a:pt x="118" y="610"/>
                </a:lnTo>
                <a:lnTo>
                  <a:pt x="123" y="610"/>
                </a:lnTo>
                <a:lnTo>
                  <a:pt x="123" y="610"/>
                </a:lnTo>
                <a:lnTo>
                  <a:pt x="123" y="610"/>
                </a:lnTo>
                <a:lnTo>
                  <a:pt x="121" y="610"/>
                </a:lnTo>
                <a:lnTo>
                  <a:pt x="121" y="610"/>
                </a:lnTo>
                <a:lnTo>
                  <a:pt x="118" y="610"/>
                </a:lnTo>
                <a:lnTo>
                  <a:pt x="118" y="610"/>
                </a:lnTo>
                <a:lnTo>
                  <a:pt x="118" y="607"/>
                </a:lnTo>
                <a:lnTo>
                  <a:pt x="118" y="607"/>
                </a:lnTo>
                <a:lnTo>
                  <a:pt x="113" y="605"/>
                </a:lnTo>
                <a:lnTo>
                  <a:pt x="113" y="605"/>
                </a:lnTo>
                <a:lnTo>
                  <a:pt x="113" y="602"/>
                </a:lnTo>
                <a:lnTo>
                  <a:pt x="113" y="602"/>
                </a:lnTo>
                <a:lnTo>
                  <a:pt x="111" y="602"/>
                </a:lnTo>
                <a:lnTo>
                  <a:pt x="111" y="602"/>
                </a:lnTo>
                <a:lnTo>
                  <a:pt x="111" y="600"/>
                </a:lnTo>
                <a:lnTo>
                  <a:pt x="111" y="600"/>
                </a:lnTo>
                <a:lnTo>
                  <a:pt x="113" y="600"/>
                </a:lnTo>
                <a:lnTo>
                  <a:pt x="113" y="600"/>
                </a:lnTo>
                <a:lnTo>
                  <a:pt x="116" y="600"/>
                </a:lnTo>
                <a:lnTo>
                  <a:pt x="116" y="600"/>
                </a:lnTo>
                <a:lnTo>
                  <a:pt x="118" y="605"/>
                </a:lnTo>
                <a:lnTo>
                  <a:pt x="118" y="605"/>
                </a:lnTo>
                <a:lnTo>
                  <a:pt x="121" y="607"/>
                </a:lnTo>
                <a:lnTo>
                  <a:pt x="121" y="607"/>
                </a:lnTo>
                <a:lnTo>
                  <a:pt x="121" y="607"/>
                </a:lnTo>
                <a:lnTo>
                  <a:pt x="121" y="605"/>
                </a:lnTo>
                <a:lnTo>
                  <a:pt x="121" y="605"/>
                </a:lnTo>
                <a:lnTo>
                  <a:pt x="121" y="602"/>
                </a:lnTo>
                <a:lnTo>
                  <a:pt x="121" y="602"/>
                </a:lnTo>
                <a:lnTo>
                  <a:pt x="121" y="602"/>
                </a:lnTo>
                <a:lnTo>
                  <a:pt x="123" y="605"/>
                </a:lnTo>
                <a:lnTo>
                  <a:pt x="123" y="605"/>
                </a:lnTo>
                <a:lnTo>
                  <a:pt x="123" y="605"/>
                </a:lnTo>
                <a:lnTo>
                  <a:pt x="128" y="610"/>
                </a:lnTo>
                <a:lnTo>
                  <a:pt x="128" y="610"/>
                </a:lnTo>
                <a:lnTo>
                  <a:pt x="131" y="610"/>
                </a:lnTo>
                <a:lnTo>
                  <a:pt x="131" y="610"/>
                </a:lnTo>
                <a:lnTo>
                  <a:pt x="133" y="607"/>
                </a:lnTo>
                <a:lnTo>
                  <a:pt x="133" y="607"/>
                </a:lnTo>
                <a:lnTo>
                  <a:pt x="135" y="607"/>
                </a:lnTo>
                <a:lnTo>
                  <a:pt x="135" y="607"/>
                </a:lnTo>
                <a:lnTo>
                  <a:pt x="135" y="610"/>
                </a:lnTo>
                <a:lnTo>
                  <a:pt x="135" y="610"/>
                </a:lnTo>
                <a:lnTo>
                  <a:pt x="140" y="612"/>
                </a:lnTo>
                <a:lnTo>
                  <a:pt x="140" y="612"/>
                </a:lnTo>
                <a:lnTo>
                  <a:pt x="143" y="612"/>
                </a:lnTo>
                <a:lnTo>
                  <a:pt x="143" y="612"/>
                </a:lnTo>
                <a:lnTo>
                  <a:pt x="143" y="612"/>
                </a:lnTo>
                <a:lnTo>
                  <a:pt x="145" y="612"/>
                </a:lnTo>
                <a:lnTo>
                  <a:pt x="145" y="612"/>
                </a:lnTo>
                <a:lnTo>
                  <a:pt x="145" y="612"/>
                </a:lnTo>
                <a:lnTo>
                  <a:pt x="143" y="610"/>
                </a:lnTo>
                <a:lnTo>
                  <a:pt x="143" y="610"/>
                </a:lnTo>
                <a:lnTo>
                  <a:pt x="135" y="605"/>
                </a:lnTo>
                <a:lnTo>
                  <a:pt x="135" y="605"/>
                </a:lnTo>
                <a:lnTo>
                  <a:pt x="135" y="602"/>
                </a:lnTo>
                <a:lnTo>
                  <a:pt x="135" y="602"/>
                </a:lnTo>
                <a:lnTo>
                  <a:pt x="135" y="602"/>
                </a:lnTo>
                <a:lnTo>
                  <a:pt x="138" y="600"/>
                </a:lnTo>
                <a:lnTo>
                  <a:pt x="138" y="600"/>
                </a:lnTo>
                <a:lnTo>
                  <a:pt x="140" y="600"/>
                </a:lnTo>
                <a:lnTo>
                  <a:pt x="140" y="600"/>
                </a:lnTo>
                <a:lnTo>
                  <a:pt x="140" y="597"/>
                </a:lnTo>
                <a:lnTo>
                  <a:pt x="140" y="597"/>
                </a:lnTo>
                <a:lnTo>
                  <a:pt x="140" y="597"/>
                </a:lnTo>
                <a:lnTo>
                  <a:pt x="140" y="595"/>
                </a:lnTo>
                <a:lnTo>
                  <a:pt x="140" y="595"/>
                </a:lnTo>
                <a:lnTo>
                  <a:pt x="140" y="595"/>
                </a:lnTo>
                <a:lnTo>
                  <a:pt x="138" y="597"/>
                </a:lnTo>
                <a:lnTo>
                  <a:pt x="138" y="597"/>
                </a:lnTo>
                <a:lnTo>
                  <a:pt x="133" y="597"/>
                </a:lnTo>
                <a:lnTo>
                  <a:pt x="133" y="597"/>
                </a:lnTo>
                <a:lnTo>
                  <a:pt x="133" y="597"/>
                </a:lnTo>
                <a:lnTo>
                  <a:pt x="133" y="597"/>
                </a:lnTo>
                <a:lnTo>
                  <a:pt x="135" y="600"/>
                </a:lnTo>
                <a:lnTo>
                  <a:pt x="135" y="600"/>
                </a:lnTo>
                <a:lnTo>
                  <a:pt x="135" y="600"/>
                </a:lnTo>
                <a:lnTo>
                  <a:pt x="131" y="600"/>
                </a:lnTo>
                <a:lnTo>
                  <a:pt x="131" y="600"/>
                </a:lnTo>
                <a:lnTo>
                  <a:pt x="131" y="602"/>
                </a:lnTo>
                <a:lnTo>
                  <a:pt x="131" y="602"/>
                </a:lnTo>
                <a:lnTo>
                  <a:pt x="128" y="600"/>
                </a:lnTo>
                <a:lnTo>
                  <a:pt x="128" y="600"/>
                </a:lnTo>
                <a:lnTo>
                  <a:pt x="126" y="602"/>
                </a:lnTo>
                <a:lnTo>
                  <a:pt x="126" y="602"/>
                </a:lnTo>
                <a:lnTo>
                  <a:pt x="123" y="600"/>
                </a:lnTo>
                <a:lnTo>
                  <a:pt x="123" y="600"/>
                </a:lnTo>
                <a:lnTo>
                  <a:pt x="121" y="600"/>
                </a:lnTo>
                <a:lnTo>
                  <a:pt x="121" y="600"/>
                </a:lnTo>
                <a:lnTo>
                  <a:pt x="121" y="597"/>
                </a:lnTo>
                <a:lnTo>
                  <a:pt x="121" y="597"/>
                </a:lnTo>
                <a:lnTo>
                  <a:pt x="121" y="597"/>
                </a:lnTo>
                <a:lnTo>
                  <a:pt x="123" y="595"/>
                </a:lnTo>
                <a:lnTo>
                  <a:pt x="123" y="595"/>
                </a:lnTo>
                <a:lnTo>
                  <a:pt x="121" y="595"/>
                </a:lnTo>
                <a:lnTo>
                  <a:pt x="121" y="595"/>
                </a:lnTo>
                <a:lnTo>
                  <a:pt x="118" y="595"/>
                </a:lnTo>
                <a:lnTo>
                  <a:pt x="118" y="595"/>
                </a:lnTo>
                <a:lnTo>
                  <a:pt x="118" y="595"/>
                </a:lnTo>
                <a:lnTo>
                  <a:pt x="121" y="595"/>
                </a:lnTo>
                <a:lnTo>
                  <a:pt x="121" y="595"/>
                </a:lnTo>
                <a:lnTo>
                  <a:pt x="126" y="592"/>
                </a:lnTo>
                <a:lnTo>
                  <a:pt x="126" y="592"/>
                </a:lnTo>
                <a:lnTo>
                  <a:pt x="128" y="592"/>
                </a:lnTo>
                <a:lnTo>
                  <a:pt x="128" y="592"/>
                </a:lnTo>
                <a:lnTo>
                  <a:pt x="131" y="592"/>
                </a:lnTo>
                <a:lnTo>
                  <a:pt x="131" y="592"/>
                </a:lnTo>
                <a:lnTo>
                  <a:pt x="133" y="592"/>
                </a:lnTo>
                <a:lnTo>
                  <a:pt x="133" y="592"/>
                </a:lnTo>
                <a:lnTo>
                  <a:pt x="135" y="592"/>
                </a:lnTo>
                <a:lnTo>
                  <a:pt x="135" y="592"/>
                </a:lnTo>
                <a:lnTo>
                  <a:pt x="138" y="592"/>
                </a:lnTo>
                <a:lnTo>
                  <a:pt x="138" y="592"/>
                </a:lnTo>
                <a:lnTo>
                  <a:pt x="140" y="592"/>
                </a:lnTo>
                <a:lnTo>
                  <a:pt x="140" y="592"/>
                </a:lnTo>
                <a:lnTo>
                  <a:pt x="140" y="590"/>
                </a:lnTo>
                <a:lnTo>
                  <a:pt x="140" y="590"/>
                </a:lnTo>
                <a:lnTo>
                  <a:pt x="143" y="590"/>
                </a:lnTo>
                <a:lnTo>
                  <a:pt x="143" y="590"/>
                </a:lnTo>
                <a:lnTo>
                  <a:pt x="143" y="590"/>
                </a:lnTo>
                <a:lnTo>
                  <a:pt x="145" y="588"/>
                </a:lnTo>
                <a:lnTo>
                  <a:pt x="145" y="588"/>
                </a:lnTo>
                <a:lnTo>
                  <a:pt x="145" y="585"/>
                </a:lnTo>
                <a:lnTo>
                  <a:pt x="145" y="585"/>
                </a:lnTo>
                <a:lnTo>
                  <a:pt x="145" y="585"/>
                </a:lnTo>
                <a:lnTo>
                  <a:pt x="143" y="588"/>
                </a:lnTo>
                <a:lnTo>
                  <a:pt x="143" y="588"/>
                </a:lnTo>
                <a:lnTo>
                  <a:pt x="140" y="588"/>
                </a:lnTo>
                <a:lnTo>
                  <a:pt x="140" y="588"/>
                </a:lnTo>
                <a:lnTo>
                  <a:pt x="140" y="585"/>
                </a:lnTo>
                <a:lnTo>
                  <a:pt x="140" y="585"/>
                </a:lnTo>
                <a:lnTo>
                  <a:pt x="143" y="583"/>
                </a:lnTo>
                <a:lnTo>
                  <a:pt x="143" y="583"/>
                </a:lnTo>
                <a:lnTo>
                  <a:pt x="145" y="578"/>
                </a:lnTo>
                <a:lnTo>
                  <a:pt x="145" y="578"/>
                </a:lnTo>
                <a:lnTo>
                  <a:pt x="143" y="575"/>
                </a:lnTo>
                <a:lnTo>
                  <a:pt x="143" y="575"/>
                </a:lnTo>
                <a:lnTo>
                  <a:pt x="145" y="575"/>
                </a:lnTo>
                <a:lnTo>
                  <a:pt x="145" y="575"/>
                </a:lnTo>
                <a:lnTo>
                  <a:pt x="145" y="575"/>
                </a:lnTo>
                <a:lnTo>
                  <a:pt x="148" y="578"/>
                </a:lnTo>
                <a:lnTo>
                  <a:pt x="148" y="578"/>
                </a:lnTo>
                <a:lnTo>
                  <a:pt x="148" y="580"/>
                </a:lnTo>
                <a:lnTo>
                  <a:pt x="148" y="580"/>
                </a:lnTo>
                <a:lnTo>
                  <a:pt x="148" y="580"/>
                </a:lnTo>
                <a:lnTo>
                  <a:pt x="150" y="580"/>
                </a:lnTo>
                <a:lnTo>
                  <a:pt x="150" y="580"/>
                </a:lnTo>
                <a:lnTo>
                  <a:pt x="153" y="580"/>
                </a:lnTo>
                <a:lnTo>
                  <a:pt x="153" y="580"/>
                </a:lnTo>
                <a:lnTo>
                  <a:pt x="153" y="583"/>
                </a:lnTo>
                <a:lnTo>
                  <a:pt x="153" y="583"/>
                </a:lnTo>
                <a:lnTo>
                  <a:pt x="155" y="583"/>
                </a:lnTo>
                <a:lnTo>
                  <a:pt x="155" y="583"/>
                </a:lnTo>
                <a:lnTo>
                  <a:pt x="155" y="580"/>
                </a:lnTo>
                <a:lnTo>
                  <a:pt x="155" y="580"/>
                </a:lnTo>
                <a:lnTo>
                  <a:pt x="155" y="583"/>
                </a:lnTo>
                <a:lnTo>
                  <a:pt x="155" y="583"/>
                </a:lnTo>
                <a:lnTo>
                  <a:pt x="158" y="583"/>
                </a:lnTo>
                <a:lnTo>
                  <a:pt x="158" y="583"/>
                </a:lnTo>
                <a:lnTo>
                  <a:pt x="158" y="580"/>
                </a:lnTo>
                <a:lnTo>
                  <a:pt x="158" y="580"/>
                </a:lnTo>
                <a:lnTo>
                  <a:pt x="155" y="580"/>
                </a:lnTo>
                <a:lnTo>
                  <a:pt x="155" y="580"/>
                </a:lnTo>
                <a:lnTo>
                  <a:pt x="153" y="578"/>
                </a:lnTo>
                <a:lnTo>
                  <a:pt x="153" y="578"/>
                </a:lnTo>
                <a:lnTo>
                  <a:pt x="153" y="578"/>
                </a:lnTo>
                <a:lnTo>
                  <a:pt x="155" y="578"/>
                </a:lnTo>
                <a:lnTo>
                  <a:pt x="155" y="578"/>
                </a:lnTo>
                <a:lnTo>
                  <a:pt x="158" y="578"/>
                </a:lnTo>
                <a:lnTo>
                  <a:pt x="158" y="578"/>
                </a:lnTo>
                <a:lnTo>
                  <a:pt x="158" y="575"/>
                </a:lnTo>
                <a:lnTo>
                  <a:pt x="158" y="575"/>
                </a:lnTo>
                <a:lnTo>
                  <a:pt x="155" y="575"/>
                </a:lnTo>
                <a:lnTo>
                  <a:pt x="155" y="575"/>
                </a:lnTo>
                <a:lnTo>
                  <a:pt x="155" y="575"/>
                </a:lnTo>
                <a:lnTo>
                  <a:pt x="153" y="573"/>
                </a:lnTo>
                <a:lnTo>
                  <a:pt x="153" y="573"/>
                </a:lnTo>
                <a:lnTo>
                  <a:pt x="153" y="573"/>
                </a:lnTo>
                <a:lnTo>
                  <a:pt x="150" y="573"/>
                </a:lnTo>
                <a:lnTo>
                  <a:pt x="150" y="573"/>
                </a:lnTo>
                <a:lnTo>
                  <a:pt x="150" y="573"/>
                </a:lnTo>
                <a:lnTo>
                  <a:pt x="148" y="573"/>
                </a:lnTo>
                <a:lnTo>
                  <a:pt x="148" y="573"/>
                </a:lnTo>
                <a:lnTo>
                  <a:pt x="148" y="573"/>
                </a:lnTo>
                <a:lnTo>
                  <a:pt x="148" y="570"/>
                </a:lnTo>
                <a:lnTo>
                  <a:pt x="148" y="570"/>
                </a:lnTo>
                <a:lnTo>
                  <a:pt x="150" y="570"/>
                </a:lnTo>
                <a:lnTo>
                  <a:pt x="150" y="570"/>
                </a:lnTo>
                <a:lnTo>
                  <a:pt x="153" y="568"/>
                </a:lnTo>
                <a:lnTo>
                  <a:pt x="153" y="568"/>
                </a:lnTo>
                <a:lnTo>
                  <a:pt x="153" y="565"/>
                </a:lnTo>
                <a:lnTo>
                  <a:pt x="153" y="565"/>
                </a:lnTo>
                <a:lnTo>
                  <a:pt x="155" y="565"/>
                </a:lnTo>
                <a:lnTo>
                  <a:pt x="155" y="565"/>
                </a:lnTo>
                <a:lnTo>
                  <a:pt x="155" y="565"/>
                </a:lnTo>
                <a:lnTo>
                  <a:pt x="158" y="565"/>
                </a:lnTo>
                <a:lnTo>
                  <a:pt x="158" y="565"/>
                </a:lnTo>
                <a:lnTo>
                  <a:pt x="158" y="565"/>
                </a:lnTo>
                <a:lnTo>
                  <a:pt x="155" y="563"/>
                </a:lnTo>
                <a:lnTo>
                  <a:pt x="155" y="563"/>
                </a:lnTo>
                <a:lnTo>
                  <a:pt x="153" y="563"/>
                </a:lnTo>
                <a:lnTo>
                  <a:pt x="153" y="563"/>
                </a:lnTo>
                <a:lnTo>
                  <a:pt x="153" y="563"/>
                </a:lnTo>
                <a:lnTo>
                  <a:pt x="153" y="560"/>
                </a:lnTo>
                <a:lnTo>
                  <a:pt x="153" y="560"/>
                </a:lnTo>
                <a:lnTo>
                  <a:pt x="158" y="560"/>
                </a:lnTo>
                <a:lnTo>
                  <a:pt x="158" y="560"/>
                </a:lnTo>
                <a:lnTo>
                  <a:pt x="158" y="558"/>
                </a:lnTo>
                <a:lnTo>
                  <a:pt x="158" y="558"/>
                </a:lnTo>
                <a:lnTo>
                  <a:pt x="160" y="558"/>
                </a:lnTo>
                <a:lnTo>
                  <a:pt x="160" y="558"/>
                </a:lnTo>
                <a:lnTo>
                  <a:pt x="160" y="558"/>
                </a:lnTo>
                <a:lnTo>
                  <a:pt x="163" y="556"/>
                </a:lnTo>
                <a:lnTo>
                  <a:pt x="163" y="556"/>
                </a:lnTo>
                <a:lnTo>
                  <a:pt x="160" y="553"/>
                </a:lnTo>
                <a:lnTo>
                  <a:pt x="160" y="553"/>
                </a:lnTo>
                <a:lnTo>
                  <a:pt x="160" y="553"/>
                </a:lnTo>
                <a:lnTo>
                  <a:pt x="160" y="553"/>
                </a:lnTo>
                <a:lnTo>
                  <a:pt x="160" y="553"/>
                </a:lnTo>
                <a:lnTo>
                  <a:pt x="163" y="553"/>
                </a:lnTo>
                <a:lnTo>
                  <a:pt x="163" y="553"/>
                </a:lnTo>
                <a:lnTo>
                  <a:pt x="163" y="551"/>
                </a:lnTo>
                <a:lnTo>
                  <a:pt x="163" y="551"/>
                </a:lnTo>
                <a:lnTo>
                  <a:pt x="160" y="548"/>
                </a:lnTo>
                <a:lnTo>
                  <a:pt x="160" y="548"/>
                </a:lnTo>
                <a:lnTo>
                  <a:pt x="158" y="551"/>
                </a:lnTo>
                <a:lnTo>
                  <a:pt x="158" y="551"/>
                </a:lnTo>
                <a:lnTo>
                  <a:pt x="155" y="551"/>
                </a:lnTo>
                <a:lnTo>
                  <a:pt x="155" y="551"/>
                </a:lnTo>
                <a:lnTo>
                  <a:pt x="153" y="551"/>
                </a:lnTo>
                <a:lnTo>
                  <a:pt x="153" y="551"/>
                </a:lnTo>
                <a:lnTo>
                  <a:pt x="153" y="551"/>
                </a:lnTo>
                <a:lnTo>
                  <a:pt x="150" y="551"/>
                </a:lnTo>
                <a:lnTo>
                  <a:pt x="150" y="551"/>
                </a:lnTo>
                <a:lnTo>
                  <a:pt x="148" y="551"/>
                </a:lnTo>
                <a:lnTo>
                  <a:pt x="148" y="551"/>
                </a:lnTo>
                <a:lnTo>
                  <a:pt x="145" y="548"/>
                </a:lnTo>
                <a:lnTo>
                  <a:pt x="145" y="548"/>
                </a:lnTo>
                <a:lnTo>
                  <a:pt x="145" y="551"/>
                </a:lnTo>
                <a:lnTo>
                  <a:pt x="145" y="551"/>
                </a:lnTo>
                <a:lnTo>
                  <a:pt x="143" y="548"/>
                </a:lnTo>
                <a:lnTo>
                  <a:pt x="143" y="548"/>
                </a:lnTo>
                <a:lnTo>
                  <a:pt x="140" y="546"/>
                </a:lnTo>
                <a:lnTo>
                  <a:pt x="140" y="546"/>
                </a:lnTo>
                <a:lnTo>
                  <a:pt x="138" y="546"/>
                </a:lnTo>
                <a:lnTo>
                  <a:pt x="138" y="546"/>
                </a:lnTo>
                <a:lnTo>
                  <a:pt x="135" y="546"/>
                </a:lnTo>
                <a:lnTo>
                  <a:pt x="135" y="546"/>
                </a:lnTo>
                <a:lnTo>
                  <a:pt x="135" y="543"/>
                </a:lnTo>
                <a:lnTo>
                  <a:pt x="135" y="543"/>
                </a:lnTo>
                <a:lnTo>
                  <a:pt x="135" y="541"/>
                </a:lnTo>
                <a:lnTo>
                  <a:pt x="135" y="541"/>
                </a:lnTo>
                <a:lnTo>
                  <a:pt x="131" y="538"/>
                </a:lnTo>
                <a:lnTo>
                  <a:pt x="131" y="538"/>
                </a:lnTo>
                <a:lnTo>
                  <a:pt x="126" y="536"/>
                </a:lnTo>
                <a:lnTo>
                  <a:pt x="126" y="536"/>
                </a:lnTo>
                <a:lnTo>
                  <a:pt x="121" y="536"/>
                </a:lnTo>
                <a:lnTo>
                  <a:pt x="121" y="536"/>
                </a:lnTo>
                <a:lnTo>
                  <a:pt x="118" y="533"/>
                </a:lnTo>
                <a:lnTo>
                  <a:pt x="118" y="533"/>
                </a:lnTo>
                <a:lnTo>
                  <a:pt x="118" y="531"/>
                </a:lnTo>
                <a:lnTo>
                  <a:pt x="118" y="531"/>
                </a:lnTo>
                <a:lnTo>
                  <a:pt x="118" y="526"/>
                </a:lnTo>
                <a:lnTo>
                  <a:pt x="118" y="526"/>
                </a:lnTo>
                <a:lnTo>
                  <a:pt x="116" y="526"/>
                </a:lnTo>
                <a:lnTo>
                  <a:pt x="116" y="526"/>
                </a:lnTo>
                <a:lnTo>
                  <a:pt x="116" y="524"/>
                </a:lnTo>
                <a:lnTo>
                  <a:pt x="116" y="524"/>
                </a:lnTo>
                <a:lnTo>
                  <a:pt x="116" y="521"/>
                </a:lnTo>
                <a:lnTo>
                  <a:pt x="116" y="521"/>
                </a:lnTo>
                <a:lnTo>
                  <a:pt x="118" y="519"/>
                </a:lnTo>
                <a:lnTo>
                  <a:pt x="118" y="519"/>
                </a:lnTo>
                <a:lnTo>
                  <a:pt x="121" y="519"/>
                </a:lnTo>
                <a:lnTo>
                  <a:pt x="121" y="519"/>
                </a:lnTo>
                <a:lnTo>
                  <a:pt x="123" y="519"/>
                </a:lnTo>
                <a:lnTo>
                  <a:pt x="123" y="519"/>
                </a:lnTo>
                <a:lnTo>
                  <a:pt x="123" y="519"/>
                </a:lnTo>
                <a:lnTo>
                  <a:pt x="128" y="519"/>
                </a:lnTo>
                <a:lnTo>
                  <a:pt x="128" y="519"/>
                </a:lnTo>
                <a:lnTo>
                  <a:pt x="131" y="521"/>
                </a:lnTo>
                <a:lnTo>
                  <a:pt x="131" y="521"/>
                </a:lnTo>
                <a:lnTo>
                  <a:pt x="133" y="521"/>
                </a:lnTo>
                <a:lnTo>
                  <a:pt x="133" y="521"/>
                </a:lnTo>
                <a:lnTo>
                  <a:pt x="135" y="524"/>
                </a:lnTo>
                <a:lnTo>
                  <a:pt x="135" y="524"/>
                </a:lnTo>
                <a:lnTo>
                  <a:pt x="135" y="524"/>
                </a:lnTo>
                <a:lnTo>
                  <a:pt x="138" y="524"/>
                </a:lnTo>
                <a:lnTo>
                  <a:pt x="138" y="524"/>
                </a:lnTo>
                <a:lnTo>
                  <a:pt x="140" y="524"/>
                </a:lnTo>
                <a:lnTo>
                  <a:pt x="140" y="524"/>
                </a:lnTo>
                <a:lnTo>
                  <a:pt x="143" y="526"/>
                </a:lnTo>
                <a:lnTo>
                  <a:pt x="143" y="526"/>
                </a:lnTo>
                <a:lnTo>
                  <a:pt x="145" y="526"/>
                </a:lnTo>
                <a:lnTo>
                  <a:pt x="145" y="526"/>
                </a:lnTo>
                <a:lnTo>
                  <a:pt x="145" y="529"/>
                </a:lnTo>
                <a:lnTo>
                  <a:pt x="145" y="529"/>
                </a:lnTo>
                <a:lnTo>
                  <a:pt x="148" y="533"/>
                </a:lnTo>
                <a:lnTo>
                  <a:pt x="148" y="533"/>
                </a:lnTo>
                <a:lnTo>
                  <a:pt x="150" y="536"/>
                </a:lnTo>
                <a:lnTo>
                  <a:pt x="150" y="536"/>
                </a:lnTo>
                <a:lnTo>
                  <a:pt x="153" y="538"/>
                </a:lnTo>
                <a:lnTo>
                  <a:pt x="153" y="538"/>
                </a:lnTo>
                <a:lnTo>
                  <a:pt x="155" y="541"/>
                </a:lnTo>
                <a:lnTo>
                  <a:pt x="155" y="541"/>
                </a:lnTo>
                <a:lnTo>
                  <a:pt x="158" y="541"/>
                </a:lnTo>
                <a:lnTo>
                  <a:pt x="158" y="541"/>
                </a:lnTo>
                <a:lnTo>
                  <a:pt x="160" y="541"/>
                </a:lnTo>
                <a:lnTo>
                  <a:pt x="160" y="541"/>
                </a:lnTo>
                <a:lnTo>
                  <a:pt x="160" y="538"/>
                </a:lnTo>
                <a:lnTo>
                  <a:pt x="160" y="538"/>
                </a:lnTo>
                <a:lnTo>
                  <a:pt x="160" y="538"/>
                </a:lnTo>
                <a:lnTo>
                  <a:pt x="160" y="538"/>
                </a:lnTo>
                <a:lnTo>
                  <a:pt x="158" y="538"/>
                </a:lnTo>
                <a:lnTo>
                  <a:pt x="158" y="538"/>
                </a:lnTo>
                <a:lnTo>
                  <a:pt x="155" y="538"/>
                </a:lnTo>
                <a:lnTo>
                  <a:pt x="155" y="538"/>
                </a:lnTo>
                <a:lnTo>
                  <a:pt x="153" y="533"/>
                </a:lnTo>
                <a:lnTo>
                  <a:pt x="153" y="533"/>
                </a:lnTo>
                <a:lnTo>
                  <a:pt x="153" y="533"/>
                </a:lnTo>
                <a:lnTo>
                  <a:pt x="153" y="533"/>
                </a:lnTo>
                <a:lnTo>
                  <a:pt x="155" y="536"/>
                </a:lnTo>
                <a:lnTo>
                  <a:pt x="155" y="536"/>
                </a:lnTo>
                <a:lnTo>
                  <a:pt x="158" y="536"/>
                </a:lnTo>
                <a:lnTo>
                  <a:pt x="158" y="536"/>
                </a:lnTo>
                <a:lnTo>
                  <a:pt x="158" y="533"/>
                </a:lnTo>
                <a:lnTo>
                  <a:pt x="158" y="533"/>
                </a:lnTo>
                <a:lnTo>
                  <a:pt x="160" y="533"/>
                </a:lnTo>
                <a:lnTo>
                  <a:pt x="160" y="533"/>
                </a:lnTo>
                <a:lnTo>
                  <a:pt x="160" y="533"/>
                </a:lnTo>
                <a:lnTo>
                  <a:pt x="155" y="531"/>
                </a:lnTo>
                <a:lnTo>
                  <a:pt x="155" y="531"/>
                </a:lnTo>
                <a:lnTo>
                  <a:pt x="153" y="526"/>
                </a:lnTo>
                <a:lnTo>
                  <a:pt x="153" y="526"/>
                </a:lnTo>
                <a:lnTo>
                  <a:pt x="153" y="526"/>
                </a:lnTo>
                <a:lnTo>
                  <a:pt x="153" y="524"/>
                </a:lnTo>
                <a:lnTo>
                  <a:pt x="153" y="524"/>
                </a:lnTo>
                <a:lnTo>
                  <a:pt x="153" y="524"/>
                </a:lnTo>
                <a:lnTo>
                  <a:pt x="155" y="526"/>
                </a:lnTo>
                <a:lnTo>
                  <a:pt x="155" y="526"/>
                </a:lnTo>
                <a:lnTo>
                  <a:pt x="158" y="526"/>
                </a:lnTo>
                <a:lnTo>
                  <a:pt x="158" y="526"/>
                </a:lnTo>
                <a:lnTo>
                  <a:pt x="155" y="524"/>
                </a:lnTo>
                <a:lnTo>
                  <a:pt x="155" y="524"/>
                </a:lnTo>
                <a:lnTo>
                  <a:pt x="153" y="521"/>
                </a:lnTo>
                <a:lnTo>
                  <a:pt x="153" y="521"/>
                </a:lnTo>
                <a:lnTo>
                  <a:pt x="150" y="519"/>
                </a:lnTo>
                <a:lnTo>
                  <a:pt x="150" y="519"/>
                </a:lnTo>
                <a:lnTo>
                  <a:pt x="150" y="519"/>
                </a:lnTo>
                <a:lnTo>
                  <a:pt x="150" y="516"/>
                </a:lnTo>
                <a:lnTo>
                  <a:pt x="150" y="516"/>
                </a:lnTo>
                <a:lnTo>
                  <a:pt x="153" y="519"/>
                </a:lnTo>
                <a:lnTo>
                  <a:pt x="153" y="519"/>
                </a:lnTo>
                <a:lnTo>
                  <a:pt x="158" y="519"/>
                </a:lnTo>
                <a:lnTo>
                  <a:pt x="158" y="519"/>
                </a:lnTo>
                <a:lnTo>
                  <a:pt x="160" y="519"/>
                </a:lnTo>
                <a:lnTo>
                  <a:pt x="160" y="519"/>
                </a:lnTo>
                <a:lnTo>
                  <a:pt x="160" y="516"/>
                </a:lnTo>
                <a:lnTo>
                  <a:pt x="160" y="516"/>
                </a:lnTo>
                <a:lnTo>
                  <a:pt x="158" y="514"/>
                </a:lnTo>
                <a:lnTo>
                  <a:pt x="158" y="514"/>
                </a:lnTo>
                <a:lnTo>
                  <a:pt x="158" y="514"/>
                </a:lnTo>
                <a:lnTo>
                  <a:pt x="155" y="516"/>
                </a:lnTo>
                <a:lnTo>
                  <a:pt x="155" y="516"/>
                </a:lnTo>
                <a:lnTo>
                  <a:pt x="153" y="516"/>
                </a:lnTo>
                <a:lnTo>
                  <a:pt x="153" y="516"/>
                </a:lnTo>
                <a:lnTo>
                  <a:pt x="150" y="516"/>
                </a:lnTo>
                <a:lnTo>
                  <a:pt x="150" y="516"/>
                </a:lnTo>
                <a:lnTo>
                  <a:pt x="150" y="514"/>
                </a:lnTo>
                <a:lnTo>
                  <a:pt x="150" y="514"/>
                </a:lnTo>
                <a:lnTo>
                  <a:pt x="150" y="511"/>
                </a:lnTo>
                <a:lnTo>
                  <a:pt x="150" y="511"/>
                </a:lnTo>
                <a:lnTo>
                  <a:pt x="155" y="511"/>
                </a:lnTo>
                <a:lnTo>
                  <a:pt x="155" y="511"/>
                </a:lnTo>
                <a:lnTo>
                  <a:pt x="155" y="511"/>
                </a:lnTo>
                <a:lnTo>
                  <a:pt x="158" y="511"/>
                </a:lnTo>
                <a:lnTo>
                  <a:pt x="158" y="511"/>
                </a:lnTo>
                <a:lnTo>
                  <a:pt x="158" y="511"/>
                </a:lnTo>
                <a:lnTo>
                  <a:pt x="158" y="509"/>
                </a:lnTo>
                <a:lnTo>
                  <a:pt x="158" y="509"/>
                </a:lnTo>
                <a:lnTo>
                  <a:pt x="155" y="506"/>
                </a:lnTo>
                <a:lnTo>
                  <a:pt x="155" y="506"/>
                </a:lnTo>
                <a:lnTo>
                  <a:pt x="155" y="506"/>
                </a:lnTo>
                <a:lnTo>
                  <a:pt x="153" y="509"/>
                </a:lnTo>
                <a:lnTo>
                  <a:pt x="153" y="509"/>
                </a:lnTo>
                <a:lnTo>
                  <a:pt x="153" y="509"/>
                </a:lnTo>
                <a:lnTo>
                  <a:pt x="150" y="509"/>
                </a:lnTo>
                <a:lnTo>
                  <a:pt x="150" y="509"/>
                </a:lnTo>
                <a:lnTo>
                  <a:pt x="148" y="514"/>
                </a:lnTo>
                <a:lnTo>
                  <a:pt x="148" y="514"/>
                </a:lnTo>
                <a:lnTo>
                  <a:pt x="145" y="514"/>
                </a:lnTo>
                <a:lnTo>
                  <a:pt x="145" y="514"/>
                </a:lnTo>
                <a:lnTo>
                  <a:pt x="145" y="511"/>
                </a:lnTo>
                <a:lnTo>
                  <a:pt x="145" y="511"/>
                </a:lnTo>
                <a:lnTo>
                  <a:pt x="148" y="511"/>
                </a:lnTo>
                <a:lnTo>
                  <a:pt x="148" y="511"/>
                </a:lnTo>
                <a:lnTo>
                  <a:pt x="148" y="509"/>
                </a:lnTo>
                <a:lnTo>
                  <a:pt x="148" y="509"/>
                </a:lnTo>
                <a:lnTo>
                  <a:pt x="150" y="506"/>
                </a:lnTo>
                <a:lnTo>
                  <a:pt x="150" y="506"/>
                </a:lnTo>
                <a:lnTo>
                  <a:pt x="150" y="506"/>
                </a:lnTo>
                <a:lnTo>
                  <a:pt x="153" y="506"/>
                </a:lnTo>
                <a:lnTo>
                  <a:pt x="153" y="506"/>
                </a:lnTo>
                <a:lnTo>
                  <a:pt x="155" y="504"/>
                </a:lnTo>
                <a:lnTo>
                  <a:pt x="155" y="504"/>
                </a:lnTo>
                <a:lnTo>
                  <a:pt x="158" y="504"/>
                </a:lnTo>
                <a:lnTo>
                  <a:pt x="158" y="504"/>
                </a:lnTo>
                <a:lnTo>
                  <a:pt x="158" y="501"/>
                </a:lnTo>
                <a:lnTo>
                  <a:pt x="158" y="501"/>
                </a:lnTo>
                <a:lnTo>
                  <a:pt x="158" y="501"/>
                </a:lnTo>
                <a:lnTo>
                  <a:pt x="153" y="501"/>
                </a:lnTo>
                <a:lnTo>
                  <a:pt x="153" y="501"/>
                </a:lnTo>
                <a:lnTo>
                  <a:pt x="150" y="504"/>
                </a:lnTo>
                <a:lnTo>
                  <a:pt x="150" y="504"/>
                </a:lnTo>
                <a:lnTo>
                  <a:pt x="150" y="504"/>
                </a:lnTo>
                <a:lnTo>
                  <a:pt x="148" y="504"/>
                </a:lnTo>
                <a:lnTo>
                  <a:pt x="148" y="504"/>
                </a:lnTo>
                <a:lnTo>
                  <a:pt x="145" y="504"/>
                </a:lnTo>
                <a:lnTo>
                  <a:pt x="145" y="504"/>
                </a:lnTo>
                <a:lnTo>
                  <a:pt x="143" y="504"/>
                </a:lnTo>
                <a:lnTo>
                  <a:pt x="143" y="504"/>
                </a:lnTo>
                <a:lnTo>
                  <a:pt x="143" y="501"/>
                </a:lnTo>
                <a:lnTo>
                  <a:pt x="143" y="501"/>
                </a:lnTo>
                <a:lnTo>
                  <a:pt x="145" y="499"/>
                </a:lnTo>
                <a:lnTo>
                  <a:pt x="145" y="499"/>
                </a:lnTo>
                <a:lnTo>
                  <a:pt x="148" y="499"/>
                </a:lnTo>
                <a:lnTo>
                  <a:pt x="148" y="499"/>
                </a:lnTo>
                <a:lnTo>
                  <a:pt x="150" y="499"/>
                </a:lnTo>
                <a:lnTo>
                  <a:pt x="150" y="499"/>
                </a:lnTo>
                <a:lnTo>
                  <a:pt x="155" y="497"/>
                </a:lnTo>
                <a:lnTo>
                  <a:pt x="155" y="497"/>
                </a:lnTo>
                <a:lnTo>
                  <a:pt x="160" y="494"/>
                </a:lnTo>
                <a:lnTo>
                  <a:pt x="160" y="494"/>
                </a:lnTo>
                <a:lnTo>
                  <a:pt x="160" y="494"/>
                </a:lnTo>
                <a:lnTo>
                  <a:pt x="158" y="494"/>
                </a:lnTo>
                <a:lnTo>
                  <a:pt x="158" y="494"/>
                </a:lnTo>
                <a:lnTo>
                  <a:pt x="158" y="494"/>
                </a:lnTo>
                <a:lnTo>
                  <a:pt x="155" y="494"/>
                </a:lnTo>
                <a:lnTo>
                  <a:pt x="155" y="494"/>
                </a:lnTo>
                <a:lnTo>
                  <a:pt x="153" y="497"/>
                </a:lnTo>
                <a:lnTo>
                  <a:pt x="153" y="497"/>
                </a:lnTo>
                <a:lnTo>
                  <a:pt x="150" y="494"/>
                </a:lnTo>
                <a:lnTo>
                  <a:pt x="150" y="494"/>
                </a:lnTo>
                <a:lnTo>
                  <a:pt x="150" y="494"/>
                </a:lnTo>
                <a:lnTo>
                  <a:pt x="148" y="492"/>
                </a:lnTo>
                <a:lnTo>
                  <a:pt x="148" y="492"/>
                </a:lnTo>
                <a:lnTo>
                  <a:pt x="145" y="492"/>
                </a:lnTo>
                <a:lnTo>
                  <a:pt x="145" y="492"/>
                </a:lnTo>
                <a:lnTo>
                  <a:pt x="145" y="492"/>
                </a:lnTo>
                <a:lnTo>
                  <a:pt x="145" y="492"/>
                </a:lnTo>
                <a:lnTo>
                  <a:pt x="148" y="489"/>
                </a:lnTo>
                <a:lnTo>
                  <a:pt x="148" y="489"/>
                </a:lnTo>
                <a:lnTo>
                  <a:pt x="148" y="487"/>
                </a:lnTo>
                <a:lnTo>
                  <a:pt x="148" y="487"/>
                </a:lnTo>
                <a:lnTo>
                  <a:pt x="150" y="484"/>
                </a:lnTo>
                <a:lnTo>
                  <a:pt x="150" y="484"/>
                </a:lnTo>
                <a:lnTo>
                  <a:pt x="150" y="484"/>
                </a:lnTo>
                <a:lnTo>
                  <a:pt x="150" y="482"/>
                </a:lnTo>
                <a:lnTo>
                  <a:pt x="150" y="482"/>
                </a:lnTo>
                <a:lnTo>
                  <a:pt x="150" y="482"/>
                </a:lnTo>
                <a:lnTo>
                  <a:pt x="148" y="484"/>
                </a:lnTo>
                <a:lnTo>
                  <a:pt x="148" y="484"/>
                </a:lnTo>
                <a:lnTo>
                  <a:pt x="145" y="487"/>
                </a:lnTo>
                <a:lnTo>
                  <a:pt x="145" y="487"/>
                </a:lnTo>
                <a:lnTo>
                  <a:pt x="145" y="489"/>
                </a:lnTo>
                <a:lnTo>
                  <a:pt x="145" y="489"/>
                </a:lnTo>
                <a:lnTo>
                  <a:pt x="143" y="489"/>
                </a:lnTo>
                <a:lnTo>
                  <a:pt x="143" y="489"/>
                </a:lnTo>
                <a:lnTo>
                  <a:pt x="143" y="492"/>
                </a:lnTo>
                <a:lnTo>
                  <a:pt x="143" y="492"/>
                </a:lnTo>
                <a:lnTo>
                  <a:pt x="140" y="492"/>
                </a:lnTo>
                <a:lnTo>
                  <a:pt x="140" y="492"/>
                </a:lnTo>
                <a:lnTo>
                  <a:pt x="140" y="489"/>
                </a:lnTo>
                <a:lnTo>
                  <a:pt x="140" y="489"/>
                </a:lnTo>
                <a:lnTo>
                  <a:pt x="140" y="484"/>
                </a:lnTo>
                <a:lnTo>
                  <a:pt x="140" y="484"/>
                </a:lnTo>
                <a:lnTo>
                  <a:pt x="143" y="482"/>
                </a:lnTo>
                <a:lnTo>
                  <a:pt x="143" y="482"/>
                </a:lnTo>
                <a:lnTo>
                  <a:pt x="140" y="477"/>
                </a:lnTo>
                <a:lnTo>
                  <a:pt x="140" y="477"/>
                </a:lnTo>
                <a:lnTo>
                  <a:pt x="140" y="474"/>
                </a:lnTo>
                <a:lnTo>
                  <a:pt x="140" y="474"/>
                </a:lnTo>
                <a:lnTo>
                  <a:pt x="140" y="472"/>
                </a:lnTo>
                <a:lnTo>
                  <a:pt x="140" y="472"/>
                </a:lnTo>
                <a:lnTo>
                  <a:pt x="140" y="469"/>
                </a:lnTo>
                <a:lnTo>
                  <a:pt x="140" y="469"/>
                </a:lnTo>
                <a:lnTo>
                  <a:pt x="140" y="469"/>
                </a:lnTo>
                <a:lnTo>
                  <a:pt x="140" y="472"/>
                </a:lnTo>
                <a:lnTo>
                  <a:pt x="140" y="472"/>
                </a:lnTo>
                <a:lnTo>
                  <a:pt x="138" y="477"/>
                </a:lnTo>
                <a:lnTo>
                  <a:pt x="138" y="477"/>
                </a:lnTo>
                <a:lnTo>
                  <a:pt x="140" y="479"/>
                </a:lnTo>
                <a:lnTo>
                  <a:pt x="140" y="479"/>
                </a:lnTo>
                <a:lnTo>
                  <a:pt x="140" y="482"/>
                </a:lnTo>
                <a:lnTo>
                  <a:pt x="140" y="482"/>
                </a:lnTo>
                <a:lnTo>
                  <a:pt x="140" y="484"/>
                </a:lnTo>
                <a:lnTo>
                  <a:pt x="140" y="484"/>
                </a:lnTo>
                <a:lnTo>
                  <a:pt x="140" y="489"/>
                </a:lnTo>
                <a:lnTo>
                  <a:pt x="140" y="489"/>
                </a:lnTo>
                <a:lnTo>
                  <a:pt x="138" y="492"/>
                </a:lnTo>
                <a:lnTo>
                  <a:pt x="138" y="492"/>
                </a:lnTo>
                <a:lnTo>
                  <a:pt x="138" y="492"/>
                </a:lnTo>
                <a:lnTo>
                  <a:pt x="135" y="489"/>
                </a:lnTo>
                <a:lnTo>
                  <a:pt x="135" y="489"/>
                </a:lnTo>
                <a:lnTo>
                  <a:pt x="135" y="487"/>
                </a:lnTo>
                <a:lnTo>
                  <a:pt x="135" y="487"/>
                </a:lnTo>
                <a:lnTo>
                  <a:pt x="133" y="492"/>
                </a:lnTo>
                <a:lnTo>
                  <a:pt x="133" y="492"/>
                </a:lnTo>
                <a:lnTo>
                  <a:pt x="133" y="494"/>
                </a:lnTo>
                <a:lnTo>
                  <a:pt x="133" y="494"/>
                </a:lnTo>
                <a:lnTo>
                  <a:pt x="133" y="492"/>
                </a:lnTo>
                <a:lnTo>
                  <a:pt x="133" y="492"/>
                </a:lnTo>
                <a:lnTo>
                  <a:pt x="131" y="492"/>
                </a:lnTo>
                <a:lnTo>
                  <a:pt x="131" y="492"/>
                </a:lnTo>
                <a:lnTo>
                  <a:pt x="133" y="494"/>
                </a:lnTo>
                <a:lnTo>
                  <a:pt x="133" y="494"/>
                </a:lnTo>
                <a:lnTo>
                  <a:pt x="133" y="497"/>
                </a:lnTo>
                <a:lnTo>
                  <a:pt x="133" y="497"/>
                </a:lnTo>
                <a:lnTo>
                  <a:pt x="133" y="499"/>
                </a:lnTo>
                <a:lnTo>
                  <a:pt x="133" y="499"/>
                </a:lnTo>
                <a:lnTo>
                  <a:pt x="131" y="499"/>
                </a:lnTo>
                <a:lnTo>
                  <a:pt x="131" y="499"/>
                </a:lnTo>
                <a:lnTo>
                  <a:pt x="128" y="501"/>
                </a:lnTo>
                <a:lnTo>
                  <a:pt x="128" y="501"/>
                </a:lnTo>
                <a:lnTo>
                  <a:pt x="128" y="499"/>
                </a:lnTo>
                <a:lnTo>
                  <a:pt x="128" y="499"/>
                </a:lnTo>
                <a:lnTo>
                  <a:pt x="126" y="501"/>
                </a:lnTo>
                <a:lnTo>
                  <a:pt x="126" y="501"/>
                </a:lnTo>
                <a:lnTo>
                  <a:pt x="123" y="501"/>
                </a:lnTo>
                <a:lnTo>
                  <a:pt x="123" y="501"/>
                </a:lnTo>
                <a:lnTo>
                  <a:pt x="121" y="501"/>
                </a:lnTo>
                <a:lnTo>
                  <a:pt x="121" y="501"/>
                </a:lnTo>
                <a:lnTo>
                  <a:pt x="118" y="501"/>
                </a:lnTo>
                <a:lnTo>
                  <a:pt x="118" y="501"/>
                </a:lnTo>
                <a:lnTo>
                  <a:pt x="118" y="499"/>
                </a:lnTo>
                <a:lnTo>
                  <a:pt x="118" y="499"/>
                </a:lnTo>
                <a:lnTo>
                  <a:pt x="118" y="497"/>
                </a:lnTo>
                <a:lnTo>
                  <a:pt x="118" y="497"/>
                </a:lnTo>
                <a:lnTo>
                  <a:pt x="118" y="497"/>
                </a:lnTo>
                <a:lnTo>
                  <a:pt x="116" y="497"/>
                </a:lnTo>
                <a:lnTo>
                  <a:pt x="116" y="497"/>
                </a:lnTo>
                <a:lnTo>
                  <a:pt x="116" y="499"/>
                </a:lnTo>
                <a:lnTo>
                  <a:pt x="116" y="499"/>
                </a:lnTo>
                <a:lnTo>
                  <a:pt x="113" y="499"/>
                </a:lnTo>
                <a:lnTo>
                  <a:pt x="113" y="499"/>
                </a:lnTo>
                <a:lnTo>
                  <a:pt x="113" y="494"/>
                </a:lnTo>
                <a:lnTo>
                  <a:pt x="113" y="494"/>
                </a:lnTo>
                <a:lnTo>
                  <a:pt x="113" y="492"/>
                </a:lnTo>
                <a:lnTo>
                  <a:pt x="113" y="492"/>
                </a:lnTo>
                <a:lnTo>
                  <a:pt x="113" y="492"/>
                </a:lnTo>
                <a:lnTo>
                  <a:pt x="113" y="489"/>
                </a:lnTo>
                <a:lnTo>
                  <a:pt x="113" y="489"/>
                </a:lnTo>
                <a:lnTo>
                  <a:pt x="113" y="489"/>
                </a:lnTo>
                <a:lnTo>
                  <a:pt x="116" y="487"/>
                </a:lnTo>
                <a:lnTo>
                  <a:pt x="116" y="487"/>
                </a:lnTo>
                <a:lnTo>
                  <a:pt x="118" y="487"/>
                </a:lnTo>
                <a:lnTo>
                  <a:pt x="118" y="487"/>
                </a:lnTo>
                <a:lnTo>
                  <a:pt x="118" y="487"/>
                </a:lnTo>
                <a:lnTo>
                  <a:pt x="121" y="484"/>
                </a:lnTo>
                <a:lnTo>
                  <a:pt x="121" y="484"/>
                </a:lnTo>
                <a:lnTo>
                  <a:pt x="121" y="484"/>
                </a:lnTo>
                <a:lnTo>
                  <a:pt x="126" y="484"/>
                </a:lnTo>
                <a:lnTo>
                  <a:pt x="126" y="484"/>
                </a:lnTo>
                <a:lnTo>
                  <a:pt x="128" y="484"/>
                </a:lnTo>
                <a:lnTo>
                  <a:pt x="128" y="484"/>
                </a:lnTo>
                <a:lnTo>
                  <a:pt x="131" y="479"/>
                </a:lnTo>
                <a:lnTo>
                  <a:pt x="131" y="479"/>
                </a:lnTo>
                <a:lnTo>
                  <a:pt x="133" y="477"/>
                </a:lnTo>
                <a:lnTo>
                  <a:pt x="133" y="477"/>
                </a:lnTo>
                <a:lnTo>
                  <a:pt x="133" y="474"/>
                </a:lnTo>
                <a:lnTo>
                  <a:pt x="133" y="474"/>
                </a:lnTo>
                <a:lnTo>
                  <a:pt x="133" y="474"/>
                </a:lnTo>
                <a:lnTo>
                  <a:pt x="131" y="474"/>
                </a:lnTo>
                <a:lnTo>
                  <a:pt x="131" y="474"/>
                </a:lnTo>
                <a:lnTo>
                  <a:pt x="131" y="477"/>
                </a:lnTo>
                <a:lnTo>
                  <a:pt x="131" y="477"/>
                </a:lnTo>
                <a:lnTo>
                  <a:pt x="128" y="482"/>
                </a:lnTo>
                <a:lnTo>
                  <a:pt x="128" y="482"/>
                </a:lnTo>
                <a:lnTo>
                  <a:pt x="123" y="482"/>
                </a:lnTo>
                <a:lnTo>
                  <a:pt x="123" y="482"/>
                </a:lnTo>
                <a:lnTo>
                  <a:pt x="121" y="482"/>
                </a:lnTo>
                <a:lnTo>
                  <a:pt x="121" y="482"/>
                </a:lnTo>
                <a:lnTo>
                  <a:pt x="118" y="479"/>
                </a:lnTo>
                <a:lnTo>
                  <a:pt x="118" y="479"/>
                </a:lnTo>
                <a:lnTo>
                  <a:pt x="118" y="477"/>
                </a:lnTo>
                <a:lnTo>
                  <a:pt x="118" y="477"/>
                </a:lnTo>
                <a:lnTo>
                  <a:pt x="121" y="477"/>
                </a:lnTo>
                <a:lnTo>
                  <a:pt x="121" y="477"/>
                </a:lnTo>
                <a:lnTo>
                  <a:pt x="123" y="472"/>
                </a:lnTo>
                <a:lnTo>
                  <a:pt x="123" y="472"/>
                </a:lnTo>
                <a:lnTo>
                  <a:pt x="126" y="472"/>
                </a:lnTo>
                <a:lnTo>
                  <a:pt x="126" y="472"/>
                </a:lnTo>
                <a:lnTo>
                  <a:pt x="126" y="472"/>
                </a:lnTo>
                <a:lnTo>
                  <a:pt x="126" y="469"/>
                </a:lnTo>
                <a:lnTo>
                  <a:pt x="126" y="469"/>
                </a:lnTo>
                <a:lnTo>
                  <a:pt x="128" y="469"/>
                </a:lnTo>
                <a:lnTo>
                  <a:pt x="128" y="469"/>
                </a:lnTo>
                <a:lnTo>
                  <a:pt x="128" y="469"/>
                </a:lnTo>
                <a:lnTo>
                  <a:pt x="131" y="467"/>
                </a:lnTo>
                <a:lnTo>
                  <a:pt x="131" y="467"/>
                </a:lnTo>
                <a:lnTo>
                  <a:pt x="128" y="467"/>
                </a:lnTo>
                <a:lnTo>
                  <a:pt x="128" y="467"/>
                </a:lnTo>
                <a:lnTo>
                  <a:pt x="128" y="465"/>
                </a:lnTo>
                <a:lnTo>
                  <a:pt x="128" y="465"/>
                </a:lnTo>
                <a:lnTo>
                  <a:pt x="128" y="465"/>
                </a:lnTo>
                <a:lnTo>
                  <a:pt x="128" y="465"/>
                </a:lnTo>
                <a:lnTo>
                  <a:pt x="126" y="467"/>
                </a:lnTo>
                <a:lnTo>
                  <a:pt x="126" y="467"/>
                </a:lnTo>
                <a:lnTo>
                  <a:pt x="123" y="467"/>
                </a:lnTo>
                <a:lnTo>
                  <a:pt x="123" y="467"/>
                </a:lnTo>
                <a:lnTo>
                  <a:pt x="121" y="467"/>
                </a:lnTo>
                <a:lnTo>
                  <a:pt x="121" y="467"/>
                </a:lnTo>
                <a:lnTo>
                  <a:pt x="121" y="465"/>
                </a:lnTo>
                <a:lnTo>
                  <a:pt x="121" y="465"/>
                </a:lnTo>
                <a:lnTo>
                  <a:pt x="121" y="462"/>
                </a:lnTo>
                <a:lnTo>
                  <a:pt x="121" y="462"/>
                </a:lnTo>
                <a:lnTo>
                  <a:pt x="123" y="462"/>
                </a:lnTo>
                <a:lnTo>
                  <a:pt x="123" y="462"/>
                </a:lnTo>
                <a:lnTo>
                  <a:pt x="126" y="462"/>
                </a:lnTo>
                <a:lnTo>
                  <a:pt x="126" y="462"/>
                </a:lnTo>
                <a:lnTo>
                  <a:pt x="128" y="462"/>
                </a:lnTo>
                <a:lnTo>
                  <a:pt x="128" y="462"/>
                </a:lnTo>
                <a:lnTo>
                  <a:pt x="128" y="462"/>
                </a:lnTo>
                <a:lnTo>
                  <a:pt x="133" y="462"/>
                </a:lnTo>
                <a:lnTo>
                  <a:pt x="133" y="462"/>
                </a:lnTo>
                <a:lnTo>
                  <a:pt x="133" y="457"/>
                </a:lnTo>
                <a:lnTo>
                  <a:pt x="133" y="457"/>
                </a:lnTo>
                <a:lnTo>
                  <a:pt x="133" y="455"/>
                </a:lnTo>
                <a:lnTo>
                  <a:pt x="133" y="455"/>
                </a:lnTo>
                <a:lnTo>
                  <a:pt x="133" y="455"/>
                </a:lnTo>
                <a:lnTo>
                  <a:pt x="135" y="450"/>
                </a:lnTo>
                <a:lnTo>
                  <a:pt x="135" y="450"/>
                </a:lnTo>
                <a:lnTo>
                  <a:pt x="135" y="447"/>
                </a:lnTo>
                <a:lnTo>
                  <a:pt x="135" y="447"/>
                </a:lnTo>
                <a:lnTo>
                  <a:pt x="135" y="445"/>
                </a:lnTo>
                <a:lnTo>
                  <a:pt x="135" y="445"/>
                </a:lnTo>
                <a:lnTo>
                  <a:pt x="135" y="442"/>
                </a:lnTo>
                <a:lnTo>
                  <a:pt x="135" y="442"/>
                </a:lnTo>
                <a:lnTo>
                  <a:pt x="133" y="442"/>
                </a:lnTo>
                <a:lnTo>
                  <a:pt x="133" y="442"/>
                </a:lnTo>
                <a:lnTo>
                  <a:pt x="133" y="442"/>
                </a:lnTo>
                <a:lnTo>
                  <a:pt x="131" y="440"/>
                </a:lnTo>
                <a:lnTo>
                  <a:pt x="131" y="440"/>
                </a:lnTo>
                <a:lnTo>
                  <a:pt x="128" y="440"/>
                </a:lnTo>
                <a:lnTo>
                  <a:pt x="128" y="440"/>
                </a:lnTo>
                <a:lnTo>
                  <a:pt x="126" y="440"/>
                </a:lnTo>
                <a:lnTo>
                  <a:pt x="126" y="440"/>
                </a:lnTo>
                <a:lnTo>
                  <a:pt x="126" y="438"/>
                </a:lnTo>
                <a:lnTo>
                  <a:pt x="126" y="438"/>
                </a:lnTo>
                <a:lnTo>
                  <a:pt x="128" y="438"/>
                </a:lnTo>
                <a:lnTo>
                  <a:pt x="128" y="438"/>
                </a:lnTo>
                <a:lnTo>
                  <a:pt x="131" y="438"/>
                </a:lnTo>
                <a:lnTo>
                  <a:pt x="131" y="438"/>
                </a:lnTo>
                <a:lnTo>
                  <a:pt x="131" y="438"/>
                </a:lnTo>
                <a:lnTo>
                  <a:pt x="133" y="435"/>
                </a:lnTo>
                <a:lnTo>
                  <a:pt x="133" y="435"/>
                </a:lnTo>
                <a:lnTo>
                  <a:pt x="133" y="433"/>
                </a:lnTo>
                <a:lnTo>
                  <a:pt x="133" y="433"/>
                </a:lnTo>
                <a:lnTo>
                  <a:pt x="135" y="433"/>
                </a:lnTo>
                <a:lnTo>
                  <a:pt x="135" y="433"/>
                </a:lnTo>
                <a:lnTo>
                  <a:pt x="135" y="430"/>
                </a:lnTo>
                <a:lnTo>
                  <a:pt x="135" y="430"/>
                </a:lnTo>
                <a:lnTo>
                  <a:pt x="133" y="428"/>
                </a:lnTo>
                <a:lnTo>
                  <a:pt x="133" y="428"/>
                </a:lnTo>
                <a:lnTo>
                  <a:pt x="131" y="428"/>
                </a:lnTo>
                <a:lnTo>
                  <a:pt x="131" y="428"/>
                </a:lnTo>
                <a:lnTo>
                  <a:pt x="131" y="428"/>
                </a:lnTo>
                <a:lnTo>
                  <a:pt x="131" y="425"/>
                </a:lnTo>
                <a:lnTo>
                  <a:pt x="131" y="425"/>
                </a:lnTo>
                <a:lnTo>
                  <a:pt x="133" y="423"/>
                </a:lnTo>
                <a:lnTo>
                  <a:pt x="133" y="423"/>
                </a:lnTo>
                <a:lnTo>
                  <a:pt x="133" y="425"/>
                </a:lnTo>
                <a:lnTo>
                  <a:pt x="133" y="425"/>
                </a:lnTo>
                <a:lnTo>
                  <a:pt x="133" y="423"/>
                </a:lnTo>
                <a:lnTo>
                  <a:pt x="133" y="423"/>
                </a:lnTo>
                <a:lnTo>
                  <a:pt x="131" y="420"/>
                </a:lnTo>
                <a:lnTo>
                  <a:pt x="131" y="420"/>
                </a:lnTo>
                <a:lnTo>
                  <a:pt x="131" y="418"/>
                </a:lnTo>
                <a:lnTo>
                  <a:pt x="131" y="418"/>
                </a:lnTo>
                <a:lnTo>
                  <a:pt x="131" y="415"/>
                </a:lnTo>
                <a:lnTo>
                  <a:pt x="131" y="415"/>
                </a:lnTo>
                <a:lnTo>
                  <a:pt x="133" y="418"/>
                </a:lnTo>
                <a:lnTo>
                  <a:pt x="133" y="418"/>
                </a:lnTo>
                <a:lnTo>
                  <a:pt x="133" y="418"/>
                </a:lnTo>
                <a:lnTo>
                  <a:pt x="133" y="415"/>
                </a:lnTo>
                <a:lnTo>
                  <a:pt x="133" y="415"/>
                </a:lnTo>
                <a:lnTo>
                  <a:pt x="133" y="413"/>
                </a:lnTo>
                <a:lnTo>
                  <a:pt x="133" y="413"/>
                </a:lnTo>
                <a:lnTo>
                  <a:pt x="133" y="410"/>
                </a:lnTo>
                <a:lnTo>
                  <a:pt x="133" y="410"/>
                </a:lnTo>
                <a:lnTo>
                  <a:pt x="133" y="408"/>
                </a:lnTo>
                <a:lnTo>
                  <a:pt x="133" y="408"/>
                </a:lnTo>
                <a:lnTo>
                  <a:pt x="131" y="406"/>
                </a:lnTo>
                <a:lnTo>
                  <a:pt x="131" y="406"/>
                </a:lnTo>
                <a:lnTo>
                  <a:pt x="131" y="406"/>
                </a:lnTo>
                <a:lnTo>
                  <a:pt x="131" y="403"/>
                </a:lnTo>
                <a:lnTo>
                  <a:pt x="131" y="403"/>
                </a:lnTo>
                <a:lnTo>
                  <a:pt x="133" y="401"/>
                </a:lnTo>
                <a:lnTo>
                  <a:pt x="133" y="401"/>
                </a:lnTo>
                <a:lnTo>
                  <a:pt x="133" y="398"/>
                </a:lnTo>
                <a:lnTo>
                  <a:pt x="133" y="398"/>
                </a:lnTo>
                <a:lnTo>
                  <a:pt x="131" y="398"/>
                </a:lnTo>
                <a:lnTo>
                  <a:pt x="131" y="398"/>
                </a:lnTo>
                <a:lnTo>
                  <a:pt x="131" y="398"/>
                </a:lnTo>
                <a:lnTo>
                  <a:pt x="128" y="401"/>
                </a:lnTo>
                <a:lnTo>
                  <a:pt x="128" y="401"/>
                </a:lnTo>
                <a:lnTo>
                  <a:pt x="126" y="401"/>
                </a:lnTo>
                <a:lnTo>
                  <a:pt x="126" y="401"/>
                </a:lnTo>
                <a:lnTo>
                  <a:pt x="126" y="401"/>
                </a:lnTo>
                <a:lnTo>
                  <a:pt x="123" y="403"/>
                </a:lnTo>
                <a:lnTo>
                  <a:pt x="123" y="403"/>
                </a:lnTo>
                <a:lnTo>
                  <a:pt x="121" y="401"/>
                </a:lnTo>
                <a:lnTo>
                  <a:pt x="121" y="401"/>
                </a:lnTo>
                <a:lnTo>
                  <a:pt x="123" y="401"/>
                </a:lnTo>
                <a:lnTo>
                  <a:pt x="123" y="401"/>
                </a:lnTo>
                <a:lnTo>
                  <a:pt x="126" y="398"/>
                </a:lnTo>
                <a:lnTo>
                  <a:pt x="126" y="398"/>
                </a:lnTo>
                <a:lnTo>
                  <a:pt x="128" y="398"/>
                </a:lnTo>
                <a:lnTo>
                  <a:pt x="128" y="398"/>
                </a:lnTo>
                <a:lnTo>
                  <a:pt x="128" y="396"/>
                </a:lnTo>
                <a:lnTo>
                  <a:pt x="128" y="396"/>
                </a:lnTo>
                <a:lnTo>
                  <a:pt x="131" y="393"/>
                </a:lnTo>
                <a:lnTo>
                  <a:pt x="131" y="393"/>
                </a:lnTo>
                <a:lnTo>
                  <a:pt x="131" y="391"/>
                </a:lnTo>
                <a:lnTo>
                  <a:pt x="131" y="391"/>
                </a:lnTo>
                <a:lnTo>
                  <a:pt x="133" y="391"/>
                </a:lnTo>
                <a:lnTo>
                  <a:pt x="133" y="391"/>
                </a:lnTo>
                <a:lnTo>
                  <a:pt x="135" y="388"/>
                </a:lnTo>
                <a:lnTo>
                  <a:pt x="135" y="388"/>
                </a:lnTo>
                <a:lnTo>
                  <a:pt x="135" y="386"/>
                </a:lnTo>
                <a:lnTo>
                  <a:pt x="135" y="386"/>
                </a:lnTo>
                <a:lnTo>
                  <a:pt x="133" y="386"/>
                </a:lnTo>
                <a:lnTo>
                  <a:pt x="133" y="386"/>
                </a:lnTo>
                <a:lnTo>
                  <a:pt x="131" y="383"/>
                </a:lnTo>
                <a:lnTo>
                  <a:pt x="131" y="383"/>
                </a:lnTo>
                <a:lnTo>
                  <a:pt x="131" y="381"/>
                </a:lnTo>
                <a:lnTo>
                  <a:pt x="131" y="381"/>
                </a:lnTo>
                <a:lnTo>
                  <a:pt x="131" y="378"/>
                </a:lnTo>
                <a:lnTo>
                  <a:pt x="131" y="378"/>
                </a:lnTo>
                <a:lnTo>
                  <a:pt x="128" y="378"/>
                </a:lnTo>
                <a:lnTo>
                  <a:pt x="128" y="378"/>
                </a:lnTo>
                <a:lnTo>
                  <a:pt x="128" y="376"/>
                </a:lnTo>
                <a:lnTo>
                  <a:pt x="128" y="376"/>
                </a:lnTo>
                <a:lnTo>
                  <a:pt x="128" y="376"/>
                </a:lnTo>
                <a:lnTo>
                  <a:pt x="128" y="374"/>
                </a:lnTo>
                <a:lnTo>
                  <a:pt x="128" y="374"/>
                </a:lnTo>
                <a:lnTo>
                  <a:pt x="128" y="374"/>
                </a:lnTo>
                <a:lnTo>
                  <a:pt x="128" y="369"/>
                </a:lnTo>
                <a:lnTo>
                  <a:pt x="128" y="369"/>
                </a:lnTo>
                <a:lnTo>
                  <a:pt x="126" y="366"/>
                </a:lnTo>
                <a:lnTo>
                  <a:pt x="126" y="366"/>
                </a:lnTo>
                <a:lnTo>
                  <a:pt x="121" y="364"/>
                </a:lnTo>
                <a:lnTo>
                  <a:pt x="121" y="364"/>
                </a:lnTo>
                <a:lnTo>
                  <a:pt x="121" y="361"/>
                </a:lnTo>
                <a:lnTo>
                  <a:pt x="121" y="361"/>
                </a:lnTo>
                <a:lnTo>
                  <a:pt x="121" y="359"/>
                </a:lnTo>
                <a:lnTo>
                  <a:pt x="121" y="359"/>
                </a:lnTo>
                <a:lnTo>
                  <a:pt x="118" y="359"/>
                </a:lnTo>
                <a:lnTo>
                  <a:pt x="118" y="359"/>
                </a:lnTo>
                <a:lnTo>
                  <a:pt x="118" y="356"/>
                </a:lnTo>
                <a:lnTo>
                  <a:pt x="118" y="356"/>
                </a:lnTo>
                <a:lnTo>
                  <a:pt x="121" y="356"/>
                </a:lnTo>
                <a:lnTo>
                  <a:pt x="121" y="356"/>
                </a:lnTo>
                <a:lnTo>
                  <a:pt x="123" y="354"/>
                </a:lnTo>
                <a:lnTo>
                  <a:pt x="123" y="354"/>
                </a:lnTo>
                <a:lnTo>
                  <a:pt x="126" y="354"/>
                </a:lnTo>
                <a:lnTo>
                  <a:pt x="126" y="354"/>
                </a:lnTo>
                <a:lnTo>
                  <a:pt x="126" y="351"/>
                </a:lnTo>
                <a:lnTo>
                  <a:pt x="126" y="351"/>
                </a:lnTo>
                <a:lnTo>
                  <a:pt x="126" y="351"/>
                </a:lnTo>
                <a:lnTo>
                  <a:pt x="123" y="351"/>
                </a:lnTo>
                <a:lnTo>
                  <a:pt x="123" y="351"/>
                </a:lnTo>
                <a:lnTo>
                  <a:pt x="123" y="349"/>
                </a:lnTo>
                <a:lnTo>
                  <a:pt x="123" y="349"/>
                </a:lnTo>
                <a:lnTo>
                  <a:pt x="123" y="349"/>
                </a:lnTo>
                <a:lnTo>
                  <a:pt x="126" y="347"/>
                </a:lnTo>
                <a:lnTo>
                  <a:pt x="126" y="347"/>
                </a:lnTo>
                <a:lnTo>
                  <a:pt x="128" y="344"/>
                </a:lnTo>
                <a:lnTo>
                  <a:pt x="128" y="344"/>
                </a:lnTo>
                <a:lnTo>
                  <a:pt x="128" y="342"/>
                </a:lnTo>
                <a:lnTo>
                  <a:pt x="128" y="342"/>
                </a:lnTo>
                <a:lnTo>
                  <a:pt x="126" y="342"/>
                </a:lnTo>
                <a:lnTo>
                  <a:pt x="126" y="342"/>
                </a:lnTo>
                <a:lnTo>
                  <a:pt x="128" y="339"/>
                </a:lnTo>
                <a:lnTo>
                  <a:pt x="128" y="339"/>
                </a:lnTo>
                <a:lnTo>
                  <a:pt x="126" y="339"/>
                </a:lnTo>
                <a:lnTo>
                  <a:pt x="126" y="339"/>
                </a:lnTo>
                <a:lnTo>
                  <a:pt x="126" y="339"/>
                </a:lnTo>
                <a:lnTo>
                  <a:pt x="123" y="334"/>
                </a:lnTo>
                <a:lnTo>
                  <a:pt x="123" y="334"/>
                </a:lnTo>
                <a:lnTo>
                  <a:pt x="118" y="332"/>
                </a:lnTo>
                <a:lnTo>
                  <a:pt x="118" y="332"/>
                </a:lnTo>
                <a:lnTo>
                  <a:pt x="118" y="329"/>
                </a:lnTo>
                <a:lnTo>
                  <a:pt x="118" y="329"/>
                </a:lnTo>
                <a:lnTo>
                  <a:pt x="116" y="329"/>
                </a:lnTo>
                <a:lnTo>
                  <a:pt x="116" y="329"/>
                </a:lnTo>
                <a:lnTo>
                  <a:pt x="116" y="329"/>
                </a:lnTo>
                <a:lnTo>
                  <a:pt x="116" y="332"/>
                </a:lnTo>
                <a:lnTo>
                  <a:pt x="116" y="332"/>
                </a:lnTo>
                <a:lnTo>
                  <a:pt x="113" y="332"/>
                </a:lnTo>
                <a:lnTo>
                  <a:pt x="113" y="332"/>
                </a:lnTo>
                <a:lnTo>
                  <a:pt x="113" y="329"/>
                </a:lnTo>
                <a:lnTo>
                  <a:pt x="113" y="329"/>
                </a:lnTo>
                <a:lnTo>
                  <a:pt x="113" y="327"/>
                </a:lnTo>
                <a:lnTo>
                  <a:pt x="113" y="327"/>
                </a:lnTo>
                <a:lnTo>
                  <a:pt x="111" y="327"/>
                </a:lnTo>
                <a:lnTo>
                  <a:pt x="111" y="327"/>
                </a:lnTo>
                <a:lnTo>
                  <a:pt x="108" y="324"/>
                </a:lnTo>
                <a:lnTo>
                  <a:pt x="108" y="324"/>
                </a:lnTo>
                <a:lnTo>
                  <a:pt x="106" y="324"/>
                </a:lnTo>
                <a:lnTo>
                  <a:pt x="106" y="324"/>
                </a:lnTo>
                <a:lnTo>
                  <a:pt x="106" y="322"/>
                </a:lnTo>
                <a:lnTo>
                  <a:pt x="106" y="322"/>
                </a:lnTo>
                <a:lnTo>
                  <a:pt x="106" y="324"/>
                </a:lnTo>
                <a:lnTo>
                  <a:pt x="106" y="324"/>
                </a:lnTo>
                <a:lnTo>
                  <a:pt x="103" y="324"/>
                </a:lnTo>
                <a:lnTo>
                  <a:pt x="103" y="324"/>
                </a:lnTo>
                <a:lnTo>
                  <a:pt x="103" y="322"/>
                </a:lnTo>
                <a:lnTo>
                  <a:pt x="103" y="322"/>
                </a:lnTo>
                <a:lnTo>
                  <a:pt x="103" y="319"/>
                </a:lnTo>
                <a:lnTo>
                  <a:pt x="103" y="319"/>
                </a:lnTo>
                <a:lnTo>
                  <a:pt x="101" y="317"/>
                </a:lnTo>
                <a:lnTo>
                  <a:pt x="101" y="317"/>
                </a:lnTo>
                <a:lnTo>
                  <a:pt x="99" y="315"/>
                </a:lnTo>
                <a:lnTo>
                  <a:pt x="99" y="315"/>
                </a:lnTo>
                <a:lnTo>
                  <a:pt x="96" y="315"/>
                </a:lnTo>
                <a:lnTo>
                  <a:pt x="96" y="315"/>
                </a:lnTo>
                <a:lnTo>
                  <a:pt x="96" y="317"/>
                </a:lnTo>
                <a:lnTo>
                  <a:pt x="96" y="317"/>
                </a:lnTo>
                <a:lnTo>
                  <a:pt x="94" y="315"/>
                </a:lnTo>
                <a:lnTo>
                  <a:pt x="94" y="315"/>
                </a:lnTo>
                <a:lnTo>
                  <a:pt x="89" y="312"/>
                </a:lnTo>
                <a:lnTo>
                  <a:pt x="89" y="312"/>
                </a:lnTo>
                <a:lnTo>
                  <a:pt x="86" y="310"/>
                </a:lnTo>
                <a:lnTo>
                  <a:pt x="86" y="310"/>
                </a:lnTo>
                <a:lnTo>
                  <a:pt x="84" y="307"/>
                </a:lnTo>
                <a:lnTo>
                  <a:pt x="84" y="307"/>
                </a:lnTo>
                <a:lnTo>
                  <a:pt x="81" y="307"/>
                </a:lnTo>
                <a:lnTo>
                  <a:pt x="81" y="307"/>
                </a:lnTo>
                <a:lnTo>
                  <a:pt x="76" y="307"/>
                </a:lnTo>
                <a:lnTo>
                  <a:pt x="76" y="307"/>
                </a:lnTo>
                <a:lnTo>
                  <a:pt x="74" y="310"/>
                </a:lnTo>
                <a:lnTo>
                  <a:pt x="74" y="310"/>
                </a:lnTo>
                <a:lnTo>
                  <a:pt x="74" y="312"/>
                </a:lnTo>
                <a:lnTo>
                  <a:pt x="74" y="312"/>
                </a:lnTo>
                <a:lnTo>
                  <a:pt x="71" y="315"/>
                </a:lnTo>
                <a:lnTo>
                  <a:pt x="71" y="315"/>
                </a:lnTo>
                <a:lnTo>
                  <a:pt x="69" y="317"/>
                </a:lnTo>
                <a:lnTo>
                  <a:pt x="69" y="317"/>
                </a:lnTo>
                <a:lnTo>
                  <a:pt x="69" y="315"/>
                </a:lnTo>
                <a:lnTo>
                  <a:pt x="69" y="315"/>
                </a:lnTo>
                <a:lnTo>
                  <a:pt x="71" y="312"/>
                </a:lnTo>
                <a:lnTo>
                  <a:pt x="71" y="312"/>
                </a:lnTo>
                <a:lnTo>
                  <a:pt x="71" y="307"/>
                </a:lnTo>
                <a:lnTo>
                  <a:pt x="71" y="307"/>
                </a:lnTo>
                <a:lnTo>
                  <a:pt x="69" y="307"/>
                </a:lnTo>
                <a:lnTo>
                  <a:pt x="69" y="307"/>
                </a:lnTo>
                <a:lnTo>
                  <a:pt x="67" y="307"/>
                </a:lnTo>
                <a:lnTo>
                  <a:pt x="67" y="307"/>
                </a:lnTo>
                <a:lnTo>
                  <a:pt x="64" y="310"/>
                </a:lnTo>
                <a:lnTo>
                  <a:pt x="64" y="310"/>
                </a:lnTo>
                <a:lnTo>
                  <a:pt x="64" y="312"/>
                </a:lnTo>
                <a:lnTo>
                  <a:pt x="64" y="312"/>
                </a:lnTo>
                <a:lnTo>
                  <a:pt x="62" y="312"/>
                </a:lnTo>
                <a:lnTo>
                  <a:pt x="62" y="312"/>
                </a:lnTo>
                <a:lnTo>
                  <a:pt x="62" y="312"/>
                </a:lnTo>
                <a:lnTo>
                  <a:pt x="59" y="307"/>
                </a:lnTo>
                <a:lnTo>
                  <a:pt x="59" y="307"/>
                </a:lnTo>
                <a:lnTo>
                  <a:pt x="57" y="307"/>
                </a:lnTo>
                <a:lnTo>
                  <a:pt x="57" y="307"/>
                </a:lnTo>
                <a:lnTo>
                  <a:pt x="57" y="310"/>
                </a:lnTo>
                <a:lnTo>
                  <a:pt x="57" y="310"/>
                </a:lnTo>
                <a:lnTo>
                  <a:pt x="57" y="315"/>
                </a:lnTo>
                <a:lnTo>
                  <a:pt x="57" y="315"/>
                </a:lnTo>
                <a:lnTo>
                  <a:pt x="54" y="315"/>
                </a:lnTo>
                <a:lnTo>
                  <a:pt x="54" y="315"/>
                </a:lnTo>
                <a:lnTo>
                  <a:pt x="52" y="315"/>
                </a:lnTo>
                <a:lnTo>
                  <a:pt x="52" y="315"/>
                </a:lnTo>
                <a:lnTo>
                  <a:pt x="52" y="312"/>
                </a:lnTo>
                <a:lnTo>
                  <a:pt x="52" y="312"/>
                </a:lnTo>
                <a:lnTo>
                  <a:pt x="54" y="307"/>
                </a:lnTo>
                <a:lnTo>
                  <a:pt x="54" y="307"/>
                </a:lnTo>
                <a:lnTo>
                  <a:pt x="57" y="307"/>
                </a:lnTo>
                <a:lnTo>
                  <a:pt x="57" y="307"/>
                </a:lnTo>
                <a:lnTo>
                  <a:pt x="54" y="305"/>
                </a:lnTo>
                <a:lnTo>
                  <a:pt x="54" y="305"/>
                </a:lnTo>
                <a:lnTo>
                  <a:pt x="54" y="305"/>
                </a:lnTo>
                <a:lnTo>
                  <a:pt x="52" y="305"/>
                </a:lnTo>
                <a:lnTo>
                  <a:pt x="52" y="305"/>
                </a:lnTo>
                <a:lnTo>
                  <a:pt x="49" y="307"/>
                </a:lnTo>
                <a:lnTo>
                  <a:pt x="49" y="307"/>
                </a:lnTo>
                <a:lnTo>
                  <a:pt x="47" y="307"/>
                </a:lnTo>
                <a:lnTo>
                  <a:pt x="47" y="307"/>
                </a:lnTo>
                <a:lnTo>
                  <a:pt x="47" y="307"/>
                </a:lnTo>
                <a:lnTo>
                  <a:pt x="47" y="310"/>
                </a:lnTo>
                <a:lnTo>
                  <a:pt x="47" y="310"/>
                </a:lnTo>
                <a:lnTo>
                  <a:pt x="44" y="307"/>
                </a:lnTo>
                <a:lnTo>
                  <a:pt x="44" y="307"/>
                </a:lnTo>
                <a:lnTo>
                  <a:pt x="44" y="305"/>
                </a:lnTo>
                <a:lnTo>
                  <a:pt x="44" y="305"/>
                </a:lnTo>
                <a:lnTo>
                  <a:pt x="44" y="302"/>
                </a:lnTo>
                <a:lnTo>
                  <a:pt x="44" y="302"/>
                </a:lnTo>
                <a:lnTo>
                  <a:pt x="44" y="300"/>
                </a:lnTo>
                <a:lnTo>
                  <a:pt x="44" y="300"/>
                </a:lnTo>
                <a:lnTo>
                  <a:pt x="42" y="300"/>
                </a:lnTo>
                <a:lnTo>
                  <a:pt x="42" y="300"/>
                </a:lnTo>
                <a:lnTo>
                  <a:pt x="42" y="300"/>
                </a:lnTo>
                <a:lnTo>
                  <a:pt x="40" y="302"/>
                </a:lnTo>
                <a:lnTo>
                  <a:pt x="40" y="302"/>
                </a:lnTo>
                <a:lnTo>
                  <a:pt x="40" y="305"/>
                </a:lnTo>
                <a:lnTo>
                  <a:pt x="40" y="305"/>
                </a:lnTo>
                <a:lnTo>
                  <a:pt x="40" y="307"/>
                </a:lnTo>
                <a:lnTo>
                  <a:pt x="40" y="307"/>
                </a:lnTo>
                <a:lnTo>
                  <a:pt x="40" y="310"/>
                </a:lnTo>
                <a:lnTo>
                  <a:pt x="40" y="310"/>
                </a:lnTo>
                <a:lnTo>
                  <a:pt x="40" y="312"/>
                </a:lnTo>
                <a:lnTo>
                  <a:pt x="40" y="312"/>
                </a:lnTo>
                <a:lnTo>
                  <a:pt x="40" y="315"/>
                </a:lnTo>
                <a:lnTo>
                  <a:pt x="40" y="315"/>
                </a:lnTo>
                <a:lnTo>
                  <a:pt x="37" y="317"/>
                </a:lnTo>
                <a:lnTo>
                  <a:pt x="37" y="317"/>
                </a:lnTo>
                <a:lnTo>
                  <a:pt x="37" y="315"/>
                </a:lnTo>
                <a:lnTo>
                  <a:pt x="37" y="315"/>
                </a:lnTo>
                <a:lnTo>
                  <a:pt x="35" y="312"/>
                </a:lnTo>
                <a:lnTo>
                  <a:pt x="35" y="312"/>
                </a:lnTo>
                <a:lnTo>
                  <a:pt x="30" y="310"/>
                </a:lnTo>
                <a:lnTo>
                  <a:pt x="30" y="310"/>
                </a:lnTo>
                <a:lnTo>
                  <a:pt x="27" y="310"/>
                </a:lnTo>
                <a:lnTo>
                  <a:pt x="27" y="310"/>
                </a:lnTo>
                <a:lnTo>
                  <a:pt x="25" y="307"/>
                </a:lnTo>
                <a:lnTo>
                  <a:pt x="25" y="307"/>
                </a:lnTo>
                <a:lnTo>
                  <a:pt x="22" y="305"/>
                </a:lnTo>
                <a:lnTo>
                  <a:pt x="22" y="305"/>
                </a:lnTo>
                <a:lnTo>
                  <a:pt x="22" y="305"/>
                </a:lnTo>
                <a:lnTo>
                  <a:pt x="25" y="302"/>
                </a:lnTo>
                <a:lnTo>
                  <a:pt x="25" y="302"/>
                </a:lnTo>
                <a:lnTo>
                  <a:pt x="20" y="302"/>
                </a:lnTo>
                <a:lnTo>
                  <a:pt x="20" y="302"/>
                </a:lnTo>
                <a:lnTo>
                  <a:pt x="20" y="297"/>
                </a:lnTo>
                <a:lnTo>
                  <a:pt x="20" y="297"/>
                </a:lnTo>
                <a:lnTo>
                  <a:pt x="17" y="295"/>
                </a:lnTo>
                <a:lnTo>
                  <a:pt x="17" y="295"/>
                </a:lnTo>
                <a:lnTo>
                  <a:pt x="15" y="292"/>
                </a:lnTo>
                <a:lnTo>
                  <a:pt x="15" y="292"/>
                </a:lnTo>
                <a:lnTo>
                  <a:pt x="15" y="290"/>
                </a:lnTo>
                <a:lnTo>
                  <a:pt x="15" y="290"/>
                </a:lnTo>
                <a:lnTo>
                  <a:pt x="17" y="287"/>
                </a:lnTo>
                <a:lnTo>
                  <a:pt x="17" y="287"/>
                </a:lnTo>
                <a:lnTo>
                  <a:pt x="20" y="287"/>
                </a:lnTo>
                <a:lnTo>
                  <a:pt x="20" y="287"/>
                </a:lnTo>
                <a:lnTo>
                  <a:pt x="22" y="285"/>
                </a:lnTo>
                <a:lnTo>
                  <a:pt x="22" y="285"/>
                </a:lnTo>
                <a:lnTo>
                  <a:pt x="25" y="285"/>
                </a:lnTo>
                <a:lnTo>
                  <a:pt x="25" y="285"/>
                </a:lnTo>
                <a:lnTo>
                  <a:pt x="30" y="285"/>
                </a:lnTo>
                <a:lnTo>
                  <a:pt x="30" y="285"/>
                </a:lnTo>
                <a:lnTo>
                  <a:pt x="30" y="285"/>
                </a:lnTo>
                <a:lnTo>
                  <a:pt x="32" y="285"/>
                </a:lnTo>
                <a:lnTo>
                  <a:pt x="32" y="285"/>
                </a:lnTo>
                <a:lnTo>
                  <a:pt x="32" y="283"/>
                </a:lnTo>
                <a:lnTo>
                  <a:pt x="32" y="283"/>
                </a:lnTo>
                <a:lnTo>
                  <a:pt x="32" y="280"/>
                </a:lnTo>
                <a:lnTo>
                  <a:pt x="32" y="280"/>
                </a:lnTo>
                <a:lnTo>
                  <a:pt x="30" y="283"/>
                </a:lnTo>
                <a:lnTo>
                  <a:pt x="30" y="283"/>
                </a:lnTo>
                <a:lnTo>
                  <a:pt x="25" y="280"/>
                </a:lnTo>
                <a:lnTo>
                  <a:pt x="25" y="280"/>
                </a:lnTo>
                <a:lnTo>
                  <a:pt x="25" y="280"/>
                </a:lnTo>
                <a:lnTo>
                  <a:pt x="22" y="280"/>
                </a:lnTo>
                <a:lnTo>
                  <a:pt x="22" y="280"/>
                </a:lnTo>
                <a:lnTo>
                  <a:pt x="17" y="275"/>
                </a:lnTo>
                <a:lnTo>
                  <a:pt x="17" y="275"/>
                </a:lnTo>
                <a:lnTo>
                  <a:pt x="17" y="273"/>
                </a:lnTo>
                <a:lnTo>
                  <a:pt x="17" y="273"/>
                </a:lnTo>
                <a:lnTo>
                  <a:pt x="20" y="270"/>
                </a:lnTo>
                <a:lnTo>
                  <a:pt x="20" y="270"/>
                </a:lnTo>
                <a:lnTo>
                  <a:pt x="22" y="270"/>
                </a:lnTo>
                <a:lnTo>
                  <a:pt x="22" y="270"/>
                </a:lnTo>
                <a:lnTo>
                  <a:pt x="22" y="265"/>
                </a:lnTo>
                <a:lnTo>
                  <a:pt x="22" y="265"/>
                </a:lnTo>
                <a:lnTo>
                  <a:pt x="25" y="265"/>
                </a:lnTo>
                <a:lnTo>
                  <a:pt x="25" y="265"/>
                </a:lnTo>
                <a:lnTo>
                  <a:pt x="22" y="265"/>
                </a:lnTo>
                <a:lnTo>
                  <a:pt x="22" y="265"/>
                </a:lnTo>
                <a:lnTo>
                  <a:pt x="20" y="265"/>
                </a:lnTo>
                <a:lnTo>
                  <a:pt x="20" y="265"/>
                </a:lnTo>
                <a:lnTo>
                  <a:pt x="20" y="270"/>
                </a:lnTo>
                <a:lnTo>
                  <a:pt x="20" y="270"/>
                </a:lnTo>
                <a:lnTo>
                  <a:pt x="17" y="270"/>
                </a:lnTo>
                <a:lnTo>
                  <a:pt x="17" y="270"/>
                </a:lnTo>
                <a:lnTo>
                  <a:pt x="17" y="270"/>
                </a:lnTo>
                <a:lnTo>
                  <a:pt x="15" y="273"/>
                </a:lnTo>
                <a:lnTo>
                  <a:pt x="15" y="273"/>
                </a:lnTo>
                <a:lnTo>
                  <a:pt x="12" y="270"/>
                </a:lnTo>
                <a:lnTo>
                  <a:pt x="12" y="270"/>
                </a:lnTo>
                <a:lnTo>
                  <a:pt x="10" y="268"/>
                </a:lnTo>
                <a:lnTo>
                  <a:pt x="10" y="268"/>
                </a:lnTo>
                <a:lnTo>
                  <a:pt x="10" y="265"/>
                </a:lnTo>
                <a:lnTo>
                  <a:pt x="10" y="265"/>
                </a:lnTo>
                <a:lnTo>
                  <a:pt x="12" y="265"/>
                </a:lnTo>
                <a:lnTo>
                  <a:pt x="12" y="265"/>
                </a:lnTo>
                <a:lnTo>
                  <a:pt x="12" y="263"/>
                </a:lnTo>
                <a:lnTo>
                  <a:pt x="12" y="263"/>
                </a:lnTo>
                <a:lnTo>
                  <a:pt x="10" y="263"/>
                </a:lnTo>
                <a:lnTo>
                  <a:pt x="10" y="263"/>
                </a:lnTo>
                <a:lnTo>
                  <a:pt x="10" y="265"/>
                </a:lnTo>
                <a:lnTo>
                  <a:pt x="10" y="265"/>
                </a:lnTo>
                <a:lnTo>
                  <a:pt x="10" y="263"/>
                </a:lnTo>
                <a:lnTo>
                  <a:pt x="10" y="263"/>
                </a:lnTo>
                <a:lnTo>
                  <a:pt x="10" y="260"/>
                </a:lnTo>
                <a:lnTo>
                  <a:pt x="10" y="260"/>
                </a:lnTo>
                <a:lnTo>
                  <a:pt x="10" y="258"/>
                </a:lnTo>
                <a:lnTo>
                  <a:pt x="10" y="258"/>
                </a:lnTo>
                <a:lnTo>
                  <a:pt x="12" y="258"/>
                </a:lnTo>
                <a:lnTo>
                  <a:pt x="12" y="258"/>
                </a:lnTo>
                <a:lnTo>
                  <a:pt x="12" y="256"/>
                </a:lnTo>
                <a:lnTo>
                  <a:pt x="12" y="256"/>
                </a:lnTo>
                <a:lnTo>
                  <a:pt x="15" y="256"/>
                </a:lnTo>
                <a:lnTo>
                  <a:pt x="15" y="256"/>
                </a:lnTo>
                <a:lnTo>
                  <a:pt x="17" y="258"/>
                </a:lnTo>
                <a:lnTo>
                  <a:pt x="17" y="258"/>
                </a:lnTo>
                <a:lnTo>
                  <a:pt x="17" y="256"/>
                </a:lnTo>
                <a:lnTo>
                  <a:pt x="17" y="256"/>
                </a:lnTo>
                <a:lnTo>
                  <a:pt x="22" y="253"/>
                </a:lnTo>
                <a:lnTo>
                  <a:pt x="22" y="253"/>
                </a:lnTo>
                <a:lnTo>
                  <a:pt x="27" y="253"/>
                </a:lnTo>
                <a:lnTo>
                  <a:pt x="27" y="253"/>
                </a:lnTo>
                <a:lnTo>
                  <a:pt x="30" y="256"/>
                </a:lnTo>
                <a:lnTo>
                  <a:pt x="30" y="256"/>
                </a:lnTo>
                <a:lnTo>
                  <a:pt x="35" y="256"/>
                </a:lnTo>
                <a:lnTo>
                  <a:pt x="35" y="256"/>
                </a:lnTo>
                <a:lnTo>
                  <a:pt x="42" y="258"/>
                </a:lnTo>
                <a:lnTo>
                  <a:pt x="42" y="258"/>
                </a:lnTo>
                <a:lnTo>
                  <a:pt x="44" y="260"/>
                </a:lnTo>
                <a:lnTo>
                  <a:pt x="44" y="260"/>
                </a:lnTo>
                <a:lnTo>
                  <a:pt x="47" y="260"/>
                </a:lnTo>
                <a:lnTo>
                  <a:pt x="47" y="260"/>
                </a:lnTo>
                <a:lnTo>
                  <a:pt x="52" y="263"/>
                </a:lnTo>
                <a:lnTo>
                  <a:pt x="52" y="263"/>
                </a:lnTo>
                <a:lnTo>
                  <a:pt x="54" y="263"/>
                </a:lnTo>
                <a:lnTo>
                  <a:pt x="54" y="263"/>
                </a:lnTo>
                <a:lnTo>
                  <a:pt x="57" y="263"/>
                </a:lnTo>
                <a:lnTo>
                  <a:pt x="57" y="263"/>
                </a:lnTo>
                <a:lnTo>
                  <a:pt x="59" y="263"/>
                </a:lnTo>
                <a:lnTo>
                  <a:pt x="59" y="263"/>
                </a:lnTo>
                <a:lnTo>
                  <a:pt x="57" y="263"/>
                </a:lnTo>
                <a:lnTo>
                  <a:pt x="57" y="263"/>
                </a:lnTo>
                <a:lnTo>
                  <a:pt x="54" y="263"/>
                </a:lnTo>
                <a:lnTo>
                  <a:pt x="54" y="263"/>
                </a:lnTo>
                <a:lnTo>
                  <a:pt x="49" y="260"/>
                </a:lnTo>
                <a:lnTo>
                  <a:pt x="49" y="260"/>
                </a:lnTo>
                <a:lnTo>
                  <a:pt x="47" y="258"/>
                </a:lnTo>
                <a:lnTo>
                  <a:pt x="47" y="258"/>
                </a:lnTo>
                <a:lnTo>
                  <a:pt x="42" y="256"/>
                </a:lnTo>
                <a:lnTo>
                  <a:pt x="42" y="256"/>
                </a:lnTo>
                <a:lnTo>
                  <a:pt x="40" y="256"/>
                </a:lnTo>
                <a:lnTo>
                  <a:pt x="40" y="256"/>
                </a:lnTo>
                <a:lnTo>
                  <a:pt x="37" y="253"/>
                </a:lnTo>
                <a:lnTo>
                  <a:pt x="37" y="253"/>
                </a:lnTo>
                <a:lnTo>
                  <a:pt x="37" y="253"/>
                </a:lnTo>
                <a:lnTo>
                  <a:pt x="42" y="251"/>
                </a:lnTo>
                <a:lnTo>
                  <a:pt x="42" y="251"/>
                </a:lnTo>
                <a:lnTo>
                  <a:pt x="47" y="251"/>
                </a:lnTo>
                <a:lnTo>
                  <a:pt x="47" y="251"/>
                </a:lnTo>
                <a:lnTo>
                  <a:pt x="52" y="251"/>
                </a:lnTo>
                <a:lnTo>
                  <a:pt x="52" y="251"/>
                </a:lnTo>
                <a:lnTo>
                  <a:pt x="57" y="253"/>
                </a:lnTo>
                <a:lnTo>
                  <a:pt x="57" y="253"/>
                </a:lnTo>
                <a:lnTo>
                  <a:pt x="59" y="256"/>
                </a:lnTo>
                <a:lnTo>
                  <a:pt x="59" y="256"/>
                </a:lnTo>
                <a:lnTo>
                  <a:pt x="62" y="256"/>
                </a:lnTo>
                <a:lnTo>
                  <a:pt x="62" y="256"/>
                </a:lnTo>
                <a:lnTo>
                  <a:pt x="62" y="258"/>
                </a:lnTo>
                <a:lnTo>
                  <a:pt x="62" y="258"/>
                </a:lnTo>
                <a:lnTo>
                  <a:pt x="64" y="258"/>
                </a:lnTo>
                <a:lnTo>
                  <a:pt x="64" y="258"/>
                </a:lnTo>
                <a:lnTo>
                  <a:pt x="64" y="258"/>
                </a:lnTo>
                <a:lnTo>
                  <a:pt x="64" y="256"/>
                </a:lnTo>
                <a:lnTo>
                  <a:pt x="64" y="256"/>
                </a:lnTo>
                <a:lnTo>
                  <a:pt x="64" y="253"/>
                </a:lnTo>
                <a:lnTo>
                  <a:pt x="64" y="253"/>
                </a:lnTo>
                <a:lnTo>
                  <a:pt x="67" y="251"/>
                </a:lnTo>
                <a:lnTo>
                  <a:pt x="67" y="251"/>
                </a:lnTo>
                <a:lnTo>
                  <a:pt x="67" y="251"/>
                </a:lnTo>
                <a:lnTo>
                  <a:pt x="67" y="246"/>
                </a:lnTo>
                <a:lnTo>
                  <a:pt x="67" y="246"/>
                </a:lnTo>
                <a:lnTo>
                  <a:pt x="67" y="246"/>
                </a:lnTo>
                <a:lnTo>
                  <a:pt x="64" y="246"/>
                </a:lnTo>
                <a:lnTo>
                  <a:pt x="64" y="246"/>
                </a:lnTo>
                <a:lnTo>
                  <a:pt x="64" y="246"/>
                </a:lnTo>
                <a:lnTo>
                  <a:pt x="64" y="243"/>
                </a:lnTo>
                <a:lnTo>
                  <a:pt x="64" y="243"/>
                </a:lnTo>
                <a:lnTo>
                  <a:pt x="62" y="243"/>
                </a:lnTo>
                <a:lnTo>
                  <a:pt x="62" y="243"/>
                </a:lnTo>
                <a:lnTo>
                  <a:pt x="59" y="243"/>
                </a:lnTo>
                <a:lnTo>
                  <a:pt x="59" y="243"/>
                </a:lnTo>
                <a:lnTo>
                  <a:pt x="57" y="246"/>
                </a:lnTo>
                <a:lnTo>
                  <a:pt x="57" y="246"/>
                </a:lnTo>
                <a:lnTo>
                  <a:pt x="54" y="246"/>
                </a:lnTo>
                <a:lnTo>
                  <a:pt x="54" y="246"/>
                </a:lnTo>
                <a:lnTo>
                  <a:pt x="49" y="243"/>
                </a:lnTo>
                <a:lnTo>
                  <a:pt x="49" y="243"/>
                </a:lnTo>
                <a:lnTo>
                  <a:pt x="47" y="243"/>
                </a:lnTo>
                <a:lnTo>
                  <a:pt x="47" y="243"/>
                </a:lnTo>
                <a:lnTo>
                  <a:pt x="47" y="241"/>
                </a:lnTo>
                <a:lnTo>
                  <a:pt x="47" y="241"/>
                </a:lnTo>
                <a:lnTo>
                  <a:pt x="47" y="241"/>
                </a:lnTo>
                <a:lnTo>
                  <a:pt x="44" y="238"/>
                </a:lnTo>
                <a:lnTo>
                  <a:pt x="44" y="238"/>
                </a:lnTo>
                <a:lnTo>
                  <a:pt x="42" y="238"/>
                </a:lnTo>
                <a:lnTo>
                  <a:pt x="42" y="238"/>
                </a:lnTo>
                <a:lnTo>
                  <a:pt x="42" y="238"/>
                </a:lnTo>
                <a:lnTo>
                  <a:pt x="42" y="241"/>
                </a:lnTo>
                <a:lnTo>
                  <a:pt x="42" y="241"/>
                </a:lnTo>
                <a:lnTo>
                  <a:pt x="42" y="241"/>
                </a:lnTo>
                <a:lnTo>
                  <a:pt x="42" y="246"/>
                </a:lnTo>
                <a:lnTo>
                  <a:pt x="42" y="246"/>
                </a:lnTo>
                <a:lnTo>
                  <a:pt x="42" y="246"/>
                </a:lnTo>
                <a:lnTo>
                  <a:pt x="37" y="246"/>
                </a:lnTo>
                <a:lnTo>
                  <a:pt x="37" y="246"/>
                </a:lnTo>
                <a:lnTo>
                  <a:pt x="35" y="246"/>
                </a:lnTo>
                <a:lnTo>
                  <a:pt x="35" y="246"/>
                </a:lnTo>
                <a:lnTo>
                  <a:pt x="30" y="241"/>
                </a:lnTo>
                <a:lnTo>
                  <a:pt x="30" y="241"/>
                </a:lnTo>
                <a:lnTo>
                  <a:pt x="30" y="238"/>
                </a:lnTo>
                <a:lnTo>
                  <a:pt x="30" y="238"/>
                </a:lnTo>
                <a:lnTo>
                  <a:pt x="32" y="238"/>
                </a:lnTo>
                <a:lnTo>
                  <a:pt x="32" y="238"/>
                </a:lnTo>
                <a:lnTo>
                  <a:pt x="37" y="236"/>
                </a:lnTo>
                <a:lnTo>
                  <a:pt x="37" y="236"/>
                </a:lnTo>
                <a:lnTo>
                  <a:pt x="37" y="233"/>
                </a:lnTo>
                <a:lnTo>
                  <a:pt x="37" y="233"/>
                </a:lnTo>
                <a:lnTo>
                  <a:pt x="37" y="233"/>
                </a:lnTo>
                <a:lnTo>
                  <a:pt x="32" y="236"/>
                </a:lnTo>
                <a:lnTo>
                  <a:pt x="32" y="236"/>
                </a:lnTo>
                <a:lnTo>
                  <a:pt x="30" y="236"/>
                </a:lnTo>
                <a:lnTo>
                  <a:pt x="30" y="236"/>
                </a:lnTo>
                <a:lnTo>
                  <a:pt x="27" y="236"/>
                </a:lnTo>
                <a:lnTo>
                  <a:pt x="27" y="236"/>
                </a:lnTo>
                <a:lnTo>
                  <a:pt x="27" y="233"/>
                </a:lnTo>
                <a:lnTo>
                  <a:pt x="27" y="233"/>
                </a:lnTo>
                <a:lnTo>
                  <a:pt x="27" y="233"/>
                </a:lnTo>
                <a:lnTo>
                  <a:pt x="30" y="231"/>
                </a:lnTo>
                <a:lnTo>
                  <a:pt x="30" y="231"/>
                </a:lnTo>
                <a:lnTo>
                  <a:pt x="32" y="231"/>
                </a:lnTo>
                <a:lnTo>
                  <a:pt x="32" y="231"/>
                </a:lnTo>
                <a:lnTo>
                  <a:pt x="35" y="226"/>
                </a:lnTo>
                <a:lnTo>
                  <a:pt x="35" y="226"/>
                </a:lnTo>
                <a:lnTo>
                  <a:pt x="35" y="226"/>
                </a:lnTo>
                <a:lnTo>
                  <a:pt x="32" y="224"/>
                </a:lnTo>
                <a:lnTo>
                  <a:pt x="32" y="224"/>
                </a:lnTo>
                <a:lnTo>
                  <a:pt x="32" y="226"/>
                </a:lnTo>
                <a:lnTo>
                  <a:pt x="32" y="226"/>
                </a:lnTo>
                <a:lnTo>
                  <a:pt x="32" y="226"/>
                </a:lnTo>
                <a:lnTo>
                  <a:pt x="27" y="228"/>
                </a:lnTo>
                <a:lnTo>
                  <a:pt x="27" y="228"/>
                </a:lnTo>
                <a:lnTo>
                  <a:pt x="25" y="228"/>
                </a:lnTo>
                <a:lnTo>
                  <a:pt x="25" y="228"/>
                </a:lnTo>
                <a:lnTo>
                  <a:pt x="22" y="228"/>
                </a:lnTo>
                <a:lnTo>
                  <a:pt x="22" y="228"/>
                </a:lnTo>
                <a:lnTo>
                  <a:pt x="20" y="226"/>
                </a:lnTo>
                <a:lnTo>
                  <a:pt x="20" y="226"/>
                </a:lnTo>
                <a:lnTo>
                  <a:pt x="22" y="226"/>
                </a:lnTo>
                <a:lnTo>
                  <a:pt x="22" y="226"/>
                </a:lnTo>
                <a:lnTo>
                  <a:pt x="22" y="224"/>
                </a:lnTo>
                <a:lnTo>
                  <a:pt x="22" y="224"/>
                </a:lnTo>
                <a:lnTo>
                  <a:pt x="25" y="224"/>
                </a:lnTo>
                <a:lnTo>
                  <a:pt x="25" y="224"/>
                </a:lnTo>
                <a:lnTo>
                  <a:pt x="25" y="221"/>
                </a:lnTo>
                <a:lnTo>
                  <a:pt x="25" y="221"/>
                </a:lnTo>
                <a:lnTo>
                  <a:pt x="22" y="221"/>
                </a:lnTo>
                <a:lnTo>
                  <a:pt x="22" y="221"/>
                </a:lnTo>
                <a:lnTo>
                  <a:pt x="20" y="221"/>
                </a:lnTo>
                <a:lnTo>
                  <a:pt x="20" y="221"/>
                </a:lnTo>
                <a:lnTo>
                  <a:pt x="17" y="219"/>
                </a:lnTo>
                <a:lnTo>
                  <a:pt x="17" y="219"/>
                </a:lnTo>
                <a:lnTo>
                  <a:pt x="15" y="214"/>
                </a:lnTo>
                <a:lnTo>
                  <a:pt x="15" y="214"/>
                </a:lnTo>
                <a:lnTo>
                  <a:pt x="15" y="211"/>
                </a:lnTo>
                <a:lnTo>
                  <a:pt x="15" y="211"/>
                </a:lnTo>
                <a:lnTo>
                  <a:pt x="10" y="209"/>
                </a:lnTo>
                <a:lnTo>
                  <a:pt x="10" y="209"/>
                </a:lnTo>
                <a:lnTo>
                  <a:pt x="10" y="209"/>
                </a:lnTo>
                <a:lnTo>
                  <a:pt x="12" y="209"/>
                </a:lnTo>
                <a:lnTo>
                  <a:pt x="12" y="209"/>
                </a:lnTo>
                <a:lnTo>
                  <a:pt x="15" y="206"/>
                </a:lnTo>
                <a:lnTo>
                  <a:pt x="15" y="206"/>
                </a:lnTo>
                <a:lnTo>
                  <a:pt x="15" y="204"/>
                </a:lnTo>
                <a:lnTo>
                  <a:pt x="15" y="204"/>
                </a:lnTo>
                <a:lnTo>
                  <a:pt x="17" y="204"/>
                </a:lnTo>
                <a:lnTo>
                  <a:pt x="17" y="204"/>
                </a:lnTo>
                <a:lnTo>
                  <a:pt x="17" y="204"/>
                </a:lnTo>
                <a:lnTo>
                  <a:pt x="20" y="204"/>
                </a:lnTo>
                <a:lnTo>
                  <a:pt x="20" y="204"/>
                </a:lnTo>
                <a:lnTo>
                  <a:pt x="20" y="201"/>
                </a:lnTo>
                <a:lnTo>
                  <a:pt x="20" y="201"/>
                </a:lnTo>
                <a:lnTo>
                  <a:pt x="17" y="201"/>
                </a:lnTo>
                <a:lnTo>
                  <a:pt x="17" y="201"/>
                </a:lnTo>
                <a:lnTo>
                  <a:pt x="15" y="201"/>
                </a:lnTo>
                <a:lnTo>
                  <a:pt x="15" y="201"/>
                </a:lnTo>
                <a:lnTo>
                  <a:pt x="15" y="199"/>
                </a:lnTo>
                <a:lnTo>
                  <a:pt x="15" y="199"/>
                </a:lnTo>
                <a:lnTo>
                  <a:pt x="15" y="199"/>
                </a:lnTo>
                <a:lnTo>
                  <a:pt x="17" y="199"/>
                </a:lnTo>
                <a:lnTo>
                  <a:pt x="17" y="199"/>
                </a:lnTo>
                <a:lnTo>
                  <a:pt x="22" y="196"/>
                </a:lnTo>
                <a:lnTo>
                  <a:pt x="22" y="196"/>
                </a:lnTo>
                <a:lnTo>
                  <a:pt x="22" y="194"/>
                </a:lnTo>
                <a:lnTo>
                  <a:pt x="22" y="194"/>
                </a:lnTo>
                <a:lnTo>
                  <a:pt x="22" y="194"/>
                </a:lnTo>
                <a:lnTo>
                  <a:pt x="25" y="192"/>
                </a:lnTo>
                <a:lnTo>
                  <a:pt x="25" y="192"/>
                </a:lnTo>
                <a:lnTo>
                  <a:pt x="27" y="192"/>
                </a:lnTo>
                <a:lnTo>
                  <a:pt x="27" y="192"/>
                </a:lnTo>
                <a:lnTo>
                  <a:pt x="30" y="192"/>
                </a:lnTo>
                <a:lnTo>
                  <a:pt x="30" y="192"/>
                </a:lnTo>
                <a:lnTo>
                  <a:pt x="30" y="192"/>
                </a:lnTo>
                <a:lnTo>
                  <a:pt x="32" y="192"/>
                </a:lnTo>
                <a:lnTo>
                  <a:pt x="32" y="192"/>
                </a:lnTo>
                <a:lnTo>
                  <a:pt x="35" y="192"/>
                </a:lnTo>
                <a:lnTo>
                  <a:pt x="35" y="192"/>
                </a:lnTo>
                <a:lnTo>
                  <a:pt x="37" y="192"/>
                </a:lnTo>
                <a:lnTo>
                  <a:pt x="37" y="192"/>
                </a:lnTo>
                <a:lnTo>
                  <a:pt x="37" y="192"/>
                </a:lnTo>
                <a:lnTo>
                  <a:pt x="37" y="192"/>
                </a:lnTo>
                <a:lnTo>
                  <a:pt x="40" y="192"/>
                </a:lnTo>
                <a:lnTo>
                  <a:pt x="40" y="192"/>
                </a:lnTo>
                <a:lnTo>
                  <a:pt x="42" y="192"/>
                </a:lnTo>
                <a:lnTo>
                  <a:pt x="42" y="192"/>
                </a:lnTo>
                <a:lnTo>
                  <a:pt x="42" y="189"/>
                </a:lnTo>
                <a:lnTo>
                  <a:pt x="42" y="189"/>
                </a:lnTo>
                <a:lnTo>
                  <a:pt x="44" y="189"/>
                </a:lnTo>
                <a:lnTo>
                  <a:pt x="44" y="189"/>
                </a:lnTo>
                <a:lnTo>
                  <a:pt x="47" y="189"/>
                </a:lnTo>
                <a:lnTo>
                  <a:pt x="47" y="189"/>
                </a:lnTo>
                <a:lnTo>
                  <a:pt x="47" y="189"/>
                </a:lnTo>
                <a:lnTo>
                  <a:pt x="49" y="189"/>
                </a:lnTo>
                <a:lnTo>
                  <a:pt x="49" y="189"/>
                </a:lnTo>
                <a:lnTo>
                  <a:pt x="49" y="189"/>
                </a:lnTo>
                <a:lnTo>
                  <a:pt x="52" y="189"/>
                </a:lnTo>
                <a:lnTo>
                  <a:pt x="52" y="189"/>
                </a:lnTo>
                <a:lnTo>
                  <a:pt x="64" y="184"/>
                </a:lnTo>
                <a:lnTo>
                  <a:pt x="64" y="184"/>
                </a:lnTo>
                <a:lnTo>
                  <a:pt x="67" y="184"/>
                </a:lnTo>
                <a:lnTo>
                  <a:pt x="67" y="184"/>
                </a:lnTo>
                <a:lnTo>
                  <a:pt x="67" y="187"/>
                </a:lnTo>
                <a:lnTo>
                  <a:pt x="67" y="187"/>
                </a:lnTo>
                <a:lnTo>
                  <a:pt x="67" y="184"/>
                </a:lnTo>
                <a:lnTo>
                  <a:pt x="67" y="184"/>
                </a:lnTo>
                <a:lnTo>
                  <a:pt x="67" y="184"/>
                </a:lnTo>
                <a:lnTo>
                  <a:pt x="67" y="182"/>
                </a:lnTo>
                <a:lnTo>
                  <a:pt x="67" y="182"/>
                </a:lnTo>
                <a:lnTo>
                  <a:pt x="71" y="179"/>
                </a:lnTo>
                <a:lnTo>
                  <a:pt x="71" y="179"/>
                </a:lnTo>
                <a:lnTo>
                  <a:pt x="76" y="179"/>
                </a:lnTo>
                <a:lnTo>
                  <a:pt x="76" y="179"/>
                </a:lnTo>
                <a:lnTo>
                  <a:pt x="79" y="179"/>
                </a:lnTo>
                <a:lnTo>
                  <a:pt x="79" y="179"/>
                </a:lnTo>
                <a:lnTo>
                  <a:pt x="81" y="179"/>
                </a:lnTo>
                <a:lnTo>
                  <a:pt x="81" y="179"/>
                </a:lnTo>
                <a:lnTo>
                  <a:pt x="84" y="182"/>
                </a:lnTo>
                <a:lnTo>
                  <a:pt x="84" y="182"/>
                </a:lnTo>
                <a:lnTo>
                  <a:pt x="86" y="179"/>
                </a:lnTo>
                <a:lnTo>
                  <a:pt x="86" y="179"/>
                </a:lnTo>
                <a:lnTo>
                  <a:pt x="89" y="179"/>
                </a:lnTo>
                <a:lnTo>
                  <a:pt x="89" y="179"/>
                </a:lnTo>
                <a:lnTo>
                  <a:pt x="94" y="179"/>
                </a:lnTo>
                <a:lnTo>
                  <a:pt x="94" y="179"/>
                </a:lnTo>
                <a:lnTo>
                  <a:pt x="94" y="182"/>
                </a:lnTo>
                <a:lnTo>
                  <a:pt x="94" y="182"/>
                </a:lnTo>
                <a:lnTo>
                  <a:pt x="96" y="182"/>
                </a:lnTo>
                <a:lnTo>
                  <a:pt x="96" y="182"/>
                </a:lnTo>
                <a:lnTo>
                  <a:pt x="99" y="182"/>
                </a:lnTo>
                <a:lnTo>
                  <a:pt x="99" y="182"/>
                </a:lnTo>
                <a:lnTo>
                  <a:pt x="101" y="184"/>
                </a:lnTo>
                <a:lnTo>
                  <a:pt x="101" y="184"/>
                </a:lnTo>
                <a:lnTo>
                  <a:pt x="103" y="184"/>
                </a:lnTo>
                <a:lnTo>
                  <a:pt x="103" y="184"/>
                </a:lnTo>
                <a:lnTo>
                  <a:pt x="106" y="184"/>
                </a:lnTo>
                <a:lnTo>
                  <a:pt x="106" y="184"/>
                </a:lnTo>
                <a:lnTo>
                  <a:pt x="106" y="182"/>
                </a:lnTo>
                <a:lnTo>
                  <a:pt x="106" y="182"/>
                </a:lnTo>
                <a:lnTo>
                  <a:pt x="108" y="179"/>
                </a:lnTo>
                <a:lnTo>
                  <a:pt x="108" y="179"/>
                </a:lnTo>
                <a:lnTo>
                  <a:pt x="111" y="177"/>
                </a:lnTo>
                <a:lnTo>
                  <a:pt x="111" y="177"/>
                </a:lnTo>
                <a:lnTo>
                  <a:pt x="113" y="174"/>
                </a:lnTo>
                <a:lnTo>
                  <a:pt x="113" y="174"/>
                </a:lnTo>
                <a:lnTo>
                  <a:pt x="116" y="172"/>
                </a:lnTo>
                <a:lnTo>
                  <a:pt x="116" y="172"/>
                </a:lnTo>
                <a:lnTo>
                  <a:pt x="118" y="169"/>
                </a:lnTo>
                <a:lnTo>
                  <a:pt x="118" y="169"/>
                </a:lnTo>
                <a:lnTo>
                  <a:pt x="121" y="167"/>
                </a:lnTo>
                <a:lnTo>
                  <a:pt x="121" y="167"/>
                </a:lnTo>
                <a:lnTo>
                  <a:pt x="123" y="165"/>
                </a:lnTo>
                <a:lnTo>
                  <a:pt x="123" y="165"/>
                </a:lnTo>
                <a:lnTo>
                  <a:pt x="123" y="162"/>
                </a:lnTo>
                <a:lnTo>
                  <a:pt x="123" y="162"/>
                </a:lnTo>
                <a:lnTo>
                  <a:pt x="121" y="162"/>
                </a:lnTo>
                <a:lnTo>
                  <a:pt x="121" y="162"/>
                </a:lnTo>
                <a:lnTo>
                  <a:pt x="121" y="160"/>
                </a:lnTo>
                <a:lnTo>
                  <a:pt x="121" y="160"/>
                </a:lnTo>
                <a:lnTo>
                  <a:pt x="123" y="155"/>
                </a:lnTo>
                <a:lnTo>
                  <a:pt x="123" y="155"/>
                </a:lnTo>
                <a:lnTo>
                  <a:pt x="126" y="155"/>
                </a:lnTo>
                <a:lnTo>
                  <a:pt x="126" y="155"/>
                </a:lnTo>
                <a:lnTo>
                  <a:pt x="131" y="155"/>
                </a:lnTo>
                <a:lnTo>
                  <a:pt x="131" y="155"/>
                </a:lnTo>
                <a:lnTo>
                  <a:pt x="133" y="155"/>
                </a:lnTo>
                <a:lnTo>
                  <a:pt x="133" y="155"/>
                </a:lnTo>
                <a:lnTo>
                  <a:pt x="135" y="152"/>
                </a:lnTo>
                <a:lnTo>
                  <a:pt x="135" y="152"/>
                </a:lnTo>
                <a:lnTo>
                  <a:pt x="133" y="150"/>
                </a:lnTo>
                <a:lnTo>
                  <a:pt x="133" y="150"/>
                </a:lnTo>
                <a:lnTo>
                  <a:pt x="131" y="150"/>
                </a:lnTo>
                <a:lnTo>
                  <a:pt x="131" y="150"/>
                </a:lnTo>
                <a:lnTo>
                  <a:pt x="128" y="150"/>
                </a:lnTo>
                <a:lnTo>
                  <a:pt x="128" y="150"/>
                </a:lnTo>
                <a:lnTo>
                  <a:pt x="128" y="147"/>
                </a:lnTo>
                <a:lnTo>
                  <a:pt x="128" y="147"/>
                </a:lnTo>
                <a:lnTo>
                  <a:pt x="128" y="145"/>
                </a:lnTo>
                <a:lnTo>
                  <a:pt x="128" y="145"/>
                </a:lnTo>
                <a:lnTo>
                  <a:pt x="131" y="145"/>
                </a:lnTo>
                <a:lnTo>
                  <a:pt x="131" y="145"/>
                </a:lnTo>
                <a:lnTo>
                  <a:pt x="135" y="145"/>
                </a:lnTo>
                <a:lnTo>
                  <a:pt x="135" y="145"/>
                </a:lnTo>
                <a:lnTo>
                  <a:pt x="138" y="142"/>
                </a:lnTo>
                <a:lnTo>
                  <a:pt x="138" y="142"/>
                </a:lnTo>
                <a:lnTo>
                  <a:pt x="140" y="142"/>
                </a:lnTo>
                <a:lnTo>
                  <a:pt x="140" y="142"/>
                </a:lnTo>
                <a:lnTo>
                  <a:pt x="143" y="140"/>
                </a:lnTo>
                <a:lnTo>
                  <a:pt x="143" y="140"/>
                </a:lnTo>
                <a:lnTo>
                  <a:pt x="140" y="140"/>
                </a:lnTo>
                <a:lnTo>
                  <a:pt x="140" y="140"/>
                </a:lnTo>
                <a:lnTo>
                  <a:pt x="140" y="137"/>
                </a:lnTo>
                <a:lnTo>
                  <a:pt x="140" y="137"/>
                </a:lnTo>
                <a:lnTo>
                  <a:pt x="140" y="137"/>
                </a:lnTo>
                <a:lnTo>
                  <a:pt x="138" y="140"/>
                </a:lnTo>
                <a:lnTo>
                  <a:pt x="138" y="140"/>
                </a:lnTo>
                <a:lnTo>
                  <a:pt x="138" y="142"/>
                </a:lnTo>
                <a:lnTo>
                  <a:pt x="138" y="142"/>
                </a:lnTo>
                <a:lnTo>
                  <a:pt x="135" y="142"/>
                </a:lnTo>
                <a:lnTo>
                  <a:pt x="135" y="142"/>
                </a:lnTo>
                <a:lnTo>
                  <a:pt x="131" y="142"/>
                </a:lnTo>
                <a:lnTo>
                  <a:pt x="131" y="142"/>
                </a:lnTo>
                <a:lnTo>
                  <a:pt x="128" y="142"/>
                </a:lnTo>
                <a:lnTo>
                  <a:pt x="128" y="142"/>
                </a:lnTo>
                <a:lnTo>
                  <a:pt x="128" y="142"/>
                </a:lnTo>
                <a:lnTo>
                  <a:pt x="126" y="145"/>
                </a:lnTo>
                <a:lnTo>
                  <a:pt x="126" y="145"/>
                </a:lnTo>
                <a:lnTo>
                  <a:pt x="123" y="145"/>
                </a:lnTo>
                <a:lnTo>
                  <a:pt x="123" y="145"/>
                </a:lnTo>
                <a:lnTo>
                  <a:pt x="121" y="142"/>
                </a:lnTo>
                <a:lnTo>
                  <a:pt x="121" y="142"/>
                </a:lnTo>
                <a:lnTo>
                  <a:pt x="118" y="140"/>
                </a:lnTo>
                <a:lnTo>
                  <a:pt x="118" y="140"/>
                </a:lnTo>
                <a:lnTo>
                  <a:pt x="116" y="140"/>
                </a:lnTo>
                <a:lnTo>
                  <a:pt x="116" y="140"/>
                </a:lnTo>
                <a:lnTo>
                  <a:pt x="116" y="142"/>
                </a:lnTo>
                <a:lnTo>
                  <a:pt x="116" y="142"/>
                </a:lnTo>
                <a:lnTo>
                  <a:pt x="113" y="142"/>
                </a:lnTo>
                <a:lnTo>
                  <a:pt x="113" y="142"/>
                </a:lnTo>
                <a:lnTo>
                  <a:pt x="113" y="140"/>
                </a:lnTo>
                <a:lnTo>
                  <a:pt x="113" y="140"/>
                </a:lnTo>
                <a:lnTo>
                  <a:pt x="111" y="140"/>
                </a:lnTo>
                <a:lnTo>
                  <a:pt x="111" y="140"/>
                </a:lnTo>
                <a:lnTo>
                  <a:pt x="108" y="140"/>
                </a:lnTo>
                <a:lnTo>
                  <a:pt x="108" y="140"/>
                </a:lnTo>
                <a:lnTo>
                  <a:pt x="108" y="140"/>
                </a:lnTo>
                <a:lnTo>
                  <a:pt x="108" y="137"/>
                </a:lnTo>
                <a:lnTo>
                  <a:pt x="108" y="137"/>
                </a:lnTo>
                <a:lnTo>
                  <a:pt x="108" y="137"/>
                </a:lnTo>
                <a:lnTo>
                  <a:pt x="108" y="135"/>
                </a:lnTo>
                <a:lnTo>
                  <a:pt x="108" y="135"/>
                </a:lnTo>
                <a:lnTo>
                  <a:pt x="108" y="133"/>
                </a:lnTo>
                <a:lnTo>
                  <a:pt x="108" y="133"/>
                </a:lnTo>
                <a:lnTo>
                  <a:pt x="111" y="133"/>
                </a:lnTo>
                <a:lnTo>
                  <a:pt x="111" y="133"/>
                </a:lnTo>
                <a:lnTo>
                  <a:pt x="113" y="130"/>
                </a:lnTo>
                <a:lnTo>
                  <a:pt x="113" y="130"/>
                </a:lnTo>
                <a:lnTo>
                  <a:pt x="113" y="128"/>
                </a:lnTo>
                <a:lnTo>
                  <a:pt x="113" y="128"/>
                </a:lnTo>
                <a:lnTo>
                  <a:pt x="116" y="128"/>
                </a:lnTo>
                <a:lnTo>
                  <a:pt x="116" y="128"/>
                </a:lnTo>
                <a:lnTo>
                  <a:pt x="116" y="125"/>
                </a:lnTo>
                <a:lnTo>
                  <a:pt x="116" y="125"/>
                </a:lnTo>
                <a:lnTo>
                  <a:pt x="116" y="125"/>
                </a:lnTo>
                <a:lnTo>
                  <a:pt x="113" y="123"/>
                </a:lnTo>
                <a:lnTo>
                  <a:pt x="113" y="123"/>
                </a:lnTo>
                <a:lnTo>
                  <a:pt x="116" y="123"/>
                </a:lnTo>
                <a:lnTo>
                  <a:pt x="116" y="123"/>
                </a:lnTo>
                <a:lnTo>
                  <a:pt x="118" y="120"/>
                </a:lnTo>
                <a:lnTo>
                  <a:pt x="118" y="120"/>
                </a:lnTo>
                <a:lnTo>
                  <a:pt x="121" y="120"/>
                </a:lnTo>
                <a:lnTo>
                  <a:pt x="121" y="120"/>
                </a:lnTo>
                <a:lnTo>
                  <a:pt x="121" y="118"/>
                </a:lnTo>
                <a:lnTo>
                  <a:pt x="121" y="118"/>
                </a:lnTo>
                <a:lnTo>
                  <a:pt x="123" y="118"/>
                </a:lnTo>
                <a:lnTo>
                  <a:pt x="123" y="118"/>
                </a:lnTo>
                <a:lnTo>
                  <a:pt x="128" y="115"/>
                </a:lnTo>
                <a:lnTo>
                  <a:pt x="128" y="115"/>
                </a:lnTo>
                <a:lnTo>
                  <a:pt x="128" y="113"/>
                </a:lnTo>
                <a:lnTo>
                  <a:pt x="128" y="113"/>
                </a:lnTo>
                <a:lnTo>
                  <a:pt x="131" y="113"/>
                </a:lnTo>
                <a:lnTo>
                  <a:pt x="131" y="113"/>
                </a:lnTo>
                <a:lnTo>
                  <a:pt x="135" y="113"/>
                </a:lnTo>
                <a:lnTo>
                  <a:pt x="135" y="113"/>
                </a:lnTo>
                <a:lnTo>
                  <a:pt x="138" y="113"/>
                </a:lnTo>
                <a:lnTo>
                  <a:pt x="138" y="113"/>
                </a:lnTo>
                <a:lnTo>
                  <a:pt x="135" y="110"/>
                </a:lnTo>
                <a:lnTo>
                  <a:pt x="135" y="110"/>
                </a:lnTo>
                <a:lnTo>
                  <a:pt x="135" y="110"/>
                </a:lnTo>
                <a:lnTo>
                  <a:pt x="135" y="108"/>
                </a:lnTo>
                <a:lnTo>
                  <a:pt x="135" y="108"/>
                </a:lnTo>
                <a:lnTo>
                  <a:pt x="135" y="108"/>
                </a:lnTo>
                <a:lnTo>
                  <a:pt x="140" y="108"/>
                </a:lnTo>
                <a:lnTo>
                  <a:pt x="140" y="108"/>
                </a:lnTo>
                <a:lnTo>
                  <a:pt x="140" y="110"/>
                </a:lnTo>
                <a:lnTo>
                  <a:pt x="140" y="110"/>
                </a:lnTo>
                <a:lnTo>
                  <a:pt x="140" y="108"/>
                </a:lnTo>
                <a:lnTo>
                  <a:pt x="140" y="108"/>
                </a:lnTo>
                <a:lnTo>
                  <a:pt x="145" y="105"/>
                </a:lnTo>
                <a:lnTo>
                  <a:pt x="145" y="105"/>
                </a:lnTo>
                <a:lnTo>
                  <a:pt x="145" y="103"/>
                </a:lnTo>
                <a:lnTo>
                  <a:pt x="145" y="103"/>
                </a:lnTo>
                <a:lnTo>
                  <a:pt x="145" y="101"/>
                </a:lnTo>
                <a:lnTo>
                  <a:pt x="145" y="101"/>
                </a:lnTo>
                <a:lnTo>
                  <a:pt x="148" y="98"/>
                </a:lnTo>
                <a:lnTo>
                  <a:pt x="148" y="98"/>
                </a:lnTo>
                <a:lnTo>
                  <a:pt x="150" y="98"/>
                </a:lnTo>
                <a:lnTo>
                  <a:pt x="150" y="98"/>
                </a:lnTo>
                <a:lnTo>
                  <a:pt x="153" y="96"/>
                </a:lnTo>
                <a:lnTo>
                  <a:pt x="153" y="96"/>
                </a:lnTo>
                <a:lnTo>
                  <a:pt x="155" y="96"/>
                </a:lnTo>
                <a:lnTo>
                  <a:pt x="155" y="96"/>
                </a:lnTo>
                <a:lnTo>
                  <a:pt x="155" y="96"/>
                </a:lnTo>
                <a:lnTo>
                  <a:pt x="158" y="96"/>
                </a:lnTo>
                <a:lnTo>
                  <a:pt x="158" y="96"/>
                </a:lnTo>
                <a:lnTo>
                  <a:pt x="158" y="98"/>
                </a:lnTo>
                <a:lnTo>
                  <a:pt x="158" y="98"/>
                </a:lnTo>
                <a:lnTo>
                  <a:pt x="158" y="103"/>
                </a:lnTo>
                <a:lnTo>
                  <a:pt x="158" y="103"/>
                </a:lnTo>
                <a:lnTo>
                  <a:pt x="158" y="105"/>
                </a:lnTo>
                <a:lnTo>
                  <a:pt x="158" y="105"/>
                </a:lnTo>
                <a:lnTo>
                  <a:pt x="158" y="110"/>
                </a:lnTo>
                <a:lnTo>
                  <a:pt x="158" y="110"/>
                </a:lnTo>
                <a:lnTo>
                  <a:pt x="158" y="115"/>
                </a:lnTo>
                <a:lnTo>
                  <a:pt x="158" y="115"/>
                </a:lnTo>
                <a:lnTo>
                  <a:pt x="160" y="115"/>
                </a:lnTo>
                <a:lnTo>
                  <a:pt x="160" y="115"/>
                </a:lnTo>
                <a:lnTo>
                  <a:pt x="160" y="115"/>
                </a:lnTo>
                <a:lnTo>
                  <a:pt x="160" y="110"/>
                </a:lnTo>
                <a:lnTo>
                  <a:pt x="160" y="110"/>
                </a:lnTo>
                <a:lnTo>
                  <a:pt x="160" y="105"/>
                </a:lnTo>
                <a:lnTo>
                  <a:pt x="160" y="105"/>
                </a:lnTo>
                <a:lnTo>
                  <a:pt x="160" y="103"/>
                </a:lnTo>
                <a:lnTo>
                  <a:pt x="160" y="103"/>
                </a:lnTo>
                <a:lnTo>
                  <a:pt x="160" y="101"/>
                </a:lnTo>
                <a:lnTo>
                  <a:pt x="160" y="101"/>
                </a:lnTo>
                <a:lnTo>
                  <a:pt x="160" y="96"/>
                </a:lnTo>
                <a:lnTo>
                  <a:pt x="160" y="96"/>
                </a:lnTo>
                <a:lnTo>
                  <a:pt x="163" y="96"/>
                </a:lnTo>
                <a:lnTo>
                  <a:pt x="163" y="96"/>
                </a:lnTo>
                <a:lnTo>
                  <a:pt x="163" y="96"/>
                </a:lnTo>
                <a:lnTo>
                  <a:pt x="165" y="93"/>
                </a:lnTo>
                <a:lnTo>
                  <a:pt x="165" y="93"/>
                </a:lnTo>
                <a:lnTo>
                  <a:pt x="165" y="93"/>
                </a:lnTo>
                <a:lnTo>
                  <a:pt x="167" y="93"/>
                </a:lnTo>
                <a:lnTo>
                  <a:pt x="167" y="93"/>
                </a:lnTo>
                <a:lnTo>
                  <a:pt x="167" y="96"/>
                </a:lnTo>
                <a:lnTo>
                  <a:pt x="167" y="96"/>
                </a:lnTo>
                <a:lnTo>
                  <a:pt x="167" y="96"/>
                </a:lnTo>
                <a:lnTo>
                  <a:pt x="170" y="96"/>
                </a:lnTo>
                <a:lnTo>
                  <a:pt x="170" y="96"/>
                </a:lnTo>
                <a:lnTo>
                  <a:pt x="170" y="96"/>
                </a:lnTo>
                <a:lnTo>
                  <a:pt x="170" y="98"/>
                </a:lnTo>
                <a:lnTo>
                  <a:pt x="170" y="98"/>
                </a:lnTo>
                <a:lnTo>
                  <a:pt x="170" y="101"/>
                </a:lnTo>
                <a:lnTo>
                  <a:pt x="170" y="101"/>
                </a:lnTo>
                <a:lnTo>
                  <a:pt x="172" y="101"/>
                </a:lnTo>
                <a:lnTo>
                  <a:pt x="172" y="101"/>
                </a:lnTo>
                <a:lnTo>
                  <a:pt x="177" y="101"/>
                </a:lnTo>
                <a:lnTo>
                  <a:pt x="177" y="101"/>
                </a:lnTo>
                <a:lnTo>
                  <a:pt x="180" y="101"/>
                </a:lnTo>
                <a:lnTo>
                  <a:pt x="180" y="101"/>
                </a:lnTo>
                <a:lnTo>
                  <a:pt x="182" y="101"/>
                </a:lnTo>
                <a:lnTo>
                  <a:pt x="182" y="101"/>
                </a:lnTo>
                <a:lnTo>
                  <a:pt x="182" y="98"/>
                </a:lnTo>
                <a:lnTo>
                  <a:pt x="182" y="98"/>
                </a:lnTo>
                <a:lnTo>
                  <a:pt x="180" y="98"/>
                </a:lnTo>
                <a:lnTo>
                  <a:pt x="180" y="98"/>
                </a:lnTo>
                <a:lnTo>
                  <a:pt x="182" y="96"/>
                </a:lnTo>
                <a:lnTo>
                  <a:pt x="182" y="96"/>
                </a:lnTo>
                <a:lnTo>
                  <a:pt x="182" y="93"/>
                </a:lnTo>
                <a:lnTo>
                  <a:pt x="182" y="93"/>
                </a:lnTo>
                <a:lnTo>
                  <a:pt x="185" y="91"/>
                </a:lnTo>
                <a:lnTo>
                  <a:pt x="185" y="91"/>
                </a:lnTo>
                <a:lnTo>
                  <a:pt x="185" y="91"/>
                </a:lnTo>
                <a:lnTo>
                  <a:pt x="187" y="91"/>
                </a:lnTo>
                <a:lnTo>
                  <a:pt x="187" y="91"/>
                </a:lnTo>
                <a:lnTo>
                  <a:pt x="192" y="88"/>
                </a:lnTo>
                <a:lnTo>
                  <a:pt x="192" y="88"/>
                </a:lnTo>
                <a:lnTo>
                  <a:pt x="192" y="86"/>
                </a:lnTo>
                <a:lnTo>
                  <a:pt x="192" y="86"/>
                </a:lnTo>
                <a:lnTo>
                  <a:pt x="192" y="81"/>
                </a:lnTo>
                <a:lnTo>
                  <a:pt x="192" y="81"/>
                </a:lnTo>
                <a:lnTo>
                  <a:pt x="192" y="81"/>
                </a:lnTo>
                <a:lnTo>
                  <a:pt x="190" y="81"/>
                </a:lnTo>
                <a:lnTo>
                  <a:pt x="190" y="81"/>
                </a:lnTo>
                <a:lnTo>
                  <a:pt x="190" y="81"/>
                </a:lnTo>
                <a:lnTo>
                  <a:pt x="190" y="78"/>
                </a:lnTo>
                <a:lnTo>
                  <a:pt x="190" y="78"/>
                </a:lnTo>
                <a:lnTo>
                  <a:pt x="192" y="76"/>
                </a:lnTo>
                <a:lnTo>
                  <a:pt x="192" y="76"/>
                </a:lnTo>
                <a:lnTo>
                  <a:pt x="192" y="71"/>
                </a:lnTo>
                <a:lnTo>
                  <a:pt x="192" y="71"/>
                </a:lnTo>
                <a:lnTo>
                  <a:pt x="192" y="69"/>
                </a:lnTo>
                <a:lnTo>
                  <a:pt x="192" y="69"/>
                </a:lnTo>
                <a:lnTo>
                  <a:pt x="192" y="66"/>
                </a:lnTo>
                <a:lnTo>
                  <a:pt x="192" y="66"/>
                </a:lnTo>
                <a:lnTo>
                  <a:pt x="194" y="64"/>
                </a:lnTo>
                <a:lnTo>
                  <a:pt x="194" y="64"/>
                </a:lnTo>
                <a:lnTo>
                  <a:pt x="199" y="64"/>
                </a:lnTo>
                <a:lnTo>
                  <a:pt x="199" y="64"/>
                </a:lnTo>
                <a:lnTo>
                  <a:pt x="202" y="61"/>
                </a:lnTo>
                <a:lnTo>
                  <a:pt x="202" y="61"/>
                </a:lnTo>
                <a:lnTo>
                  <a:pt x="207" y="61"/>
                </a:lnTo>
                <a:lnTo>
                  <a:pt x="207" y="61"/>
                </a:lnTo>
                <a:lnTo>
                  <a:pt x="207" y="61"/>
                </a:lnTo>
                <a:lnTo>
                  <a:pt x="207" y="64"/>
                </a:lnTo>
                <a:lnTo>
                  <a:pt x="207" y="64"/>
                </a:lnTo>
                <a:lnTo>
                  <a:pt x="207" y="66"/>
                </a:lnTo>
                <a:lnTo>
                  <a:pt x="207" y="66"/>
                </a:lnTo>
                <a:lnTo>
                  <a:pt x="212" y="69"/>
                </a:lnTo>
                <a:lnTo>
                  <a:pt x="212" y="69"/>
                </a:lnTo>
                <a:lnTo>
                  <a:pt x="212" y="71"/>
                </a:lnTo>
                <a:lnTo>
                  <a:pt x="212" y="71"/>
                </a:lnTo>
                <a:lnTo>
                  <a:pt x="212" y="78"/>
                </a:lnTo>
                <a:lnTo>
                  <a:pt x="212" y="78"/>
                </a:lnTo>
                <a:lnTo>
                  <a:pt x="209" y="83"/>
                </a:lnTo>
                <a:lnTo>
                  <a:pt x="209" y="83"/>
                </a:lnTo>
                <a:lnTo>
                  <a:pt x="212" y="83"/>
                </a:lnTo>
                <a:lnTo>
                  <a:pt x="212" y="83"/>
                </a:lnTo>
                <a:lnTo>
                  <a:pt x="217" y="88"/>
                </a:lnTo>
                <a:lnTo>
                  <a:pt x="217" y="88"/>
                </a:lnTo>
                <a:lnTo>
                  <a:pt x="217" y="91"/>
                </a:lnTo>
                <a:lnTo>
                  <a:pt x="217" y="91"/>
                </a:lnTo>
                <a:lnTo>
                  <a:pt x="219" y="93"/>
                </a:lnTo>
                <a:lnTo>
                  <a:pt x="219" y="93"/>
                </a:lnTo>
                <a:lnTo>
                  <a:pt x="219" y="91"/>
                </a:lnTo>
                <a:lnTo>
                  <a:pt x="219" y="91"/>
                </a:lnTo>
                <a:lnTo>
                  <a:pt x="219" y="86"/>
                </a:lnTo>
                <a:lnTo>
                  <a:pt x="219" y="86"/>
                </a:lnTo>
                <a:lnTo>
                  <a:pt x="219" y="83"/>
                </a:lnTo>
                <a:lnTo>
                  <a:pt x="219" y="83"/>
                </a:lnTo>
                <a:lnTo>
                  <a:pt x="214" y="78"/>
                </a:lnTo>
                <a:lnTo>
                  <a:pt x="214" y="78"/>
                </a:lnTo>
                <a:lnTo>
                  <a:pt x="214" y="74"/>
                </a:lnTo>
                <a:lnTo>
                  <a:pt x="214" y="74"/>
                </a:lnTo>
                <a:lnTo>
                  <a:pt x="217" y="69"/>
                </a:lnTo>
                <a:lnTo>
                  <a:pt x="217" y="69"/>
                </a:lnTo>
                <a:lnTo>
                  <a:pt x="217" y="66"/>
                </a:lnTo>
                <a:lnTo>
                  <a:pt x="217" y="66"/>
                </a:lnTo>
                <a:lnTo>
                  <a:pt x="217" y="66"/>
                </a:lnTo>
                <a:lnTo>
                  <a:pt x="214" y="64"/>
                </a:lnTo>
                <a:lnTo>
                  <a:pt x="214" y="64"/>
                </a:lnTo>
                <a:lnTo>
                  <a:pt x="214" y="61"/>
                </a:lnTo>
                <a:lnTo>
                  <a:pt x="214" y="61"/>
                </a:lnTo>
                <a:lnTo>
                  <a:pt x="214" y="59"/>
                </a:lnTo>
                <a:lnTo>
                  <a:pt x="214" y="59"/>
                </a:lnTo>
                <a:lnTo>
                  <a:pt x="214" y="56"/>
                </a:lnTo>
                <a:lnTo>
                  <a:pt x="214" y="56"/>
                </a:lnTo>
                <a:lnTo>
                  <a:pt x="217" y="54"/>
                </a:lnTo>
                <a:lnTo>
                  <a:pt x="217" y="54"/>
                </a:lnTo>
                <a:lnTo>
                  <a:pt x="219" y="54"/>
                </a:lnTo>
                <a:lnTo>
                  <a:pt x="219" y="54"/>
                </a:lnTo>
                <a:lnTo>
                  <a:pt x="222" y="56"/>
                </a:lnTo>
                <a:lnTo>
                  <a:pt x="222" y="56"/>
                </a:lnTo>
                <a:lnTo>
                  <a:pt x="224" y="54"/>
                </a:lnTo>
                <a:lnTo>
                  <a:pt x="224" y="54"/>
                </a:lnTo>
                <a:lnTo>
                  <a:pt x="226" y="54"/>
                </a:lnTo>
                <a:lnTo>
                  <a:pt x="226" y="54"/>
                </a:lnTo>
                <a:lnTo>
                  <a:pt x="229" y="56"/>
                </a:lnTo>
                <a:lnTo>
                  <a:pt x="229" y="56"/>
                </a:lnTo>
                <a:lnTo>
                  <a:pt x="236" y="54"/>
                </a:lnTo>
                <a:lnTo>
                  <a:pt x="236" y="54"/>
                </a:lnTo>
                <a:lnTo>
                  <a:pt x="241" y="54"/>
                </a:lnTo>
                <a:lnTo>
                  <a:pt x="241" y="54"/>
                </a:lnTo>
                <a:lnTo>
                  <a:pt x="249" y="51"/>
                </a:lnTo>
                <a:lnTo>
                  <a:pt x="249" y="51"/>
                </a:lnTo>
                <a:lnTo>
                  <a:pt x="249" y="54"/>
                </a:lnTo>
                <a:lnTo>
                  <a:pt x="249" y="54"/>
                </a:lnTo>
                <a:lnTo>
                  <a:pt x="251" y="56"/>
                </a:lnTo>
                <a:lnTo>
                  <a:pt x="251" y="56"/>
                </a:lnTo>
                <a:lnTo>
                  <a:pt x="251" y="59"/>
                </a:lnTo>
                <a:lnTo>
                  <a:pt x="251" y="59"/>
                </a:lnTo>
                <a:lnTo>
                  <a:pt x="251" y="61"/>
                </a:lnTo>
                <a:lnTo>
                  <a:pt x="251" y="61"/>
                </a:lnTo>
                <a:lnTo>
                  <a:pt x="254" y="61"/>
                </a:lnTo>
                <a:lnTo>
                  <a:pt x="254" y="61"/>
                </a:lnTo>
                <a:lnTo>
                  <a:pt x="254" y="59"/>
                </a:lnTo>
                <a:lnTo>
                  <a:pt x="254" y="59"/>
                </a:lnTo>
                <a:lnTo>
                  <a:pt x="254" y="56"/>
                </a:lnTo>
                <a:lnTo>
                  <a:pt x="254" y="56"/>
                </a:lnTo>
                <a:lnTo>
                  <a:pt x="254" y="54"/>
                </a:lnTo>
                <a:lnTo>
                  <a:pt x="254" y="54"/>
                </a:lnTo>
                <a:lnTo>
                  <a:pt x="256" y="49"/>
                </a:lnTo>
                <a:lnTo>
                  <a:pt x="256" y="49"/>
                </a:lnTo>
                <a:lnTo>
                  <a:pt x="258" y="51"/>
                </a:lnTo>
                <a:lnTo>
                  <a:pt x="258" y="51"/>
                </a:lnTo>
                <a:lnTo>
                  <a:pt x="261" y="54"/>
                </a:lnTo>
                <a:lnTo>
                  <a:pt x="261" y="54"/>
                </a:lnTo>
                <a:lnTo>
                  <a:pt x="261" y="56"/>
                </a:lnTo>
                <a:lnTo>
                  <a:pt x="261" y="56"/>
                </a:lnTo>
                <a:lnTo>
                  <a:pt x="263" y="59"/>
                </a:lnTo>
                <a:lnTo>
                  <a:pt x="263" y="59"/>
                </a:lnTo>
                <a:lnTo>
                  <a:pt x="263" y="56"/>
                </a:lnTo>
                <a:lnTo>
                  <a:pt x="263" y="56"/>
                </a:lnTo>
                <a:lnTo>
                  <a:pt x="263" y="51"/>
                </a:lnTo>
                <a:lnTo>
                  <a:pt x="263" y="51"/>
                </a:lnTo>
                <a:lnTo>
                  <a:pt x="261" y="49"/>
                </a:lnTo>
                <a:lnTo>
                  <a:pt x="261" y="49"/>
                </a:lnTo>
                <a:lnTo>
                  <a:pt x="261" y="46"/>
                </a:lnTo>
                <a:lnTo>
                  <a:pt x="261" y="46"/>
                </a:lnTo>
                <a:lnTo>
                  <a:pt x="263" y="46"/>
                </a:lnTo>
                <a:lnTo>
                  <a:pt x="263" y="46"/>
                </a:lnTo>
                <a:lnTo>
                  <a:pt x="266" y="46"/>
                </a:lnTo>
                <a:lnTo>
                  <a:pt x="266" y="46"/>
                </a:lnTo>
                <a:lnTo>
                  <a:pt x="268" y="49"/>
                </a:lnTo>
                <a:lnTo>
                  <a:pt x="268" y="49"/>
                </a:lnTo>
                <a:lnTo>
                  <a:pt x="271" y="46"/>
                </a:lnTo>
                <a:lnTo>
                  <a:pt x="271" y="46"/>
                </a:lnTo>
                <a:lnTo>
                  <a:pt x="273" y="46"/>
                </a:lnTo>
                <a:lnTo>
                  <a:pt x="273" y="46"/>
                </a:lnTo>
                <a:lnTo>
                  <a:pt x="278" y="46"/>
                </a:lnTo>
                <a:lnTo>
                  <a:pt x="278" y="46"/>
                </a:lnTo>
                <a:lnTo>
                  <a:pt x="278" y="49"/>
                </a:lnTo>
                <a:lnTo>
                  <a:pt x="278" y="49"/>
                </a:lnTo>
                <a:lnTo>
                  <a:pt x="278" y="56"/>
                </a:lnTo>
                <a:lnTo>
                  <a:pt x="278" y="56"/>
                </a:lnTo>
                <a:lnTo>
                  <a:pt x="276" y="59"/>
                </a:lnTo>
                <a:lnTo>
                  <a:pt x="276" y="59"/>
                </a:lnTo>
                <a:lnTo>
                  <a:pt x="276" y="61"/>
                </a:lnTo>
                <a:lnTo>
                  <a:pt x="276" y="61"/>
                </a:lnTo>
                <a:lnTo>
                  <a:pt x="273" y="66"/>
                </a:lnTo>
                <a:lnTo>
                  <a:pt x="273" y="66"/>
                </a:lnTo>
                <a:lnTo>
                  <a:pt x="273" y="71"/>
                </a:lnTo>
                <a:lnTo>
                  <a:pt x="273" y="71"/>
                </a:lnTo>
                <a:lnTo>
                  <a:pt x="273" y="71"/>
                </a:lnTo>
                <a:lnTo>
                  <a:pt x="271" y="74"/>
                </a:lnTo>
                <a:lnTo>
                  <a:pt x="271" y="74"/>
                </a:lnTo>
                <a:lnTo>
                  <a:pt x="271" y="76"/>
                </a:lnTo>
                <a:lnTo>
                  <a:pt x="271" y="76"/>
                </a:lnTo>
                <a:lnTo>
                  <a:pt x="268" y="76"/>
                </a:lnTo>
                <a:lnTo>
                  <a:pt x="268" y="76"/>
                </a:lnTo>
                <a:lnTo>
                  <a:pt x="271" y="78"/>
                </a:lnTo>
                <a:lnTo>
                  <a:pt x="271" y="78"/>
                </a:lnTo>
                <a:lnTo>
                  <a:pt x="271" y="78"/>
                </a:lnTo>
                <a:lnTo>
                  <a:pt x="271" y="81"/>
                </a:lnTo>
                <a:lnTo>
                  <a:pt x="271" y="81"/>
                </a:lnTo>
                <a:lnTo>
                  <a:pt x="268" y="83"/>
                </a:lnTo>
                <a:lnTo>
                  <a:pt x="268" y="83"/>
                </a:lnTo>
                <a:lnTo>
                  <a:pt x="266" y="88"/>
                </a:lnTo>
                <a:lnTo>
                  <a:pt x="266" y="88"/>
                </a:lnTo>
                <a:lnTo>
                  <a:pt x="263" y="88"/>
                </a:lnTo>
                <a:lnTo>
                  <a:pt x="263" y="88"/>
                </a:lnTo>
                <a:lnTo>
                  <a:pt x="263" y="91"/>
                </a:lnTo>
                <a:lnTo>
                  <a:pt x="263" y="91"/>
                </a:lnTo>
                <a:lnTo>
                  <a:pt x="261" y="93"/>
                </a:lnTo>
                <a:lnTo>
                  <a:pt x="261" y="93"/>
                </a:lnTo>
                <a:lnTo>
                  <a:pt x="261" y="96"/>
                </a:lnTo>
                <a:lnTo>
                  <a:pt x="261" y="96"/>
                </a:lnTo>
                <a:lnTo>
                  <a:pt x="258" y="101"/>
                </a:lnTo>
                <a:lnTo>
                  <a:pt x="258" y="101"/>
                </a:lnTo>
                <a:lnTo>
                  <a:pt x="261" y="101"/>
                </a:lnTo>
                <a:lnTo>
                  <a:pt x="261" y="101"/>
                </a:lnTo>
                <a:lnTo>
                  <a:pt x="261" y="101"/>
                </a:lnTo>
                <a:lnTo>
                  <a:pt x="263" y="98"/>
                </a:lnTo>
                <a:lnTo>
                  <a:pt x="263" y="98"/>
                </a:lnTo>
                <a:lnTo>
                  <a:pt x="266" y="96"/>
                </a:lnTo>
                <a:lnTo>
                  <a:pt x="266" y="96"/>
                </a:lnTo>
                <a:lnTo>
                  <a:pt x="266" y="93"/>
                </a:lnTo>
                <a:lnTo>
                  <a:pt x="266" y="93"/>
                </a:lnTo>
                <a:lnTo>
                  <a:pt x="268" y="91"/>
                </a:lnTo>
                <a:lnTo>
                  <a:pt x="268" y="91"/>
                </a:lnTo>
                <a:lnTo>
                  <a:pt x="271" y="88"/>
                </a:lnTo>
                <a:lnTo>
                  <a:pt x="271" y="88"/>
                </a:lnTo>
                <a:lnTo>
                  <a:pt x="271" y="86"/>
                </a:lnTo>
                <a:lnTo>
                  <a:pt x="271" y="86"/>
                </a:lnTo>
                <a:lnTo>
                  <a:pt x="273" y="83"/>
                </a:lnTo>
                <a:lnTo>
                  <a:pt x="273" y="83"/>
                </a:lnTo>
                <a:lnTo>
                  <a:pt x="276" y="83"/>
                </a:lnTo>
                <a:lnTo>
                  <a:pt x="276" y="83"/>
                </a:lnTo>
                <a:lnTo>
                  <a:pt x="276" y="81"/>
                </a:lnTo>
                <a:lnTo>
                  <a:pt x="276" y="81"/>
                </a:lnTo>
                <a:lnTo>
                  <a:pt x="276" y="78"/>
                </a:lnTo>
                <a:lnTo>
                  <a:pt x="276" y="78"/>
                </a:lnTo>
                <a:lnTo>
                  <a:pt x="278" y="78"/>
                </a:lnTo>
                <a:lnTo>
                  <a:pt x="278" y="78"/>
                </a:lnTo>
                <a:lnTo>
                  <a:pt x="278" y="74"/>
                </a:lnTo>
                <a:lnTo>
                  <a:pt x="278" y="74"/>
                </a:lnTo>
                <a:lnTo>
                  <a:pt x="281" y="74"/>
                </a:lnTo>
                <a:lnTo>
                  <a:pt x="281" y="74"/>
                </a:lnTo>
                <a:lnTo>
                  <a:pt x="281" y="76"/>
                </a:lnTo>
                <a:lnTo>
                  <a:pt x="281" y="76"/>
                </a:lnTo>
                <a:lnTo>
                  <a:pt x="281" y="78"/>
                </a:lnTo>
                <a:lnTo>
                  <a:pt x="281" y="78"/>
                </a:lnTo>
                <a:lnTo>
                  <a:pt x="283" y="78"/>
                </a:lnTo>
                <a:lnTo>
                  <a:pt x="283" y="78"/>
                </a:lnTo>
                <a:lnTo>
                  <a:pt x="283" y="81"/>
                </a:lnTo>
                <a:lnTo>
                  <a:pt x="283" y="81"/>
                </a:lnTo>
                <a:lnTo>
                  <a:pt x="286" y="86"/>
                </a:lnTo>
                <a:lnTo>
                  <a:pt x="286" y="86"/>
                </a:lnTo>
                <a:lnTo>
                  <a:pt x="288" y="88"/>
                </a:lnTo>
                <a:lnTo>
                  <a:pt x="288" y="88"/>
                </a:lnTo>
                <a:lnTo>
                  <a:pt x="288" y="93"/>
                </a:lnTo>
                <a:lnTo>
                  <a:pt x="288" y="93"/>
                </a:lnTo>
                <a:lnTo>
                  <a:pt x="288" y="93"/>
                </a:lnTo>
                <a:lnTo>
                  <a:pt x="290" y="93"/>
                </a:lnTo>
                <a:lnTo>
                  <a:pt x="290" y="93"/>
                </a:lnTo>
                <a:lnTo>
                  <a:pt x="293" y="96"/>
                </a:lnTo>
                <a:lnTo>
                  <a:pt x="293" y="96"/>
                </a:lnTo>
                <a:lnTo>
                  <a:pt x="293" y="96"/>
                </a:lnTo>
                <a:lnTo>
                  <a:pt x="293" y="93"/>
                </a:lnTo>
                <a:lnTo>
                  <a:pt x="293" y="93"/>
                </a:lnTo>
                <a:lnTo>
                  <a:pt x="295" y="93"/>
                </a:lnTo>
                <a:lnTo>
                  <a:pt x="295" y="93"/>
                </a:lnTo>
                <a:lnTo>
                  <a:pt x="295" y="91"/>
                </a:lnTo>
                <a:lnTo>
                  <a:pt x="295" y="91"/>
                </a:lnTo>
                <a:lnTo>
                  <a:pt x="293" y="88"/>
                </a:lnTo>
                <a:lnTo>
                  <a:pt x="293" y="88"/>
                </a:lnTo>
                <a:lnTo>
                  <a:pt x="293" y="86"/>
                </a:lnTo>
                <a:lnTo>
                  <a:pt x="293" y="86"/>
                </a:lnTo>
                <a:lnTo>
                  <a:pt x="293" y="86"/>
                </a:lnTo>
                <a:lnTo>
                  <a:pt x="293" y="86"/>
                </a:lnTo>
                <a:lnTo>
                  <a:pt x="295" y="88"/>
                </a:lnTo>
                <a:lnTo>
                  <a:pt x="295" y="88"/>
                </a:lnTo>
                <a:lnTo>
                  <a:pt x="298" y="88"/>
                </a:lnTo>
                <a:lnTo>
                  <a:pt x="298" y="88"/>
                </a:lnTo>
                <a:lnTo>
                  <a:pt x="300" y="88"/>
                </a:lnTo>
                <a:lnTo>
                  <a:pt x="300" y="88"/>
                </a:lnTo>
                <a:lnTo>
                  <a:pt x="300" y="91"/>
                </a:lnTo>
                <a:lnTo>
                  <a:pt x="300" y="91"/>
                </a:lnTo>
                <a:lnTo>
                  <a:pt x="303" y="91"/>
                </a:lnTo>
                <a:lnTo>
                  <a:pt x="303" y="91"/>
                </a:lnTo>
                <a:lnTo>
                  <a:pt x="305" y="91"/>
                </a:lnTo>
                <a:lnTo>
                  <a:pt x="305" y="91"/>
                </a:lnTo>
                <a:lnTo>
                  <a:pt x="305" y="91"/>
                </a:lnTo>
                <a:lnTo>
                  <a:pt x="308" y="91"/>
                </a:lnTo>
                <a:lnTo>
                  <a:pt x="308" y="91"/>
                </a:lnTo>
                <a:lnTo>
                  <a:pt x="308" y="91"/>
                </a:lnTo>
                <a:lnTo>
                  <a:pt x="308" y="86"/>
                </a:lnTo>
                <a:lnTo>
                  <a:pt x="308" y="86"/>
                </a:lnTo>
                <a:lnTo>
                  <a:pt x="308" y="83"/>
                </a:lnTo>
                <a:lnTo>
                  <a:pt x="308" y="83"/>
                </a:lnTo>
                <a:lnTo>
                  <a:pt x="308" y="78"/>
                </a:lnTo>
                <a:lnTo>
                  <a:pt x="308" y="78"/>
                </a:lnTo>
                <a:lnTo>
                  <a:pt x="310" y="74"/>
                </a:lnTo>
                <a:lnTo>
                  <a:pt x="310" y="74"/>
                </a:lnTo>
                <a:lnTo>
                  <a:pt x="308" y="74"/>
                </a:lnTo>
                <a:lnTo>
                  <a:pt x="308" y="74"/>
                </a:lnTo>
                <a:lnTo>
                  <a:pt x="308" y="69"/>
                </a:lnTo>
                <a:lnTo>
                  <a:pt x="308" y="69"/>
                </a:lnTo>
                <a:lnTo>
                  <a:pt x="308" y="64"/>
                </a:lnTo>
                <a:lnTo>
                  <a:pt x="308" y="64"/>
                </a:lnTo>
                <a:lnTo>
                  <a:pt x="310" y="59"/>
                </a:lnTo>
                <a:lnTo>
                  <a:pt x="310" y="59"/>
                </a:lnTo>
                <a:lnTo>
                  <a:pt x="310" y="56"/>
                </a:lnTo>
                <a:lnTo>
                  <a:pt x="310" y="56"/>
                </a:lnTo>
                <a:lnTo>
                  <a:pt x="310" y="56"/>
                </a:lnTo>
                <a:lnTo>
                  <a:pt x="310" y="54"/>
                </a:lnTo>
                <a:lnTo>
                  <a:pt x="310" y="54"/>
                </a:lnTo>
                <a:lnTo>
                  <a:pt x="310" y="51"/>
                </a:lnTo>
                <a:lnTo>
                  <a:pt x="310" y="51"/>
                </a:lnTo>
                <a:lnTo>
                  <a:pt x="310" y="49"/>
                </a:lnTo>
                <a:lnTo>
                  <a:pt x="310" y="49"/>
                </a:lnTo>
                <a:lnTo>
                  <a:pt x="315" y="49"/>
                </a:lnTo>
                <a:lnTo>
                  <a:pt x="315" y="49"/>
                </a:lnTo>
                <a:lnTo>
                  <a:pt x="315" y="49"/>
                </a:lnTo>
                <a:lnTo>
                  <a:pt x="317" y="49"/>
                </a:lnTo>
                <a:lnTo>
                  <a:pt x="317" y="49"/>
                </a:lnTo>
                <a:lnTo>
                  <a:pt x="320" y="51"/>
                </a:lnTo>
                <a:lnTo>
                  <a:pt x="320" y="51"/>
                </a:lnTo>
                <a:lnTo>
                  <a:pt x="320" y="54"/>
                </a:lnTo>
                <a:lnTo>
                  <a:pt x="320" y="54"/>
                </a:lnTo>
                <a:lnTo>
                  <a:pt x="322" y="54"/>
                </a:lnTo>
                <a:lnTo>
                  <a:pt x="322" y="54"/>
                </a:lnTo>
                <a:lnTo>
                  <a:pt x="325" y="56"/>
                </a:lnTo>
                <a:lnTo>
                  <a:pt x="325" y="56"/>
                </a:lnTo>
                <a:lnTo>
                  <a:pt x="327" y="64"/>
                </a:lnTo>
                <a:lnTo>
                  <a:pt x="327" y="64"/>
                </a:lnTo>
                <a:lnTo>
                  <a:pt x="327" y="66"/>
                </a:lnTo>
                <a:lnTo>
                  <a:pt x="327" y="66"/>
                </a:lnTo>
                <a:lnTo>
                  <a:pt x="330" y="71"/>
                </a:lnTo>
                <a:lnTo>
                  <a:pt x="330" y="71"/>
                </a:lnTo>
                <a:lnTo>
                  <a:pt x="332" y="74"/>
                </a:lnTo>
                <a:lnTo>
                  <a:pt x="332" y="74"/>
                </a:lnTo>
                <a:lnTo>
                  <a:pt x="332" y="81"/>
                </a:lnTo>
                <a:lnTo>
                  <a:pt x="332" y="81"/>
                </a:lnTo>
                <a:lnTo>
                  <a:pt x="332" y="83"/>
                </a:lnTo>
                <a:lnTo>
                  <a:pt x="332" y="83"/>
                </a:lnTo>
                <a:lnTo>
                  <a:pt x="330" y="83"/>
                </a:lnTo>
                <a:lnTo>
                  <a:pt x="330" y="83"/>
                </a:lnTo>
                <a:lnTo>
                  <a:pt x="330" y="86"/>
                </a:lnTo>
                <a:lnTo>
                  <a:pt x="330" y="86"/>
                </a:lnTo>
                <a:lnTo>
                  <a:pt x="330" y="91"/>
                </a:lnTo>
                <a:lnTo>
                  <a:pt x="330" y="91"/>
                </a:lnTo>
                <a:lnTo>
                  <a:pt x="332" y="91"/>
                </a:lnTo>
                <a:lnTo>
                  <a:pt x="332" y="91"/>
                </a:lnTo>
                <a:lnTo>
                  <a:pt x="335" y="96"/>
                </a:lnTo>
                <a:lnTo>
                  <a:pt x="335" y="96"/>
                </a:lnTo>
                <a:lnTo>
                  <a:pt x="335" y="101"/>
                </a:lnTo>
                <a:lnTo>
                  <a:pt x="335" y="101"/>
                </a:lnTo>
                <a:lnTo>
                  <a:pt x="335" y="103"/>
                </a:lnTo>
                <a:lnTo>
                  <a:pt x="335" y="103"/>
                </a:lnTo>
                <a:lnTo>
                  <a:pt x="335" y="105"/>
                </a:lnTo>
                <a:lnTo>
                  <a:pt x="335" y="105"/>
                </a:lnTo>
                <a:lnTo>
                  <a:pt x="337" y="105"/>
                </a:lnTo>
                <a:lnTo>
                  <a:pt x="337" y="105"/>
                </a:lnTo>
                <a:lnTo>
                  <a:pt x="342" y="108"/>
                </a:lnTo>
                <a:lnTo>
                  <a:pt x="342" y="108"/>
                </a:lnTo>
                <a:lnTo>
                  <a:pt x="345" y="108"/>
                </a:lnTo>
                <a:lnTo>
                  <a:pt x="345" y="108"/>
                </a:lnTo>
                <a:lnTo>
                  <a:pt x="347" y="105"/>
                </a:lnTo>
                <a:lnTo>
                  <a:pt x="347" y="105"/>
                </a:lnTo>
                <a:lnTo>
                  <a:pt x="349" y="103"/>
                </a:lnTo>
                <a:lnTo>
                  <a:pt x="349" y="103"/>
                </a:lnTo>
                <a:lnTo>
                  <a:pt x="349" y="101"/>
                </a:lnTo>
                <a:lnTo>
                  <a:pt x="349" y="101"/>
                </a:lnTo>
                <a:lnTo>
                  <a:pt x="352" y="101"/>
                </a:lnTo>
                <a:lnTo>
                  <a:pt x="352" y="101"/>
                </a:lnTo>
                <a:lnTo>
                  <a:pt x="352" y="103"/>
                </a:lnTo>
                <a:lnTo>
                  <a:pt x="352" y="103"/>
                </a:lnTo>
                <a:lnTo>
                  <a:pt x="352" y="105"/>
                </a:lnTo>
                <a:lnTo>
                  <a:pt x="352" y="105"/>
                </a:lnTo>
                <a:lnTo>
                  <a:pt x="352" y="105"/>
                </a:lnTo>
                <a:lnTo>
                  <a:pt x="354" y="103"/>
                </a:lnTo>
                <a:lnTo>
                  <a:pt x="354" y="103"/>
                </a:lnTo>
                <a:lnTo>
                  <a:pt x="357" y="105"/>
                </a:lnTo>
                <a:lnTo>
                  <a:pt x="357" y="105"/>
                </a:lnTo>
                <a:lnTo>
                  <a:pt x="357" y="105"/>
                </a:lnTo>
                <a:lnTo>
                  <a:pt x="357" y="108"/>
                </a:lnTo>
                <a:lnTo>
                  <a:pt x="357" y="108"/>
                </a:lnTo>
                <a:lnTo>
                  <a:pt x="359" y="110"/>
                </a:lnTo>
                <a:lnTo>
                  <a:pt x="359" y="110"/>
                </a:lnTo>
                <a:lnTo>
                  <a:pt x="362" y="110"/>
                </a:lnTo>
                <a:lnTo>
                  <a:pt x="362" y="110"/>
                </a:lnTo>
                <a:lnTo>
                  <a:pt x="362" y="110"/>
                </a:lnTo>
                <a:lnTo>
                  <a:pt x="364" y="110"/>
                </a:lnTo>
                <a:lnTo>
                  <a:pt x="364" y="110"/>
                </a:lnTo>
                <a:lnTo>
                  <a:pt x="367" y="110"/>
                </a:lnTo>
                <a:lnTo>
                  <a:pt x="367" y="110"/>
                </a:lnTo>
                <a:lnTo>
                  <a:pt x="364" y="110"/>
                </a:lnTo>
                <a:lnTo>
                  <a:pt x="364" y="110"/>
                </a:lnTo>
                <a:lnTo>
                  <a:pt x="362" y="108"/>
                </a:lnTo>
                <a:lnTo>
                  <a:pt x="362" y="108"/>
                </a:lnTo>
                <a:lnTo>
                  <a:pt x="362" y="105"/>
                </a:lnTo>
                <a:lnTo>
                  <a:pt x="362" y="105"/>
                </a:lnTo>
                <a:lnTo>
                  <a:pt x="362" y="103"/>
                </a:lnTo>
                <a:lnTo>
                  <a:pt x="362" y="103"/>
                </a:lnTo>
                <a:lnTo>
                  <a:pt x="359" y="103"/>
                </a:lnTo>
                <a:lnTo>
                  <a:pt x="359" y="103"/>
                </a:lnTo>
                <a:lnTo>
                  <a:pt x="359" y="103"/>
                </a:lnTo>
                <a:lnTo>
                  <a:pt x="359" y="101"/>
                </a:lnTo>
                <a:lnTo>
                  <a:pt x="359" y="101"/>
                </a:lnTo>
                <a:lnTo>
                  <a:pt x="357" y="98"/>
                </a:lnTo>
                <a:lnTo>
                  <a:pt x="357" y="98"/>
                </a:lnTo>
                <a:lnTo>
                  <a:pt x="354" y="96"/>
                </a:lnTo>
                <a:lnTo>
                  <a:pt x="354" y="96"/>
                </a:lnTo>
                <a:lnTo>
                  <a:pt x="354" y="93"/>
                </a:lnTo>
                <a:lnTo>
                  <a:pt x="354" y="93"/>
                </a:lnTo>
                <a:lnTo>
                  <a:pt x="352" y="88"/>
                </a:lnTo>
                <a:lnTo>
                  <a:pt x="352" y="88"/>
                </a:lnTo>
                <a:lnTo>
                  <a:pt x="352" y="86"/>
                </a:lnTo>
                <a:lnTo>
                  <a:pt x="352" y="86"/>
                </a:lnTo>
                <a:lnTo>
                  <a:pt x="352" y="86"/>
                </a:lnTo>
                <a:lnTo>
                  <a:pt x="352" y="81"/>
                </a:lnTo>
                <a:lnTo>
                  <a:pt x="352" y="81"/>
                </a:lnTo>
                <a:lnTo>
                  <a:pt x="352" y="78"/>
                </a:lnTo>
                <a:lnTo>
                  <a:pt x="352" y="78"/>
                </a:lnTo>
                <a:lnTo>
                  <a:pt x="349" y="74"/>
                </a:lnTo>
                <a:lnTo>
                  <a:pt x="349" y="74"/>
                </a:lnTo>
                <a:lnTo>
                  <a:pt x="349" y="71"/>
                </a:lnTo>
                <a:lnTo>
                  <a:pt x="349" y="71"/>
                </a:lnTo>
                <a:lnTo>
                  <a:pt x="349" y="71"/>
                </a:lnTo>
                <a:lnTo>
                  <a:pt x="349" y="66"/>
                </a:lnTo>
                <a:lnTo>
                  <a:pt x="349" y="66"/>
                </a:lnTo>
                <a:lnTo>
                  <a:pt x="347" y="64"/>
                </a:lnTo>
                <a:lnTo>
                  <a:pt x="347" y="64"/>
                </a:lnTo>
                <a:lnTo>
                  <a:pt x="347" y="61"/>
                </a:lnTo>
                <a:lnTo>
                  <a:pt x="347" y="61"/>
                </a:lnTo>
                <a:lnTo>
                  <a:pt x="347" y="56"/>
                </a:lnTo>
                <a:lnTo>
                  <a:pt x="347" y="56"/>
                </a:lnTo>
                <a:lnTo>
                  <a:pt x="345" y="54"/>
                </a:lnTo>
                <a:lnTo>
                  <a:pt x="345" y="54"/>
                </a:lnTo>
                <a:lnTo>
                  <a:pt x="347" y="51"/>
                </a:lnTo>
                <a:lnTo>
                  <a:pt x="347" y="51"/>
                </a:lnTo>
                <a:lnTo>
                  <a:pt x="345" y="49"/>
                </a:lnTo>
                <a:lnTo>
                  <a:pt x="345" y="49"/>
                </a:lnTo>
                <a:lnTo>
                  <a:pt x="345" y="46"/>
                </a:lnTo>
                <a:lnTo>
                  <a:pt x="345" y="46"/>
                </a:lnTo>
                <a:lnTo>
                  <a:pt x="345" y="44"/>
                </a:lnTo>
                <a:lnTo>
                  <a:pt x="345" y="44"/>
                </a:lnTo>
                <a:lnTo>
                  <a:pt x="349" y="46"/>
                </a:lnTo>
                <a:lnTo>
                  <a:pt x="349" y="46"/>
                </a:lnTo>
                <a:lnTo>
                  <a:pt x="352" y="46"/>
                </a:lnTo>
                <a:lnTo>
                  <a:pt x="352" y="46"/>
                </a:lnTo>
                <a:lnTo>
                  <a:pt x="354" y="46"/>
                </a:lnTo>
                <a:lnTo>
                  <a:pt x="354" y="46"/>
                </a:lnTo>
                <a:lnTo>
                  <a:pt x="354" y="46"/>
                </a:lnTo>
                <a:lnTo>
                  <a:pt x="357" y="46"/>
                </a:lnTo>
                <a:lnTo>
                  <a:pt x="357" y="46"/>
                </a:lnTo>
                <a:lnTo>
                  <a:pt x="362" y="51"/>
                </a:lnTo>
                <a:lnTo>
                  <a:pt x="362" y="51"/>
                </a:lnTo>
                <a:lnTo>
                  <a:pt x="364" y="54"/>
                </a:lnTo>
                <a:lnTo>
                  <a:pt x="364" y="54"/>
                </a:lnTo>
                <a:lnTo>
                  <a:pt x="367" y="51"/>
                </a:lnTo>
                <a:lnTo>
                  <a:pt x="367" y="51"/>
                </a:lnTo>
                <a:lnTo>
                  <a:pt x="367" y="49"/>
                </a:lnTo>
                <a:lnTo>
                  <a:pt x="367" y="49"/>
                </a:lnTo>
                <a:lnTo>
                  <a:pt x="364" y="49"/>
                </a:lnTo>
                <a:lnTo>
                  <a:pt x="364" y="49"/>
                </a:lnTo>
                <a:lnTo>
                  <a:pt x="367" y="44"/>
                </a:lnTo>
                <a:lnTo>
                  <a:pt x="367" y="44"/>
                </a:lnTo>
                <a:lnTo>
                  <a:pt x="369" y="44"/>
                </a:lnTo>
                <a:lnTo>
                  <a:pt x="369" y="44"/>
                </a:lnTo>
                <a:lnTo>
                  <a:pt x="372" y="44"/>
                </a:lnTo>
                <a:lnTo>
                  <a:pt x="372" y="44"/>
                </a:lnTo>
                <a:lnTo>
                  <a:pt x="374" y="44"/>
                </a:lnTo>
                <a:lnTo>
                  <a:pt x="374" y="44"/>
                </a:lnTo>
                <a:lnTo>
                  <a:pt x="377" y="42"/>
                </a:lnTo>
                <a:lnTo>
                  <a:pt x="377" y="42"/>
                </a:lnTo>
                <a:lnTo>
                  <a:pt x="379" y="42"/>
                </a:lnTo>
                <a:lnTo>
                  <a:pt x="379" y="42"/>
                </a:lnTo>
                <a:lnTo>
                  <a:pt x="381" y="44"/>
                </a:lnTo>
                <a:lnTo>
                  <a:pt x="381" y="44"/>
                </a:lnTo>
                <a:lnTo>
                  <a:pt x="384" y="44"/>
                </a:lnTo>
                <a:lnTo>
                  <a:pt x="384" y="44"/>
                </a:lnTo>
                <a:lnTo>
                  <a:pt x="386" y="46"/>
                </a:lnTo>
                <a:lnTo>
                  <a:pt x="386" y="46"/>
                </a:lnTo>
                <a:lnTo>
                  <a:pt x="386" y="51"/>
                </a:lnTo>
                <a:lnTo>
                  <a:pt x="386" y="51"/>
                </a:lnTo>
                <a:lnTo>
                  <a:pt x="386" y="51"/>
                </a:lnTo>
                <a:lnTo>
                  <a:pt x="391" y="56"/>
                </a:lnTo>
                <a:lnTo>
                  <a:pt x="391" y="56"/>
                </a:lnTo>
                <a:lnTo>
                  <a:pt x="391" y="59"/>
                </a:lnTo>
                <a:lnTo>
                  <a:pt x="391" y="59"/>
                </a:lnTo>
                <a:lnTo>
                  <a:pt x="389" y="61"/>
                </a:lnTo>
                <a:lnTo>
                  <a:pt x="389" y="61"/>
                </a:lnTo>
                <a:lnTo>
                  <a:pt x="391" y="66"/>
                </a:lnTo>
                <a:lnTo>
                  <a:pt x="391" y="66"/>
                </a:lnTo>
                <a:lnTo>
                  <a:pt x="391" y="69"/>
                </a:lnTo>
                <a:lnTo>
                  <a:pt x="391" y="69"/>
                </a:lnTo>
                <a:lnTo>
                  <a:pt x="391" y="71"/>
                </a:lnTo>
                <a:lnTo>
                  <a:pt x="391" y="71"/>
                </a:lnTo>
                <a:lnTo>
                  <a:pt x="394" y="74"/>
                </a:lnTo>
                <a:lnTo>
                  <a:pt x="394" y="74"/>
                </a:lnTo>
                <a:lnTo>
                  <a:pt x="399" y="74"/>
                </a:lnTo>
                <a:lnTo>
                  <a:pt x="399" y="74"/>
                </a:lnTo>
                <a:lnTo>
                  <a:pt x="401" y="76"/>
                </a:lnTo>
                <a:lnTo>
                  <a:pt x="401" y="76"/>
                </a:lnTo>
                <a:lnTo>
                  <a:pt x="406" y="78"/>
                </a:lnTo>
                <a:lnTo>
                  <a:pt x="406" y="78"/>
                </a:lnTo>
                <a:lnTo>
                  <a:pt x="404" y="76"/>
                </a:lnTo>
                <a:lnTo>
                  <a:pt x="404" y="76"/>
                </a:lnTo>
                <a:lnTo>
                  <a:pt x="404" y="76"/>
                </a:lnTo>
                <a:lnTo>
                  <a:pt x="401" y="74"/>
                </a:lnTo>
                <a:lnTo>
                  <a:pt x="401" y="74"/>
                </a:lnTo>
                <a:lnTo>
                  <a:pt x="399" y="71"/>
                </a:lnTo>
                <a:lnTo>
                  <a:pt x="399" y="71"/>
                </a:lnTo>
                <a:lnTo>
                  <a:pt x="396" y="71"/>
                </a:lnTo>
                <a:lnTo>
                  <a:pt x="396" y="71"/>
                </a:lnTo>
                <a:lnTo>
                  <a:pt x="394" y="69"/>
                </a:lnTo>
                <a:lnTo>
                  <a:pt x="394" y="69"/>
                </a:lnTo>
                <a:lnTo>
                  <a:pt x="394" y="66"/>
                </a:lnTo>
                <a:lnTo>
                  <a:pt x="394" y="66"/>
                </a:lnTo>
                <a:lnTo>
                  <a:pt x="394" y="64"/>
                </a:lnTo>
                <a:lnTo>
                  <a:pt x="394" y="64"/>
                </a:lnTo>
                <a:lnTo>
                  <a:pt x="391" y="61"/>
                </a:lnTo>
                <a:lnTo>
                  <a:pt x="391" y="61"/>
                </a:lnTo>
                <a:lnTo>
                  <a:pt x="391" y="59"/>
                </a:lnTo>
                <a:lnTo>
                  <a:pt x="391" y="59"/>
                </a:lnTo>
                <a:lnTo>
                  <a:pt x="394" y="54"/>
                </a:lnTo>
                <a:lnTo>
                  <a:pt x="394" y="54"/>
                </a:lnTo>
                <a:lnTo>
                  <a:pt x="394" y="51"/>
                </a:lnTo>
                <a:lnTo>
                  <a:pt x="394" y="51"/>
                </a:lnTo>
                <a:lnTo>
                  <a:pt x="394" y="49"/>
                </a:lnTo>
                <a:lnTo>
                  <a:pt x="394" y="49"/>
                </a:lnTo>
                <a:lnTo>
                  <a:pt x="394" y="46"/>
                </a:lnTo>
                <a:lnTo>
                  <a:pt x="394" y="46"/>
                </a:lnTo>
                <a:lnTo>
                  <a:pt x="391" y="46"/>
                </a:lnTo>
                <a:lnTo>
                  <a:pt x="391" y="46"/>
                </a:lnTo>
                <a:lnTo>
                  <a:pt x="389" y="44"/>
                </a:lnTo>
                <a:lnTo>
                  <a:pt x="389" y="44"/>
                </a:lnTo>
                <a:lnTo>
                  <a:pt x="386" y="39"/>
                </a:lnTo>
                <a:lnTo>
                  <a:pt x="386" y="39"/>
                </a:lnTo>
                <a:lnTo>
                  <a:pt x="384" y="39"/>
                </a:lnTo>
                <a:lnTo>
                  <a:pt x="384" y="39"/>
                </a:lnTo>
                <a:lnTo>
                  <a:pt x="381" y="39"/>
                </a:lnTo>
                <a:lnTo>
                  <a:pt x="381" y="39"/>
                </a:lnTo>
                <a:lnTo>
                  <a:pt x="379" y="42"/>
                </a:lnTo>
                <a:lnTo>
                  <a:pt x="379" y="42"/>
                </a:lnTo>
                <a:lnTo>
                  <a:pt x="377" y="42"/>
                </a:lnTo>
                <a:lnTo>
                  <a:pt x="377" y="42"/>
                </a:lnTo>
                <a:lnTo>
                  <a:pt x="374" y="39"/>
                </a:lnTo>
                <a:lnTo>
                  <a:pt x="374" y="39"/>
                </a:lnTo>
                <a:lnTo>
                  <a:pt x="374" y="34"/>
                </a:lnTo>
                <a:lnTo>
                  <a:pt x="374" y="34"/>
                </a:lnTo>
                <a:lnTo>
                  <a:pt x="377" y="32"/>
                </a:lnTo>
                <a:lnTo>
                  <a:pt x="377" y="32"/>
                </a:lnTo>
                <a:lnTo>
                  <a:pt x="379" y="32"/>
                </a:lnTo>
                <a:lnTo>
                  <a:pt x="379" y="32"/>
                </a:lnTo>
                <a:lnTo>
                  <a:pt x="379" y="29"/>
                </a:lnTo>
                <a:lnTo>
                  <a:pt x="379" y="29"/>
                </a:lnTo>
                <a:lnTo>
                  <a:pt x="374" y="27"/>
                </a:lnTo>
                <a:lnTo>
                  <a:pt x="374" y="27"/>
                </a:lnTo>
                <a:lnTo>
                  <a:pt x="374" y="24"/>
                </a:lnTo>
                <a:lnTo>
                  <a:pt x="374" y="24"/>
                </a:lnTo>
                <a:lnTo>
                  <a:pt x="374" y="22"/>
                </a:lnTo>
                <a:lnTo>
                  <a:pt x="374" y="22"/>
                </a:lnTo>
                <a:lnTo>
                  <a:pt x="374" y="19"/>
                </a:lnTo>
                <a:lnTo>
                  <a:pt x="374" y="19"/>
                </a:lnTo>
                <a:lnTo>
                  <a:pt x="377" y="19"/>
                </a:lnTo>
                <a:lnTo>
                  <a:pt x="377" y="19"/>
                </a:lnTo>
                <a:lnTo>
                  <a:pt x="379" y="22"/>
                </a:lnTo>
                <a:lnTo>
                  <a:pt x="379" y="22"/>
                </a:lnTo>
                <a:lnTo>
                  <a:pt x="379" y="24"/>
                </a:lnTo>
                <a:lnTo>
                  <a:pt x="379" y="24"/>
                </a:lnTo>
                <a:lnTo>
                  <a:pt x="381" y="24"/>
                </a:lnTo>
                <a:lnTo>
                  <a:pt x="381" y="24"/>
                </a:lnTo>
                <a:lnTo>
                  <a:pt x="384" y="19"/>
                </a:lnTo>
                <a:lnTo>
                  <a:pt x="384" y="19"/>
                </a:lnTo>
                <a:lnTo>
                  <a:pt x="386" y="19"/>
                </a:lnTo>
                <a:lnTo>
                  <a:pt x="386" y="19"/>
                </a:lnTo>
                <a:lnTo>
                  <a:pt x="389" y="17"/>
                </a:lnTo>
                <a:lnTo>
                  <a:pt x="389" y="17"/>
                </a:lnTo>
                <a:lnTo>
                  <a:pt x="389" y="14"/>
                </a:lnTo>
                <a:lnTo>
                  <a:pt x="389" y="14"/>
                </a:lnTo>
                <a:lnTo>
                  <a:pt x="391" y="12"/>
                </a:lnTo>
                <a:lnTo>
                  <a:pt x="391" y="12"/>
                </a:lnTo>
                <a:lnTo>
                  <a:pt x="396" y="12"/>
                </a:lnTo>
                <a:lnTo>
                  <a:pt x="396" y="12"/>
                </a:lnTo>
                <a:lnTo>
                  <a:pt x="394" y="14"/>
                </a:lnTo>
                <a:lnTo>
                  <a:pt x="394" y="14"/>
                </a:lnTo>
                <a:lnTo>
                  <a:pt x="391" y="17"/>
                </a:lnTo>
                <a:lnTo>
                  <a:pt x="391" y="17"/>
                </a:lnTo>
                <a:lnTo>
                  <a:pt x="394" y="17"/>
                </a:lnTo>
                <a:lnTo>
                  <a:pt x="394" y="17"/>
                </a:lnTo>
                <a:lnTo>
                  <a:pt x="396" y="17"/>
                </a:lnTo>
                <a:lnTo>
                  <a:pt x="396" y="17"/>
                </a:lnTo>
                <a:lnTo>
                  <a:pt x="399" y="17"/>
                </a:lnTo>
                <a:lnTo>
                  <a:pt x="399" y="17"/>
                </a:lnTo>
                <a:lnTo>
                  <a:pt x="399" y="17"/>
                </a:lnTo>
                <a:lnTo>
                  <a:pt x="399" y="19"/>
                </a:lnTo>
                <a:lnTo>
                  <a:pt x="399" y="19"/>
                </a:lnTo>
                <a:lnTo>
                  <a:pt x="401" y="22"/>
                </a:lnTo>
                <a:lnTo>
                  <a:pt x="401" y="22"/>
                </a:lnTo>
                <a:lnTo>
                  <a:pt x="401" y="22"/>
                </a:lnTo>
                <a:lnTo>
                  <a:pt x="399" y="24"/>
                </a:lnTo>
                <a:lnTo>
                  <a:pt x="399" y="24"/>
                </a:lnTo>
                <a:lnTo>
                  <a:pt x="401" y="27"/>
                </a:lnTo>
                <a:lnTo>
                  <a:pt x="401" y="27"/>
                </a:lnTo>
                <a:lnTo>
                  <a:pt x="401" y="24"/>
                </a:lnTo>
                <a:lnTo>
                  <a:pt x="401" y="24"/>
                </a:lnTo>
                <a:lnTo>
                  <a:pt x="404" y="22"/>
                </a:lnTo>
                <a:lnTo>
                  <a:pt x="404" y="22"/>
                </a:lnTo>
                <a:lnTo>
                  <a:pt x="409" y="22"/>
                </a:lnTo>
                <a:lnTo>
                  <a:pt x="409" y="22"/>
                </a:lnTo>
                <a:lnTo>
                  <a:pt x="409" y="24"/>
                </a:lnTo>
                <a:lnTo>
                  <a:pt x="409" y="24"/>
                </a:lnTo>
                <a:lnTo>
                  <a:pt x="409" y="27"/>
                </a:lnTo>
                <a:lnTo>
                  <a:pt x="409" y="27"/>
                </a:lnTo>
                <a:lnTo>
                  <a:pt x="411" y="32"/>
                </a:lnTo>
                <a:lnTo>
                  <a:pt x="411" y="32"/>
                </a:lnTo>
                <a:lnTo>
                  <a:pt x="413" y="34"/>
                </a:lnTo>
                <a:lnTo>
                  <a:pt x="413" y="34"/>
                </a:lnTo>
                <a:lnTo>
                  <a:pt x="413" y="39"/>
                </a:lnTo>
                <a:lnTo>
                  <a:pt x="413" y="39"/>
                </a:lnTo>
                <a:lnTo>
                  <a:pt x="413" y="37"/>
                </a:lnTo>
                <a:lnTo>
                  <a:pt x="413" y="37"/>
                </a:lnTo>
                <a:lnTo>
                  <a:pt x="416" y="34"/>
                </a:lnTo>
                <a:lnTo>
                  <a:pt x="416" y="34"/>
                </a:lnTo>
                <a:lnTo>
                  <a:pt x="413" y="32"/>
                </a:lnTo>
                <a:lnTo>
                  <a:pt x="413" y="32"/>
                </a:lnTo>
                <a:lnTo>
                  <a:pt x="413" y="29"/>
                </a:lnTo>
                <a:lnTo>
                  <a:pt x="413" y="29"/>
                </a:lnTo>
                <a:lnTo>
                  <a:pt x="413" y="27"/>
                </a:lnTo>
                <a:lnTo>
                  <a:pt x="413" y="27"/>
                </a:lnTo>
                <a:lnTo>
                  <a:pt x="411" y="24"/>
                </a:lnTo>
                <a:lnTo>
                  <a:pt x="411" y="24"/>
                </a:lnTo>
                <a:lnTo>
                  <a:pt x="413" y="24"/>
                </a:lnTo>
                <a:lnTo>
                  <a:pt x="413" y="24"/>
                </a:lnTo>
                <a:lnTo>
                  <a:pt x="413" y="24"/>
                </a:lnTo>
                <a:lnTo>
                  <a:pt x="418" y="29"/>
                </a:lnTo>
                <a:lnTo>
                  <a:pt x="418" y="29"/>
                </a:lnTo>
                <a:lnTo>
                  <a:pt x="421" y="34"/>
                </a:lnTo>
                <a:lnTo>
                  <a:pt x="421" y="34"/>
                </a:lnTo>
                <a:lnTo>
                  <a:pt x="426" y="37"/>
                </a:lnTo>
                <a:lnTo>
                  <a:pt x="426" y="37"/>
                </a:lnTo>
                <a:lnTo>
                  <a:pt x="428" y="37"/>
                </a:lnTo>
                <a:lnTo>
                  <a:pt x="428" y="37"/>
                </a:lnTo>
                <a:lnTo>
                  <a:pt x="428" y="34"/>
                </a:lnTo>
                <a:lnTo>
                  <a:pt x="428" y="34"/>
                </a:lnTo>
                <a:lnTo>
                  <a:pt x="428" y="34"/>
                </a:lnTo>
                <a:lnTo>
                  <a:pt x="423" y="32"/>
                </a:lnTo>
                <a:lnTo>
                  <a:pt x="423" y="32"/>
                </a:lnTo>
                <a:lnTo>
                  <a:pt x="421" y="27"/>
                </a:lnTo>
                <a:lnTo>
                  <a:pt x="421" y="27"/>
                </a:lnTo>
                <a:lnTo>
                  <a:pt x="421" y="24"/>
                </a:lnTo>
                <a:lnTo>
                  <a:pt x="421" y="24"/>
                </a:lnTo>
                <a:lnTo>
                  <a:pt x="421" y="19"/>
                </a:lnTo>
                <a:lnTo>
                  <a:pt x="421" y="19"/>
                </a:lnTo>
                <a:lnTo>
                  <a:pt x="426" y="19"/>
                </a:lnTo>
                <a:lnTo>
                  <a:pt x="426" y="19"/>
                </a:lnTo>
                <a:lnTo>
                  <a:pt x="428" y="19"/>
                </a:lnTo>
                <a:lnTo>
                  <a:pt x="428" y="19"/>
                </a:lnTo>
                <a:lnTo>
                  <a:pt x="431" y="22"/>
                </a:lnTo>
                <a:lnTo>
                  <a:pt x="431" y="22"/>
                </a:lnTo>
                <a:lnTo>
                  <a:pt x="436" y="22"/>
                </a:lnTo>
                <a:lnTo>
                  <a:pt x="436" y="22"/>
                </a:lnTo>
                <a:lnTo>
                  <a:pt x="436" y="22"/>
                </a:lnTo>
                <a:lnTo>
                  <a:pt x="436" y="19"/>
                </a:lnTo>
                <a:lnTo>
                  <a:pt x="436" y="19"/>
                </a:lnTo>
                <a:lnTo>
                  <a:pt x="433" y="19"/>
                </a:lnTo>
                <a:lnTo>
                  <a:pt x="433" y="19"/>
                </a:lnTo>
                <a:lnTo>
                  <a:pt x="433" y="17"/>
                </a:lnTo>
                <a:lnTo>
                  <a:pt x="433" y="17"/>
                </a:lnTo>
                <a:lnTo>
                  <a:pt x="436" y="14"/>
                </a:lnTo>
                <a:lnTo>
                  <a:pt x="436" y="14"/>
                </a:lnTo>
                <a:lnTo>
                  <a:pt x="438" y="12"/>
                </a:lnTo>
                <a:lnTo>
                  <a:pt x="438" y="12"/>
                </a:lnTo>
                <a:lnTo>
                  <a:pt x="436" y="10"/>
                </a:lnTo>
                <a:lnTo>
                  <a:pt x="436" y="10"/>
                </a:lnTo>
                <a:lnTo>
                  <a:pt x="436" y="7"/>
                </a:lnTo>
                <a:lnTo>
                  <a:pt x="436" y="7"/>
                </a:lnTo>
                <a:lnTo>
                  <a:pt x="436" y="5"/>
                </a:lnTo>
                <a:lnTo>
                  <a:pt x="436" y="5"/>
                </a:lnTo>
                <a:lnTo>
                  <a:pt x="438" y="5"/>
                </a:lnTo>
                <a:lnTo>
                  <a:pt x="438" y="5"/>
                </a:lnTo>
                <a:lnTo>
                  <a:pt x="441" y="5"/>
                </a:lnTo>
                <a:lnTo>
                  <a:pt x="441" y="5"/>
                </a:lnTo>
                <a:lnTo>
                  <a:pt x="441" y="5"/>
                </a:lnTo>
                <a:lnTo>
                  <a:pt x="443" y="2"/>
                </a:lnTo>
                <a:lnTo>
                  <a:pt x="443" y="2"/>
                </a:lnTo>
                <a:lnTo>
                  <a:pt x="443" y="0"/>
                </a:lnTo>
                <a:lnTo>
                  <a:pt x="443" y="0"/>
                </a:lnTo>
                <a:lnTo>
                  <a:pt x="445" y="0"/>
                </a:lnTo>
                <a:lnTo>
                  <a:pt x="445" y="0"/>
                </a:lnTo>
                <a:lnTo>
                  <a:pt x="445" y="2"/>
                </a:lnTo>
                <a:lnTo>
                  <a:pt x="445" y="2"/>
                </a:lnTo>
                <a:lnTo>
                  <a:pt x="448" y="2"/>
                </a:lnTo>
                <a:lnTo>
                  <a:pt x="448" y="2"/>
                </a:lnTo>
                <a:lnTo>
                  <a:pt x="448" y="5"/>
                </a:lnTo>
                <a:lnTo>
                  <a:pt x="448" y="5"/>
                </a:lnTo>
                <a:lnTo>
                  <a:pt x="450" y="7"/>
                </a:lnTo>
                <a:lnTo>
                  <a:pt x="450" y="7"/>
                </a:lnTo>
                <a:lnTo>
                  <a:pt x="450" y="10"/>
                </a:lnTo>
                <a:lnTo>
                  <a:pt x="450" y="10"/>
                </a:lnTo>
                <a:lnTo>
                  <a:pt x="453" y="7"/>
                </a:lnTo>
                <a:lnTo>
                  <a:pt x="453" y="7"/>
                </a:lnTo>
                <a:lnTo>
                  <a:pt x="453" y="5"/>
                </a:lnTo>
                <a:lnTo>
                  <a:pt x="453" y="5"/>
                </a:lnTo>
                <a:lnTo>
                  <a:pt x="453" y="2"/>
                </a:lnTo>
                <a:lnTo>
                  <a:pt x="453" y="2"/>
                </a:lnTo>
                <a:lnTo>
                  <a:pt x="453" y="0"/>
                </a:lnTo>
                <a:lnTo>
                  <a:pt x="453" y="0"/>
                </a:lnTo>
                <a:lnTo>
                  <a:pt x="453" y="0"/>
                </a:lnTo>
                <a:lnTo>
                  <a:pt x="455" y="0"/>
                </a:lnTo>
                <a:lnTo>
                  <a:pt x="455" y="0"/>
                </a:lnTo>
                <a:lnTo>
                  <a:pt x="458" y="0"/>
                </a:lnTo>
                <a:lnTo>
                  <a:pt x="458" y="0"/>
                </a:lnTo>
                <a:lnTo>
                  <a:pt x="463" y="0"/>
                </a:lnTo>
                <a:lnTo>
                  <a:pt x="463" y="0"/>
                </a:lnTo>
                <a:lnTo>
                  <a:pt x="465" y="0"/>
                </a:lnTo>
                <a:lnTo>
                  <a:pt x="465" y="0"/>
                </a:lnTo>
                <a:lnTo>
                  <a:pt x="465" y="2"/>
                </a:lnTo>
                <a:lnTo>
                  <a:pt x="465" y="2"/>
                </a:lnTo>
                <a:lnTo>
                  <a:pt x="468" y="2"/>
                </a:lnTo>
                <a:lnTo>
                  <a:pt x="468" y="2"/>
                </a:lnTo>
                <a:lnTo>
                  <a:pt x="470" y="0"/>
                </a:lnTo>
                <a:lnTo>
                  <a:pt x="470" y="0"/>
                </a:lnTo>
                <a:lnTo>
                  <a:pt x="472" y="2"/>
                </a:lnTo>
                <a:lnTo>
                  <a:pt x="472" y="2"/>
                </a:lnTo>
                <a:lnTo>
                  <a:pt x="477" y="2"/>
                </a:lnTo>
                <a:lnTo>
                  <a:pt x="477" y="2"/>
                </a:lnTo>
                <a:lnTo>
                  <a:pt x="480" y="2"/>
                </a:lnTo>
                <a:lnTo>
                  <a:pt x="480" y="2"/>
                </a:lnTo>
                <a:lnTo>
                  <a:pt x="480" y="2"/>
                </a:lnTo>
                <a:lnTo>
                  <a:pt x="482" y="2"/>
                </a:lnTo>
                <a:lnTo>
                  <a:pt x="482" y="2"/>
                </a:lnTo>
                <a:lnTo>
                  <a:pt x="485" y="2"/>
                </a:lnTo>
                <a:lnTo>
                  <a:pt x="485" y="2"/>
                </a:lnTo>
                <a:lnTo>
                  <a:pt x="485" y="5"/>
                </a:lnTo>
                <a:lnTo>
                  <a:pt x="485" y="5"/>
                </a:lnTo>
                <a:lnTo>
                  <a:pt x="490" y="7"/>
                </a:lnTo>
                <a:lnTo>
                  <a:pt x="490" y="7"/>
                </a:lnTo>
                <a:lnTo>
                  <a:pt x="492" y="7"/>
                </a:lnTo>
                <a:lnTo>
                  <a:pt x="492" y="7"/>
                </a:lnTo>
                <a:lnTo>
                  <a:pt x="492" y="7"/>
                </a:lnTo>
                <a:lnTo>
                  <a:pt x="492" y="7"/>
                </a:lnTo>
                <a:lnTo>
                  <a:pt x="497" y="10"/>
                </a:lnTo>
                <a:lnTo>
                  <a:pt x="497" y="10"/>
                </a:lnTo>
                <a:lnTo>
                  <a:pt x="500" y="10"/>
                </a:lnTo>
                <a:lnTo>
                  <a:pt x="500" y="10"/>
                </a:lnTo>
                <a:lnTo>
                  <a:pt x="502" y="12"/>
                </a:lnTo>
                <a:lnTo>
                  <a:pt x="502" y="12"/>
                </a:lnTo>
                <a:lnTo>
                  <a:pt x="509" y="12"/>
                </a:lnTo>
                <a:lnTo>
                  <a:pt x="509" y="12"/>
                </a:lnTo>
                <a:lnTo>
                  <a:pt x="512" y="14"/>
                </a:lnTo>
                <a:lnTo>
                  <a:pt x="512" y="14"/>
                </a:lnTo>
                <a:lnTo>
                  <a:pt x="514" y="12"/>
                </a:lnTo>
                <a:lnTo>
                  <a:pt x="514" y="12"/>
                </a:lnTo>
                <a:lnTo>
                  <a:pt x="514" y="14"/>
                </a:lnTo>
                <a:lnTo>
                  <a:pt x="514" y="14"/>
                </a:lnTo>
                <a:lnTo>
                  <a:pt x="517" y="14"/>
                </a:lnTo>
                <a:lnTo>
                  <a:pt x="517" y="14"/>
                </a:lnTo>
                <a:lnTo>
                  <a:pt x="519" y="14"/>
                </a:lnTo>
                <a:lnTo>
                  <a:pt x="519" y="14"/>
                </a:lnTo>
                <a:lnTo>
                  <a:pt x="522" y="14"/>
                </a:lnTo>
                <a:lnTo>
                  <a:pt x="522" y="14"/>
                </a:lnTo>
                <a:lnTo>
                  <a:pt x="524" y="17"/>
                </a:lnTo>
                <a:lnTo>
                  <a:pt x="524" y="17"/>
                </a:lnTo>
                <a:lnTo>
                  <a:pt x="529" y="19"/>
                </a:lnTo>
                <a:lnTo>
                  <a:pt x="529" y="19"/>
                </a:lnTo>
                <a:lnTo>
                  <a:pt x="532" y="22"/>
                </a:lnTo>
                <a:lnTo>
                  <a:pt x="532" y="22"/>
                </a:lnTo>
                <a:lnTo>
                  <a:pt x="534" y="24"/>
                </a:lnTo>
                <a:lnTo>
                  <a:pt x="534" y="24"/>
                </a:lnTo>
                <a:lnTo>
                  <a:pt x="536" y="24"/>
                </a:lnTo>
                <a:lnTo>
                  <a:pt x="536" y="24"/>
                </a:lnTo>
                <a:lnTo>
                  <a:pt x="541" y="27"/>
                </a:lnTo>
                <a:lnTo>
                  <a:pt x="541" y="27"/>
                </a:lnTo>
                <a:lnTo>
                  <a:pt x="539" y="29"/>
                </a:lnTo>
                <a:lnTo>
                  <a:pt x="539" y="29"/>
                </a:lnTo>
                <a:lnTo>
                  <a:pt x="539" y="32"/>
                </a:lnTo>
                <a:lnTo>
                  <a:pt x="539" y="32"/>
                </a:lnTo>
                <a:lnTo>
                  <a:pt x="536" y="32"/>
                </a:lnTo>
                <a:lnTo>
                  <a:pt x="536" y="32"/>
                </a:lnTo>
                <a:lnTo>
                  <a:pt x="534" y="32"/>
                </a:lnTo>
                <a:lnTo>
                  <a:pt x="534" y="32"/>
                </a:lnTo>
                <a:lnTo>
                  <a:pt x="532" y="32"/>
                </a:lnTo>
                <a:lnTo>
                  <a:pt x="532" y="32"/>
                </a:lnTo>
                <a:lnTo>
                  <a:pt x="529" y="34"/>
                </a:lnTo>
                <a:lnTo>
                  <a:pt x="529" y="34"/>
                </a:lnTo>
                <a:lnTo>
                  <a:pt x="527" y="34"/>
                </a:lnTo>
                <a:lnTo>
                  <a:pt x="527" y="34"/>
                </a:lnTo>
                <a:lnTo>
                  <a:pt x="527" y="34"/>
                </a:lnTo>
                <a:lnTo>
                  <a:pt x="524" y="34"/>
                </a:lnTo>
                <a:lnTo>
                  <a:pt x="524" y="34"/>
                </a:lnTo>
                <a:lnTo>
                  <a:pt x="519" y="34"/>
                </a:lnTo>
                <a:lnTo>
                  <a:pt x="519" y="34"/>
                </a:lnTo>
                <a:lnTo>
                  <a:pt x="514" y="32"/>
                </a:lnTo>
                <a:lnTo>
                  <a:pt x="514" y="32"/>
                </a:lnTo>
                <a:lnTo>
                  <a:pt x="512" y="32"/>
                </a:lnTo>
                <a:lnTo>
                  <a:pt x="512" y="32"/>
                </a:lnTo>
                <a:lnTo>
                  <a:pt x="509" y="32"/>
                </a:lnTo>
                <a:lnTo>
                  <a:pt x="509" y="32"/>
                </a:lnTo>
                <a:lnTo>
                  <a:pt x="507" y="29"/>
                </a:lnTo>
                <a:lnTo>
                  <a:pt x="507" y="29"/>
                </a:lnTo>
                <a:lnTo>
                  <a:pt x="502" y="29"/>
                </a:lnTo>
                <a:lnTo>
                  <a:pt x="502" y="29"/>
                </a:lnTo>
                <a:lnTo>
                  <a:pt x="502" y="32"/>
                </a:lnTo>
                <a:lnTo>
                  <a:pt x="502" y="32"/>
                </a:lnTo>
                <a:lnTo>
                  <a:pt x="500" y="32"/>
                </a:lnTo>
                <a:lnTo>
                  <a:pt x="500" y="32"/>
                </a:lnTo>
                <a:lnTo>
                  <a:pt x="500" y="29"/>
                </a:lnTo>
                <a:lnTo>
                  <a:pt x="500" y="29"/>
                </a:lnTo>
                <a:lnTo>
                  <a:pt x="495" y="29"/>
                </a:lnTo>
                <a:lnTo>
                  <a:pt x="495" y="29"/>
                </a:lnTo>
                <a:lnTo>
                  <a:pt x="490" y="32"/>
                </a:lnTo>
                <a:lnTo>
                  <a:pt x="490" y="32"/>
                </a:lnTo>
                <a:lnTo>
                  <a:pt x="490" y="34"/>
                </a:lnTo>
                <a:lnTo>
                  <a:pt x="490" y="34"/>
                </a:lnTo>
                <a:lnTo>
                  <a:pt x="487" y="32"/>
                </a:lnTo>
                <a:lnTo>
                  <a:pt x="487" y="32"/>
                </a:lnTo>
                <a:lnTo>
                  <a:pt x="485" y="32"/>
                </a:lnTo>
                <a:lnTo>
                  <a:pt x="485" y="32"/>
                </a:lnTo>
                <a:lnTo>
                  <a:pt x="480" y="34"/>
                </a:lnTo>
                <a:lnTo>
                  <a:pt x="480" y="34"/>
                </a:lnTo>
                <a:lnTo>
                  <a:pt x="475" y="34"/>
                </a:lnTo>
                <a:lnTo>
                  <a:pt x="475" y="34"/>
                </a:lnTo>
                <a:lnTo>
                  <a:pt x="475" y="32"/>
                </a:lnTo>
                <a:lnTo>
                  <a:pt x="475" y="32"/>
                </a:lnTo>
                <a:lnTo>
                  <a:pt x="475" y="29"/>
                </a:lnTo>
                <a:lnTo>
                  <a:pt x="475" y="29"/>
                </a:lnTo>
                <a:lnTo>
                  <a:pt x="475" y="27"/>
                </a:lnTo>
                <a:lnTo>
                  <a:pt x="475" y="27"/>
                </a:lnTo>
                <a:lnTo>
                  <a:pt x="477" y="27"/>
                </a:lnTo>
                <a:lnTo>
                  <a:pt x="477" y="27"/>
                </a:lnTo>
                <a:lnTo>
                  <a:pt x="477" y="27"/>
                </a:lnTo>
                <a:lnTo>
                  <a:pt x="477" y="24"/>
                </a:lnTo>
                <a:lnTo>
                  <a:pt x="477" y="24"/>
                </a:lnTo>
                <a:lnTo>
                  <a:pt x="475" y="24"/>
                </a:lnTo>
                <a:lnTo>
                  <a:pt x="475" y="24"/>
                </a:lnTo>
                <a:lnTo>
                  <a:pt x="472" y="24"/>
                </a:lnTo>
                <a:lnTo>
                  <a:pt x="472" y="24"/>
                </a:lnTo>
                <a:lnTo>
                  <a:pt x="470" y="27"/>
                </a:lnTo>
                <a:lnTo>
                  <a:pt x="470" y="27"/>
                </a:lnTo>
                <a:lnTo>
                  <a:pt x="470" y="29"/>
                </a:lnTo>
                <a:lnTo>
                  <a:pt x="470" y="29"/>
                </a:lnTo>
                <a:lnTo>
                  <a:pt x="472" y="32"/>
                </a:lnTo>
                <a:lnTo>
                  <a:pt x="472" y="32"/>
                </a:lnTo>
                <a:lnTo>
                  <a:pt x="472" y="32"/>
                </a:lnTo>
                <a:lnTo>
                  <a:pt x="472" y="34"/>
                </a:lnTo>
                <a:lnTo>
                  <a:pt x="472" y="34"/>
                </a:lnTo>
                <a:lnTo>
                  <a:pt x="470" y="37"/>
                </a:lnTo>
                <a:lnTo>
                  <a:pt x="470" y="37"/>
                </a:lnTo>
                <a:lnTo>
                  <a:pt x="470" y="37"/>
                </a:lnTo>
                <a:lnTo>
                  <a:pt x="468" y="37"/>
                </a:lnTo>
                <a:lnTo>
                  <a:pt x="468" y="37"/>
                </a:lnTo>
                <a:lnTo>
                  <a:pt x="463" y="37"/>
                </a:lnTo>
                <a:lnTo>
                  <a:pt x="463" y="37"/>
                </a:lnTo>
                <a:lnTo>
                  <a:pt x="463" y="37"/>
                </a:lnTo>
                <a:lnTo>
                  <a:pt x="460" y="37"/>
                </a:lnTo>
                <a:lnTo>
                  <a:pt x="460" y="37"/>
                </a:lnTo>
                <a:lnTo>
                  <a:pt x="455" y="37"/>
                </a:lnTo>
                <a:lnTo>
                  <a:pt x="455" y="37"/>
                </a:lnTo>
                <a:lnTo>
                  <a:pt x="453" y="37"/>
                </a:lnTo>
                <a:lnTo>
                  <a:pt x="453" y="37"/>
                </a:lnTo>
                <a:lnTo>
                  <a:pt x="448" y="37"/>
                </a:lnTo>
                <a:lnTo>
                  <a:pt x="448" y="37"/>
                </a:lnTo>
                <a:lnTo>
                  <a:pt x="443" y="42"/>
                </a:lnTo>
                <a:lnTo>
                  <a:pt x="443" y="42"/>
                </a:lnTo>
                <a:lnTo>
                  <a:pt x="443" y="44"/>
                </a:lnTo>
                <a:lnTo>
                  <a:pt x="443" y="44"/>
                </a:lnTo>
                <a:lnTo>
                  <a:pt x="443" y="46"/>
                </a:lnTo>
                <a:lnTo>
                  <a:pt x="443" y="46"/>
                </a:lnTo>
                <a:lnTo>
                  <a:pt x="441" y="49"/>
                </a:lnTo>
                <a:lnTo>
                  <a:pt x="441" y="49"/>
                </a:lnTo>
                <a:lnTo>
                  <a:pt x="441" y="51"/>
                </a:lnTo>
                <a:lnTo>
                  <a:pt x="441" y="51"/>
                </a:lnTo>
                <a:lnTo>
                  <a:pt x="441" y="54"/>
                </a:lnTo>
                <a:lnTo>
                  <a:pt x="441" y="54"/>
                </a:lnTo>
                <a:lnTo>
                  <a:pt x="443" y="51"/>
                </a:lnTo>
                <a:lnTo>
                  <a:pt x="443" y="51"/>
                </a:lnTo>
                <a:lnTo>
                  <a:pt x="443" y="49"/>
                </a:lnTo>
                <a:lnTo>
                  <a:pt x="443" y="49"/>
                </a:lnTo>
                <a:lnTo>
                  <a:pt x="445" y="46"/>
                </a:lnTo>
                <a:lnTo>
                  <a:pt x="445" y="46"/>
                </a:lnTo>
                <a:lnTo>
                  <a:pt x="445" y="46"/>
                </a:lnTo>
                <a:lnTo>
                  <a:pt x="445" y="44"/>
                </a:lnTo>
                <a:lnTo>
                  <a:pt x="445" y="44"/>
                </a:lnTo>
                <a:lnTo>
                  <a:pt x="450" y="44"/>
                </a:lnTo>
                <a:lnTo>
                  <a:pt x="450" y="44"/>
                </a:lnTo>
                <a:lnTo>
                  <a:pt x="450" y="44"/>
                </a:lnTo>
                <a:lnTo>
                  <a:pt x="453" y="46"/>
                </a:lnTo>
                <a:lnTo>
                  <a:pt x="453" y="46"/>
                </a:lnTo>
                <a:lnTo>
                  <a:pt x="450" y="46"/>
                </a:lnTo>
                <a:lnTo>
                  <a:pt x="450" y="46"/>
                </a:lnTo>
                <a:lnTo>
                  <a:pt x="450" y="49"/>
                </a:lnTo>
                <a:lnTo>
                  <a:pt x="450" y="49"/>
                </a:lnTo>
                <a:lnTo>
                  <a:pt x="450" y="51"/>
                </a:lnTo>
                <a:lnTo>
                  <a:pt x="450" y="51"/>
                </a:lnTo>
                <a:lnTo>
                  <a:pt x="450" y="51"/>
                </a:lnTo>
                <a:lnTo>
                  <a:pt x="453" y="49"/>
                </a:lnTo>
                <a:lnTo>
                  <a:pt x="453" y="49"/>
                </a:lnTo>
                <a:lnTo>
                  <a:pt x="453" y="44"/>
                </a:lnTo>
                <a:lnTo>
                  <a:pt x="455" y="42"/>
                </a:lnTo>
                <a:lnTo>
                  <a:pt x="460" y="39"/>
                </a:lnTo>
                <a:lnTo>
                  <a:pt x="460" y="39"/>
                </a:lnTo>
                <a:lnTo>
                  <a:pt x="460" y="39"/>
                </a:lnTo>
                <a:lnTo>
                  <a:pt x="465" y="39"/>
                </a:lnTo>
                <a:lnTo>
                  <a:pt x="465" y="39"/>
                </a:lnTo>
                <a:lnTo>
                  <a:pt x="468" y="39"/>
                </a:lnTo>
                <a:lnTo>
                  <a:pt x="468" y="39"/>
                </a:lnTo>
                <a:lnTo>
                  <a:pt x="470" y="39"/>
                </a:lnTo>
                <a:lnTo>
                  <a:pt x="470" y="39"/>
                </a:lnTo>
                <a:lnTo>
                  <a:pt x="470" y="39"/>
                </a:lnTo>
                <a:lnTo>
                  <a:pt x="472" y="42"/>
                </a:lnTo>
                <a:lnTo>
                  <a:pt x="472" y="42"/>
                </a:lnTo>
                <a:lnTo>
                  <a:pt x="472" y="44"/>
                </a:lnTo>
                <a:lnTo>
                  <a:pt x="472" y="44"/>
                </a:lnTo>
                <a:lnTo>
                  <a:pt x="475" y="46"/>
                </a:lnTo>
                <a:lnTo>
                  <a:pt x="475" y="46"/>
                </a:lnTo>
                <a:lnTo>
                  <a:pt x="475" y="46"/>
                </a:lnTo>
                <a:lnTo>
                  <a:pt x="477" y="44"/>
                </a:lnTo>
                <a:lnTo>
                  <a:pt x="477" y="44"/>
                </a:lnTo>
                <a:lnTo>
                  <a:pt x="475" y="42"/>
                </a:lnTo>
                <a:lnTo>
                  <a:pt x="475" y="42"/>
                </a:lnTo>
                <a:lnTo>
                  <a:pt x="475" y="39"/>
                </a:lnTo>
                <a:lnTo>
                  <a:pt x="475" y="39"/>
                </a:lnTo>
                <a:lnTo>
                  <a:pt x="480" y="39"/>
                </a:lnTo>
                <a:lnTo>
                  <a:pt x="480" y="39"/>
                </a:lnTo>
                <a:lnTo>
                  <a:pt x="482" y="39"/>
                </a:lnTo>
                <a:lnTo>
                  <a:pt x="482" y="39"/>
                </a:lnTo>
                <a:lnTo>
                  <a:pt x="485" y="39"/>
                </a:lnTo>
                <a:lnTo>
                  <a:pt x="485" y="39"/>
                </a:lnTo>
                <a:lnTo>
                  <a:pt x="490" y="39"/>
                </a:lnTo>
                <a:lnTo>
                  <a:pt x="490" y="39"/>
                </a:lnTo>
                <a:lnTo>
                  <a:pt x="495" y="37"/>
                </a:lnTo>
                <a:lnTo>
                  <a:pt x="495" y="37"/>
                </a:lnTo>
                <a:lnTo>
                  <a:pt x="497" y="37"/>
                </a:lnTo>
                <a:lnTo>
                  <a:pt x="497" y="37"/>
                </a:lnTo>
                <a:lnTo>
                  <a:pt x="502" y="37"/>
                </a:lnTo>
                <a:lnTo>
                  <a:pt x="502" y="37"/>
                </a:lnTo>
                <a:lnTo>
                  <a:pt x="507" y="37"/>
                </a:lnTo>
                <a:lnTo>
                  <a:pt x="507" y="37"/>
                </a:lnTo>
                <a:lnTo>
                  <a:pt x="509" y="39"/>
                </a:lnTo>
                <a:lnTo>
                  <a:pt x="509" y="39"/>
                </a:lnTo>
                <a:lnTo>
                  <a:pt x="512" y="39"/>
                </a:lnTo>
                <a:lnTo>
                  <a:pt x="512" y="39"/>
                </a:lnTo>
                <a:lnTo>
                  <a:pt x="514" y="39"/>
                </a:lnTo>
                <a:lnTo>
                  <a:pt x="514" y="39"/>
                </a:lnTo>
                <a:lnTo>
                  <a:pt x="517" y="42"/>
                </a:lnTo>
                <a:lnTo>
                  <a:pt x="517" y="42"/>
                </a:lnTo>
                <a:lnTo>
                  <a:pt x="519" y="42"/>
                </a:lnTo>
                <a:lnTo>
                  <a:pt x="519" y="42"/>
                </a:lnTo>
                <a:lnTo>
                  <a:pt x="522" y="44"/>
                </a:lnTo>
                <a:lnTo>
                  <a:pt x="522" y="44"/>
                </a:lnTo>
                <a:lnTo>
                  <a:pt x="524" y="42"/>
                </a:lnTo>
                <a:lnTo>
                  <a:pt x="524" y="42"/>
                </a:lnTo>
                <a:lnTo>
                  <a:pt x="524" y="42"/>
                </a:lnTo>
                <a:lnTo>
                  <a:pt x="527" y="42"/>
                </a:lnTo>
                <a:lnTo>
                  <a:pt x="527" y="42"/>
                </a:lnTo>
                <a:lnTo>
                  <a:pt x="527" y="44"/>
                </a:lnTo>
                <a:lnTo>
                  <a:pt x="527" y="44"/>
                </a:lnTo>
                <a:lnTo>
                  <a:pt x="529" y="44"/>
                </a:lnTo>
                <a:lnTo>
                  <a:pt x="529" y="44"/>
                </a:lnTo>
                <a:lnTo>
                  <a:pt x="532" y="42"/>
                </a:lnTo>
                <a:lnTo>
                  <a:pt x="532" y="42"/>
                </a:lnTo>
                <a:lnTo>
                  <a:pt x="534" y="42"/>
                </a:lnTo>
                <a:lnTo>
                  <a:pt x="534" y="42"/>
                </a:lnTo>
                <a:lnTo>
                  <a:pt x="536" y="42"/>
                </a:lnTo>
                <a:lnTo>
                  <a:pt x="536" y="42"/>
                </a:lnTo>
                <a:lnTo>
                  <a:pt x="541" y="39"/>
                </a:lnTo>
                <a:lnTo>
                  <a:pt x="541" y="39"/>
                </a:lnTo>
                <a:lnTo>
                  <a:pt x="544" y="37"/>
                </a:lnTo>
                <a:lnTo>
                  <a:pt x="544" y="37"/>
                </a:lnTo>
                <a:lnTo>
                  <a:pt x="544" y="37"/>
                </a:lnTo>
                <a:lnTo>
                  <a:pt x="546" y="37"/>
                </a:lnTo>
                <a:lnTo>
                  <a:pt x="546" y="37"/>
                </a:lnTo>
                <a:lnTo>
                  <a:pt x="549" y="39"/>
                </a:lnTo>
                <a:lnTo>
                  <a:pt x="549" y="39"/>
                </a:lnTo>
                <a:lnTo>
                  <a:pt x="551" y="42"/>
                </a:lnTo>
                <a:lnTo>
                  <a:pt x="551" y="42"/>
                </a:lnTo>
                <a:lnTo>
                  <a:pt x="551" y="44"/>
                </a:lnTo>
                <a:lnTo>
                  <a:pt x="551" y="44"/>
                </a:lnTo>
                <a:lnTo>
                  <a:pt x="549" y="44"/>
                </a:lnTo>
                <a:lnTo>
                  <a:pt x="549" y="44"/>
                </a:lnTo>
                <a:lnTo>
                  <a:pt x="549" y="46"/>
                </a:lnTo>
                <a:lnTo>
                  <a:pt x="549" y="46"/>
                </a:lnTo>
                <a:lnTo>
                  <a:pt x="551" y="46"/>
                </a:lnTo>
                <a:lnTo>
                  <a:pt x="551" y="46"/>
                </a:lnTo>
                <a:lnTo>
                  <a:pt x="551" y="49"/>
                </a:lnTo>
                <a:lnTo>
                  <a:pt x="551" y="49"/>
                </a:lnTo>
                <a:lnTo>
                  <a:pt x="551" y="49"/>
                </a:lnTo>
                <a:lnTo>
                  <a:pt x="546" y="54"/>
                </a:lnTo>
                <a:lnTo>
                  <a:pt x="546" y="54"/>
                </a:lnTo>
                <a:lnTo>
                  <a:pt x="541" y="54"/>
                </a:lnTo>
                <a:lnTo>
                  <a:pt x="541" y="54"/>
                </a:lnTo>
                <a:lnTo>
                  <a:pt x="539" y="54"/>
                </a:lnTo>
                <a:lnTo>
                  <a:pt x="539" y="54"/>
                </a:lnTo>
                <a:lnTo>
                  <a:pt x="536" y="54"/>
                </a:lnTo>
                <a:lnTo>
                  <a:pt x="536" y="54"/>
                </a:lnTo>
                <a:lnTo>
                  <a:pt x="536" y="51"/>
                </a:lnTo>
                <a:lnTo>
                  <a:pt x="536" y="51"/>
                </a:lnTo>
                <a:lnTo>
                  <a:pt x="534" y="51"/>
                </a:lnTo>
                <a:lnTo>
                  <a:pt x="534" y="51"/>
                </a:lnTo>
                <a:lnTo>
                  <a:pt x="534" y="54"/>
                </a:lnTo>
                <a:lnTo>
                  <a:pt x="534" y="54"/>
                </a:lnTo>
                <a:lnTo>
                  <a:pt x="536" y="56"/>
                </a:lnTo>
                <a:lnTo>
                  <a:pt x="536" y="56"/>
                </a:lnTo>
                <a:lnTo>
                  <a:pt x="539" y="56"/>
                </a:lnTo>
                <a:lnTo>
                  <a:pt x="539" y="56"/>
                </a:lnTo>
                <a:lnTo>
                  <a:pt x="536" y="59"/>
                </a:lnTo>
                <a:lnTo>
                  <a:pt x="536" y="59"/>
                </a:lnTo>
                <a:lnTo>
                  <a:pt x="534" y="56"/>
                </a:lnTo>
                <a:lnTo>
                  <a:pt x="534" y="56"/>
                </a:lnTo>
                <a:lnTo>
                  <a:pt x="534" y="56"/>
                </a:lnTo>
                <a:lnTo>
                  <a:pt x="532" y="56"/>
                </a:lnTo>
                <a:lnTo>
                  <a:pt x="532" y="56"/>
                </a:lnTo>
                <a:lnTo>
                  <a:pt x="532" y="56"/>
                </a:lnTo>
                <a:lnTo>
                  <a:pt x="532" y="59"/>
                </a:lnTo>
                <a:lnTo>
                  <a:pt x="532" y="59"/>
                </a:lnTo>
                <a:lnTo>
                  <a:pt x="534" y="59"/>
                </a:lnTo>
                <a:lnTo>
                  <a:pt x="534" y="59"/>
                </a:lnTo>
                <a:lnTo>
                  <a:pt x="536" y="61"/>
                </a:lnTo>
                <a:lnTo>
                  <a:pt x="536" y="61"/>
                </a:lnTo>
                <a:lnTo>
                  <a:pt x="541" y="61"/>
                </a:lnTo>
                <a:lnTo>
                  <a:pt x="541" y="61"/>
                </a:lnTo>
                <a:lnTo>
                  <a:pt x="544" y="61"/>
                </a:lnTo>
                <a:lnTo>
                  <a:pt x="544" y="61"/>
                </a:lnTo>
                <a:lnTo>
                  <a:pt x="549" y="59"/>
                </a:lnTo>
                <a:lnTo>
                  <a:pt x="549" y="59"/>
                </a:lnTo>
                <a:lnTo>
                  <a:pt x="549" y="59"/>
                </a:lnTo>
                <a:lnTo>
                  <a:pt x="551" y="61"/>
                </a:lnTo>
                <a:lnTo>
                  <a:pt x="551" y="61"/>
                </a:lnTo>
                <a:lnTo>
                  <a:pt x="551" y="59"/>
                </a:lnTo>
                <a:lnTo>
                  <a:pt x="551" y="59"/>
                </a:lnTo>
                <a:lnTo>
                  <a:pt x="551" y="56"/>
                </a:lnTo>
                <a:lnTo>
                  <a:pt x="551" y="56"/>
                </a:lnTo>
                <a:lnTo>
                  <a:pt x="554" y="56"/>
                </a:lnTo>
                <a:lnTo>
                  <a:pt x="554" y="56"/>
                </a:lnTo>
                <a:lnTo>
                  <a:pt x="559" y="56"/>
                </a:lnTo>
                <a:lnTo>
                  <a:pt x="559" y="56"/>
                </a:lnTo>
                <a:lnTo>
                  <a:pt x="561" y="59"/>
                </a:lnTo>
                <a:lnTo>
                  <a:pt x="561" y="59"/>
                </a:lnTo>
                <a:lnTo>
                  <a:pt x="561" y="59"/>
                </a:lnTo>
                <a:lnTo>
                  <a:pt x="564" y="61"/>
                </a:lnTo>
                <a:lnTo>
                  <a:pt x="564" y="61"/>
                </a:lnTo>
                <a:lnTo>
                  <a:pt x="564" y="61"/>
                </a:lnTo>
                <a:lnTo>
                  <a:pt x="566" y="59"/>
                </a:lnTo>
                <a:lnTo>
                  <a:pt x="566" y="59"/>
                </a:lnTo>
                <a:lnTo>
                  <a:pt x="566" y="59"/>
                </a:lnTo>
                <a:lnTo>
                  <a:pt x="568" y="61"/>
                </a:lnTo>
                <a:lnTo>
                  <a:pt x="568" y="61"/>
                </a:lnTo>
                <a:lnTo>
                  <a:pt x="568" y="64"/>
                </a:lnTo>
                <a:lnTo>
                  <a:pt x="568" y="64"/>
                </a:lnTo>
                <a:lnTo>
                  <a:pt x="573" y="64"/>
                </a:lnTo>
                <a:lnTo>
                  <a:pt x="573" y="64"/>
                </a:lnTo>
                <a:lnTo>
                  <a:pt x="576" y="66"/>
                </a:lnTo>
                <a:lnTo>
                  <a:pt x="576" y="66"/>
                </a:lnTo>
                <a:lnTo>
                  <a:pt x="576" y="69"/>
                </a:lnTo>
                <a:lnTo>
                  <a:pt x="576" y="69"/>
                </a:lnTo>
                <a:lnTo>
                  <a:pt x="578" y="71"/>
                </a:lnTo>
                <a:lnTo>
                  <a:pt x="578" y="71"/>
                </a:lnTo>
                <a:lnTo>
                  <a:pt x="583" y="71"/>
                </a:lnTo>
                <a:lnTo>
                  <a:pt x="583" y="71"/>
                </a:lnTo>
                <a:lnTo>
                  <a:pt x="586" y="74"/>
                </a:lnTo>
                <a:lnTo>
                  <a:pt x="586" y="74"/>
                </a:lnTo>
                <a:lnTo>
                  <a:pt x="586" y="76"/>
                </a:lnTo>
                <a:lnTo>
                  <a:pt x="586" y="76"/>
                </a:lnTo>
                <a:lnTo>
                  <a:pt x="586" y="78"/>
                </a:lnTo>
                <a:lnTo>
                  <a:pt x="586" y="78"/>
                </a:lnTo>
                <a:lnTo>
                  <a:pt x="583" y="78"/>
                </a:lnTo>
                <a:lnTo>
                  <a:pt x="583" y="78"/>
                </a:lnTo>
                <a:lnTo>
                  <a:pt x="583" y="81"/>
                </a:lnTo>
                <a:lnTo>
                  <a:pt x="583" y="81"/>
                </a:lnTo>
                <a:lnTo>
                  <a:pt x="583" y="83"/>
                </a:lnTo>
                <a:lnTo>
                  <a:pt x="583" y="83"/>
                </a:lnTo>
                <a:lnTo>
                  <a:pt x="583" y="83"/>
                </a:lnTo>
                <a:lnTo>
                  <a:pt x="578" y="86"/>
                </a:lnTo>
                <a:lnTo>
                  <a:pt x="578" y="86"/>
                </a:lnTo>
                <a:lnTo>
                  <a:pt x="578" y="86"/>
                </a:lnTo>
                <a:lnTo>
                  <a:pt x="576" y="86"/>
                </a:lnTo>
                <a:lnTo>
                  <a:pt x="576" y="86"/>
                </a:lnTo>
                <a:lnTo>
                  <a:pt x="576" y="86"/>
                </a:lnTo>
                <a:lnTo>
                  <a:pt x="576" y="88"/>
                </a:lnTo>
                <a:lnTo>
                  <a:pt x="576" y="88"/>
                </a:lnTo>
                <a:lnTo>
                  <a:pt x="573" y="88"/>
                </a:lnTo>
                <a:lnTo>
                  <a:pt x="573" y="88"/>
                </a:lnTo>
                <a:lnTo>
                  <a:pt x="571" y="91"/>
                </a:lnTo>
                <a:lnTo>
                  <a:pt x="571" y="91"/>
                </a:lnTo>
                <a:lnTo>
                  <a:pt x="566" y="93"/>
                </a:lnTo>
                <a:lnTo>
                  <a:pt x="566" y="93"/>
                </a:lnTo>
                <a:lnTo>
                  <a:pt x="561" y="93"/>
                </a:lnTo>
                <a:lnTo>
                  <a:pt x="561" y="93"/>
                </a:lnTo>
                <a:lnTo>
                  <a:pt x="561" y="93"/>
                </a:lnTo>
                <a:lnTo>
                  <a:pt x="559" y="93"/>
                </a:lnTo>
                <a:lnTo>
                  <a:pt x="559" y="93"/>
                </a:lnTo>
                <a:lnTo>
                  <a:pt x="556" y="93"/>
                </a:lnTo>
                <a:lnTo>
                  <a:pt x="556" y="93"/>
                </a:lnTo>
                <a:lnTo>
                  <a:pt x="556" y="91"/>
                </a:lnTo>
                <a:lnTo>
                  <a:pt x="556" y="91"/>
                </a:lnTo>
                <a:lnTo>
                  <a:pt x="554" y="91"/>
                </a:lnTo>
                <a:lnTo>
                  <a:pt x="554" y="91"/>
                </a:lnTo>
                <a:lnTo>
                  <a:pt x="554" y="93"/>
                </a:lnTo>
                <a:lnTo>
                  <a:pt x="554" y="93"/>
                </a:lnTo>
                <a:lnTo>
                  <a:pt x="556" y="93"/>
                </a:lnTo>
                <a:lnTo>
                  <a:pt x="556" y="93"/>
                </a:lnTo>
                <a:lnTo>
                  <a:pt x="556" y="96"/>
                </a:lnTo>
                <a:lnTo>
                  <a:pt x="556" y="96"/>
                </a:lnTo>
                <a:lnTo>
                  <a:pt x="554" y="96"/>
                </a:lnTo>
                <a:lnTo>
                  <a:pt x="554" y="96"/>
                </a:lnTo>
                <a:lnTo>
                  <a:pt x="551" y="93"/>
                </a:lnTo>
                <a:lnTo>
                  <a:pt x="551" y="93"/>
                </a:lnTo>
                <a:lnTo>
                  <a:pt x="549" y="96"/>
                </a:lnTo>
                <a:lnTo>
                  <a:pt x="549" y="96"/>
                </a:lnTo>
                <a:lnTo>
                  <a:pt x="546" y="96"/>
                </a:lnTo>
                <a:lnTo>
                  <a:pt x="546" y="96"/>
                </a:lnTo>
                <a:lnTo>
                  <a:pt x="544" y="93"/>
                </a:lnTo>
                <a:lnTo>
                  <a:pt x="544" y="93"/>
                </a:lnTo>
                <a:lnTo>
                  <a:pt x="541" y="93"/>
                </a:lnTo>
                <a:lnTo>
                  <a:pt x="541" y="93"/>
                </a:lnTo>
                <a:lnTo>
                  <a:pt x="539" y="96"/>
                </a:lnTo>
                <a:lnTo>
                  <a:pt x="539" y="96"/>
                </a:lnTo>
                <a:lnTo>
                  <a:pt x="536" y="98"/>
                </a:lnTo>
                <a:lnTo>
                  <a:pt x="536" y="98"/>
                </a:lnTo>
                <a:lnTo>
                  <a:pt x="534" y="98"/>
                </a:lnTo>
                <a:lnTo>
                  <a:pt x="534" y="98"/>
                </a:lnTo>
                <a:lnTo>
                  <a:pt x="532" y="96"/>
                </a:lnTo>
                <a:lnTo>
                  <a:pt x="532" y="96"/>
                </a:lnTo>
                <a:lnTo>
                  <a:pt x="529" y="96"/>
                </a:lnTo>
                <a:lnTo>
                  <a:pt x="529" y="96"/>
                </a:lnTo>
                <a:lnTo>
                  <a:pt x="527" y="96"/>
                </a:lnTo>
                <a:lnTo>
                  <a:pt x="527" y="96"/>
                </a:lnTo>
                <a:lnTo>
                  <a:pt x="527" y="96"/>
                </a:lnTo>
                <a:lnTo>
                  <a:pt x="524" y="96"/>
                </a:lnTo>
                <a:lnTo>
                  <a:pt x="524" y="96"/>
                </a:lnTo>
                <a:lnTo>
                  <a:pt x="522" y="98"/>
                </a:lnTo>
                <a:lnTo>
                  <a:pt x="522" y="98"/>
                </a:lnTo>
                <a:lnTo>
                  <a:pt x="519" y="96"/>
                </a:lnTo>
                <a:lnTo>
                  <a:pt x="519" y="96"/>
                </a:lnTo>
                <a:lnTo>
                  <a:pt x="514" y="93"/>
                </a:lnTo>
                <a:lnTo>
                  <a:pt x="514" y="93"/>
                </a:lnTo>
                <a:lnTo>
                  <a:pt x="514" y="93"/>
                </a:lnTo>
                <a:lnTo>
                  <a:pt x="514" y="93"/>
                </a:lnTo>
                <a:lnTo>
                  <a:pt x="509" y="93"/>
                </a:lnTo>
                <a:lnTo>
                  <a:pt x="509" y="93"/>
                </a:lnTo>
                <a:lnTo>
                  <a:pt x="507" y="91"/>
                </a:lnTo>
                <a:lnTo>
                  <a:pt x="507" y="91"/>
                </a:lnTo>
                <a:lnTo>
                  <a:pt x="504" y="91"/>
                </a:lnTo>
                <a:lnTo>
                  <a:pt x="504" y="91"/>
                </a:lnTo>
                <a:lnTo>
                  <a:pt x="502" y="93"/>
                </a:lnTo>
                <a:lnTo>
                  <a:pt x="502" y="93"/>
                </a:lnTo>
                <a:lnTo>
                  <a:pt x="500" y="91"/>
                </a:lnTo>
                <a:lnTo>
                  <a:pt x="500" y="91"/>
                </a:lnTo>
                <a:lnTo>
                  <a:pt x="497" y="91"/>
                </a:lnTo>
                <a:lnTo>
                  <a:pt x="497" y="91"/>
                </a:lnTo>
                <a:lnTo>
                  <a:pt x="495" y="91"/>
                </a:lnTo>
                <a:lnTo>
                  <a:pt x="495" y="91"/>
                </a:lnTo>
                <a:lnTo>
                  <a:pt x="492" y="93"/>
                </a:lnTo>
                <a:lnTo>
                  <a:pt x="492" y="93"/>
                </a:lnTo>
                <a:lnTo>
                  <a:pt x="490" y="93"/>
                </a:lnTo>
                <a:lnTo>
                  <a:pt x="490" y="93"/>
                </a:lnTo>
                <a:lnTo>
                  <a:pt x="487" y="93"/>
                </a:lnTo>
                <a:lnTo>
                  <a:pt x="487" y="93"/>
                </a:lnTo>
                <a:lnTo>
                  <a:pt x="485" y="96"/>
                </a:lnTo>
                <a:lnTo>
                  <a:pt x="485" y="96"/>
                </a:lnTo>
                <a:lnTo>
                  <a:pt x="485" y="96"/>
                </a:lnTo>
                <a:lnTo>
                  <a:pt x="482" y="96"/>
                </a:lnTo>
                <a:lnTo>
                  <a:pt x="482" y="96"/>
                </a:lnTo>
                <a:lnTo>
                  <a:pt x="482" y="93"/>
                </a:lnTo>
                <a:lnTo>
                  <a:pt x="482" y="93"/>
                </a:lnTo>
                <a:lnTo>
                  <a:pt x="480" y="93"/>
                </a:lnTo>
                <a:lnTo>
                  <a:pt x="480" y="93"/>
                </a:lnTo>
                <a:lnTo>
                  <a:pt x="477" y="93"/>
                </a:lnTo>
                <a:lnTo>
                  <a:pt x="477" y="93"/>
                </a:lnTo>
                <a:lnTo>
                  <a:pt x="477" y="91"/>
                </a:lnTo>
                <a:lnTo>
                  <a:pt x="477" y="91"/>
                </a:lnTo>
                <a:lnTo>
                  <a:pt x="475" y="91"/>
                </a:lnTo>
                <a:lnTo>
                  <a:pt x="475" y="91"/>
                </a:lnTo>
                <a:lnTo>
                  <a:pt x="475" y="93"/>
                </a:lnTo>
                <a:lnTo>
                  <a:pt x="475" y="93"/>
                </a:lnTo>
                <a:lnTo>
                  <a:pt x="475" y="93"/>
                </a:lnTo>
                <a:lnTo>
                  <a:pt x="480" y="93"/>
                </a:lnTo>
                <a:lnTo>
                  <a:pt x="480" y="93"/>
                </a:lnTo>
                <a:lnTo>
                  <a:pt x="480" y="93"/>
                </a:lnTo>
                <a:lnTo>
                  <a:pt x="482" y="96"/>
                </a:lnTo>
                <a:lnTo>
                  <a:pt x="482" y="96"/>
                </a:lnTo>
                <a:lnTo>
                  <a:pt x="480" y="98"/>
                </a:lnTo>
                <a:lnTo>
                  <a:pt x="480" y="98"/>
                </a:lnTo>
                <a:lnTo>
                  <a:pt x="477" y="98"/>
                </a:lnTo>
                <a:lnTo>
                  <a:pt x="477" y="98"/>
                </a:lnTo>
                <a:lnTo>
                  <a:pt x="477" y="98"/>
                </a:lnTo>
                <a:lnTo>
                  <a:pt x="475" y="98"/>
                </a:lnTo>
                <a:lnTo>
                  <a:pt x="475" y="98"/>
                </a:lnTo>
                <a:lnTo>
                  <a:pt x="472" y="101"/>
                </a:lnTo>
                <a:lnTo>
                  <a:pt x="472" y="101"/>
                </a:lnTo>
                <a:lnTo>
                  <a:pt x="470" y="101"/>
                </a:lnTo>
                <a:lnTo>
                  <a:pt x="470" y="101"/>
                </a:lnTo>
                <a:lnTo>
                  <a:pt x="465" y="103"/>
                </a:lnTo>
                <a:lnTo>
                  <a:pt x="465" y="103"/>
                </a:lnTo>
                <a:lnTo>
                  <a:pt x="463" y="103"/>
                </a:lnTo>
                <a:lnTo>
                  <a:pt x="463" y="103"/>
                </a:lnTo>
                <a:lnTo>
                  <a:pt x="463" y="105"/>
                </a:lnTo>
                <a:lnTo>
                  <a:pt x="463" y="105"/>
                </a:lnTo>
                <a:lnTo>
                  <a:pt x="460" y="105"/>
                </a:lnTo>
                <a:lnTo>
                  <a:pt x="460" y="105"/>
                </a:lnTo>
                <a:lnTo>
                  <a:pt x="458" y="105"/>
                </a:lnTo>
                <a:lnTo>
                  <a:pt x="458" y="105"/>
                </a:lnTo>
                <a:lnTo>
                  <a:pt x="453" y="108"/>
                </a:lnTo>
                <a:lnTo>
                  <a:pt x="453" y="108"/>
                </a:lnTo>
                <a:lnTo>
                  <a:pt x="453" y="108"/>
                </a:lnTo>
                <a:lnTo>
                  <a:pt x="450" y="108"/>
                </a:lnTo>
                <a:lnTo>
                  <a:pt x="450" y="108"/>
                </a:lnTo>
                <a:lnTo>
                  <a:pt x="450" y="110"/>
                </a:lnTo>
                <a:lnTo>
                  <a:pt x="450" y="110"/>
                </a:lnTo>
                <a:lnTo>
                  <a:pt x="453" y="113"/>
                </a:lnTo>
                <a:lnTo>
                  <a:pt x="453" y="113"/>
                </a:lnTo>
                <a:lnTo>
                  <a:pt x="453" y="115"/>
                </a:lnTo>
                <a:lnTo>
                  <a:pt x="453" y="115"/>
                </a:lnTo>
                <a:lnTo>
                  <a:pt x="453" y="118"/>
                </a:lnTo>
                <a:lnTo>
                  <a:pt x="453" y="118"/>
                </a:lnTo>
                <a:lnTo>
                  <a:pt x="453" y="120"/>
                </a:lnTo>
                <a:lnTo>
                  <a:pt x="453" y="120"/>
                </a:lnTo>
                <a:lnTo>
                  <a:pt x="455" y="118"/>
                </a:lnTo>
                <a:lnTo>
                  <a:pt x="455" y="118"/>
                </a:lnTo>
                <a:lnTo>
                  <a:pt x="455" y="118"/>
                </a:lnTo>
                <a:lnTo>
                  <a:pt x="458" y="115"/>
                </a:lnTo>
                <a:lnTo>
                  <a:pt x="458" y="115"/>
                </a:lnTo>
                <a:lnTo>
                  <a:pt x="458" y="113"/>
                </a:lnTo>
                <a:lnTo>
                  <a:pt x="458" y="113"/>
                </a:lnTo>
                <a:lnTo>
                  <a:pt x="460" y="113"/>
                </a:lnTo>
                <a:lnTo>
                  <a:pt x="460" y="113"/>
                </a:lnTo>
                <a:lnTo>
                  <a:pt x="463" y="110"/>
                </a:lnTo>
                <a:lnTo>
                  <a:pt x="463" y="110"/>
                </a:lnTo>
                <a:lnTo>
                  <a:pt x="465" y="110"/>
                </a:lnTo>
                <a:lnTo>
                  <a:pt x="465" y="110"/>
                </a:lnTo>
                <a:lnTo>
                  <a:pt x="468" y="110"/>
                </a:lnTo>
                <a:lnTo>
                  <a:pt x="468" y="110"/>
                </a:lnTo>
                <a:lnTo>
                  <a:pt x="470" y="110"/>
                </a:lnTo>
                <a:lnTo>
                  <a:pt x="470" y="110"/>
                </a:lnTo>
                <a:lnTo>
                  <a:pt x="472" y="108"/>
                </a:lnTo>
                <a:lnTo>
                  <a:pt x="472" y="108"/>
                </a:lnTo>
                <a:lnTo>
                  <a:pt x="475" y="108"/>
                </a:lnTo>
                <a:lnTo>
                  <a:pt x="475" y="108"/>
                </a:lnTo>
                <a:lnTo>
                  <a:pt x="482" y="105"/>
                </a:lnTo>
                <a:lnTo>
                  <a:pt x="482" y="105"/>
                </a:lnTo>
                <a:lnTo>
                  <a:pt x="485" y="105"/>
                </a:lnTo>
                <a:lnTo>
                  <a:pt x="485" y="105"/>
                </a:lnTo>
                <a:lnTo>
                  <a:pt x="485" y="105"/>
                </a:lnTo>
                <a:lnTo>
                  <a:pt x="482" y="108"/>
                </a:lnTo>
                <a:lnTo>
                  <a:pt x="482" y="108"/>
                </a:lnTo>
                <a:lnTo>
                  <a:pt x="485" y="108"/>
                </a:lnTo>
                <a:lnTo>
                  <a:pt x="485" y="108"/>
                </a:lnTo>
                <a:lnTo>
                  <a:pt x="487" y="105"/>
                </a:lnTo>
                <a:lnTo>
                  <a:pt x="487" y="105"/>
                </a:lnTo>
                <a:lnTo>
                  <a:pt x="487" y="103"/>
                </a:lnTo>
                <a:lnTo>
                  <a:pt x="487" y="103"/>
                </a:lnTo>
                <a:lnTo>
                  <a:pt x="487" y="101"/>
                </a:lnTo>
                <a:lnTo>
                  <a:pt x="487" y="101"/>
                </a:lnTo>
                <a:lnTo>
                  <a:pt x="490" y="101"/>
                </a:lnTo>
                <a:lnTo>
                  <a:pt x="490" y="101"/>
                </a:lnTo>
                <a:lnTo>
                  <a:pt x="492" y="101"/>
                </a:lnTo>
                <a:lnTo>
                  <a:pt x="492" y="101"/>
                </a:lnTo>
                <a:lnTo>
                  <a:pt x="495" y="101"/>
                </a:lnTo>
                <a:lnTo>
                  <a:pt x="495" y="101"/>
                </a:lnTo>
                <a:lnTo>
                  <a:pt x="497" y="101"/>
                </a:lnTo>
                <a:lnTo>
                  <a:pt x="497" y="101"/>
                </a:lnTo>
                <a:lnTo>
                  <a:pt x="502" y="101"/>
                </a:lnTo>
                <a:lnTo>
                  <a:pt x="502" y="101"/>
                </a:lnTo>
                <a:lnTo>
                  <a:pt x="504" y="103"/>
                </a:lnTo>
                <a:lnTo>
                  <a:pt x="504" y="103"/>
                </a:lnTo>
                <a:lnTo>
                  <a:pt x="507" y="103"/>
                </a:lnTo>
                <a:lnTo>
                  <a:pt x="507" y="103"/>
                </a:lnTo>
                <a:lnTo>
                  <a:pt x="514" y="103"/>
                </a:lnTo>
                <a:lnTo>
                  <a:pt x="514" y="103"/>
                </a:lnTo>
                <a:lnTo>
                  <a:pt x="517" y="103"/>
                </a:lnTo>
                <a:lnTo>
                  <a:pt x="517" y="103"/>
                </a:lnTo>
                <a:lnTo>
                  <a:pt x="519" y="103"/>
                </a:lnTo>
                <a:lnTo>
                  <a:pt x="519" y="103"/>
                </a:lnTo>
                <a:lnTo>
                  <a:pt x="524" y="105"/>
                </a:lnTo>
                <a:lnTo>
                  <a:pt x="524" y="105"/>
                </a:lnTo>
                <a:lnTo>
                  <a:pt x="532" y="105"/>
                </a:lnTo>
                <a:lnTo>
                  <a:pt x="532" y="105"/>
                </a:lnTo>
                <a:lnTo>
                  <a:pt x="534" y="105"/>
                </a:lnTo>
                <a:lnTo>
                  <a:pt x="534" y="105"/>
                </a:lnTo>
                <a:lnTo>
                  <a:pt x="534" y="108"/>
                </a:lnTo>
                <a:lnTo>
                  <a:pt x="534" y="108"/>
                </a:lnTo>
                <a:lnTo>
                  <a:pt x="534" y="108"/>
                </a:lnTo>
                <a:lnTo>
                  <a:pt x="534" y="110"/>
                </a:lnTo>
                <a:lnTo>
                  <a:pt x="534" y="110"/>
                </a:lnTo>
                <a:lnTo>
                  <a:pt x="532" y="110"/>
                </a:lnTo>
                <a:lnTo>
                  <a:pt x="532" y="110"/>
                </a:lnTo>
                <a:lnTo>
                  <a:pt x="532" y="113"/>
                </a:lnTo>
                <a:lnTo>
                  <a:pt x="532" y="113"/>
                </a:lnTo>
                <a:lnTo>
                  <a:pt x="529" y="115"/>
                </a:lnTo>
                <a:lnTo>
                  <a:pt x="529" y="115"/>
                </a:lnTo>
                <a:lnTo>
                  <a:pt x="529" y="118"/>
                </a:lnTo>
                <a:lnTo>
                  <a:pt x="529" y="118"/>
                </a:lnTo>
                <a:lnTo>
                  <a:pt x="522" y="118"/>
                </a:lnTo>
                <a:lnTo>
                  <a:pt x="522" y="118"/>
                </a:lnTo>
                <a:lnTo>
                  <a:pt x="517" y="120"/>
                </a:lnTo>
                <a:lnTo>
                  <a:pt x="517" y="120"/>
                </a:lnTo>
                <a:lnTo>
                  <a:pt x="517" y="120"/>
                </a:lnTo>
                <a:lnTo>
                  <a:pt x="514" y="120"/>
                </a:lnTo>
                <a:lnTo>
                  <a:pt x="514" y="120"/>
                </a:lnTo>
                <a:lnTo>
                  <a:pt x="514" y="120"/>
                </a:lnTo>
                <a:lnTo>
                  <a:pt x="514" y="123"/>
                </a:lnTo>
                <a:lnTo>
                  <a:pt x="514" y="123"/>
                </a:lnTo>
                <a:lnTo>
                  <a:pt x="514" y="123"/>
                </a:lnTo>
                <a:lnTo>
                  <a:pt x="512" y="125"/>
                </a:lnTo>
                <a:lnTo>
                  <a:pt x="512" y="125"/>
                </a:lnTo>
                <a:lnTo>
                  <a:pt x="514" y="128"/>
                </a:lnTo>
                <a:lnTo>
                  <a:pt x="514" y="128"/>
                </a:lnTo>
                <a:lnTo>
                  <a:pt x="514" y="128"/>
                </a:lnTo>
                <a:lnTo>
                  <a:pt x="517" y="128"/>
                </a:lnTo>
                <a:lnTo>
                  <a:pt x="517" y="128"/>
                </a:lnTo>
                <a:lnTo>
                  <a:pt x="522" y="125"/>
                </a:lnTo>
                <a:lnTo>
                  <a:pt x="522" y="125"/>
                </a:lnTo>
                <a:lnTo>
                  <a:pt x="524" y="125"/>
                </a:lnTo>
                <a:lnTo>
                  <a:pt x="529" y="125"/>
                </a:lnTo>
                <a:lnTo>
                  <a:pt x="529" y="125"/>
                </a:lnTo>
                <a:lnTo>
                  <a:pt x="536" y="125"/>
                </a:lnTo>
                <a:lnTo>
                  <a:pt x="536" y="125"/>
                </a:lnTo>
                <a:lnTo>
                  <a:pt x="536" y="125"/>
                </a:lnTo>
                <a:lnTo>
                  <a:pt x="539" y="128"/>
                </a:lnTo>
                <a:lnTo>
                  <a:pt x="539" y="128"/>
                </a:lnTo>
                <a:lnTo>
                  <a:pt x="541" y="128"/>
                </a:lnTo>
                <a:lnTo>
                  <a:pt x="541" y="128"/>
                </a:lnTo>
                <a:lnTo>
                  <a:pt x="541" y="125"/>
                </a:lnTo>
                <a:lnTo>
                  <a:pt x="541" y="125"/>
                </a:lnTo>
                <a:lnTo>
                  <a:pt x="544" y="125"/>
                </a:lnTo>
                <a:lnTo>
                  <a:pt x="544" y="125"/>
                </a:lnTo>
                <a:lnTo>
                  <a:pt x="544" y="125"/>
                </a:lnTo>
                <a:lnTo>
                  <a:pt x="546" y="128"/>
                </a:lnTo>
                <a:lnTo>
                  <a:pt x="546" y="128"/>
                </a:lnTo>
                <a:lnTo>
                  <a:pt x="549" y="123"/>
                </a:lnTo>
                <a:lnTo>
                  <a:pt x="549" y="123"/>
                </a:lnTo>
                <a:lnTo>
                  <a:pt x="549" y="118"/>
                </a:lnTo>
                <a:lnTo>
                  <a:pt x="549" y="118"/>
                </a:lnTo>
                <a:lnTo>
                  <a:pt x="549" y="115"/>
                </a:lnTo>
                <a:lnTo>
                  <a:pt x="549" y="115"/>
                </a:lnTo>
                <a:lnTo>
                  <a:pt x="551" y="113"/>
                </a:lnTo>
                <a:lnTo>
                  <a:pt x="551" y="113"/>
                </a:lnTo>
                <a:lnTo>
                  <a:pt x="551" y="113"/>
                </a:lnTo>
                <a:lnTo>
                  <a:pt x="551" y="110"/>
                </a:lnTo>
                <a:lnTo>
                  <a:pt x="551" y="110"/>
                </a:lnTo>
                <a:lnTo>
                  <a:pt x="554" y="108"/>
                </a:lnTo>
                <a:lnTo>
                  <a:pt x="554" y="108"/>
                </a:lnTo>
                <a:lnTo>
                  <a:pt x="556" y="108"/>
                </a:lnTo>
                <a:lnTo>
                  <a:pt x="556" y="108"/>
                </a:lnTo>
                <a:lnTo>
                  <a:pt x="559" y="110"/>
                </a:lnTo>
                <a:lnTo>
                  <a:pt x="559" y="110"/>
                </a:lnTo>
                <a:lnTo>
                  <a:pt x="564" y="108"/>
                </a:lnTo>
                <a:lnTo>
                  <a:pt x="564" y="108"/>
                </a:lnTo>
                <a:lnTo>
                  <a:pt x="566" y="108"/>
                </a:lnTo>
                <a:lnTo>
                  <a:pt x="566" y="108"/>
                </a:lnTo>
                <a:lnTo>
                  <a:pt x="568" y="108"/>
                </a:lnTo>
                <a:lnTo>
                  <a:pt x="568" y="108"/>
                </a:lnTo>
                <a:lnTo>
                  <a:pt x="568" y="113"/>
                </a:lnTo>
                <a:lnTo>
                  <a:pt x="568" y="113"/>
                </a:lnTo>
                <a:lnTo>
                  <a:pt x="568" y="118"/>
                </a:lnTo>
                <a:lnTo>
                  <a:pt x="568" y="118"/>
                </a:lnTo>
                <a:lnTo>
                  <a:pt x="568" y="120"/>
                </a:lnTo>
                <a:lnTo>
                  <a:pt x="568" y="120"/>
                </a:lnTo>
                <a:lnTo>
                  <a:pt x="566" y="125"/>
                </a:lnTo>
                <a:lnTo>
                  <a:pt x="566" y="125"/>
                </a:lnTo>
                <a:lnTo>
                  <a:pt x="564" y="128"/>
                </a:lnTo>
                <a:lnTo>
                  <a:pt x="564" y="128"/>
                </a:lnTo>
                <a:lnTo>
                  <a:pt x="564" y="133"/>
                </a:lnTo>
                <a:lnTo>
                  <a:pt x="564" y="133"/>
                </a:lnTo>
                <a:lnTo>
                  <a:pt x="564" y="135"/>
                </a:lnTo>
                <a:lnTo>
                  <a:pt x="564" y="135"/>
                </a:lnTo>
                <a:lnTo>
                  <a:pt x="554" y="142"/>
                </a:lnTo>
                <a:lnTo>
                  <a:pt x="554" y="142"/>
                </a:lnTo>
                <a:lnTo>
                  <a:pt x="551" y="142"/>
                </a:lnTo>
                <a:lnTo>
                  <a:pt x="551" y="142"/>
                </a:lnTo>
                <a:lnTo>
                  <a:pt x="551" y="142"/>
                </a:lnTo>
                <a:lnTo>
                  <a:pt x="549" y="142"/>
                </a:lnTo>
                <a:lnTo>
                  <a:pt x="549" y="142"/>
                </a:lnTo>
                <a:lnTo>
                  <a:pt x="546" y="145"/>
                </a:lnTo>
                <a:lnTo>
                  <a:pt x="546" y="145"/>
                </a:lnTo>
                <a:lnTo>
                  <a:pt x="546" y="145"/>
                </a:lnTo>
                <a:lnTo>
                  <a:pt x="544" y="145"/>
                </a:lnTo>
                <a:lnTo>
                  <a:pt x="544" y="145"/>
                </a:lnTo>
                <a:lnTo>
                  <a:pt x="541" y="147"/>
                </a:lnTo>
                <a:lnTo>
                  <a:pt x="541" y="147"/>
                </a:lnTo>
                <a:lnTo>
                  <a:pt x="541" y="150"/>
                </a:lnTo>
                <a:lnTo>
                  <a:pt x="541" y="150"/>
                </a:lnTo>
                <a:lnTo>
                  <a:pt x="539" y="152"/>
                </a:lnTo>
                <a:lnTo>
                  <a:pt x="539" y="152"/>
                </a:lnTo>
                <a:lnTo>
                  <a:pt x="536" y="155"/>
                </a:lnTo>
                <a:lnTo>
                  <a:pt x="536" y="155"/>
                </a:lnTo>
                <a:lnTo>
                  <a:pt x="536" y="155"/>
                </a:lnTo>
                <a:lnTo>
                  <a:pt x="534" y="152"/>
                </a:lnTo>
                <a:lnTo>
                  <a:pt x="534" y="152"/>
                </a:lnTo>
                <a:lnTo>
                  <a:pt x="534" y="155"/>
                </a:lnTo>
                <a:lnTo>
                  <a:pt x="534" y="155"/>
                </a:lnTo>
                <a:lnTo>
                  <a:pt x="534" y="155"/>
                </a:lnTo>
                <a:lnTo>
                  <a:pt x="534" y="157"/>
                </a:lnTo>
                <a:lnTo>
                  <a:pt x="534" y="157"/>
                </a:lnTo>
                <a:lnTo>
                  <a:pt x="532" y="162"/>
                </a:lnTo>
                <a:lnTo>
                  <a:pt x="532" y="162"/>
                </a:lnTo>
                <a:lnTo>
                  <a:pt x="529" y="165"/>
                </a:lnTo>
                <a:lnTo>
                  <a:pt x="529" y="165"/>
                </a:lnTo>
                <a:lnTo>
                  <a:pt x="527" y="165"/>
                </a:lnTo>
                <a:lnTo>
                  <a:pt x="527" y="165"/>
                </a:lnTo>
                <a:lnTo>
                  <a:pt x="524" y="169"/>
                </a:lnTo>
                <a:lnTo>
                  <a:pt x="524" y="169"/>
                </a:lnTo>
                <a:lnTo>
                  <a:pt x="519" y="172"/>
                </a:lnTo>
                <a:lnTo>
                  <a:pt x="519" y="172"/>
                </a:lnTo>
                <a:lnTo>
                  <a:pt x="517" y="172"/>
                </a:lnTo>
                <a:lnTo>
                  <a:pt x="517" y="172"/>
                </a:lnTo>
                <a:lnTo>
                  <a:pt x="514" y="174"/>
                </a:lnTo>
                <a:lnTo>
                  <a:pt x="514" y="174"/>
                </a:lnTo>
                <a:lnTo>
                  <a:pt x="514" y="177"/>
                </a:lnTo>
                <a:lnTo>
                  <a:pt x="514" y="177"/>
                </a:lnTo>
                <a:lnTo>
                  <a:pt x="512" y="177"/>
                </a:lnTo>
                <a:lnTo>
                  <a:pt x="512" y="177"/>
                </a:lnTo>
                <a:lnTo>
                  <a:pt x="512" y="179"/>
                </a:lnTo>
                <a:lnTo>
                  <a:pt x="512" y="179"/>
                </a:lnTo>
                <a:lnTo>
                  <a:pt x="512" y="182"/>
                </a:lnTo>
                <a:lnTo>
                  <a:pt x="512" y="182"/>
                </a:lnTo>
                <a:lnTo>
                  <a:pt x="509" y="184"/>
                </a:lnTo>
                <a:lnTo>
                  <a:pt x="509" y="184"/>
                </a:lnTo>
                <a:lnTo>
                  <a:pt x="509" y="187"/>
                </a:lnTo>
                <a:lnTo>
                  <a:pt x="509" y="187"/>
                </a:lnTo>
                <a:lnTo>
                  <a:pt x="512" y="184"/>
                </a:lnTo>
                <a:lnTo>
                  <a:pt x="512" y="184"/>
                </a:lnTo>
                <a:lnTo>
                  <a:pt x="512" y="184"/>
                </a:lnTo>
                <a:lnTo>
                  <a:pt x="514" y="179"/>
                </a:lnTo>
                <a:lnTo>
                  <a:pt x="514" y="179"/>
                </a:lnTo>
                <a:lnTo>
                  <a:pt x="517" y="177"/>
                </a:lnTo>
                <a:lnTo>
                  <a:pt x="517" y="177"/>
                </a:lnTo>
                <a:lnTo>
                  <a:pt x="519" y="174"/>
                </a:lnTo>
                <a:lnTo>
                  <a:pt x="519" y="174"/>
                </a:lnTo>
                <a:lnTo>
                  <a:pt x="522" y="174"/>
                </a:lnTo>
                <a:lnTo>
                  <a:pt x="522" y="174"/>
                </a:lnTo>
                <a:lnTo>
                  <a:pt x="522" y="177"/>
                </a:lnTo>
                <a:lnTo>
                  <a:pt x="522" y="177"/>
                </a:lnTo>
                <a:lnTo>
                  <a:pt x="524" y="172"/>
                </a:lnTo>
                <a:lnTo>
                  <a:pt x="524" y="172"/>
                </a:lnTo>
                <a:lnTo>
                  <a:pt x="529" y="169"/>
                </a:lnTo>
                <a:lnTo>
                  <a:pt x="529" y="169"/>
                </a:lnTo>
                <a:lnTo>
                  <a:pt x="532" y="169"/>
                </a:lnTo>
                <a:lnTo>
                  <a:pt x="532" y="169"/>
                </a:lnTo>
                <a:lnTo>
                  <a:pt x="532" y="165"/>
                </a:lnTo>
                <a:lnTo>
                  <a:pt x="532" y="165"/>
                </a:lnTo>
                <a:lnTo>
                  <a:pt x="536" y="162"/>
                </a:lnTo>
                <a:lnTo>
                  <a:pt x="536" y="162"/>
                </a:lnTo>
                <a:lnTo>
                  <a:pt x="541" y="157"/>
                </a:lnTo>
                <a:lnTo>
                  <a:pt x="541" y="157"/>
                </a:lnTo>
                <a:lnTo>
                  <a:pt x="541" y="157"/>
                </a:lnTo>
                <a:lnTo>
                  <a:pt x="544" y="157"/>
                </a:lnTo>
                <a:lnTo>
                  <a:pt x="544" y="157"/>
                </a:lnTo>
                <a:lnTo>
                  <a:pt x="546" y="157"/>
                </a:lnTo>
                <a:lnTo>
                  <a:pt x="546" y="157"/>
                </a:lnTo>
                <a:lnTo>
                  <a:pt x="549" y="155"/>
                </a:lnTo>
                <a:lnTo>
                  <a:pt x="549" y="155"/>
                </a:lnTo>
                <a:lnTo>
                  <a:pt x="549" y="155"/>
                </a:lnTo>
                <a:lnTo>
                  <a:pt x="551" y="155"/>
                </a:lnTo>
                <a:lnTo>
                  <a:pt x="551" y="155"/>
                </a:lnTo>
                <a:lnTo>
                  <a:pt x="556" y="155"/>
                </a:lnTo>
                <a:lnTo>
                  <a:pt x="556" y="155"/>
                </a:lnTo>
                <a:lnTo>
                  <a:pt x="561" y="152"/>
                </a:lnTo>
                <a:lnTo>
                  <a:pt x="561" y="152"/>
                </a:lnTo>
                <a:lnTo>
                  <a:pt x="564" y="150"/>
                </a:lnTo>
                <a:lnTo>
                  <a:pt x="564" y="150"/>
                </a:lnTo>
                <a:lnTo>
                  <a:pt x="566" y="150"/>
                </a:lnTo>
                <a:lnTo>
                  <a:pt x="566" y="150"/>
                </a:lnTo>
                <a:lnTo>
                  <a:pt x="568" y="147"/>
                </a:lnTo>
                <a:lnTo>
                  <a:pt x="568" y="147"/>
                </a:lnTo>
                <a:lnTo>
                  <a:pt x="571" y="145"/>
                </a:lnTo>
                <a:lnTo>
                  <a:pt x="571" y="145"/>
                </a:lnTo>
                <a:lnTo>
                  <a:pt x="573" y="145"/>
                </a:lnTo>
                <a:lnTo>
                  <a:pt x="573" y="145"/>
                </a:lnTo>
                <a:lnTo>
                  <a:pt x="573" y="142"/>
                </a:lnTo>
                <a:lnTo>
                  <a:pt x="573" y="142"/>
                </a:lnTo>
                <a:lnTo>
                  <a:pt x="578" y="140"/>
                </a:lnTo>
                <a:lnTo>
                  <a:pt x="578" y="140"/>
                </a:lnTo>
                <a:lnTo>
                  <a:pt x="581" y="135"/>
                </a:lnTo>
                <a:lnTo>
                  <a:pt x="581" y="135"/>
                </a:lnTo>
                <a:lnTo>
                  <a:pt x="581" y="135"/>
                </a:lnTo>
                <a:lnTo>
                  <a:pt x="581" y="133"/>
                </a:lnTo>
                <a:lnTo>
                  <a:pt x="581" y="133"/>
                </a:lnTo>
                <a:lnTo>
                  <a:pt x="583" y="130"/>
                </a:lnTo>
                <a:lnTo>
                  <a:pt x="583" y="130"/>
                </a:lnTo>
                <a:lnTo>
                  <a:pt x="583" y="130"/>
                </a:lnTo>
                <a:lnTo>
                  <a:pt x="583" y="130"/>
                </a:lnTo>
                <a:lnTo>
                  <a:pt x="586" y="133"/>
                </a:lnTo>
                <a:lnTo>
                  <a:pt x="586" y="133"/>
                </a:lnTo>
                <a:lnTo>
                  <a:pt x="586" y="135"/>
                </a:lnTo>
                <a:lnTo>
                  <a:pt x="586" y="135"/>
                </a:lnTo>
                <a:lnTo>
                  <a:pt x="583" y="137"/>
                </a:lnTo>
                <a:lnTo>
                  <a:pt x="583" y="137"/>
                </a:lnTo>
                <a:lnTo>
                  <a:pt x="586" y="140"/>
                </a:lnTo>
                <a:lnTo>
                  <a:pt x="586" y="140"/>
                </a:lnTo>
                <a:lnTo>
                  <a:pt x="586" y="142"/>
                </a:lnTo>
                <a:lnTo>
                  <a:pt x="586" y="142"/>
                </a:lnTo>
                <a:lnTo>
                  <a:pt x="586" y="145"/>
                </a:lnTo>
                <a:lnTo>
                  <a:pt x="586" y="145"/>
                </a:lnTo>
                <a:lnTo>
                  <a:pt x="586" y="145"/>
                </a:lnTo>
                <a:lnTo>
                  <a:pt x="586" y="145"/>
                </a:lnTo>
                <a:lnTo>
                  <a:pt x="588" y="142"/>
                </a:lnTo>
                <a:lnTo>
                  <a:pt x="588" y="142"/>
                </a:lnTo>
                <a:lnTo>
                  <a:pt x="588" y="140"/>
                </a:lnTo>
                <a:lnTo>
                  <a:pt x="588" y="140"/>
                </a:lnTo>
                <a:lnTo>
                  <a:pt x="588" y="140"/>
                </a:lnTo>
                <a:lnTo>
                  <a:pt x="588" y="135"/>
                </a:lnTo>
                <a:lnTo>
                  <a:pt x="588" y="135"/>
                </a:lnTo>
                <a:lnTo>
                  <a:pt x="588" y="135"/>
                </a:lnTo>
                <a:lnTo>
                  <a:pt x="591" y="135"/>
                </a:lnTo>
                <a:lnTo>
                  <a:pt x="591" y="135"/>
                </a:lnTo>
                <a:lnTo>
                  <a:pt x="591" y="137"/>
                </a:lnTo>
                <a:lnTo>
                  <a:pt x="591" y="137"/>
                </a:lnTo>
                <a:lnTo>
                  <a:pt x="593" y="140"/>
                </a:lnTo>
                <a:lnTo>
                  <a:pt x="593" y="140"/>
                </a:lnTo>
                <a:lnTo>
                  <a:pt x="595" y="140"/>
                </a:lnTo>
                <a:lnTo>
                  <a:pt x="595" y="140"/>
                </a:lnTo>
                <a:lnTo>
                  <a:pt x="598" y="137"/>
                </a:lnTo>
                <a:lnTo>
                  <a:pt x="598" y="137"/>
                </a:lnTo>
                <a:lnTo>
                  <a:pt x="598" y="137"/>
                </a:lnTo>
                <a:lnTo>
                  <a:pt x="598" y="135"/>
                </a:lnTo>
                <a:lnTo>
                  <a:pt x="598" y="135"/>
                </a:lnTo>
                <a:lnTo>
                  <a:pt x="598" y="133"/>
                </a:lnTo>
                <a:lnTo>
                  <a:pt x="598" y="133"/>
                </a:lnTo>
                <a:lnTo>
                  <a:pt x="600" y="133"/>
                </a:lnTo>
                <a:lnTo>
                  <a:pt x="600" y="133"/>
                </a:lnTo>
                <a:lnTo>
                  <a:pt x="600" y="133"/>
                </a:lnTo>
                <a:lnTo>
                  <a:pt x="600" y="128"/>
                </a:lnTo>
                <a:lnTo>
                  <a:pt x="600" y="128"/>
                </a:lnTo>
                <a:lnTo>
                  <a:pt x="600" y="125"/>
                </a:lnTo>
                <a:lnTo>
                  <a:pt x="600" y="125"/>
                </a:lnTo>
                <a:lnTo>
                  <a:pt x="600" y="125"/>
                </a:lnTo>
                <a:lnTo>
                  <a:pt x="603" y="123"/>
                </a:lnTo>
                <a:lnTo>
                  <a:pt x="603" y="123"/>
                </a:lnTo>
                <a:lnTo>
                  <a:pt x="603" y="125"/>
                </a:lnTo>
                <a:lnTo>
                  <a:pt x="603" y="125"/>
                </a:lnTo>
                <a:lnTo>
                  <a:pt x="605" y="128"/>
                </a:lnTo>
                <a:lnTo>
                  <a:pt x="605" y="128"/>
                </a:lnTo>
                <a:lnTo>
                  <a:pt x="610" y="125"/>
                </a:lnTo>
                <a:lnTo>
                  <a:pt x="610" y="125"/>
                </a:lnTo>
                <a:lnTo>
                  <a:pt x="610" y="123"/>
                </a:lnTo>
                <a:lnTo>
                  <a:pt x="610" y="123"/>
                </a:lnTo>
                <a:lnTo>
                  <a:pt x="615" y="123"/>
                </a:lnTo>
                <a:lnTo>
                  <a:pt x="615" y="123"/>
                </a:lnTo>
                <a:lnTo>
                  <a:pt x="618" y="123"/>
                </a:lnTo>
                <a:lnTo>
                  <a:pt x="618" y="123"/>
                </a:lnTo>
                <a:lnTo>
                  <a:pt x="620" y="120"/>
                </a:lnTo>
                <a:lnTo>
                  <a:pt x="620" y="120"/>
                </a:lnTo>
                <a:lnTo>
                  <a:pt x="625" y="123"/>
                </a:lnTo>
                <a:lnTo>
                  <a:pt x="625" y="123"/>
                </a:lnTo>
                <a:lnTo>
                  <a:pt x="627" y="125"/>
                </a:lnTo>
                <a:lnTo>
                  <a:pt x="627" y="125"/>
                </a:lnTo>
                <a:lnTo>
                  <a:pt x="632" y="125"/>
                </a:lnTo>
                <a:lnTo>
                  <a:pt x="632" y="125"/>
                </a:lnTo>
                <a:lnTo>
                  <a:pt x="635" y="125"/>
                </a:lnTo>
                <a:lnTo>
                  <a:pt x="635" y="125"/>
                </a:lnTo>
                <a:lnTo>
                  <a:pt x="637" y="128"/>
                </a:lnTo>
                <a:lnTo>
                  <a:pt x="637" y="128"/>
                </a:lnTo>
                <a:lnTo>
                  <a:pt x="640" y="130"/>
                </a:lnTo>
                <a:lnTo>
                  <a:pt x="640" y="130"/>
                </a:lnTo>
                <a:lnTo>
                  <a:pt x="642" y="130"/>
                </a:lnTo>
                <a:lnTo>
                  <a:pt x="642" y="130"/>
                </a:lnTo>
                <a:lnTo>
                  <a:pt x="645" y="130"/>
                </a:lnTo>
                <a:lnTo>
                  <a:pt x="645" y="130"/>
                </a:lnTo>
                <a:lnTo>
                  <a:pt x="645" y="133"/>
                </a:lnTo>
                <a:lnTo>
                  <a:pt x="645" y="133"/>
                </a:lnTo>
                <a:lnTo>
                  <a:pt x="647" y="135"/>
                </a:lnTo>
                <a:lnTo>
                  <a:pt x="647" y="135"/>
                </a:lnTo>
                <a:lnTo>
                  <a:pt x="650" y="137"/>
                </a:lnTo>
                <a:lnTo>
                  <a:pt x="650" y="137"/>
                </a:lnTo>
                <a:lnTo>
                  <a:pt x="652" y="140"/>
                </a:lnTo>
                <a:lnTo>
                  <a:pt x="652" y="140"/>
                </a:lnTo>
                <a:lnTo>
                  <a:pt x="655" y="142"/>
                </a:lnTo>
                <a:lnTo>
                  <a:pt x="655" y="142"/>
                </a:lnTo>
                <a:lnTo>
                  <a:pt x="655" y="147"/>
                </a:lnTo>
                <a:lnTo>
                  <a:pt x="655" y="147"/>
                </a:lnTo>
                <a:lnTo>
                  <a:pt x="655" y="150"/>
                </a:lnTo>
                <a:lnTo>
                  <a:pt x="655" y="150"/>
                </a:lnTo>
                <a:lnTo>
                  <a:pt x="655" y="152"/>
                </a:lnTo>
                <a:lnTo>
                  <a:pt x="655" y="152"/>
                </a:lnTo>
                <a:lnTo>
                  <a:pt x="650" y="152"/>
                </a:lnTo>
                <a:lnTo>
                  <a:pt x="650" y="152"/>
                </a:lnTo>
                <a:lnTo>
                  <a:pt x="647" y="155"/>
                </a:lnTo>
                <a:lnTo>
                  <a:pt x="647" y="155"/>
                </a:lnTo>
                <a:lnTo>
                  <a:pt x="647" y="157"/>
                </a:lnTo>
                <a:lnTo>
                  <a:pt x="647" y="157"/>
                </a:lnTo>
                <a:lnTo>
                  <a:pt x="645" y="157"/>
                </a:lnTo>
                <a:lnTo>
                  <a:pt x="645" y="157"/>
                </a:lnTo>
                <a:lnTo>
                  <a:pt x="642" y="160"/>
                </a:lnTo>
                <a:lnTo>
                  <a:pt x="642" y="160"/>
                </a:lnTo>
                <a:lnTo>
                  <a:pt x="640" y="165"/>
                </a:lnTo>
                <a:lnTo>
                  <a:pt x="640" y="165"/>
                </a:lnTo>
                <a:lnTo>
                  <a:pt x="637" y="167"/>
                </a:lnTo>
                <a:lnTo>
                  <a:pt x="637" y="167"/>
                </a:lnTo>
                <a:lnTo>
                  <a:pt x="637" y="167"/>
                </a:lnTo>
                <a:lnTo>
                  <a:pt x="635" y="165"/>
                </a:lnTo>
                <a:lnTo>
                  <a:pt x="635" y="165"/>
                </a:lnTo>
                <a:lnTo>
                  <a:pt x="630" y="162"/>
                </a:lnTo>
                <a:lnTo>
                  <a:pt x="630" y="162"/>
                </a:lnTo>
                <a:lnTo>
                  <a:pt x="630" y="162"/>
                </a:lnTo>
                <a:lnTo>
                  <a:pt x="627" y="165"/>
                </a:lnTo>
                <a:lnTo>
                  <a:pt x="627" y="165"/>
                </a:lnTo>
                <a:lnTo>
                  <a:pt x="625" y="167"/>
                </a:lnTo>
                <a:lnTo>
                  <a:pt x="625" y="167"/>
                </a:lnTo>
                <a:lnTo>
                  <a:pt x="625" y="169"/>
                </a:lnTo>
                <a:lnTo>
                  <a:pt x="625" y="169"/>
                </a:lnTo>
                <a:lnTo>
                  <a:pt x="625" y="169"/>
                </a:lnTo>
                <a:lnTo>
                  <a:pt x="625" y="172"/>
                </a:lnTo>
                <a:lnTo>
                  <a:pt x="625" y="172"/>
                </a:lnTo>
                <a:lnTo>
                  <a:pt x="627" y="174"/>
                </a:lnTo>
                <a:lnTo>
                  <a:pt x="627" y="174"/>
                </a:lnTo>
                <a:lnTo>
                  <a:pt x="630" y="174"/>
                </a:lnTo>
                <a:lnTo>
                  <a:pt x="630" y="174"/>
                </a:lnTo>
                <a:lnTo>
                  <a:pt x="630" y="177"/>
                </a:lnTo>
                <a:lnTo>
                  <a:pt x="630" y="177"/>
                </a:lnTo>
                <a:lnTo>
                  <a:pt x="627" y="177"/>
                </a:lnTo>
                <a:lnTo>
                  <a:pt x="627" y="177"/>
                </a:lnTo>
                <a:lnTo>
                  <a:pt x="625" y="177"/>
                </a:lnTo>
                <a:lnTo>
                  <a:pt x="625" y="177"/>
                </a:lnTo>
                <a:lnTo>
                  <a:pt x="625" y="177"/>
                </a:lnTo>
                <a:lnTo>
                  <a:pt x="620" y="179"/>
                </a:lnTo>
                <a:lnTo>
                  <a:pt x="620" y="179"/>
                </a:lnTo>
                <a:lnTo>
                  <a:pt x="615" y="182"/>
                </a:lnTo>
                <a:lnTo>
                  <a:pt x="615" y="182"/>
                </a:lnTo>
                <a:lnTo>
                  <a:pt x="613" y="182"/>
                </a:lnTo>
                <a:lnTo>
                  <a:pt x="613" y="182"/>
                </a:lnTo>
                <a:lnTo>
                  <a:pt x="613" y="182"/>
                </a:lnTo>
                <a:lnTo>
                  <a:pt x="610" y="182"/>
                </a:lnTo>
                <a:lnTo>
                  <a:pt x="610" y="182"/>
                </a:lnTo>
                <a:lnTo>
                  <a:pt x="608" y="179"/>
                </a:lnTo>
                <a:lnTo>
                  <a:pt x="608" y="179"/>
                </a:lnTo>
                <a:lnTo>
                  <a:pt x="605" y="179"/>
                </a:lnTo>
                <a:lnTo>
                  <a:pt x="605" y="179"/>
                </a:lnTo>
                <a:lnTo>
                  <a:pt x="603" y="179"/>
                </a:lnTo>
                <a:lnTo>
                  <a:pt x="603" y="179"/>
                </a:lnTo>
                <a:lnTo>
                  <a:pt x="603" y="179"/>
                </a:lnTo>
                <a:lnTo>
                  <a:pt x="600" y="179"/>
                </a:lnTo>
                <a:lnTo>
                  <a:pt x="600" y="179"/>
                </a:lnTo>
                <a:lnTo>
                  <a:pt x="600" y="179"/>
                </a:lnTo>
                <a:lnTo>
                  <a:pt x="600" y="179"/>
                </a:lnTo>
                <a:lnTo>
                  <a:pt x="598" y="179"/>
                </a:lnTo>
                <a:lnTo>
                  <a:pt x="598" y="179"/>
                </a:lnTo>
                <a:lnTo>
                  <a:pt x="598" y="179"/>
                </a:lnTo>
                <a:lnTo>
                  <a:pt x="595" y="179"/>
                </a:lnTo>
                <a:lnTo>
                  <a:pt x="595" y="179"/>
                </a:lnTo>
                <a:lnTo>
                  <a:pt x="595" y="179"/>
                </a:lnTo>
                <a:lnTo>
                  <a:pt x="593" y="182"/>
                </a:lnTo>
                <a:lnTo>
                  <a:pt x="593" y="182"/>
                </a:lnTo>
                <a:lnTo>
                  <a:pt x="591" y="182"/>
                </a:lnTo>
                <a:lnTo>
                  <a:pt x="591" y="182"/>
                </a:lnTo>
                <a:lnTo>
                  <a:pt x="591" y="182"/>
                </a:lnTo>
                <a:lnTo>
                  <a:pt x="588" y="182"/>
                </a:lnTo>
                <a:lnTo>
                  <a:pt x="588" y="182"/>
                </a:lnTo>
                <a:lnTo>
                  <a:pt x="588" y="184"/>
                </a:lnTo>
                <a:lnTo>
                  <a:pt x="588" y="184"/>
                </a:lnTo>
                <a:lnTo>
                  <a:pt x="583" y="182"/>
                </a:lnTo>
                <a:lnTo>
                  <a:pt x="583" y="182"/>
                </a:lnTo>
                <a:lnTo>
                  <a:pt x="581" y="182"/>
                </a:lnTo>
                <a:lnTo>
                  <a:pt x="581" y="182"/>
                </a:lnTo>
                <a:lnTo>
                  <a:pt x="578" y="182"/>
                </a:lnTo>
                <a:lnTo>
                  <a:pt x="578" y="182"/>
                </a:lnTo>
                <a:lnTo>
                  <a:pt x="576" y="184"/>
                </a:lnTo>
                <a:lnTo>
                  <a:pt x="576" y="184"/>
                </a:lnTo>
                <a:lnTo>
                  <a:pt x="573" y="184"/>
                </a:lnTo>
                <a:lnTo>
                  <a:pt x="573" y="184"/>
                </a:lnTo>
                <a:lnTo>
                  <a:pt x="571" y="184"/>
                </a:lnTo>
                <a:lnTo>
                  <a:pt x="571" y="184"/>
                </a:lnTo>
                <a:lnTo>
                  <a:pt x="573" y="184"/>
                </a:lnTo>
                <a:lnTo>
                  <a:pt x="573" y="184"/>
                </a:lnTo>
                <a:lnTo>
                  <a:pt x="576" y="184"/>
                </a:lnTo>
                <a:lnTo>
                  <a:pt x="576" y="184"/>
                </a:lnTo>
                <a:lnTo>
                  <a:pt x="581" y="184"/>
                </a:lnTo>
                <a:lnTo>
                  <a:pt x="581" y="184"/>
                </a:lnTo>
                <a:lnTo>
                  <a:pt x="583" y="184"/>
                </a:lnTo>
                <a:lnTo>
                  <a:pt x="583" y="184"/>
                </a:lnTo>
                <a:lnTo>
                  <a:pt x="586" y="184"/>
                </a:lnTo>
                <a:lnTo>
                  <a:pt x="586" y="184"/>
                </a:lnTo>
                <a:lnTo>
                  <a:pt x="588" y="184"/>
                </a:lnTo>
                <a:lnTo>
                  <a:pt x="588" y="184"/>
                </a:lnTo>
                <a:lnTo>
                  <a:pt x="593" y="187"/>
                </a:lnTo>
                <a:lnTo>
                  <a:pt x="593" y="187"/>
                </a:lnTo>
                <a:lnTo>
                  <a:pt x="598" y="187"/>
                </a:lnTo>
                <a:lnTo>
                  <a:pt x="598" y="187"/>
                </a:lnTo>
                <a:lnTo>
                  <a:pt x="600" y="187"/>
                </a:lnTo>
                <a:lnTo>
                  <a:pt x="600" y="187"/>
                </a:lnTo>
                <a:lnTo>
                  <a:pt x="600" y="187"/>
                </a:lnTo>
                <a:lnTo>
                  <a:pt x="603" y="187"/>
                </a:lnTo>
                <a:lnTo>
                  <a:pt x="603" y="187"/>
                </a:lnTo>
                <a:lnTo>
                  <a:pt x="605" y="187"/>
                </a:lnTo>
                <a:lnTo>
                  <a:pt x="605" y="187"/>
                </a:lnTo>
                <a:lnTo>
                  <a:pt x="608" y="187"/>
                </a:lnTo>
                <a:lnTo>
                  <a:pt x="608" y="187"/>
                </a:lnTo>
                <a:lnTo>
                  <a:pt x="608" y="187"/>
                </a:lnTo>
                <a:lnTo>
                  <a:pt x="610" y="189"/>
                </a:lnTo>
                <a:lnTo>
                  <a:pt x="610" y="189"/>
                </a:lnTo>
                <a:lnTo>
                  <a:pt x="613" y="192"/>
                </a:lnTo>
                <a:lnTo>
                  <a:pt x="613" y="192"/>
                </a:lnTo>
                <a:lnTo>
                  <a:pt x="613" y="192"/>
                </a:lnTo>
                <a:lnTo>
                  <a:pt x="610" y="194"/>
                </a:lnTo>
                <a:lnTo>
                  <a:pt x="610" y="194"/>
                </a:lnTo>
                <a:lnTo>
                  <a:pt x="608" y="196"/>
                </a:lnTo>
                <a:lnTo>
                  <a:pt x="608" y="196"/>
                </a:lnTo>
                <a:lnTo>
                  <a:pt x="608" y="196"/>
                </a:lnTo>
                <a:lnTo>
                  <a:pt x="608" y="196"/>
                </a:lnTo>
                <a:lnTo>
                  <a:pt x="608" y="199"/>
                </a:lnTo>
                <a:lnTo>
                  <a:pt x="608" y="199"/>
                </a:lnTo>
                <a:lnTo>
                  <a:pt x="605" y="201"/>
                </a:lnTo>
                <a:lnTo>
                  <a:pt x="605" y="201"/>
                </a:lnTo>
                <a:lnTo>
                  <a:pt x="598" y="201"/>
                </a:lnTo>
                <a:lnTo>
                  <a:pt x="598" y="201"/>
                </a:lnTo>
                <a:lnTo>
                  <a:pt x="595" y="201"/>
                </a:lnTo>
                <a:lnTo>
                  <a:pt x="595" y="201"/>
                </a:lnTo>
                <a:lnTo>
                  <a:pt x="593" y="201"/>
                </a:lnTo>
                <a:lnTo>
                  <a:pt x="593" y="201"/>
                </a:lnTo>
                <a:lnTo>
                  <a:pt x="588" y="201"/>
                </a:lnTo>
                <a:lnTo>
                  <a:pt x="588" y="201"/>
                </a:lnTo>
                <a:lnTo>
                  <a:pt x="586" y="201"/>
                </a:lnTo>
                <a:lnTo>
                  <a:pt x="586" y="201"/>
                </a:lnTo>
                <a:lnTo>
                  <a:pt x="581" y="196"/>
                </a:lnTo>
                <a:lnTo>
                  <a:pt x="581" y="196"/>
                </a:lnTo>
                <a:lnTo>
                  <a:pt x="576" y="196"/>
                </a:lnTo>
                <a:lnTo>
                  <a:pt x="576" y="196"/>
                </a:lnTo>
                <a:lnTo>
                  <a:pt x="573" y="196"/>
                </a:lnTo>
                <a:lnTo>
                  <a:pt x="573" y="196"/>
                </a:lnTo>
                <a:lnTo>
                  <a:pt x="571" y="196"/>
                </a:lnTo>
                <a:lnTo>
                  <a:pt x="571" y="196"/>
                </a:lnTo>
                <a:lnTo>
                  <a:pt x="571" y="201"/>
                </a:lnTo>
                <a:lnTo>
                  <a:pt x="571" y="201"/>
                </a:lnTo>
                <a:lnTo>
                  <a:pt x="566" y="204"/>
                </a:lnTo>
                <a:lnTo>
                  <a:pt x="566" y="204"/>
                </a:lnTo>
                <a:lnTo>
                  <a:pt x="566" y="204"/>
                </a:lnTo>
                <a:lnTo>
                  <a:pt x="564" y="206"/>
                </a:lnTo>
                <a:lnTo>
                  <a:pt x="564" y="206"/>
                </a:lnTo>
                <a:lnTo>
                  <a:pt x="566" y="206"/>
                </a:lnTo>
                <a:lnTo>
                  <a:pt x="566" y="206"/>
                </a:lnTo>
                <a:lnTo>
                  <a:pt x="566" y="206"/>
                </a:lnTo>
                <a:lnTo>
                  <a:pt x="568" y="209"/>
                </a:lnTo>
                <a:lnTo>
                  <a:pt x="568" y="209"/>
                </a:lnTo>
                <a:lnTo>
                  <a:pt x="568" y="211"/>
                </a:lnTo>
                <a:lnTo>
                  <a:pt x="568" y="211"/>
                </a:lnTo>
                <a:lnTo>
                  <a:pt x="566" y="211"/>
                </a:lnTo>
                <a:lnTo>
                  <a:pt x="566" y="211"/>
                </a:lnTo>
                <a:lnTo>
                  <a:pt x="564" y="211"/>
                </a:lnTo>
                <a:lnTo>
                  <a:pt x="564" y="211"/>
                </a:lnTo>
                <a:lnTo>
                  <a:pt x="564" y="214"/>
                </a:lnTo>
                <a:lnTo>
                  <a:pt x="564" y="214"/>
                </a:lnTo>
                <a:lnTo>
                  <a:pt x="566" y="214"/>
                </a:lnTo>
                <a:lnTo>
                  <a:pt x="566" y="214"/>
                </a:lnTo>
                <a:lnTo>
                  <a:pt x="568" y="216"/>
                </a:lnTo>
                <a:lnTo>
                  <a:pt x="568" y="216"/>
                </a:lnTo>
                <a:lnTo>
                  <a:pt x="571" y="214"/>
                </a:lnTo>
                <a:lnTo>
                  <a:pt x="571" y="214"/>
                </a:lnTo>
                <a:lnTo>
                  <a:pt x="571" y="214"/>
                </a:lnTo>
                <a:lnTo>
                  <a:pt x="573" y="211"/>
                </a:lnTo>
                <a:lnTo>
                  <a:pt x="573" y="211"/>
                </a:lnTo>
                <a:lnTo>
                  <a:pt x="576" y="209"/>
                </a:lnTo>
                <a:lnTo>
                  <a:pt x="576" y="209"/>
                </a:lnTo>
                <a:lnTo>
                  <a:pt x="581" y="206"/>
                </a:lnTo>
                <a:lnTo>
                  <a:pt x="581" y="206"/>
                </a:lnTo>
                <a:lnTo>
                  <a:pt x="583" y="206"/>
                </a:lnTo>
                <a:lnTo>
                  <a:pt x="583" y="206"/>
                </a:lnTo>
                <a:lnTo>
                  <a:pt x="588" y="204"/>
                </a:lnTo>
                <a:lnTo>
                  <a:pt x="588" y="204"/>
                </a:lnTo>
                <a:lnTo>
                  <a:pt x="591" y="204"/>
                </a:lnTo>
                <a:lnTo>
                  <a:pt x="591" y="204"/>
                </a:lnTo>
                <a:lnTo>
                  <a:pt x="591" y="206"/>
                </a:lnTo>
                <a:lnTo>
                  <a:pt x="591" y="206"/>
                </a:lnTo>
                <a:lnTo>
                  <a:pt x="593" y="206"/>
                </a:lnTo>
                <a:lnTo>
                  <a:pt x="593" y="206"/>
                </a:lnTo>
                <a:lnTo>
                  <a:pt x="595" y="209"/>
                </a:lnTo>
                <a:lnTo>
                  <a:pt x="595" y="209"/>
                </a:lnTo>
                <a:lnTo>
                  <a:pt x="598" y="209"/>
                </a:lnTo>
                <a:lnTo>
                  <a:pt x="598" y="209"/>
                </a:lnTo>
                <a:lnTo>
                  <a:pt x="598" y="211"/>
                </a:lnTo>
                <a:lnTo>
                  <a:pt x="598" y="211"/>
                </a:lnTo>
                <a:lnTo>
                  <a:pt x="598" y="211"/>
                </a:lnTo>
                <a:lnTo>
                  <a:pt x="593" y="214"/>
                </a:lnTo>
                <a:lnTo>
                  <a:pt x="593" y="214"/>
                </a:lnTo>
                <a:lnTo>
                  <a:pt x="593" y="219"/>
                </a:lnTo>
                <a:lnTo>
                  <a:pt x="593" y="219"/>
                </a:lnTo>
                <a:lnTo>
                  <a:pt x="591" y="221"/>
                </a:lnTo>
                <a:lnTo>
                  <a:pt x="591" y="221"/>
                </a:lnTo>
                <a:lnTo>
                  <a:pt x="588" y="224"/>
                </a:lnTo>
                <a:lnTo>
                  <a:pt x="588" y="224"/>
                </a:lnTo>
                <a:lnTo>
                  <a:pt x="586" y="226"/>
                </a:lnTo>
                <a:lnTo>
                  <a:pt x="586" y="226"/>
                </a:lnTo>
                <a:lnTo>
                  <a:pt x="583" y="231"/>
                </a:lnTo>
                <a:lnTo>
                  <a:pt x="583" y="231"/>
                </a:lnTo>
                <a:lnTo>
                  <a:pt x="578" y="238"/>
                </a:lnTo>
                <a:lnTo>
                  <a:pt x="578" y="238"/>
                </a:lnTo>
                <a:lnTo>
                  <a:pt x="576" y="241"/>
                </a:lnTo>
                <a:lnTo>
                  <a:pt x="576" y="241"/>
                </a:lnTo>
                <a:lnTo>
                  <a:pt x="573" y="243"/>
                </a:lnTo>
                <a:lnTo>
                  <a:pt x="573" y="243"/>
                </a:lnTo>
                <a:lnTo>
                  <a:pt x="573" y="246"/>
                </a:lnTo>
                <a:lnTo>
                  <a:pt x="573" y="246"/>
                </a:lnTo>
                <a:lnTo>
                  <a:pt x="573" y="251"/>
                </a:lnTo>
                <a:lnTo>
                  <a:pt x="573" y="251"/>
                </a:lnTo>
                <a:lnTo>
                  <a:pt x="571" y="251"/>
                </a:lnTo>
                <a:lnTo>
                  <a:pt x="571" y="251"/>
                </a:lnTo>
                <a:lnTo>
                  <a:pt x="571" y="253"/>
                </a:lnTo>
                <a:lnTo>
                  <a:pt x="571" y="253"/>
                </a:lnTo>
                <a:lnTo>
                  <a:pt x="571" y="258"/>
                </a:lnTo>
                <a:lnTo>
                  <a:pt x="571" y="258"/>
                </a:lnTo>
                <a:lnTo>
                  <a:pt x="568" y="263"/>
                </a:lnTo>
                <a:lnTo>
                  <a:pt x="568" y="263"/>
                </a:lnTo>
                <a:lnTo>
                  <a:pt x="566" y="268"/>
                </a:lnTo>
                <a:lnTo>
                  <a:pt x="566" y="268"/>
                </a:lnTo>
                <a:lnTo>
                  <a:pt x="568" y="270"/>
                </a:lnTo>
                <a:lnTo>
                  <a:pt x="568" y="270"/>
                </a:lnTo>
                <a:lnTo>
                  <a:pt x="568" y="273"/>
                </a:lnTo>
                <a:lnTo>
                  <a:pt x="568" y="273"/>
                </a:lnTo>
                <a:lnTo>
                  <a:pt x="568" y="278"/>
                </a:lnTo>
                <a:lnTo>
                  <a:pt x="568" y="278"/>
                </a:lnTo>
                <a:lnTo>
                  <a:pt x="566" y="278"/>
                </a:lnTo>
                <a:lnTo>
                  <a:pt x="566" y="278"/>
                </a:lnTo>
                <a:lnTo>
                  <a:pt x="564" y="280"/>
                </a:lnTo>
                <a:lnTo>
                  <a:pt x="564" y="280"/>
                </a:lnTo>
                <a:lnTo>
                  <a:pt x="566" y="285"/>
                </a:lnTo>
                <a:lnTo>
                  <a:pt x="566" y="285"/>
                </a:lnTo>
                <a:lnTo>
                  <a:pt x="564" y="285"/>
                </a:lnTo>
                <a:lnTo>
                  <a:pt x="564" y="285"/>
                </a:lnTo>
                <a:lnTo>
                  <a:pt x="564" y="287"/>
                </a:lnTo>
                <a:lnTo>
                  <a:pt x="564" y="287"/>
                </a:lnTo>
                <a:lnTo>
                  <a:pt x="561" y="292"/>
                </a:lnTo>
                <a:lnTo>
                  <a:pt x="561" y="292"/>
                </a:lnTo>
                <a:lnTo>
                  <a:pt x="561" y="295"/>
                </a:lnTo>
                <a:lnTo>
                  <a:pt x="561" y="295"/>
                </a:lnTo>
                <a:lnTo>
                  <a:pt x="559" y="297"/>
                </a:lnTo>
                <a:lnTo>
                  <a:pt x="559" y="297"/>
                </a:lnTo>
                <a:lnTo>
                  <a:pt x="556" y="297"/>
                </a:lnTo>
                <a:lnTo>
                  <a:pt x="556" y="297"/>
                </a:lnTo>
                <a:lnTo>
                  <a:pt x="556" y="295"/>
                </a:lnTo>
                <a:lnTo>
                  <a:pt x="556" y="295"/>
                </a:lnTo>
                <a:lnTo>
                  <a:pt x="556" y="292"/>
                </a:lnTo>
                <a:lnTo>
                  <a:pt x="556" y="292"/>
                </a:lnTo>
                <a:lnTo>
                  <a:pt x="554" y="292"/>
                </a:lnTo>
                <a:lnTo>
                  <a:pt x="554" y="292"/>
                </a:lnTo>
                <a:lnTo>
                  <a:pt x="554" y="292"/>
                </a:lnTo>
                <a:lnTo>
                  <a:pt x="556" y="290"/>
                </a:lnTo>
                <a:lnTo>
                  <a:pt x="556" y="290"/>
                </a:lnTo>
                <a:lnTo>
                  <a:pt x="554" y="287"/>
                </a:lnTo>
                <a:lnTo>
                  <a:pt x="554" y="287"/>
                </a:lnTo>
                <a:lnTo>
                  <a:pt x="551" y="287"/>
                </a:lnTo>
                <a:lnTo>
                  <a:pt x="551" y="287"/>
                </a:lnTo>
                <a:lnTo>
                  <a:pt x="551" y="290"/>
                </a:lnTo>
                <a:lnTo>
                  <a:pt x="551" y="290"/>
                </a:lnTo>
                <a:lnTo>
                  <a:pt x="549" y="290"/>
                </a:lnTo>
                <a:lnTo>
                  <a:pt x="549" y="290"/>
                </a:lnTo>
                <a:lnTo>
                  <a:pt x="549" y="290"/>
                </a:lnTo>
                <a:lnTo>
                  <a:pt x="549" y="292"/>
                </a:lnTo>
                <a:lnTo>
                  <a:pt x="549" y="292"/>
                </a:lnTo>
                <a:lnTo>
                  <a:pt x="549" y="292"/>
                </a:lnTo>
                <a:lnTo>
                  <a:pt x="549" y="295"/>
                </a:lnTo>
                <a:lnTo>
                  <a:pt x="549" y="295"/>
                </a:lnTo>
                <a:lnTo>
                  <a:pt x="546" y="295"/>
                </a:lnTo>
                <a:lnTo>
                  <a:pt x="546" y="295"/>
                </a:lnTo>
                <a:lnTo>
                  <a:pt x="546" y="297"/>
                </a:lnTo>
                <a:lnTo>
                  <a:pt x="546" y="297"/>
                </a:lnTo>
                <a:lnTo>
                  <a:pt x="549" y="297"/>
                </a:lnTo>
                <a:lnTo>
                  <a:pt x="549" y="297"/>
                </a:lnTo>
                <a:lnTo>
                  <a:pt x="551" y="300"/>
                </a:lnTo>
                <a:lnTo>
                  <a:pt x="551" y="300"/>
                </a:lnTo>
                <a:lnTo>
                  <a:pt x="554" y="302"/>
                </a:lnTo>
                <a:lnTo>
                  <a:pt x="554" y="302"/>
                </a:lnTo>
                <a:lnTo>
                  <a:pt x="554" y="302"/>
                </a:lnTo>
                <a:lnTo>
                  <a:pt x="556" y="307"/>
                </a:lnTo>
                <a:lnTo>
                  <a:pt x="556" y="307"/>
                </a:lnTo>
                <a:lnTo>
                  <a:pt x="559" y="307"/>
                </a:lnTo>
                <a:lnTo>
                  <a:pt x="559" y="307"/>
                </a:lnTo>
                <a:lnTo>
                  <a:pt x="561" y="310"/>
                </a:lnTo>
                <a:lnTo>
                  <a:pt x="561" y="310"/>
                </a:lnTo>
                <a:lnTo>
                  <a:pt x="564" y="312"/>
                </a:lnTo>
                <a:lnTo>
                  <a:pt x="564" y="312"/>
                </a:lnTo>
                <a:lnTo>
                  <a:pt x="566" y="315"/>
                </a:lnTo>
                <a:lnTo>
                  <a:pt x="566" y="315"/>
                </a:lnTo>
                <a:lnTo>
                  <a:pt x="564" y="317"/>
                </a:lnTo>
                <a:lnTo>
                  <a:pt x="564" y="317"/>
                </a:lnTo>
                <a:lnTo>
                  <a:pt x="561" y="317"/>
                </a:lnTo>
                <a:lnTo>
                  <a:pt x="561" y="317"/>
                </a:lnTo>
                <a:lnTo>
                  <a:pt x="559" y="317"/>
                </a:lnTo>
                <a:lnTo>
                  <a:pt x="559" y="317"/>
                </a:lnTo>
                <a:lnTo>
                  <a:pt x="556" y="312"/>
                </a:lnTo>
                <a:lnTo>
                  <a:pt x="556" y="312"/>
                </a:lnTo>
                <a:lnTo>
                  <a:pt x="556" y="312"/>
                </a:lnTo>
                <a:lnTo>
                  <a:pt x="554" y="310"/>
                </a:lnTo>
                <a:lnTo>
                  <a:pt x="554" y="310"/>
                </a:lnTo>
                <a:lnTo>
                  <a:pt x="554" y="310"/>
                </a:lnTo>
                <a:lnTo>
                  <a:pt x="551" y="310"/>
                </a:lnTo>
                <a:lnTo>
                  <a:pt x="551" y="310"/>
                </a:lnTo>
                <a:lnTo>
                  <a:pt x="551" y="312"/>
                </a:lnTo>
                <a:lnTo>
                  <a:pt x="551" y="312"/>
                </a:lnTo>
                <a:lnTo>
                  <a:pt x="554" y="315"/>
                </a:lnTo>
                <a:lnTo>
                  <a:pt x="554" y="315"/>
                </a:lnTo>
                <a:lnTo>
                  <a:pt x="554" y="315"/>
                </a:lnTo>
                <a:lnTo>
                  <a:pt x="554" y="317"/>
                </a:lnTo>
                <a:lnTo>
                  <a:pt x="554" y="317"/>
                </a:lnTo>
                <a:lnTo>
                  <a:pt x="551" y="317"/>
                </a:lnTo>
                <a:lnTo>
                  <a:pt x="551" y="317"/>
                </a:lnTo>
                <a:lnTo>
                  <a:pt x="551" y="317"/>
                </a:lnTo>
                <a:lnTo>
                  <a:pt x="551" y="317"/>
                </a:lnTo>
                <a:lnTo>
                  <a:pt x="551" y="319"/>
                </a:lnTo>
                <a:lnTo>
                  <a:pt x="551" y="319"/>
                </a:lnTo>
                <a:lnTo>
                  <a:pt x="554" y="319"/>
                </a:lnTo>
                <a:lnTo>
                  <a:pt x="554" y="319"/>
                </a:lnTo>
                <a:lnTo>
                  <a:pt x="554" y="319"/>
                </a:lnTo>
                <a:lnTo>
                  <a:pt x="551" y="322"/>
                </a:lnTo>
                <a:lnTo>
                  <a:pt x="551" y="322"/>
                </a:lnTo>
                <a:lnTo>
                  <a:pt x="554" y="322"/>
                </a:lnTo>
                <a:lnTo>
                  <a:pt x="554" y="322"/>
                </a:lnTo>
                <a:lnTo>
                  <a:pt x="554" y="322"/>
                </a:lnTo>
                <a:lnTo>
                  <a:pt x="559" y="322"/>
                </a:lnTo>
                <a:lnTo>
                  <a:pt x="559" y="322"/>
                </a:lnTo>
                <a:lnTo>
                  <a:pt x="559" y="324"/>
                </a:lnTo>
                <a:lnTo>
                  <a:pt x="559" y="324"/>
                </a:lnTo>
                <a:lnTo>
                  <a:pt x="559" y="327"/>
                </a:lnTo>
                <a:lnTo>
                  <a:pt x="559" y="327"/>
                </a:lnTo>
                <a:lnTo>
                  <a:pt x="559" y="327"/>
                </a:lnTo>
                <a:lnTo>
                  <a:pt x="559" y="329"/>
                </a:lnTo>
                <a:lnTo>
                  <a:pt x="559" y="329"/>
                </a:lnTo>
                <a:lnTo>
                  <a:pt x="561" y="327"/>
                </a:lnTo>
                <a:lnTo>
                  <a:pt x="561" y="327"/>
                </a:lnTo>
                <a:lnTo>
                  <a:pt x="564" y="324"/>
                </a:lnTo>
                <a:lnTo>
                  <a:pt x="564" y="324"/>
                </a:lnTo>
                <a:lnTo>
                  <a:pt x="566" y="322"/>
                </a:lnTo>
                <a:lnTo>
                  <a:pt x="566" y="322"/>
                </a:lnTo>
                <a:lnTo>
                  <a:pt x="566" y="322"/>
                </a:lnTo>
                <a:lnTo>
                  <a:pt x="566" y="324"/>
                </a:lnTo>
                <a:lnTo>
                  <a:pt x="566" y="324"/>
                </a:lnTo>
                <a:lnTo>
                  <a:pt x="566" y="324"/>
                </a:lnTo>
                <a:lnTo>
                  <a:pt x="568" y="324"/>
                </a:lnTo>
                <a:lnTo>
                  <a:pt x="568" y="324"/>
                </a:lnTo>
                <a:lnTo>
                  <a:pt x="571" y="327"/>
                </a:lnTo>
                <a:lnTo>
                  <a:pt x="571" y="327"/>
                </a:lnTo>
                <a:lnTo>
                  <a:pt x="573" y="327"/>
                </a:lnTo>
                <a:lnTo>
                  <a:pt x="573" y="327"/>
                </a:lnTo>
                <a:lnTo>
                  <a:pt x="573" y="329"/>
                </a:lnTo>
                <a:lnTo>
                  <a:pt x="573" y="329"/>
                </a:lnTo>
                <a:lnTo>
                  <a:pt x="573" y="332"/>
                </a:lnTo>
                <a:lnTo>
                  <a:pt x="573" y="332"/>
                </a:lnTo>
                <a:lnTo>
                  <a:pt x="571" y="334"/>
                </a:lnTo>
                <a:lnTo>
                  <a:pt x="571" y="334"/>
                </a:lnTo>
                <a:lnTo>
                  <a:pt x="571" y="337"/>
                </a:lnTo>
                <a:lnTo>
                  <a:pt x="571" y="337"/>
                </a:lnTo>
                <a:lnTo>
                  <a:pt x="571" y="342"/>
                </a:lnTo>
                <a:lnTo>
                  <a:pt x="571" y="342"/>
                </a:lnTo>
                <a:lnTo>
                  <a:pt x="571" y="342"/>
                </a:lnTo>
                <a:lnTo>
                  <a:pt x="571" y="347"/>
                </a:lnTo>
                <a:lnTo>
                  <a:pt x="571" y="347"/>
                </a:lnTo>
                <a:lnTo>
                  <a:pt x="568" y="349"/>
                </a:lnTo>
                <a:lnTo>
                  <a:pt x="568" y="349"/>
                </a:lnTo>
                <a:lnTo>
                  <a:pt x="568" y="351"/>
                </a:lnTo>
                <a:lnTo>
                  <a:pt x="568" y="351"/>
                </a:lnTo>
                <a:lnTo>
                  <a:pt x="568" y="351"/>
                </a:lnTo>
                <a:lnTo>
                  <a:pt x="566" y="351"/>
                </a:lnTo>
                <a:lnTo>
                  <a:pt x="566" y="351"/>
                </a:lnTo>
                <a:lnTo>
                  <a:pt x="566" y="349"/>
                </a:lnTo>
                <a:lnTo>
                  <a:pt x="566" y="349"/>
                </a:lnTo>
                <a:lnTo>
                  <a:pt x="561" y="349"/>
                </a:lnTo>
                <a:lnTo>
                  <a:pt x="561" y="349"/>
                </a:lnTo>
                <a:lnTo>
                  <a:pt x="561" y="347"/>
                </a:lnTo>
                <a:lnTo>
                  <a:pt x="561" y="347"/>
                </a:lnTo>
                <a:lnTo>
                  <a:pt x="559" y="347"/>
                </a:lnTo>
                <a:lnTo>
                  <a:pt x="559" y="347"/>
                </a:lnTo>
                <a:lnTo>
                  <a:pt x="559" y="347"/>
                </a:lnTo>
                <a:lnTo>
                  <a:pt x="556" y="347"/>
                </a:lnTo>
                <a:lnTo>
                  <a:pt x="556" y="347"/>
                </a:lnTo>
                <a:lnTo>
                  <a:pt x="556" y="344"/>
                </a:lnTo>
                <a:lnTo>
                  <a:pt x="556" y="344"/>
                </a:lnTo>
                <a:lnTo>
                  <a:pt x="556" y="342"/>
                </a:lnTo>
                <a:lnTo>
                  <a:pt x="556" y="342"/>
                </a:lnTo>
                <a:lnTo>
                  <a:pt x="554" y="342"/>
                </a:lnTo>
                <a:lnTo>
                  <a:pt x="554" y="342"/>
                </a:lnTo>
                <a:lnTo>
                  <a:pt x="554" y="339"/>
                </a:lnTo>
                <a:lnTo>
                  <a:pt x="554" y="339"/>
                </a:lnTo>
                <a:lnTo>
                  <a:pt x="551" y="342"/>
                </a:lnTo>
                <a:lnTo>
                  <a:pt x="551" y="342"/>
                </a:lnTo>
                <a:lnTo>
                  <a:pt x="551" y="339"/>
                </a:lnTo>
                <a:lnTo>
                  <a:pt x="551" y="339"/>
                </a:lnTo>
                <a:lnTo>
                  <a:pt x="549" y="339"/>
                </a:lnTo>
                <a:lnTo>
                  <a:pt x="549" y="339"/>
                </a:lnTo>
                <a:lnTo>
                  <a:pt x="546" y="337"/>
                </a:lnTo>
                <a:lnTo>
                  <a:pt x="546" y="337"/>
                </a:lnTo>
                <a:lnTo>
                  <a:pt x="544" y="339"/>
                </a:lnTo>
                <a:lnTo>
                  <a:pt x="544" y="339"/>
                </a:lnTo>
                <a:lnTo>
                  <a:pt x="544" y="339"/>
                </a:lnTo>
                <a:lnTo>
                  <a:pt x="544" y="342"/>
                </a:lnTo>
                <a:lnTo>
                  <a:pt x="544" y="342"/>
                </a:lnTo>
                <a:lnTo>
                  <a:pt x="544" y="342"/>
                </a:lnTo>
                <a:lnTo>
                  <a:pt x="541" y="342"/>
                </a:lnTo>
                <a:lnTo>
                  <a:pt x="541" y="342"/>
                </a:lnTo>
                <a:lnTo>
                  <a:pt x="539" y="339"/>
                </a:lnTo>
                <a:lnTo>
                  <a:pt x="539" y="339"/>
                </a:lnTo>
                <a:lnTo>
                  <a:pt x="536" y="342"/>
                </a:lnTo>
                <a:lnTo>
                  <a:pt x="536" y="342"/>
                </a:lnTo>
                <a:lnTo>
                  <a:pt x="536" y="342"/>
                </a:lnTo>
                <a:lnTo>
                  <a:pt x="539" y="342"/>
                </a:lnTo>
                <a:lnTo>
                  <a:pt x="539" y="342"/>
                </a:lnTo>
                <a:lnTo>
                  <a:pt x="541" y="342"/>
                </a:lnTo>
                <a:lnTo>
                  <a:pt x="541" y="342"/>
                </a:lnTo>
                <a:lnTo>
                  <a:pt x="544" y="344"/>
                </a:lnTo>
                <a:lnTo>
                  <a:pt x="544" y="344"/>
                </a:lnTo>
                <a:lnTo>
                  <a:pt x="544" y="344"/>
                </a:lnTo>
                <a:lnTo>
                  <a:pt x="541" y="344"/>
                </a:lnTo>
                <a:lnTo>
                  <a:pt x="541" y="344"/>
                </a:lnTo>
                <a:lnTo>
                  <a:pt x="536" y="349"/>
                </a:lnTo>
                <a:lnTo>
                  <a:pt x="536" y="349"/>
                </a:lnTo>
                <a:lnTo>
                  <a:pt x="534" y="349"/>
                </a:lnTo>
                <a:lnTo>
                  <a:pt x="534" y="349"/>
                </a:lnTo>
                <a:lnTo>
                  <a:pt x="534" y="349"/>
                </a:lnTo>
                <a:lnTo>
                  <a:pt x="532" y="349"/>
                </a:lnTo>
                <a:lnTo>
                  <a:pt x="532" y="349"/>
                </a:lnTo>
                <a:lnTo>
                  <a:pt x="532" y="347"/>
                </a:lnTo>
                <a:lnTo>
                  <a:pt x="532" y="347"/>
                </a:lnTo>
                <a:lnTo>
                  <a:pt x="532" y="347"/>
                </a:lnTo>
                <a:lnTo>
                  <a:pt x="529" y="347"/>
                </a:lnTo>
                <a:lnTo>
                  <a:pt x="529" y="347"/>
                </a:lnTo>
                <a:lnTo>
                  <a:pt x="529" y="349"/>
                </a:lnTo>
                <a:lnTo>
                  <a:pt x="529" y="349"/>
                </a:lnTo>
                <a:lnTo>
                  <a:pt x="532" y="349"/>
                </a:lnTo>
                <a:lnTo>
                  <a:pt x="532" y="349"/>
                </a:lnTo>
                <a:lnTo>
                  <a:pt x="529" y="351"/>
                </a:lnTo>
                <a:lnTo>
                  <a:pt x="529" y="351"/>
                </a:lnTo>
                <a:lnTo>
                  <a:pt x="529" y="354"/>
                </a:lnTo>
                <a:lnTo>
                  <a:pt x="529" y="354"/>
                </a:lnTo>
                <a:lnTo>
                  <a:pt x="532" y="354"/>
                </a:lnTo>
                <a:lnTo>
                  <a:pt x="532" y="354"/>
                </a:lnTo>
                <a:lnTo>
                  <a:pt x="529" y="356"/>
                </a:lnTo>
                <a:lnTo>
                  <a:pt x="529" y="356"/>
                </a:lnTo>
                <a:lnTo>
                  <a:pt x="532" y="356"/>
                </a:lnTo>
                <a:lnTo>
                  <a:pt x="532" y="356"/>
                </a:lnTo>
                <a:lnTo>
                  <a:pt x="532" y="359"/>
                </a:lnTo>
                <a:lnTo>
                  <a:pt x="532" y="359"/>
                </a:lnTo>
                <a:lnTo>
                  <a:pt x="529" y="359"/>
                </a:lnTo>
                <a:lnTo>
                  <a:pt x="529" y="359"/>
                </a:lnTo>
                <a:lnTo>
                  <a:pt x="527" y="359"/>
                </a:lnTo>
                <a:lnTo>
                  <a:pt x="527" y="359"/>
                </a:lnTo>
                <a:lnTo>
                  <a:pt x="524" y="359"/>
                </a:lnTo>
                <a:lnTo>
                  <a:pt x="524" y="359"/>
                </a:lnTo>
                <a:lnTo>
                  <a:pt x="524" y="359"/>
                </a:lnTo>
                <a:lnTo>
                  <a:pt x="527" y="361"/>
                </a:lnTo>
                <a:lnTo>
                  <a:pt x="527" y="361"/>
                </a:lnTo>
                <a:lnTo>
                  <a:pt x="527" y="361"/>
                </a:lnTo>
                <a:lnTo>
                  <a:pt x="532" y="361"/>
                </a:lnTo>
                <a:lnTo>
                  <a:pt x="532" y="361"/>
                </a:lnTo>
                <a:lnTo>
                  <a:pt x="532" y="361"/>
                </a:lnTo>
                <a:lnTo>
                  <a:pt x="532" y="364"/>
                </a:lnTo>
                <a:lnTo>
                  <a:pt x="532" y="364"/>
                </a:lnTo>
                <a:lnTo>
                  <a:pt x="532" y="366"/>
                </a:lnTo>
                <a:lnTo>
                  <a:pt x="532" y="366"/>
                </a:lnTo>
                <a:lnTo>
                  <a:pt x="532" y="366"/>
                </a:lnTo>
                <a:lnTo>
                  <a:pt x="534" y="366"/>
                </a:lnTo>
                <a:lnTo>
                  <a:pt x="534" y="366"/>
                </a:lnTo>
                <a:lnTo>
                  <a:pt x="536" y="364"/>
                </a:lnTo>
                <a:lnTo>
                  <a:pt x="536" y="364"/>
                </a:lnTo>
                <a:lnTo>
                  <a:pt x="539" y="366"/>
                </a:lnTo>
                <a:lnTo>
                  <a:pt x="539" y="366"/>
                </a:lnTo>
                <a:lnTo>
                  <a:pt x="541" y="366"/>
                </a:lnTo>
                <a:lnTo>
                  <a:pt x="541" y="366"/>
                </a:lnTo>
                <a:lnTo>
                  <a:pt x="544" y="366"/>
                </a:lnTo>
                <a:lnTo>
                  <a:pt x="544" y="366"/>
                </a:lnTo>
                <a:lnTo>
                  <a:pt x="546" y="369"/>
                </a:lnTo>
                <a:lnTo>
                  <a:pt x="546" y="369"/>
                </a:lnTo>
                <a:lnTo>
                  <a:pt x="549" y="366"/>
                </a:lnTo>
                <a:lnTo>
                  <a:pt x="549" y="366"/>
                </a:lnTo>
                <a:lnTo>
                  <a:pt x="549" y="366"/>
                </a:lnTo>
                <a:lnTo>
                  <a:pt x="551" y="366"/>
                </a:lnTo>
                <a:lnTo>
                  <a:pt x="551" y="366"/>
                </a:lnTo>
                <a:lnTo>
                  <a:pt x="551" y="369"/>
                </a:lnTo>
                <a:lnTo>
                  <a:pt x="551" y="369"/>
                </a:lnTo>
                <a:lnTo>
                  <a:pt x="551" y="371"/>
                </a:lnTo>
                <a:lnTo>
                  <a:pt x="551" y="371"/>
                </a:lnTo>
                <a:lnTo>
                  <a:pt x="551" y="374"/>
                </a:lnTo>
                <a:lnTo>
                  <a:pt x="551" y="374"/>
                </a:lnTo>
                <a:lnTo>
                  <a:pt x="551" y="374"/>
                </a:lnTo>
                <a:lnTo>
                  <a:pt x="549" y="374"/>
                </a:lnTo>
                <a:lnTo>
                  <a:pt x="549" y="374"/>
                </a:lnTo>
                <a:lnTo>
                  <a:pt x="546" y="374"/>
                </a:lnTo>
                <a:lnTo>
                  <a:pt x="546" y="374"/>
                </a:lnTo>
                <a:lnTo>
                  <a:pt x="546" y="374"/>
                </a:lnTo>
                <a:lnTo>
                  <a:pt x="544" y="374"/>
                </a:lnTo>
                <a:lnTo>
                  <a:pt x="544" y="374"/>
                </a:lnTo>
                <a:lnTo>
                  <a:pt x="541" y="374"/>
                </a:lnTo>
                <a:lnTo>
                  <a:pt x="541" y="374"/>
                </a:lnTo>
                <a:lnTo>
                  <a:pt x="541" y="374"/>
                </a:lnTo>
                <a:lnTo>
                  <a:pt x="536" y="374"/>
                </a:lnTo>
                <a:lnTo>
                  <a:pt x="536" y="374"/>
                </a:lnTo>
                <a:lnTo>
                  <a:pt x="534" y="374"/>
                </a:lnTo>
                <a:lnTo>
                  <a:pt x="534" y="374"/>
                </a:lnTo>
                <a:lnTo>
                  <a:pt x="532" y="374"/>
                </a:lnTo>
                <a:lnTo>
                  <a:pt x="532" y="374"/>
                </a:lnTo>
                <a:lnTo>
                  <a:pt x="532" y="374"/>
                </a:lnTo>
                <a:lnTo>
                  <a:pt x="529" y="374"/>
                </a:lnTo>
                <a:lnTo>
                  <a:pt x="529" y="374"/>
                </a:lnTo>
                <a:lnTo>
                  <a:pt x="532" y="376"/>
                </a:lnTo>
                <a:lnTo>
                  <a:pt x="532" y="376"/>
                </a:lnTo>
                <a:lnTo>
                  <a:pt x="532" y="376"/>
                </a:lnTo>
                <a:lnTo>
                  <a:pt x="534" y="376"/>
                </a:lnTo>
                <a:lnTo>
                  <a:pt x="534" y="376"/>
                </a:lnTo>
                <a:lnTo>
                  <a:pt x="536" y="376"/>
                </a:lnTo>
                <a:lnTo>
                  <a:pt x="536" y="376"/>
                </a:lnTo>
                <a:lnTo>
                  <a:pt x="541" y="376"/>
                </a:lnTo>
                <a:lnTo>
                  <a:pt x="541" y="376"/>
                </a:lnTo>
                <a:lnTo>
                  <a:pt x="541" y="376"/>
                </a:lnTo>
                <a:lnTo>
                  <a:pt x="544" y="378"/>
                </a:lnTo>
                <a:lnTo>
                  <a:pt x="544" y="378"/>
                </a:lnTo>
                <a:lnTo>
                  <a:pt x="546" y="378"/>
                </a:lnTo>
                <a:lnTo>
                  <a:pt x="546" y="378"/>
                </a:lnTo>
                <a:lnTo>
                  <a:pt x="549" y="378"/>
                </a:lnTo>
                <a:lnTo>
                  <a:pt x="549" y="378"/>
                </a:lnTo>
                <a:lnTo>
                  <a:pt x="549" y="381"/>
                </a:lnTo>
                <a:lnTo>
                  <a:pt x="549" y="381"/>
                </a:lnTo>
                <a:lnTo>
                  <a:pt x="551" y="383"/>
                </a:lnTo>
                <a:lnTo>
                  <a:pt x="551" y="383"/>
                </a:lnTo>
                <a:lnTo>
                  <a:pt x="554" y="386"/>
                </a:lnTo>
                <a:lnTo>
                  <a:pt x="554" y="386"/>
                </a:lnTo>
                <a:lnTo>
                  <a:pt x="554" y="388"/>
                </a:lnTo>
                <a:lnTo>
                  <a:pt x="554" y="388"/>
                </a:lnTo>
                <a:lnTo>
                  <a:pt x="554" y="388"/>
                </a:lnTo>
                <a:lnTo>
                  <a:pt x="551" y="386"/>
                </a:lnTo>
                <a:lnTo>
                  <a:pt x="551" y="386"/>
                </a:lnTo>
                <a:lnTo>
                  <a:pt x="551" y="386"/>
                </a:lnTo>
                <a:lnTo>
                  <a:pt x="551" y="388"/>
                </a:lnTo>
                <a:lnTo>
                  <a:pt x="551" y="388"/>
                </a:lnTo>
                <a:lnTo>
                  <a:pt x="549" y="388"/>
                </a:lnTo>
                <a:lnTo>
                  <a:pt x="549" y="388"/>
                </a:lnTo>
                <a:lnTo>
                  <a:pt x="551" y="391"/>
                </a:lnTo>
                <a:lnTo>
                  <a:pt x="551" y="391"/>
                </a:lnTo>
                <a:lnTo>
                  <a:pt x="551" y="396"/>
                </a:lnTo>
                <a:lnTo>
                  <a:pt x="551" y="396"/>
                </a:lnTo>
                <a:lnTo>
                  <a:pt x="551" y="396"/>
                </a:lnTo>
                <a:lnTo>
                  <a:pt x="551" y="398"/>
                </a:lnTo>
                <a:lnTo>
                  <a:pt x="551" y="398"/>
                </a:lnTo>
                <a:lnTo>
                  <a:pt x="551" y="401"/>
                </a:lnTo>
                <a:lnTo>
                  <a:pt x="551" y="401"/>
                </a:lnTo>
                <a:lnTo>
                  <a:pt x="551" y="403"/>
                </a:lnTo>
                <a:lnTo>
                  <a:pt x="551" y="403"/>
                </a:lnTo>
                <a:lnTo>
                  <a:pt x="549" y="408"/>
                </a:lnTo>
                <a:lnTo>
                  <a:pt x="549" y="408"/>
                </a:lnTo>
                <a:lnTo>
                  <a:pt x="546" y="408"/>
                </a:lnTo>
                <a:lnTo>
                  <a:pt x="546" y="408"/>
                </a:lnTo>
                <a:lnTo>
                  <a:pt x="546" y="408"/>
                </a:lnTo>
                <a:lnTo>
                  <a:pt x="544" y="408"/>
                </a:lnTo>
                <a:lnTo>
                  <a:pt x="544" y="408"/>
                </a:lnTo>
                <a:lnTo>
                  <a:pt x="541" y="406"/>
                </a:lnTo>
                <a:lnTo>
                  <a:pt x="541" y="406"/>
                </a:lnTo>
                <a:lnTo>
                  <a:pt x="544" y="403"/>
                </a:lnTo>
                <a:lnTo>
                  <a:pt x="544" y="403"/>
                </a:lnTo>
                <a:lnTo>
                  <a:pt x="544" y="403"/>
                </a:lnTo>
                <a:lnTo>
                  <a:pt x="541" y="403"/>
                </a:lnTo>
                <a:lnTo>
                  <a:pt x="541" y="403"/>
                </a:lnTo>
                <a:lnTo>
                  <a:pt x="541" y="403"/>
                </a:lnTo>
                <a:lnTo>
                  <a:pt x="539" y="403"/>
                </a:lnTo>
                <a:lnTo>
                  <a:pt x="539" y="403"/>
                </a:lnTo>
                <a:lnTo>
                  <a:pt x="536" y="398"/>
                </a:lnTo>
                <a:lnTo>
                  <a:pt x="536" y="398"/>
                </a:lnTo>
                <a:lnTo>
                  <a:pt x="534" y="396"/>
                </a:lnTo>
                <a:lnTo>
                  <a:pt x="534" y="396"/>
                </a:lnTo>
                <a:lnTo>
                  <a:pt x="529" y="393"/>
                </a:lnTo>
                <a:lnTo>
                  <a:pt x="529" y="393"/>
                </a:lnTo>
                <a:lnTo>
                  <a:pt x="529" y="391"/>
                </a:lnTo>
                <a:lnTo>
                  <a:pt x="529" y="391"/>
                </a:lnTo>
                <a:lnTo>
                  <a:pt x="529" y="388"/>
                </a:lnTo>
                <a:lnTo>
                  <a:pt x="529" y="388"/>
                </a:lnTo>
                <a:lnTo>
                  <a:pt x="527" y="386"/>
                </a:lnTo>
                <a:lnTo>
                  <a:pt x="527" y="386"/>
                </a:lnTo>
                <a:lnTo>
                  <a:pt x="524" y="386"/>
                </a:lnTo>
                <a:lnTo>
                  <a:pt x="524" y="386"/>
                </a:lnTo>
                <a:lnTo>
                  <a:pt x="524" y="386"/>
                </a:lnTo>
                <a:lnTo>
                  <a:pt x="524" y="386"/>
                </a:lnTo>
                <a:lnTo>
                  <a:pt x="524" y="386"/>
                </a:lnTo>
                <a:lnTo>
                  <a:pt x="527" y="391"/>
                </a:lnTo>
                <a:lnTo>
                  <a:pt x="527" y="391"/>
                </a:lnTo>
                <a:lnTo>
                  <a:pt x="527" y="391"/>
                </a:lnTo>
                <a:lnTo>
                  <a:pt x="527" y="393"/>
                </a:lnTo>
                <a:lnTo>
                  <a:pt x="527" y="393"/>
                </a:lnTo>
                <a:lnTo>
                  <a:pt x="522" y="393"/>
                </a:lnTo>
                <a:lnTo>
                  <a:pt x="522" y="393"/>
                </a:lnTo>
                <a:lnTo>
                  <a:pt x="522" y="391"/>
                </a:lnTo>
                <a:lnTo>
                  <a:pt x="522" y="391"/>
                </a:lnTo>
                <a:lnTo>
                  <a:pt x="519" y="388"/>
                </a:lnTo>
                <a:lnTo>
                  <a:pt x="519" y="388"/>
                </a:lnTo>
                <a:lnTo>
                  <a:pt x="517" y="386"/>
                </a:lnTo>
                <a:lnTo>
                  <a:pt x="517" y="386"/>
                </a:lnTo>
                <a:lnTo>
                  <a:pt x="517" y="388"/>
                </a:lnTo>
                <a:lnTo>
                  <a:pt x="517" y="388"/>
                </a:lnTo>
                <a:lnTo>
                  <a:pt x="517" y="391"/>
                </a:lnTo>
                <a:lnTo>
                  <a:pt x="517" y="391"/>
                </a:lnTo>
                <a:lnTo>
                  <a:pt x="519" y="393"/>
                </a:lnTo>
                <a:lnTo>
                  <a:pt x="519" y="393"/>
                </a:lnTo>
                <a:lnTo>
                  <a:pt x="524" y="396"/>
                </a:lnTo>
                <a:lnTo>
                  <a:pt x="524" y="396"/>
                </a:lnTo>
                <a:lnTo>
                  <a:pt x="529" y="396"/>
                </a:lnTo>
                <a:lnTo>
                  <a:pt x="529" y="396"/>
                </a:lnTo>
                <a:lnTo>
                  <a:pt x="534" y="398"/>
                </a:lnTo>
                <a:lnTo>
                  <a:pt x="534" y="398"/>
                </a:lnTo>
                <a:lnTo>
                  <a:pt x="539" y="403"/>
                </a:lnTo>
                <a:lnTo>
                  <a:pt x="539" y="403"/>
                </a:lnTo>
                <a:lnTo>
                  <a:pt x="539" y="406"/>
                </a:lnTo>
                <a:lnTo>
                  <a:pt x="539" y="406"/>
                </a:lnTo>
                <a:lnTo>
                  <a:pt x="539" y="408"/>
                </a:lnTo>
                <a:lnTo>
                  <a:pt x="539" y="408"/>
                </a:lnTo>
                <a:lnTo>
                  <a:pt x="536" y="406"/>
                </a:lnTo>
                <a:lnTo>
                  <a:pt x="536" y="406"/>
                </a:lnTo>
                <a:lnTo>
                  <a:pt x="534" y="406"/>
                </a:lnTo>
                <a:lnTo>
                  <a:pt x="534" y="406"/>
                </a:lnTo>
                <a:lnTo>
                  <a:pt x="532" y="406"/>
                </a:lnTo>
                <a:lnTo>
                  <a:pt x="532" y="406"/>
                </a:lnTo>
                <a:lnTo>
                  <a:pt x="532" y="406"/>
                </a:lnTo>
                <a:lnTo>
                  <a:pt x="527" y="410"/>
                </a:lnTo>
                <a:lnTo>
                  <a:pt x="527" y="410"/>
                </a:lnTo>
                <a:lnTo>
                  <a:pt x="527" y="410"/>
                </a:lnTo>
                <a:lnTo>
                  <a:pt x="524" y="408"/>
                </a:lnTo>
                <a:lnTo>
                  <a:pt x="524" y="408"/>
                </a:lnTo>
                <a:lnTo>
                  <a:pt x="522" y="406"/>
                </a:lnTo>
                <a:lnTo>
                  <a:pt x="522" y="406"/>
                </a:lnTo>
                <a:lnTo>
                  <a:pt x="524" y="406"/>
                </a:lnTo>
                <a:lnTo>
                  <a:pt x="524" y="406"/>
                </a:lnTo>
                <a:lnTo>
                  <a:pt x="522" y="403"/>
                </a:lnTo>
                <a:lnTo>
                  <a:pt x="522" y="403"/>
                </a:lnTo>
                <a:lnTo>
                  <a:pt x="522" y="403"/>
                </a:lnTo>
                <a:lnTo>
                  <a:pt x="522" y="406"/>
                </a:lnTo>
                <a:lnTo>
                  <a:pt x="522" y="406"/>
                </a:lnTo>
                <a:lnTo>
                  <a:pt x="522" y="406"/>
                </a:lnTo>
                <a:lnTo>
                  <a:pt x="522" y="408"/>
                </a:lnTo>
                <a:lnTo>
                  <a:pt x="522" y="408"/>
                </a:lnTo>
                <a:lnTo>
                  <a:pt x="524" y="410"/>
                </a:lnTo>
                <a:lnTo>
                  <a:pt x="524" y="410"/>
                </a:lnTo>
                <a:lnTo>
                  <a:pt x="527" y="410"/>
                </a:lnTo>
                <a:lnTo>
                  <a:pt x="527" y="410"/>
                </a:lnTo>
                <a:lnTo>
                  <a:pt x="529" y="410"/>
                </a:lnTo>
                <a:lnTo>
                  <a:pt x="529" y="410"/>
                </a:lnTo>
                <a:lnTo>
                  <a:pt x="532" y="408"/>
                </a:lnTo>
                <a:lnTo>
                  <a:pt x="532" y="408"/>
                </a:lnTo>
                <a:lnTo>
                  <a:pt x="534" y="408"/>
                </a:lnTo>
                <a:lnTo>
                  <a:pt x="534" y="408"/>
                </a:lnTo>
                <a:lnTo>
                  <a:pt x="536" y="410"/>
                </a:lnTo>
                <a:lnTo>
                  <a:pt x="536" y="410"/>
                </a:lnTo>
                <a:lnTo>
                  <a:pt x="536" y="410"/>
                </a:lnTo>
                <a:lnTo>
                  <a:pt x="536" y="413"/>
                </a:lnTo>
                <a:lnTo>
                  <a:pt x="536" y="413"/>
                </a:lnTo>
                <a:lnTo>
                  <a:pt x="534" y="418"/>
                </a:lnTo>
                <a:lnTo>
                  <a:pt x="534" y="418"/>
                </a:lnTo>
                <a:lnTo>
                  <a:pt x="534" y="420"/>
                </a:lnTo>
                <a:lnTo>
                  <a:pt x="534" y="420"/>
                </a:lnTo>
                <a:lnTo>
                  <a:pt x="532" y="420"/>
                </a:lnTo>
                <a:lnTo>
                  <a:pt x="532" y="420"/>
                </a:lnTo>
                <a:lnTo>
                  <a:pt x="532" y="420"/>
                </a:lnTo>
                <a:lnTo>
                  <a:pt x="534" y="423"/>
                </a:lnTo>
                <a:lnTo>
                  <a:pt x="534" y="423"/>
                </a:lnTo>
                <a:lnTo>
                  <a:pt x="536" y="420"/>
                </a:lnTo>
                <a:lnTo>
                  <a:pt x="536" y="420"/>
                </a:lnTo>
                <a:lnTo>
                  <a:pt x="539" y="420"/>
                </a:lnTo>
                <a:lnTo>
                  <a:pt x="539" y="420"/>
                </a:lnTo>
                <a:lnTo>
                  <a:pt x="541" y="425"/>
                </a:lnTo>
                <a:lnTo>
                  <a:pt x="541" y="425"/>
                </a:lnTo>
                <a:lnTo>
                  <a:pt x="544" y="425"/>
                </a:lnTo>
                <a:lnTo>
                  <a:pt x="544" y="425"/>
                </a:lnTo>
                <a:lnTo>
                  <a:pt x="546" y="425"/>
                </a:lnTo>
                <a:lnTo>
                  <a:pt x="546" y="425"/>
                </a:lnTo>
                <a:lnTo>
                  <a:pt x="549" y="423"/>
                </a:lnTo>
                <a:lnTo>
                  <a:pt x="549" y="423"/>
                </a:lnTo>
                <a:lnTo>
                  <a:pt x="551" y="425"/>
                </a:lnTo>
                <a:lnTo>
                  <a:pt x="551" y="425"/>
                </a:lnTo>
                <a:lnTo>
                  <a:pt x="551" y="425"/>
                </a:lnTo>
                <a:lnTo>
                  <a:pt x="549" y="428"/>
                </a:lnTo>
                <a:lnTo>
                  <a:pt x="549" y="428"/>
                </a:lnTo>
                <a:lnTo>
                  <a:pt x="549" y="430"/>
                </a:lnTo>
                <a:lnTo>
                  <a:pt x="549" y="430"/>
                </a:lnTo>
                <a:lnTo>
                  <a:pt x="551" y="430"/>
                </a:lnTo>
                <a:lnTo>
                  <a:pt x="551" y="430"/>
                </a:lnTo>
                <a:lnTo>
                  <a:pt x="551" y="433"/>
                </a:lnTo>
                <a:lnTo>
                  <a:pt x="551" y="433"/>
                </a:lnTo>
                <a:lnTo>
                  <a:pt x="546" y="438"/>
                </a:lnTo>
                <a:lnTo>
                  <a:pt x="546" y="438"/>
                </a:lnTo>
                <a:lnTo>
                  <a:pt x="544" y="440"/>
                </a:lnTo>
                <a:lnTo>
                  <a:pt x="544" y="440"/>
                </a:lnTo>
                <a:lnTo>
                  <a:pt x="541" y="440"/>
                </a:lnTo>
                <a:lnTo>
                  <a:pt x="541" y="440"/>
                </a:lnTo>
                <a:lnTo>
                  <a:pt x="541" y="438"/>
                </a:lnTo>
                <a:lnTo>
                  <a:pt x="541" y="438"/>
                </a:lnTo>
                <a:lnTo>
                  <a:pt x="541" y="435"/>
                </a:lnTo>
                <a:lnTo>
                  <a:pt x="541" y="435"/>
                </a:lnTo>
                <a:lnTo>
                  <a:pt x="539" y="435"/>
                </a:lnTo>
                <a:lnTo>
                  <a:pt x="539" y="435"/>
                </a:lnTo>
                <a:lnTo>
                  <a:pt x="539" y="433"/>
                </a:lnTo>
                <a:lnTo>
                  <a:pt x="539" y="433"/>
                </a:lnTo>
                <a:lnTo>
                  <a:pt x="536" y="430"/>
                </a:lnTo>
                <a:lnTo>
                  <a:pt x="536" y="430"/>
                </a:lnTo>
                <a:lnTo>
                  <a:pt x="534" y="428"/>
                </a:lnTo>
                <a:lnTo>
                  <a:pt x="534" y="428"/>
                </a:lnTo>
                <a:lnTo>
                  <a:pt x="532" y="428"/>
                </a:lnTo>
                <a:lnTo>
                  <a:pt x="532" y="428"/>
                </a:lnTo>
                <a:lnTo>
                  <a:pt x="529" y="428"/>
                </a:lnTo>
                <a:lnTo>
                  <a:pt x="529" y="428"/>
                </a:lnTo>
                <a:lnTo>
                  <a:pt x="527" y="428"/>
                </a:lnTo>
                <a:lnTo>
                  <a:pt x="527" y="428"/>
                </a:lnTo>
                <a:lnTo>
                  <a:pt x="524" y="428"/>
                </a:lnTo>
                <a:lnTo>
                  <a:pt x="524" y="428"/>
                </a:lnTo>
                <a:lnTo>
                  <a:pt x="524" y="428"/>
                </a:lnTo>
                <a:lnTo>
                  <a:pt x="522" y="425"/>
                </a:lnTo>
                <a:lnTo>
                  <a:pt x="522" y="425"/>
                </a:lnTo>
                <a:lnTo>
                  <a:pt x="522" y="423"/>
                </a:lnTo>
                <a:lnTo>
                  <a:pt x="522" y="423"/>
                </a:lnTo>
                <a:lnTo>
                  <a:pt x="519" y="423"/>
                </a:lnTo>
                <a:lnTo>
                  <a:pt x="519" y="423"/>
                </a:lnTo>
                <a:lnTo>
                  <a:pt x="519" y="425"/>
                </a:lnTo>
                <a:lnTo>
                  <a:pt x="519" y="425"/>
                </a:lnTo>
                <a:lnTo>
                  <a:pt x="522" y="425"/>
                </a:lnTo>
                <a:lnTo>
                  <a:pt x="522" y="425"/>
                </a:lnTo>
                <a:lnTo>
                  <a:pt x="522" y="430"/>
                </a:lnTo>
                <a:lnTo>
                  <a:pt x="522" y="430"/>
                </a:lnTo>
                <a:lnTo>
                  <a:pt x="519" y="433"/>
                </a:lnTo>
                <a:lnTo>
                  <a:pt x="519" y="433"/>
                </a:lnTo>
                <a:lnTo>
                  <a:pt x="519" y="433"/>
                </a:lnTo>
                <a:lnTo>
                  <a:pt x="517" y="433"/>
                </a:lnTo>
                <a:lnTo>
                  <a:pt x="517" y="433"/>
                </a:lnTo>
                <a:lnTo>
                  <a:pt x="514" y="433"/>
                </a:lnTo>
                <a:lnTo>
                  <a:pt x="514" y="433"/>
                </a:lnTo>
                <a:lnTo>
                  <a:pt x="517" y="435"/>
                </a:lnTo>
                <a:lnTo>
                  <a:pt x="517" y="435"/>
                </a:lnTo>
                <a:lnTo>
                  <a:pt x="517" y="435"/>
                </a:lnTo>
                <a:lnTo>
                  <a:pt x="517" y="438"/>
                </a:lnTo>
                <a:lnTo>
                  <a:pt x="517" y="438"/>
                </a:lnTo>
                <a:lnTo>
                  <a:pt x="514" y="440"/>
                </a:lnTo>
                <a:lnTo>
                  <a:pt x="514" y="440"/>
                </a:lnTo>
                <a:lnTo>
                  <a:pt x="514" y="440"/>
                </a:lnTo>
                <a:lnTo>
                  <a:pt x="514" y="442"/>
                </a:lnTo>
                <a:lnTo>
                  <a:pt x="514" y="442"/>
                </a:lnTo>
                <a:lnTo>
                  <a:pt x="514" y="442"/>
                </a:lnTo>
                <a:lnTo>
                  <a:pt x="517" y="445"/>
                </a:lnTo>
                <a:lnTo>
                  <a:pt x="517" y="445"/>
                </a:lnTo>
                <a:lnTo>
                  <a:pt x="517" y="447"/>
                </a:lnTo>
                <a:lnTo>
                  <a:pt x="517" y="447"/>
                </a:lnTo>
                <a:lnTo>
                  <a:pt x="519" y="447"/>
                </a:lnTo>
                <a:lnTo>
                  <a:pt x="519" y="447"/>
                </a:lnTo>
                <a:lnTo>
                  <a:pt x="519" y="452"/>
                </a:lnTo>
                <a:lnTo>
                  <a:pt x="519" y="452"/>
                </a:lnTo>
                <a:lnTo>
                  <a:pt x="519" y="455"/>
                </a:lnTo>
                <a:lnTo>
                  <a:pt x="519" y="455"/>
                </a:lnTo>
                <a:lnTo>
                  <a:pt x="519" y="455"/>
                </a:lnTo>
                <a:lnTo>
                  <a:pt x="519" y="452"/>
                </a:lnTo>
                <a:lnTo>
                  <a:pt x="519" y="452"/>
                </a:lnTo>
                <a:lnTo>
                  <a:pt x="522" y="452"/>
                </a:lnTo>
                <a:lnTo>
                  <a:pt x="522" y="452"/>
                </a:lnTo>
                <a:lnTo>
                  <a:pt x="522" y="450"/>
                </a:lnTo>
                <a:lnTo>
                  <a:pt x="522" y="450"/>
                </a:lnTo>
                <a:lnTo>
                  <a:pt x="519" y="447"/>
                </a:lnTo>
                <a:lnTo>
                  <a:pt x="519" y="447"/>
                </a:lnTo>
                <a:lnTo>
                  <a:pt x="519" y="445"/>
                </a:lnTo>
                <a:lnTo>
                  <a:pt x="519" y="445"/>
                </a:lnTo>
                <a:lnTo>
                  <a:pt x="522" y="442"/>
                </a:lnTo>
                <a:lnTo>
                  <a:pt x="522" y="442"/>
                </a:lnTo>
                <a:lnTo>
                  <a:pt x="522" y="442"/>
                </a:lnTo>
                <a:lnTo>
                  <a:pt x="522" y="445"/>
                </a:lnTo>
                <a:lnTo>
                  <a:pt x="522" y="445"/>
                </a:lnTo>
                <a:lnTo>
                  <a:pt x="524" y="447"/>
                </a:lnTo>
                <a:lnTo>
                  <a:pt x="524" y="447"/>
                </a:lnTo>
                <a:lnTo>
                  <a:pt x="524" y="450"/>
                </a:lnTo>
                <a:lnTo>
                  <a:pt x="524" y="450"/>
                </a:lnTo>
                <a:lnTo>
                  <a:pt x="527" y="450"/>
                </a:lnTo>
                <a:lnTo>
                  <a:pt x="527" y="450"/>
                </a:lnTo>
                <a:lnTo>
                  <a:pt x="529" y="450"/>
                </a:lnTo>
                <a:lnTo>
                  <a:pt x="529" y="450"/>
                </a:lnTo>
                <a:lnTo>
                  <a:pt x="529" y="450"/>
                </a:lnTo>
                <a:lnTo>
                  <a:pt x="529" y="450"/>
                </a:lnTo>
                <a:lnTo>
                  <a:pt x="532" y="450"/>
                </a:lnTo>
                <a:lnTo>
                  <a:pt x="532" y="450"/>
                </a:lnTo>
                <a:lnTo>
                  <a:pt x="534" y="447"/>
                </a:lnTo>
                <a:lnTo>
                  <a:pt x="534" y="447"/>
                </a:lnTo>
                <a:lnTo>
                  <a:pt x="536" y="450"/>
                </a:lnTo>
                <a:lnTo>
                  <a:pt x="536" y="450"/>
                </a:lnTo>
                <a:lnTo>
                  <a:pt x="536" y="450"/>
                </a:lnTo>
                <a:lnTo>
                  <a:pt x="536" y="452"/>
                </a:lnTo>
                <a:lnTo>
                  <a:pt x="536" y="452"/>
                </a:lnTo>
                <a:lnTo>
                  <a:pt x="534" y="455"/>
                </a:lnTo>
                <a:lnTo>
                  <a:pt x="534" y="455"/>
                </a:lnTo>
                <a:lnTo>
                  <a:pt x="534" y="457"/>
                </a:lnTo>
                <a:lnTo>
                  <a:pt x="534" y="457"/>
                </a:lnTo>
                <a:lnTo>
                  <a:pt x="534" y="460"/>
                </a:lnTo>
                <a:lnTo>
                  <a:pt x="534" y="460"/>
                </a:lnTo>
                <a:lnTo>
                  <a:pt x="534" y="465"/>
                </a:lnTo>
                <a:lnTo>
                  <a:pt x="534" y="465"/>
                </a:lnTo>
                <a:lnTo>
                  <a:pt x="532" y="465"/>
                </a:lnTo>
                <a:lnTo>
                  <a:pt x="532" y="465"/>
                </a:lnTo>
                <a:lnTo>
                  <a:pt x="529" y="465"/>
                </a:lnTo>
                <a:lnTo>
                  <a:pt x="529" y="465"/>
                </a:lnTo>
                <a:lnTo>
                  <a:pt x="527" y="467"/>
                </a:lnTo>
                <a:lnTo>
                  <a:pt x="527" y="467"/>
                </a:lnTo>
                <a:lnTo>
                  <a:pt x="524" y="465"/>
                </a:lnTo>
                <a:lnTo>
                  <a:pt x="524" y="465"/>
                </a:lnTo>
                <a:lnTo>
                  <a:pt x="522" y="465"/>
                </a:lnTo>
                <a:lnTo>
                  <a:pt x="522" y="465"/>
                </a:lnTo>
                <a:lnTo>
                  <a:pt x="522" y="465"/>
                </a:lnTo>
                <a:lnTo>
                  <a:pt x="519" y="467"/>
                </a:lnTo>
                <a:lnTo>
                  <a:pt x="519" y="467"/>
                </a:lnTo>
                <a:lnTo>
                  <a:pt x="519" y="467"/>
                </a:lnTo>
                <a:lnTo>
                  <a:pt x="517" y="469"/>
                </a:lnTo>
                <a:lnTo>
                  <a:pt x="517" y="469"/>
                </a:lnTo>
                <a:lnTo>
                  <a:pt x="514" y="469"/>
                </a:lnTo>
                <a:lnTo>
                  <a:pt x="514" y="469"/>
                </a:lnTo>
                <a:lnTo>
                  <a:pt x="514" y="469"/>
                </a:lnTo>
                <a:lnTo>
                  <a:pt x="512" y="472"/>
                </a:lnTo>
                <a:lnTo>
                  <a:pt x="512" y="472"/>
                </a:lnTo>
                <a:lnTo>
                  <a:pt x="512" y="472"/>
                </a:lnTo>
                <a:lnTo>
                  <a:pt x="512" y="472"/>
                </a:lnTo>
                <a:lnTo>
                  <a:pt x="509" y="472"/>
                </a:lnTo>
                <a:lnTo>
                  <a:pt x="509" y="472"/>
                </a:lnTo>
                <a:lnTo>
                  <a:pt x="507" y="469"/>
                </a:lnTo>
                <a:lnTo>
                  <a:pt x="507" y="469"/>
                </a:lnTo>
                <a:lnTo>
                  <a:pt x="502" y="469"/>
                </a:lnTo>
                <a:lnTo>
                  <a:pt x="502" y="469"/>
                </a:lnTo>
                <a:lnTo>
                  <a:pt x="500" y="465"/>
                </a:lnTo>
                <a:lnTo>
                  <a:pt x="500" y="465"/>
                </a:lnTo>
                <a:lnTo>
                  <a:pt x="495" y="460"/>
                </a:lnTo>
                <a:lnTo>
                  <a:pt x="495" y="460"/>
                </a:lnTo>
                <a:lnTo>
                  <a:pt x="492" y="457"/>
                </a:lnTo>
                <a:lnTo>
                  <a:pt x="492" y="457"/>
                </a:lnTo>
                <a:lnTo>
                  <a:pt x="492" y="455"/>
                </a:lnTo>
                <a:lnTo>
                  <a:pt x="492" y="455"/>
                </a:lnTo>
                <a:lnTo>
                  <a:pt x="495" y="455"/>
                </a:lnTo>
                <a:lnTo>
                  <a:pt x="495" y="455"/>
                </a:lnTo>
                <a:lnTo>
                  <a:pt x="495" y="455"/>
                </a:lnTo>
                <a:lnTo>
                  <a:pt x="495" y="455"/>
                </a:lnTo>
                <a:lnTo>
                  <a:pt x="497" y="457"/>
                </a:lnTo>
                <a:lnTo>
                  <a:pt x="497" y="457"/>
                </a:lnTo>
                <a:lnTo>
                  <a:pt x="502" y="460"/>
                </a:lnTo>
                <a:lnTo>
                  <a:pt x="502" y="460"/>
                </a:lnTo>
                <a:lnTo>
                  <a:pt x="504" y="462"/>
                </a:lnTo>
                <a:lnTo>
                  <a:pt x="504" y="462"/>
                </a:lnTo>
                <a:lnTo>
                  <a:pt x="507" y="462"/>
                </a:lnTo>
                <a:lnTo>
                  <a:pt x="507" y="462"/>
                </a:lnTo>
                <a:lnTo>
                  <a:pt x="509" y="460"/>
                </a:lnTo>
                <a:lnTo>
                  <a:pt x="509" y="460"/>
                </a:lnTo>
                <a:lnTo>
                  <a:pt x="512" y="460"/>
                </a:lnTo>
                <a:lnTo>
                  <a:pt x="512" y="460"/>
                </a:lnTo>
                <a:lnTo>
                  <a:pt x="509" y="457"/>
                </a:lnTo>
                <a:lnTo>
                  <a:pt x="509" y="457"/>
                </a:lnTo>
                <a:lnTo>
                  <a:pt x="509" y="457"/>
                </a:lnTo>
                <a:lnTo>
                  <a:pt x="507" y="460"/>
                </a:lnTo>
                <a:lnTo>
                  <a:pt x="507" y="460"/>
                </a:lnTo>
                <a:lnTo>
                  <a:pt x="504" y="457"/>
                </a:lnTo>
                <a:lnTo>
                  <a:pt x="504" y="457"/>
                </a:lnTo>
                <a:lnTo>
                  <a:pt x="500" y="455"/>
                </a:lnTo>
                <a:lnTo>
                  <a:pt x="500" y="455"/>
                </a:lnTo>
                <a:lnTo>
                  <a:pt x="495" y="452"/>
                </a:lnTo>
                <a:lnTo>
                  <a:pt x="495" y="452"/>
                </a:lnTo>
                <a:lnTo>
                  <a:pt x="492" y="452"/>
                </a:lnTo>
                <a:lnTo>
                  <a:pt x="492" y="452"/>
                </a:lnTo>
                <a:lnTo>
                  <a:pt x="492" y="452"/>
                </a:lnTo>
                <a:lnTo>
                  <a:pt x="492" y="450"/>
                </a:lnTo>
                <a:lnTo>
                  <a:pt x="492" y="450"/>
                </a:lnTo>
                <a:lnTo>
                  <a:pt x="492" y="450"/>
                </a:lnTo>
                <a:lnTo>
                  <a:pt x="490" y="450"/>
                </a:lnTo>
                <a:lnTo>
                  <a:pt x="490" y="450"/>
                </a:lnTo>
                <a:lnTo>
                  <a:pt x="490" y="450"/>
                </a:lnTo>
                <a:lnTo>
                  <a:pt x="490" y="452"/>
                </a:lnTo>
                <a:lnTo>
                  <a:pt x="490" y="452"/>
                </a:lnTo>
                <a:lnTo>
                  <a:pt x="487" y="457"/>
                </a:lnTo>
                <a:lnTo>
                  <a:pt x="487" y="457"/>
                </a:lnTo>
                <a:lnTo>
                  <a:pt x="487" y="460"/>
                </a:lnTo>
                <a:lnTo>
                  <a:pt x="487" y="460"/>
                </a:lnTo>
                <a:lnTo>
                  <a:pt x="487" y="462"/>
                </a:lnTo>
                <a:lnTo>
                  <a:pt x="487" y="462"/>
                </a:lnTo>
                <a:lnTo>
                  <a:pt x="487" y="460"/>
                </a:lnTo>
                <a:lnTo>
                  <a:pt x="487" y="460"/>
                </a:lnTo>
                <a:lnTo>
                  <a:pt x="482" y="455"/>
                </a:lnTo>
                <a:lnTo>
                  <a:pt x="482" y="455"/>
                </a:lnTo>
                <a:lnTo>
                  <a:pt x="480" y="450"/>
                </a:lnTo>
                <a:lnTo>
                  <a:pt x="480" y="450"/>
                </a:lnTo>
                <a:lnTo>
                  <a:pt x="477" y="447"/>
                </a:lnTo>
                <a:lnTo>
                  <a:pt x="477" y="447"/>
                </a:lnTo>
                <a:lnTo>
                  <a:pt x="477" y="447"/>
                </a:lnTo>
                <a:lnTo>
                  <a:pt x="477" y="445"/>
                </a:lnTo>
                <a:lnTo>
                  <a:pt x="477" y="445"/>
                </a:lnTo>
                <a:lnTo>
                  <a:pt x="475" y="445"/>
                </a:lnTo>
                <a:lnTo>
                  <a:pt x="475" y="445"/>
                </a:lnTo>
                <a:lnTo>
                  <a:pt x="475" y="445"/>
                </a:lnTo>
                <a:lnTo>
                  <a:pt x="475" y="447"/>
                </a:lnTo>
                <a:lnTo>
                  <a:pt x="475" y="447"/>
                </a:lnTo>
                <a:lnTo>
                  <a:pt x="477" y="450"/>
                </a:lnTo>
                <a:lnTo>
                  <a:pt x="477" y="450"/>
                </a:lnTo>
                <a:lnTo>
                  <a:pt x="480" y="455"/>
                </a:lnTo>
                <a:lnTo>
                  <a:pt x="480" y="455"/>
                </a:lnTo>
                <a:lnTo>
                  <a:pt x="480" y="457"/>
                </a:lnTo>
                <a:lnTo>
                  <a:pt x="480" y="457"/>
                </a:lnTo>
                <a:lnTo>
                  <a:pt x="482" y="457"/>
                </a:lnTo>
                <a:lnTo>
                  <a:pt x="482" y="457"/>
                </a:lnTo>
                <a:lnTo>
                  <a:pt x="485" y="460"/>
                </a:lnTo>
                <a:lnTo>
                  <a:pt x="485" y="460"/>
                </a:lnTo>
                <a:lnTo>
                  <a:pt x="482" y="462"/>
                </a:lnTo>
                <a:lnTo>
                  <a:pt x="482" y="462"/>
                </a:lnTo>
                <a:lnTo>
                  <a:pt x="482" y="462"/>
                </a:lnTo>
                <a:lnTo>
                  <a:pt x="480" y="462"/>
                </a:lnTo>
                <a:lnTo>
                  <a:pt x="480" y="462"/>
                </a:lnTo>
                <a:lnTo>
                  <a:pt x="477" y="465"/>
                </a:lnTo>
                <a:lnTo>
                  <a:pt x="477" y="465"/>
                </a:lnTo>
                <a:lnTo>
                  <a:pt x="477" y="465"/>
                </a:lnTo>
                <a:lnTo>
                  <a:pt x="475" y="467"/>
                </a:lnTo>
                <a:lnTo>
                  <a:pt x="475" y="467"/>
                </a:lnTo>
                <a:lnTo>
                  <a:pt x="472" y="467"/>
                </a:lnTo>
                <a:lnTo>
                  <a:pt x="472" y="467"/>
                </a:lnTo>
                <a:lnTo>
                  <a:pt x="470" y="467"/>
                </a:lnTo>
                <a:lnTo>
                  <a:pt x="470" y="467"/>
                </a:lnTo>
                <a:lnTo>
                  <a:pt x="468" y="467"/>
                </a:lnTo>
                <a:lnTo>
                  <a:pt x="468" y="467"/>
                </a:lnTo>
                <a:lnTo>
                  <a:pt x="465" y="467"/>
                </a:lnTo>
                <a:lnTo>
                  <a:pt x="465" y="467"/>
                </a:lnTo>
                <a:lnTo>
                  <a:pt x="465" y="465"/>
                </a:lnTo>
                <a:lnTo>
                  <a:pt x="465" y="465"/>
                </a:lnTo>
                <a:lnTo>
                  <a:pt x="463" y="465"/>
                </a:lnTo>
                <a:lnTo>
                  <a:pt x="463" y="465"/>
                </a:lnTo>
                <a:lnTo>
                  <a:pt x="463" y="465"/>
                </a:lnTo>
                <a:lnTo>
                  <a:pt x="458" y="462"/>
                </a:lnTo>
                <a:lnTo>
                  <a:pt x="458" y="462"/>
                </a:lnTo>
                <a:lnTo>
                  <a:pt x="458" y="460"/>
                </a:lnTo>
                <a:lnTo>
                  <a:pt x="458" y="460"/>
                </a:lnTo>
                <a:lnTo>
                  <a:pt x="458" y="457"/>
                </a:lnTo>
                <a:lnTo>
                  <a:pt x="458" y="457"/>
                </a:lnTo>
                <a:lnTo>
                  <a:pt x="455" y="457"/>
                </a:lnTo>
                <a:lnTo>
                  <a:pt x="455" y="457"/>
                </a:lnTo>
                <a:lnTo>
                  <a:pt x="455" y="457"/>
                </a:lnTo>
                <a:lnTo>
                  <a:pt x="455" y="457"/>
                </a:lnTo>
                <a:lnTo>
                  <a:pt x="455" y="460"/>
                </a:lnTo>
                <a:lnTo>
                  <a:pt x="455" y="460"/>
                </a:lnTo>
                <a:lnTo>
                  <a:pt x="455" y="462"/>
                </a:lnTo>
                <a:lnTo>
                  <a:pt x="455" y="462"/>
                </a:lnTo>
                <a:lnTo>
                  <a:pt x="458" y="462"/>
                </a:lnTo>
                <a:lnTo>
                  <a:pt x="458" y="462"/>
                </a:lnTo>
                <a:lnTo>
                  <a:pt x="460" y="465"/>
                </a:lnTo>
                <a:lnTo>
                  <a:pt x="460" y="465"/>
                </a:lnTo>
                <a:lnTo>
                  <a:pt x="463" y="467"/>
                </a:lnTo>
                <a:lnTo>
                  <a:pt x="463" y="467"/>
                </a:lnTo>
                <a:lnTo>
                  <a:pt x="463" y="469"/>
                </a:lnTo>
                <a:lnTo>
                  <a:pt x="463" y="469"/>
                </a:lnTo>
                <a:lnTo>
                  <a:pt x="460" y="469"/>
                </a:lnTo>
                <a:lnTo>
                  <a:pt x="460" y="469"/>
                </a:lnTo>
                <a:lnTo>
                  <a:pt x="455" y="469"/>
                </a:lnTo>
                <a:lnTo>
                  <a:pt x="455" y="469"/>
                </a:lnTo>
                <a:lnTo>
                  <a:pt x="453" y="469"/>
                </a:lnTo>
                <a:lnTo>
                  <a:pt x="453" y="469"/>
                </a:lnTo>
                <a:lnTo>
                  <a:pt x="450" y="469"/>
                </a:lnTo>
                <a:lnTo>
                  <a:pt x="450" y="469"/>
                </a:lnTo>
                <a:lnTo>
                  <a:pt x="448" y="472"/>
                </a:lnTo>
                <a:lnTo>
                  <a:pt x="448" y="472"/>
                </a:lnTo>
                <a:lnTo>
                  <a:pt x="450" y="472"/>
                </a:lnTo>
                <a:lnTo>
                  <a:pt x="450" y="472"/>
                </a:lnTo>
                <a:lnTo>
                  <a:pt x="450" y="472"/>
                </a:lnTo>
                <a:lnTo>
                  <a:pt x="450" y="474"/>
                </a:lnTo>
                <a:lnTo>
                  <a:pt x="450" y="474"/>
                </a:lnTo>
                <a:lnTo>
                  <a:pt x="453" y="474"/>
                </a:lnTo>
                <a:lnTo>
                  <a:pt x="453" y="474"/>
                </a:lnTo>
                <a:lnTo>
                  <a:pt x="453" y="474"/>
                </a:lnTo>
                <a:lnTo>
                  <a:pt x="453" y="472"/>
                </a:lnTo>
                <a:lnTo>
                  <a:pt x="453" y="472"/>
                </a:lnTo>
                <a:lnTo>
                  <a:pt x="458" y="472"/>
                </a:lnTo>
                <a:lnTo>
                  <a:pt x="458" y="472"/>
                </a:lnTo>
                <a:lnTo>
                  <a:pt x="458" y="472"/>
                </a:lnTo>
                <a:lnTo>
                  <a:pt x="460" y="472"/>
                </a:lnTo>
                <a:lnTo>
                  <a:pt x="460" y="474"/>
                </a:lnTo>
                <a:lnTo>
                  <a:pt x="460" y="474"/>
                </a:lnTo>
                <a:lnTo>
                  <a:pt x="463" y="472"/>
                </a:lnTo>
                <a:lnTo>
                  <a:pt x="463" y="472"/>
                </a:lnTo>
                <a:lnTo>
                  <a:pt x="463" y="469"/>
                </a:lnTo>
                <a:lnTo>
                  <a:pt x="463" y="469"/>
                </a:lnTo>
                <a:lnTo>
                  <a:pt x="465" y="469"/>
                </a:lnTo>
                <a:lnTo>
                  <a:pt x="465" y="469"/>
                </a:lnTo>
                <a:lnTo>
                  <a:pt x="468" y="469"/>
                </a:lnTo>
                <a:lnTo>
                  <a:pt x="468" y="469"/>
                </a:lnTo>
                <a:lnTo>
                  <a:pt x="470" y="469"/>
                </a:lnTo>
                <a:lnTo>
                  <a:pt x="470" y="469"/>
                </a:lnTo>
                <a:lnTo>
                  <a:pt x="472" y="472"/>
                </a:lnTo>
                <a:lnTo>
                  <a:pt x="472" y="472"/>
                </a:lnTo>
                <a:lnTo>
                  <a:pt x="475" y="472"/>
                </a:lnTo>
                <a:lnTo>
                  <a:pt x="475" y="472"/>
                </a:lnTo>
                <a:lnTo>
                  <a:pt x="477" y="474"/>
                </a:lnTo>
                <a:lnTo>
                  <a:pt x="477" y="474"/>
                </a:lnTo>
                <a:lnTo>
                  <a:pt x="480" y="474"/>
                </a:lnTo>
                <a:lnTo>
                  <a:pt x="480" y="474"/>
                </a:lnTo>
                <a:lnTo>
                  <a:pt x="480" y="477"/>
                </a:lnTo>
                <a:lnTo>
                  <a:pt x="480" y="477"/>
                </a:lnTo>
                <a:lnTo>
                  <a:pt x="480" y="479"/>
                </a:lnTo>
                <a:lnTo>
                  <a:pt x="480" y="479"/>
                </a:lnTo>
                <a:lnTo>
                  <a:pt x="477" y="479"/>
                </a:lnTo>
                <a:lnTo>
                  <a:pt x="477" y="479"/>
                </a:lnTo>
                <a:lnTo>
                  <a:pt x="477" y="482"/>
                </a:lnTo>
                <a:lnTo>
                  <a:pt x="477" y="482"/>
                </a:lnTo>
                <a:lnTo>
                  <a:pt x="475" y="479"/>
                </a:lnTo>
                <a:lnTo>
                  <a:pt x="475" y="479"/>
                </a:lnTo>
                <a:lnTo>
                  <a:pt x="472" y="482"/>
                </a:lnTo>
                <a:lnTo>
                  <a:pt x="472" y="482"/>
                </a:lnTo>
                <a:lnTo>
                  <a:pt x="470" y="482"/>
                </a:lnTo>
                <a:lnTo>
                  <a:pt x="470" y="482"/>
                </a:lnTo>
                <a:lnTo>
                  <a:pt x="468" y="484"/>
                </a:lnTo>
                <a:lnTo>
                  <a:pt x="468" y="484"/>
                </a:lnTo>
                <a:lnTo>
                  <a:pt x="465" y="484"/>
                </a:lnTo>
                <a:lnTo>
                  <a:pt x="465" y="484"/>
                </a:lnTo>
                <a:lnTo>
                  <a:pt x="463" y="479"/>
                </a:lnTo>
                <a:lnTo>
                  <a:pt x="463" y="479"/>
                </a:lnTo>
                <a:lnTo>
                  <a:pt x="460" y="479"/>
                </a:lnTo>
                <a:lnTo>
                  <a:pt x="460" y="479"/>
                </a:lnTo>
                <a:lnTo>
                  <a:pt x="460" y="479"/>
                </a:lnTo>
                <a:lnTo>
                  <a:pt x="458" y="482"/>
                </a:lnTo>
                <a:lnTo>
                  <a:pt x="458" y="482"/>
                </a:lnTo>
                <a:lnTo>
                  <a:pt x="455" y="482"/>
                </a:lnTo>
                <a:lnTo>
                  <a:pt x="455" y="482"/>
                </a:lnTo>
                <a:lnTo>
                  <a:pt x="455" y="482"/>
                </a:lnTo>
                <a:lnTo>
                  <a:pt x="453" y="482"/>
                </a:lnTo>
                <a:lnTo>
                  <a:pt x="453" y="482"/>
                </a:lnTo>
                <a:lnTo>
                  <a:pt x="453" y="482"/>
                </a:lnTo>
                <a:lnTo>
                  <a:pt x="455" y="482"/>
                </a:lnTo>
                <a:lnTo>
                  <a:pt x="455" y="482"/>
                </a:lnTo>
                <a:lnTo>
                  <a:pt x="458" y="482"/>
                </a:lnTo>
                <a:lnTo>
                  <a:pt x="458" y="482"/>
                </a:lnTo>
                <a:lnTo>
                  <a:pt x="460" y="482"/>
                </a:lnTo>
                <a:lnTo>
                  <a:pt x="460" y="482"/>
                </a:lnTo>
                <a:lnTo>
                  <a:pt x="460" y="482"/>
                </a:lnTo>
                <a:lnTo>
                  <a:pt x="463" y="484"/>
                </a:lnTo>
                <a:lnTo>
                  <a:pt x="463" y="484"/>
                </a:lnTo>
                <a:lnTo>
                  <a:pt x="460" y="484"/>
                </a:lnTo>
                <a:lnTo>
                  <a:pt x="460" y="484"/>
                </a:lnTo>
                <a:lnTo>
                  <a:pt x="458" y="484"/>
                </a:lnTo>
                <a:lnTo>
                  <a:pt x="458" y="484"/>
                </a:lnTo>
                <a:lnTo>
                  <a:pt x="455" y="487"/>
                </a:lnTo>
                <a:lnTo>
                  <a:pt x="455" y="487"/>
                </a:lnTo>
                <a:lnTo>
                  <a:pt x="455" y="487"/>
                </a:lnTo>
                <a:lnTo>
                  <a:pt x="455" y="487"/>
                </a:lnTo>
                <a:lnTo>
                  <a:pt x="458" y="487"/>
                </a:lnTo>
                <a:lnTo>
                  <a:pt x="458" y="487"/>
                </a:lnTo>
                <a:lnTo>
                  <a:pt x="460" y="487"/>
                </a:lnTo>
                <a:lnTo>
                  <a:pt x="460" y="487"/>
                </a:lnTo>
                <a:lnTo>
                  <a:pt x="463" y="487"/>
                </a:lnTo>
                <a:lnTo>
                  <a:pt x="463" y="487"/>
                </a:lnTo>
                <a:lnTo>
                  <a:pt x="463" y="487"/>
                </a:lnTo>
                <a:lnTo>
                  <a:pt x="463" y="489"/>
                </a:lnTo>
                <a:lnTo>
                  <a:pt x="463" y="489"/>
                </a:lnTo>
                <a:lnTo>
                  <a:pt x="465" y="489"/>
                </a:lnTo>
                <a:lnTo>
                  <a:pt x="465" y="489"/>
                </a:lnTo>
                <a:lnTo>
                  <a:pt x="465" y="487"/>
                </a:lnTo>
                <a:lnTo>
                  <a:pt x="465" y="487"/>
                </a:lnTo>
                <a:lnTo>
                  <a:pt x="468" y="487"/>
                </a:lnTo>
                <a:lnTo>
                  <a:pt x="468" y="487"/>
                </a:lnTo>
                <a:lnTo>
                  <a:pt x="470" y="487"/>
                </a:lnTo>
                <a:lnTo>
                  <a:pt x="470" y="487"/>
                </a:lnTo>
                <a:lnTo>
                  <a:pt x="472" y="484"/>
                </a:lnTo>
                <a:lnTo>
                  <a:pt x="472" y="484"/>
                </a:lnTo>
                <a:lnTo>
                  <a:pt x="472" y="484"/>
                </a:lnTo>
                <a:lnTo>
                  <a:pt x="475" y="484"/>
                </a:lnTo>
                <a:lnTo>
                  <a:pt x="475" y="484"/>
                </a:lnTo>
                <a:lnTo>
                  <a:pt x="477" y="487"/>
                </a:lnTo>
                <a:lnTo>
                  <a:pt x="477" y="487"/>
                </a:lnTo>
                <a:lnTo>
                  <a:pt x="480" y="487"/>
                </a:lnTo>
                <a:lnTo>
                  <a:pt x="480" y="487"/>
                </a:lnTo>
                <a:lnTo>
                  <a:pt x="480" y="487"/>
                </a:lnTo>
                <a:lnTo>
                  <a:pt x="480" y="489"/>
                </a:lnTo>
                <a:lnTo>
                  <a:pt x="480" y="489"/>
                </a:lnTo>
                <a:lnTo>
                  <a:pt x="480" y="494"/>
                </a:lnTo>
                <a:lnTo>
                  <a:pt x="480" y="494"/>
                </a:lnTo>
                <a:lnTo>
                  <a:pt x="477" y="497"/>
                </a:lnTo>
                <a:lnTo>
                  <a:pt x="477" y="497"/>
                </a:lnTo>
                <a:lnTo>
                  <a:pt x="475" y="497"/>
                </a:lnTo>
                <a:lnTo>
                  <a:pt x="475" y="497"/>
                </a:lnTo>
                <a:lnTo>
                  <a:pt x="472" y="497"/>
                </a:lnTo>
                <a:lnTo>
                  <a:pt x="472" y="497"/>
                </a:lnTo>
                <a:lnTo>
                  <a:pt x="470" y="497"/>
                </a:lnTo>
                <a:lnTo>
                  <a:pt x="470" y="497"/>
                </a:lnTo>
                <a:lnTo>
                  <a:pt x="465" y="497"/>
                </a:lnTo>
                <a:lnTo>
                  <a:pt x="465" y="497"/>
                </a:lnTo>
                <a:lnTo>
                  <a:pt x="465" y="494"/>
                </a:lnTo>
                <a:lnTo>
                  <a:pt x="465" y="494"/>
                </a:lnTo>
                <a:lnTo>
                  <a:pt x="463" y="497"/>
                </a:lnTo>
                <a:lnTo>
                  <a:pt x="463" y="497"/>
                </a:lnTo>
                <a:lnTo>
                  <a:pt x="463" y="497"/>
                </a:lnTo>
                <a:lnTo>
                  <a:pt x="465" y="497"/>
                </a:lnTo>
                <a:lnTo>
                  <a:pt x="465" y="497"/>
                </a:lnTo>
                <a:lnTo>
                  <a:pt x="470" y="497"/>
                </a:lnTo>
                <a:lnTo>
                  <a:pt x="470" y="497"/>
                </a:lnTo>
                <a:lnTo>
                  <a:pt x="472" y="499"/>
                </a:lnTo>
                <a:lnTo>
                  <a:pt x="472" y="499"/>
                </a:lnTo>
                <a:lnTo>
                  <a:pt x="475" y="501"/>
                </a:lnTo>
                <a:lnTo>
                  <a:pt x="475" y="501"/>
                </a:lnTo>
                <a:lnTo>
                  <a:pt x="472" y="501"/>
                </a:lnTo>
                <a:lnTo>
                  <a:pt x="472" y="501"/>
                </a:lnTo>
                <a:lnTo>
                  <a:pt x="475" y="499"/>
                </a:lnTo>
                <a:lnTo>
                  <a:pt x="475" y="499"/>
                </a:lnTo>
                <a:lnTo>
                  <a:pt x="477" y="499"/>
                </a:lnTo>
                <a:lnTo>
                  <a:pt x="477" y="499"/>
                </a:lnTo>
                <a:lnTo>
                  <a:pt x="482" y="499"/>
                </a:lnTo>
                <a:lnTo>
                  <a:pt x="482" y="499"/>
                </a:lnTo>
                <a:lnTo>
                  <a:pt x="485" y="499"/>
                </a:lnTo>
                <a:lnTo>
                  <a:pt x="485" y="499"/>
                </a:lnTo>
                <a:lnTo>
                  <a:pt x="485" y="501"/>
                </a:lnTo>
                <a:lnTo>
                  <a:pt x="485" y="501"/>
                </a:lnTo>
                <a:lnTo>
                  <a:pt x="490" y="504"/>
                </a:lnTo>
                <a:lnTo>
                  <a:pt x="490" y="504"/>
                </a:lnTo>
                <a:lnTo>
                  <a:pt x="490" y="506"/>
                </a:lnTo>
                <a:lnTo>
                  <a:pt x="490" y="506"/>
                </a:lnTo>
                <a:lnTo>
                  <a:pt x="490" y="506"/>
                </a:lnTo>
                <a:lnTo>
                  <a:pt x="492" y="506"/>
                </a:lnTo>
                <a:lnTo>
                  <a:pt x="492" y="506"/>
                </a:lnTo>
                <a:lnTo>
                  <a:pt x="492" y="509"/>
                </a:lnTo>
                <a:lnTo>
                  <a:pt x="492" y="509"/>
                </a:lnTo>
                <a:lnTo>
                  <a:pt x="495" y="509"/>
                </a:lnTo>
                <a:lnTo>
                  <a:pt x="495" y="509"/>
                </a:lnTo>
                <a:lnTo>
                  <a:pt x="497" y="511"/>
                </a:lnTo>
                <a:lnTo>
                  <a:pt x="497" y="511"/>
                </a:lnTo>
                <a:lnTo>
                  <a:pt x="497" y="511"/>
                </a:lnTo>
                <a:lnTo>
                  <a:pt x="500" y="514"/>
                </a:lnTo>
                <a:lnTo>
                  <a:pt x="500" y="514"/>
                </a:lnTo>
                <a:lnTo>
                  <a:pt x="500" y="514"/>
                </a:lnTo>
                <a:lnTo>
                  <a:pt x="502" y="514"/>
                </a:lnTo>
                <a:lnTo>
                  <a:pt x="502" y="514"/>
                </a:lnTo>
                <a:lnTo>
                  <a:pt x="502" y="516"/>
                </a:lnTo>
                <a:lnTo>
                  <a:pt x="502" y="516"/>
                </a:lnTo>
                <a:lnTo>
                  <a:pt x="504" y="516"/>
                </a:lnTo>
                <a:lnTo>
                  <a:pt x="504" y="516"/>
                </a:lnTo>
                <a:lnTo>
                  <a:pt x="504" y="519"/>
                </a:lnTo>
                <a:lnTo>
                  <a:pt x="504" y="519"/>
                </a:lnTo>
                <a:lnTo>
                  <a:pt x="502" y="521"/>
                </a:lnTo>
                <a:lnTo>
                  <a:pt x="502" y="521"/>
                </a:lnTo>
                <a:lnTo>
                  <a:pt x="500" y="521"/>
                </a:lnTo>
                <a:lnTo>
                  <a:pt x="500" y="521"/>
                </a:lnTo>
                <a:lnTo>
                  <a:pt x="500" y="524"/>
                </a:lnTo>
                <a:lnTo>
                  <a:pt x="500" y="524"/>
                </a:lnTo>
                <a:lnTo>
                  <a:pt x="500" y="526"/>
                </a:lnTo>
                <a:lnTo>
                  <a:pt x="500" y="526"/>
                </a:lnTo>
                <a:lnTo>
                  <a:pt x="500" y="526"/>
                </a:lnTo>
                <a:lnTo>
                  <a:pt x="500" y="524"/>
                </a:lnTo>
                <a:lnTo>
                  <a:pt x="500" y="524"/>
                </a:lnTo>
                <a:lnTo>
                  <a:pt x="502" y="521"/>
                </a:lnTo>
                <a:lnTo>
                  <a:pt x="502" y="521"/>
                </a:lnTo>
                <a:lnTo>
                  <a:pt x="504" y="521"/>
                </a:lnTo>
                <a:lnTo>
                  <a:pt x="504" y="521"/>
                </a:lnTo>
                <a:lnTo>
                  <a:pt x="504" y="521"/>
                </a:lnTo>
                <a:lnTo>
                  <a:pt x="504" y="524"/>
                </a:lnTo>
                <a:lnTo>
                  <a:pt x="504" y="524"/>
                </a:lnTo>
                <a:lnTo>
                  <a:pt x="504" y="526"/>
                </a:lnTo>
                <a:lnTo>
                  <a:pt x="504" y="526"/>
                </a:lnTo>
                <a:lnTo>
                  <a:pt x="504" y="526"/>
                </a:lnTo>
                <a:lnTo>
                  <a:pt x="504" y="524"/>
                </a:lnTo>
                <a:lnTo>
                  <a:pt x="504" y="524"/>
                </a:lnTo>
                <a:lnTo>
                  <a:pt x="507" y="524"/>
                </a:lnTo>
                <a:lnTo>
                  <a:pt x="507" y="524"/>
                </a:lnTo>
                <a:lnTo>
                  <a:pt x="509" y="524"/>
                </a:lnTo>
                <a:lnTo>
                  <a:pt x="509" y="524"/>
                </a:lnTo>
                <a:lnTo>
                  <a:pt x="509" y="524"/>
                </a:lnTo>
                <a:lnTo>
                  <a:pt x="509" y="526"/>
                </a:lnTo>
                <a:lnTo>
                  <a:pt x="509" y="526"/>
                </a:lnTo>
                <a:lnTo>
                  <a:pt x="507" y="529"/>
                </a:lnTo>
                <a:lnTo>
                  <a:pt x="507" y="529"/>
                </a:lnTo>
                <a:lnTo>
                  <a:pt x="504" y="529"/>
                </a:lnTo>
                <a:lnTo>
                  <a:pt x="504" y="529"/>
                </a:lnTo>
                <a:lnTo>
                  <a:pt x="504" y="531"/>
                </a:lnTo>
                <a:lnTo>
                  <a:pt x="504" y="531"/>
                </a:lnTo>
                <a:lnTo>
                  <a:pt x="504" y="533"/>
                </a:lnTo>
                <a:lnTo>
                  <a:pt x="504" y="533"/>
                </a:lnTo>
                <a:lnTo>
                  <a:pt x="504" y="533"/>
                </a:lnTo>
                <a:lnTo>
                  <a:pt x="504" y="536"/>
                </a:lnTo>
                <a:lnTo>
                  <a:pt x="504" y="536"/>
                </a:lnTo>
                <a:lnTo>
                  <a:pt x="504" y="538"/>
                </a:lnTo>
                <a:lnTo>
                  <a:pt x="504" y="538"/>
                </a:lnTo>
                <a:lnTo>
                  <a:pt x="504" y="541"/>
                </a:lnTo>
                <a:lnTo>
                  <a:pt x="504" y="541"/>
                </a:lnTo>
                <a:lnTo>
                  <a:pt x="504" y="541"/>
                </a:lnTo>
                <a:lnTo>
                  <a:pt x="504" y="536"/>
                </a:lnTo>
                <a:lnTo>
                  <a:pt x="504" y="536"/>
                </a:lnTo>
                <a:lnTo>
                  <a:pt x="507" y="533"/>
                </a:lnTo>
                <a:lnTo>
                  <a:pt x="507" y="533"/>
                </a:lnTo>
                <a:lnTo>
                  <a:pt x="509" y="531"/>
                </a:lnTo>
                <a:lnTo>
                  <a:pt x="509" y="531"/>
                </a:lnTo>
                <a:lnTo>
                  <a:pt x="512" y="531"/>
                </a:lnTo>
                <a:lnTo>
                  <a:pt x="512" y="531"/>
                </a:lnTo>
                <a:lnTo>
                  <a:pt x="512" y="533"/>
                </a:lnTo>
                <a:lnTo>
                  <a:pt x="512" y="533"/>
                </a:lnTo>
                <a:lnTo>
                  <a:pt x="509" y="536"/>
                </a:lnTo>
                <a:lnTo>
                  <a:pt x="509" y="536"/>
                </a:lnTo>
                <a:lnTo>
                  <a:pt x="509" y="538"/>
                </a:lnTo>
                <a:lnTo>
                  <a:pt x="509" y="538"/>
                </a:lnTo>
                <a:lnTo>
                  <a:pt x="509" y="538"/>
                </a:lnTo>
                <a:lnTo>
                  <a:pt x="509" y="538"/>
                </a:lnTo>
                <a:lnTo>
                  <a:pt x="512" y="538"/>
                </a:lnTo>
                <a:lnTo>
                  <a:pt x="512" y="538"/>
                </a:lnTo>
                <a:lnTo>
                  <a:pt x="512" y="543"/>
                </a:lnTo>
                <a:lnTo>
                  <a:pt x="512" y="543"/>
                </a:lnTo>
                <a:lnTo>
                  <a:pt x="509" y="543"/>
                </a:lnTo>
                <a:lnTo>
                  <a:pt x="509" y="543"/>
                </a:lnTo>
                <a:lnTo>
                  <a:pt x="507" y="543"/>
                </a:lnTo>
                <a:lnTo>
                  <a:pt x="507" y="543"/>
                </a:lnTo>
                <a:lnTo>
                  <a:pt x="507" y="546"/>
                </a:lnTo>
                <a:lnTo>
                  <a:pt x="507" y="546"/>
                </a:lnTo>
                <a:lnTo>
                  <a:pt x="507" y="546"/>
                </a:lnTo>
                <a:lnTo>
                  <a:pt x="509" y="546"/>
                </a:lnTo>
                <a:lnTo>
                  <a:pt x="509" y="546"/>
                </a:lnTo>
                <a:lnTo>
                  <a:pt x="509" y="546"/>
                </a:lnTo>
                <a:lnTo>
                  <a:pt x="509" y="548"/>
                </a:lnTo>
                <a:lnTo>
                  <a:pt x="509" y="548"/>
                </a:lnTo>
                <a:lnTo>
                  <a:pt x="509" y="548"/>
                </a:lnTo>
                <a:lnTo>
                  <a:pt x="509" y="551"/>
                </a:lnTo>
                <a:lnTo>
                  <a:pt x="509" y="551"/>
                </a:lnTo>
                <a:lnTo>
                  <a:pt x="512" y="551"/>
                </a:lnTo>
                <a:lnTo>
                  <a:pt x="512" y="551"/>
                </a:lnTo>
                <a:lnTo>
                  <a:pt x="512" y="553"/>
                </a:lnTo>
                <a:lnTo>
                  <a:pt x="512" y="553"/>
                </a:lnTo>
                <a:lnTo>
                  <a:pt x="509" y="556"/>
                </a:lnTo>
                <a:lnTo>
                  <a:pt x="509" y="556"/>
                </a:lnTo>
                <a:lnTo>
                  <a:pt x="509" y="558"/>
                </a:lnTo>
                <a:lnTo>
                  <a:pt x="509" y="558"/>
                </a:lnTo>
                <a:lnTo>
                  <a:pt x="509" y="563"/>
                </a:lnTo>
                <a:lnTo>
                  <a:pt x="509" y="563"/>
                </a:lnTo>
                <a:lnTo>
                  <a:pt x="509" y="563"/>
                </a:lnTo>
                <a:lnTo>
                  <a:pt x="509" y="565"/>
                </a:lnTo>
                <a:lnTo>
                  <a:pt x="509" y="565"/>
                </a:lnTo>
                <a:lnTo>
                  <a:pt x="509" y="568"/>
                </a:lnTo>
                <a:lnTo>
                  <a:pt x="509" y="568"/>
                </a:lnTo>
                <a:lnTo>
                  <a:pt x="507" y="568"/>
                </a:lnTo>
                <a:lnTo>
                  <a:pt x="507" y="568"/>
                </a:lnTo>
                <a:lnTo>
                  <a:pt x="507" y="568"/>
                </a:lnTo>
                <a:lnTo>
                  <a:pt x="504" y="565"/>
                </a:lnTo>
                <a:lnTo>
                  <a:pt x="504" y="565"/>
                </a:lnTo>
                <a:lnTo>
                  <a:pt x="507" y="565"/>
                </a:lnTo>
                <a:lnTo>
                  <a:pt x="507" y="565"/>
                </a:lnTo>
                <a:lnTo>
                  <a:pt x="504" y="563"/>
                </a:lnTo>
                <a:lnTo>
                  <a:pt x="504" y="563"/>
                </a:lnTo>
                <a:lnTo>
                  <a:pt x="504" y="563"/>
                </a:lnTo>
                <a:lnTo>
                  <a:pt x="502" y="563"/>
                </a:lnTo>
                <a:lnTo>
                  <a:pt x="502" y="563"/>
                </a:lnTo>
                <a:lnTo>
                  <a:pt x="502" y="565"/>
                </a:lnTo>
                <a:lnTo>
                  <a:pt x="502" y="565"/>
                </a:lnTo>
                <a:lnTo>
                  <a:pt x="500" y="563"/>
                </a:lnTo>
                <a:lnTo>
                  <a:pt x="500" y="563"/>
                </a:lnTo>
                <a:lnTo>
                  <a:pt x="500" y="560"/>
                </a:lnTo>
                <a:lnTo>
                  <a:pt x="500" y="560"/>
                </a:lnTo>
                <a:lnTo>
                  <a:pt x="502" y="558"/>
                </a:lnTo>
                <a:lnTo>
                  <a:pt x="502" y="558"/>
                </a:lnTo>
                <a:lnTo>
                  <a:pt x="500" y="556"/>
                </a:lnTo>
                <a:lnTo>
                  <a:pt x="500" y="556"/>
                </a:lnTo>
                <a:lnTo>
                  <a:pt x="500" y="553"/>
                </a:lnTo>
                <a:lnTo>
                  <a:pt x="500" y="553"/>
                </a:lnTo>
                <a:lnTo>
                  <a:pt x="500" y="553"/>
                </a:lnTo>
                <a:lnTo>
                  <a:pt x="500" y="551"/>
                </a:lnTo>
                <a:lnTo>
                  <a:pt x="500" y="551"/>
                </a:lnTo>
                <a:lnTo>
                  <a:pt x="500" y="551"/>
                </a:lnTo>
                <a:lnTo>
                  <a:pt x="497" y="553"/>
                </a:lnTo>
                <a:lnTo>
                  <a:pt x="497" y="553"/>
                </a:lnTo>
                <a:lnTo>
                  <a:pt x="497" y="556"/>
                </a:lnTo>
                <a:lnTo>
                  <a:pt x="497" y="556"/>
                </a:lnTo>
                <a:lnTo>
                  <a:pt x="497" y="558"/>
                </a:lnTo>
                <a:lnTo>
                  <a:pt x="497" y="558"/>
                </a:lnTo>
                <a:lnTo>
                  <a:pt x="497" y="563"/>
                </a:lnTo>
                <a:lnTo>
                  <a:pt x="497" y="563"/>
                </a:lnTo>
                <a:lnTo>
                  <a:pt x="497" y="565"/>
                </a:lnTo>
                <a:lnTo>
                  <a:pt x="497" y="565"/>
                </a:lnTo>
                <a:lnTo>
                  <a:pt x="497" y="565"/>
                </a:lnTo>
                <a:lnTo>
                  <a:pt x="495" y="565"/>
                </a:lnTo>
                <a:lnTo>
                  <a:pt x="495" y="565"/>
                </a:lnTo>
                <a:lnTo>
                  <a:pt x="492" y="565"/>
                </a:lnTo>
                <a:lnTo>
                  <a:pt x="492" y="565"/>
                </a:lnTo>
                <a:lnTo>
                  <a:pt x="490" y="565"/>
                </a:lnTo>
                <a:lnTo>
                  <a:pt x="490" y="565"/>
                </a:lnTo>
                <a:lnTo>
                  <a:pt x="490" y="565"/>
                </a:lnTo>
                <a:lnTo>
                  <a:pt x="485" y="563"/>
                </a:lnTo>
                <a:lnTo>
                  <a:pt x="485" y="563"/>
                </a:lnTo>
                <a:lnTo>
                  <a:pt x="482" y="558"/>
                </a:lnTo>
                <a:lnTo>
                  <a:pt x="482" y="558"/>
                </a:lnTo>
                <a:lnTo>
                  <a:pt x="480" y="556"/>
                </a:lnTo>
                <a:lnTo>
                  <a:pt x="480" y="556"/>
                </a:lnTo>
                <a:lnTo>
                  <a:pt x="480" y="553"/>
                </a:lnTo>
                <a:lnTo>
                  <a:pt x="480" y="553"/>
                </a:lnTo>
                <a:lnTo>
                  <a:pt x="480" y="548"/>
                </a:lnTo>
                <a:lnTo>
                  <a:pt x="480" y="548"/>
                </a:lnTo>
                <a:lnTo>
                  <a:pt x="477" y="546"/>
                </a:lnTo>
                <a:lnTo>
                  <a:pt x="477" y="546"/>
                </a:lnTo>
                <a:lnTo>
                  <a:pt x="475" y="543"/>
                </a:lnTo>
                <a:lnTo>
                  <a:pt x="475" y="543"/>
                </a:lnTo>
                <a:lnTo>
                  <a:pt x="475" y="541"/>
                </a:lnTo>
                <a:lnTo>
                  <a:pt x="475" y="541"/>
                </a:lnTo>
                <a:lnTo>
                  <a:pt x="475" y="538"/>
                </a:lnTo>
                <a:lnTo>
                  <a:pt x="475" y="538"/>
                </a:lnTo>
                <a:lnTo>
                  <a:pt x="477" y="536"/>
                </a:lnTo>
                <a:lnTo>
                  <a:pt x="477" y="536"/>
                </a:lnTo>
                <a:lnTo>
                  <a:pt x="475" y="533"/>
                </a:lnTo>
                <a:lnTo>
                  <a:pt x="475" y="533"/>
                </a:lnTo>
                <a:lnTo>
                  <a:pt x="475" y="533"/>
                </a:lnTo>
                <a:lnTo>
                  <a:pt x="472" y="533"/>
                </a:lnTo>
                <a:lnTo>
                  <a:pt x="472" y="533"/>
                </a:lnTo>
                <a:lnTo>
                  <a:pt x="470" y="536"/>
                </a:lnTo>
                <a:lnTo>
                  <a:pt x="470" y="536"/>
                </a:lnTo>
                <a:lnTo>
                  <a:pt x="470" y="533"/>
                </a:lnTo>
                <a:lnTo>
                  <a:pt x="470" y="533"/>
                </a:lnTo>
                <a:lnTo>
                  <a:pt x="465" y="529"/>
                </a:lnTo>
                <a:lnTo>
                  <a:pt x="465" y="529"/>
                </a:lnTo>
                <a:lnTo>
                  <a:pt x="463" y="526"/>
                </a:lnTo>
                <a:lnTo>
                  <a:pt x="463" y="526"/>
                </a:lnTo>
                <a:lnTo>
                  <a:pt x="463" y="524"/>
                </a:lnTo>
                <a:lnTo>
                  <a:pt x="463" y="524"/>
                </a:lnTo>
                <a:lnTo>
                  <a:pt x="460" y="526"/>
                </a:lnTo>
                <a:lnTo>
                  <a:pt x="460" y="526"/>
                </a:lnTo>
                <a:lnTo>
                  <a:pt x="458" y="526"/>
                </a:lnTo>
                <a:lnTo>
                  <a:pt x="458" y="526"/>
                </a:lnTo>
                <a:lnTo>
                  <a:pt x="455" y="524"/>
                </a:lnTo>
                <a:lnTo>
                  <a:pt x="455" y="524"/>
                </a:lnTo>
                <a:lnTo>
                  <a:pt x="455" y="526"/>
                </a:lnTo>
                <a:lnTo>
                  <a:pt x="455" y="526"/>
                </a:lnTo>
                <a:lnTo>
                  <a:pt x="453" y="526"/>
                </a:lnTo>
                <a:lnTo>
                  <a:pt x="453" y="526"/>
                </a:lnTo>
                <a:lnTo>
                  <a:pt x="450" y="526"/>
                </a:lnTo>
                <a:lnTo>
                  <a:pt x="450" y="526"/>
                </a:lnTo>
                <a:lnTo>
                  <a:pt x="448" y="524"/>
                </a:lnTo>
                <a:lnTo>
                  <a:pt x="448" y="524"/>
                </a:lnTo>
                <a:lnTo>
                  <a:pt x="448" y="521"/>
                </a:lnTo>
                <a:lnTo>
                  <a:pt x="448" y="521"/>
                </a:lnTo>
                <a:lnTo>
                  <a:pt x="445" y="519"/>
                </a:lnTo>
                <a:lnTo>
                  <a:pt x="445" y="519"/>
                </a:lnTo>
                <a:lnTo>
                  <a:pt x="445" y="516"/>
                </a:lnTo>
                <a:lnTo>
                  <a:pt x="445" y="516"/>
                </a:lnTo>
                <a:lnTo>
                  <a:pt x="443" y="516"/>
                </a:lnTo>
                <a:lnTo>
                  <a:pt x="443" y="516"/>
                </a:lnTo>
                <a:lnTo>
                  <a:pt x="443" y="511"/>
                </a:lnTo>
                <a:lnTo>
                  <a:pt x="443" y="511"/>
                </a:lnTo>
                <a:lnTo>
                  <a:pt x="441" y="509"/>
                </a:lnTo>
                <a:lnTo>
                  <a:pt x="441" y="509"/>
                </a:lnTo>
                <a:lnTo>
                  <a:pt x="441" y="511"/>
                </a:lnTo>
                <a:lnTo>
                  <a:pt x="441" y="511"/>
                </a:lnTo>
                <a:lnTo>
                  <a:pt x="441" y="514"/>
                </a:lnTo>
                <a:lnTo>
                  <a:pt x="441" y="514"/>
                </a:lnTo>
                <a:lnTo>
                  <a:pt x="441" y="516"/>
                </a:lnTo>
                <a:lnTo>
                  <a:pt x="441" y="516"/>
                </a:lnTo>
                <a:lnTo>
                  <a:pt x="438" y="516"/>
                </a:lnTo>
                <a:lnTo>
                  <a:pt x="438" y="516"/>
                </a:lnTo>
                <a:lnTo>
                  <a:pt x="438" y="519"/>
                </a:lnTo>
                <a:lnTo>
                  <a:pt x="438" y="519"/>
                </a:lnTo>
                <a:lnTo>
                  <a:pt x="441" y="519"/>
                </a:lnTo>
                <a:lnTo>
                  <a:pt x="441" y="519"/>
                </a:lnTo>
                <a:lnTo>
                  <a:pt x="441" y="519"/>
                </a:lnTo>
                <a:lnTo>
                  <a:pt x="443" y="521"/>
                </a:lnTo>
                <a:lnTo>
                  <a:pt x="443" y="521"/>
                </a:lnTo>
                <a:lnTo>
                  <a:pt x="445" y="524"/>
                </a:lnTo>
                <a:lnTo>
                  <a:pt x="445" y="524"/>
                </a:lnTo>
                <a:lnTo>
                  <a:pt x="443" y="526"/>
                </a:lnTo>
                <a:lnTo>
                  <a:pt x="443" y="526"/>
                </a:lnTo>
                <a:lnTo>
                  <a:pt x="441" y="526"/>
                </a:lnTo>
                <a:lnTo>
                  <a:pt x="441" y="526"/>
                </a:lnTo>
                <a:lnTo>
                  <a:pt x="441" y="526"/>
                </a:lnTo>
                <a:lnTo>
                  <a:pt x="438" y="529"/>
                </a:lnTo>
                <a:lnTo>
                  <a:pt x="438" y="529"/>
                </a:lnTo>
                <a:lnTo>
                  <a:pt x="436" y="526"/>
                </a:lnTo>
                <a:lnTo>
                  <a:pt x="436" y="526"/>
                </a:lnTo>
                <a:lnTo>
                  <a:pt x="436" y="529"/>
                </a:lnTo>
                <a:lnTo>
                  <a:pt x="436" y="529"/>
                </a:lnTo>
                <a:lnTo>
                  <a:pt x="438" y="529"/>
                </a:lnTo>
                <a:lnTo>
                  <a:pt x="438" y="529"/>
                </a:lnTo>
                <a:lnTo>
                  <a:pt x="441" y="529"/>
                </a:lnTo>
                <a:lnTo>
                  <a:pt x="441" y="529"/>
                </a:lnTo>
                <a:lnTo>
                  <a:pt x="443" y="526"/>
                </a:lnTo>
                <a:lnTo>
                  <a:pt x="443" y="526"/>
                </a:lnTo>
                <a:lnTo>
                  <a:pt x="445" y="526"/>
                </a:lnTo>
                <a:lnTo>
                  <a:pt x="445" y="526"/>
                </a:lnTo>
                <a:lnTo>
                  <a:pt x="448" y="526"/>
                </a:lnTo>
                <a:lnTo>
                  <a:pt x="448" y="526"/>
                </a:lnTo>
                <a:lnTo>
                  <a:pt x="448" y="526"/>
                </a:lnTo>
                <a:lnTo>
                  <a:pt x="448" y="529"/>
                </a:lnTo>
                <a:lnTo>
                  <a:pt x="448" y="529"/>
                </a:lnTo>
                <a:lnTo>
                  <a:pt x="450" y="529"/>
                </a:lnTo>
                <a:lnTo>
                  <a:pt x="450" y="529"/>
                </a:lnTo>
                <a:lnTo>
                  <a:pt x="453" y="529"/>
                </a:lnTo>
                <a:lnTo>
                  <a:pt x="453" y="529"/>
                </a:lnTo>
                <a:lnTo>
                  <a:pt x="453" y="529"/>
                </a:lnTo>
                <a:lnTo>
                  <a:pt x="460" y="531"/>
                </a:lnTo>
                <a:lnTo>
                  <a:pt x="460" y="531"/>
                </a:lnTo>
                <a:lnTo>
                  <a:pt x="463" y="531"/>
                </a:lnTo>
                <a:lnTo>
                  <a:pt x="463" y="531"/>
                </a:lnTo>
                <a:lnTo>
                  <a:pt x="465" y="531"/>
                </a:lnTo>
                <a:lnTo>
                  <a:pt x="465" y="531"/>
                </a:lnTo>
                <a:lnTo>
                  <a:pt x="465" y="533"/>
                </a:lnTo>
                <a:lnTo>
                  <a:pt x="465" y="533"/>
                </a:lnTo>
                <a:lnTo>
                  <a:pt x="468" y="536"/>
                </a:lnTo>
                <a:lnTo>
                  <a:pt x="468" y="536"/>
                </a:lnTo>
                <a:lnTo>
                  <a:pt x="465" y="538"/>
                </a:lnTo>
                <a:lnTo>
                  <a:pt x="465" y="538"/>
                </a:lnTo>
                <a:lnTo>
                  <a:pt x="463" y="541"/>
                </a:lnTo>
                <a:lnTo>
                  <a:pt x="463" y="541"/>
                </a:lnTo>
                <a:lnTo>
                  <a:pt x="463" y="543"/>
                </a:lnTo>
                <a:lnTo>
                  <a:pt x="463" y="543"/>
                </a:lnTo>
                <a:lnTo>
                  <a:pt x="460" y="543"/>
                </a:lnTo>
                <a:lnTo>
                  <a:pt x="460" y="543"/>
                </a:lnTo>
                <a:lnTo>
                  <a:pt x="458" y="543"/>
                </a:lnTo>
                <a:lnTo>
                  <a:pt x="458" y="543"/>
                </a:lnTo>
                <a:lnTo>
                  <a:pt x="450" y="546"/>
                </a:lnTo>
                <a:lnTo>
                  <a:pt x="450" y="546"/>
                </a:lnTo>
                <a:lnTo>
                  <a:pt x="448" y="546"/>
                </a:lnTo>
                <a:lnTo>
                  <a:pt x="448" y="546"/>
                </a:lnTo>
                <a:lnTo>
                  <a:pt x="443" y="548"/>
                </a:lnTo>
                <a:lnTo>
                  <a:pt x="443" y="548"/>
                </a:lnTo>
                <a:lnTo>
                  <a:pt x="443" y="546"/>
                </a:lnTo>
                <a:lnTo>
                  <a:pt x="443" y="546"/>
                </a:lnTo>
                <a:lnTo>
                  <a:pt x="441" y="543"/>
                </a:lnTo>
                <a:lnTo>
                  <a:pt x="441" y="543"/>
                </a:lnTo>
                <a:lnTo>
                  <a:pt x="441" y="541"/>
                </a:lnTo>
                <a:lnTo>
                  <a:pt x="441" y="541"/>
                </a:lnTo>
                <a:lnTo>
                  <a:pt x="441" y="541"/>
                </a:lnTo>
                <a:lnTo>
                  <a:pt x="438" y="541"/>
                </a:lnTo>
                <a:lnTo>
                  <a:pt x="438" y="541"/>
                </a:lnTo>
                <a:lnTo>
                  <a:pt x="438" y="543"/>
                </a:lnTo>
                <a:lnTo>
                  <a:pt x="438" y="543"/>
                </a:lnTo>
                <a:lnTo>
                  <a:pt x="438" y="543"/>
                </a:lnTo>
                <a:lnTo>
                  <a:pt x="438" y="546"/>
                </a:lnTo>
                <a:lnTo>
                  <a:pt x="438" y="546"/>
                </a:lnTo>
                <a:lnTo>
                  <a:pt x="438" y="546"/>
                </a:lnTo>
                <a:lnTo>
                  <a:pt x="436" y="546"/>
                </a:lnTo>
                <a:lnTo>
                  <a:pt x="436" y="546"/>
                </a:lnTo>
                <a:lnTo>
                  <a:pt x="436" y="546"/>
                </a:lnTo>
                <a:lnTo>
                  <a:pt x="436" y="546"/>
                </a:lnTo>
                <a:lnTo>
                  <a:pt x="433" y="546"/>
                </a:lnTo>
                <a:lnTo>
                  <a:pt x="433" y="546"/>
                </a:lnTo>
                <a:lnTo>
                  <a:pt x="433" y="548"/>
                </a:lnTo>
                <a:lnTo>
                  <a:pt x="433" y="548"/>
                </a:lnTo>
                <a:lnTo>
                  <a:pt x="436" y="548"/>
                </a:lnTo>
                <a:lnTo>
                  <a:pt x="436" y="548"/>
                </a:lnTo>
                <a:lnTo>
                  <a:pt x="436" y="548"/>
                </a:lnTo>
                <a:lnTo>
                  <a:pt x="438" y="551"/>
                </a:lnTo>
                <a:lnTo>
                  <a:pt x="438" y="551"/>
                </a:lnTo>
                <a:lnTo>
                  <a:pt x="436" y="553"/>
                </a:lnTo>
                <a:lnTo>
                  <a:pt x="436" y="553"/>
                </a:lnTo>
                <a:lnTo>
                  <a:pt x="436" y="553"/>
                </a:lnTo>
                <a:lnTo>
                  <a:pt x="433" y="553"/>
                </a:lnTo>
                <a:lnTo>
                  <a:pt x="433" y="553"/>
                </a:lnTo>
                <a:lnTo>
                  <a:pt x="433" y="556"/>
                </a:lnTo>
                <a:lnTo>
                  <a:pt x="433" y="556"/>
                </a:lnTo>
                <a:lnTo>
                  <a:pt x="431" y="556"/>
                </a:lnTo>
                <a:lnTo>
                  <a:pt x="431" y="556"/>
                </a:lnTo>
                <a:lnTo>
                  <a:pt x="431" y="558"/>
                </a:lnTo>
                <a:lnTo>
                  <a:pt x="431" y="558"/>
                </a:lnTo>
                <a:lnTo>
                  <a:pt x="426" y="560"/>
                </a:lnTo>
                <a:lnTo>
                  <a:pt x="426" y="560"/>
                </a:lnTo>
                <a:lnTo>
                  <a:pt x="421" y="560"/>
                </a:lnTo>
                <a:lnTo>
                  <a:pt x="421" y="560"/>
                </a:lnTo>
                <a:lnTo>
                  <a:pt x="421" y="560"/>
                </a:lnTo>
                <a:lnTo>
                  <a:pt x="418" y="563"/>
                </a:lnTo>
                <a:lnTo>
                  <a:pt x="418" y="563"/>
                </a:lnTo>
                <a:lnTo>
                  <a:pt x="416" y="563"/>
                </a:lnTo>
                <a:lnTo>
                  <a:pt x="416" y="563"/>
                </a:lnTo>
                <a:lnTo>
                  <a:pt x="418" y="565"/>
                </a:lnTo>
                <a:lnTo>
                  <a:pt x="418" y="565"/>
                </a:lnTo>
                <a:lnTo>
                  <a:pt x="423" y="563"/>
                </a:lnTo>
                <a:lnTo>
                  <a:pt x="423" y="563"/>
                </a:lnTo>
                <a:lnTo>
                  <a:pt x="426" y="563"/>
                </a:lnTo>
                <a:lnTo>
                  <a:pt x="426" y="563"/>
                </a:lnTo>
                <a:lnTo>
                  <a:pt x="428" y="560"/>
                </a:lnTo>
                <a:lnTo>
                  <a:pt x="428" y="560"/>
                </a:lnTo>
                <a:lnTo>
                  <a:pt x="431" y="563"/>
                </a:lnTo>
                <a:lnTo>
                  <a:pt x="431" y="563"/>
                </a:lnTo>
                <a:lnTo>
                  <a:pt x="431" y="563"/>
                </a:lnTo>
                <a:lnTo>
                  <a:pt x="433" y="565"/>
                </a:lnTo>
                <a:lnTo>
                  <a:pt x="433" y="565"/>
                </a:lnTo>
                <a:lnTo>
                  <a:pt x="438" y="565"/>
                </a:lnTo>
                <a:lnTo>
                  <a:pt x="438" y="565"/>
                </a:lnTo>
                <a:lnTo>
                  <a:pt x="441" y="563"/>
                </a:lnTo>
                <a:lnTo>
                  <a:pt x="441" y="563"/>
                </a:lnTo>
                <a:lnTo>
                  <a:pt x="445" y="563"/>
                </a:lnTo>
                <a:lnTo>
                  <a:pt x="445" y="563"/>
                </a:lnTo>
                <a:lnTo>
                  <a:pt x="445" y="565"/>
                </a:lnTo>
                <a:lnTo>
                  <a:pt x="445" y="565"/>
                </a:lnTo>
                <a:lnTo>
                  <a:pt x="450" y="563"/>
                </a:lnTo>
                <a:lnTo>
                  <a:pt x="450" y="563"/>
                </a:lnTo>
                <a:lnTo>
                  <a:pt x="450" y="563"/>
                </a:lnTo>
                <a:lnTo>
                  <a:pt x="450" y="565"/>
                </a:lnTo>
                <a:lnTo>
                  <a:pt x="450" y="565"/>
                </a:lnTo>
                <a:lnTo>
                  <a:pt x="453" y="565"/>
                </a:lnTo>
                <a:lnTo>
                  <a:pt x="453" y="565"/>
                </a:lnTo>
                <a:lnTo>
                  <a:pt x="453" y="568"/>
                </a:lnTo>
                <a:lnTo>
                  <a:pt x="453" y="568"/>
                </a:lnTo>
                <a:lnTo>
                  <a:pt x="453" y="568"/>
                </a:lnTo>
                <a:lnTo>
                  <a:pt x="450" y="568"/>
                </a:lnTo>
                <a:lnTo>
                  <a:pt x="450" y="568"/>
                </a:lnTo>
                <a:lnTo>
                  <a:pt x="448" y="568"/>
                </a:lnTo>
                <a:lnTo>
                  <a:pt x="448" y="568"/>
                </a:lnTo>
                <a:lnTo>
                  <a:pt x="445" y="568"/>
                </a:lnTo>
                <a:lnTo>
                  <a:pt x="445" y="568"/>
                </a:lnTo>
                <a:lnTo>
                  <a:pt x="443" y="570"/>
                </a:lnTo>
                <a:lnTo>
                  <a:pt x="443" y="570"/>
                </a:lnTo>
                <a:lnTo>
                  <a:pt x="438" y="570"/>
                </a:lnTo>
                <a:lnTo>
                  <a:pt x="438" y="570"/>
                </a:lnTo>
                <a:lnTo>
                  <a:pt x="436" y="573"/>
                </a:lnTo>
                <a:lnTo>
                  <a:pt x="436" y="573"/>
                </a:lnTo>
                <a:lnTo>
                  <a:pt x="436" y="570"/>
                </a:lnTo>
                <a:lnTo>
                  <a:pt x="436" y="570"/>
                </a:lnTo>
                <a:lnTo>
                  <a:pt x="433" y="570"/>
                </a:lnTo>
                <a:lnTo>
                  <a:pt x="433" y="570"/>
                </a:lnTo>
                <a:lnTo>
                  <a:pt x="431" y="570"/>
                </a:lnTo>
                <a:lnTo>
                  <a:pt x="431" y="570"/>
                </a:lnTo>
                <a:lnTo>
                  <a:pt x="428" y="573"/>
                </a:lnTo>
                <a:lnTo>
                  <a:pt x="428" y="573"/>
                </a:lnTo>
                <a:lnTo>
                  <a:pt x="431" y="573"/>
                </a:lnTo>
                <a:lnTo>
                  <a:pt x="431" y="573"/>
                </a:lnTo>
                <a:lnTo>
                  <a:pt x="431" y="573"/>
                </a:lnTo>
                <a:lnTo>
                  <a:pt x="433" y="573"/>
                </a:lnTo>
                <a:lnTo>
                  <a:pt x="433" y="573"/>
                </a:lnTo>
                <a:lnTo>
                  <a:pt x="438" y="573"/>
                </a:lnTo>
                <a:lnTo>
                  <a:pt x="438" y="573"/>
                </a:lnTo>
                <a:lnTo>
                  <a:pt x="441" y="575"/>
                </a:lnTo>
                <a:lnTo>
                  <a:pt x="441" y="575"/>
                </a:lnTo>
                <a:lnTo>
                  <a:pt x="441" y="575"/>
                </a:lnTo>
                <a:lnTo>
                  <a:pt x="443" y="575"/>
                </a:lnTo>
                <a:lnTo>
                  <a:pt x="443" y="575"/>
                </a:lnTo>
                <a:lnTo>
                  <a:pt x="445" y="570"/>
                </a:lnTo>
                <a:lnTo>
                  <a:pt x="448" y="570"/>
                </a:lnTo>
                <a:lnTo>
                  <a:pt x="450" y="570"/>
                </a:lnTo>
                <a:lnTo>
                  <a:pt x="450" y="570"/>
                </a:lnTo>
                <a:lnTo>
                  <a:pt x="450" y="570"/>
                </a:lnTo>
                <a:lnTo>
                  <a:pt x="453" y="573"/>
                </a:lnTo>
                <a:lnTo>
                  <a:pt x="453" y="573"/>
                </a:lnTo>
                <a:lnTo>
                  <a:pt x="455" y="570"/>
                </a:lnTo>
                <a:lnTo>
                  <a:pt x="455" y="570"/>
                </a:lnTo>
                <a:lnTo>
                  <a:pt x="458" y="570"/>
                </a:lnTo>
                <a:lnTo>
                  <a:pt x="458" y="570"/>
                </a:lnTo>
                <a:lnTo>
                  <a:pt x="460" y="570"/>
                </a:lnTo>
                <a:lnTo>
                  <a:pt x="460" y="570"/>
                </a:lnTo>
                <a:lnTo>
                  <a:pt x="465" y="568"/>
                </a:lnTo>
                <a:lnTo>
                  <a:pt x="465" y="568"/>
                </a:lnTo>
                <a:lnTo>
                  <a:pt x="468" y="565"/>
                </a:lnTo>
                <a:lnTo>
                  <a:pt x="468" y="565"/>
                </a:lnTo>
                <a:lnTo>
                  <a:pt x="468" y="565"/>
                </a:lnTo>
                <a:lnTo>
                  <a:pt x="465" y="568"/>
                </a:lnTo>
                <a:lnTo>
                  <a:pt x="465" y="568"/>
                </a:lnTo>
                <a:lnTo>
                  <a:pt x="468" y="568"/>
                </a:lnTo>
                <a:lnTo>
                  <a:pt x="468" y="568"/>
                </a:lnTo>
                <a:lnTo>
                  <a:pt x="470" y="565"/>
                </a:lnTo>
                <a:lnTo>
                  <a:pt x="470" y="565"/>
                </a:lnTo>
                <a:lnTo>
                  <a:pt x="470" y="565"/>
                </a:lnTo>
                <a:lnTo>
                  <a:pt x="470" y="568"/>
                </a:lnTo>
                <a:lnTo>
                  <a:pt x="470" y="568"/>
                </a:lnTo>
                <a:lnTo>
                  <a:pt x="475" y="570"/>
                </a:lnTo>
                <a:lnTo>
                  <a:pt x="475" y="570"/>
                </a:lnTo>
                <a:lnTo>
                  <a:pt x="480" y="573"/>
                </a:lnTo>
                <a:lnTo>
                  <a:pt x="480" y="573"/>
                </a:lnTo>
                <a:lnTo>
                  <a:pt x="482" y="573"/>
                </a:lnTo>
                <a:lnTo>
                  <a:pt x="482" y="573"/>
                </a:lnTo>
                <a:lnTo>
                  <a:pt x="487" y="575"/>
                </a:lnTo>
                <a:lnTo>
                  <a:pt x="487" y="575"/>
                </a:lnTo>
                <a:lnTo>
                  <a:pt x="490" y="575"/>
                </a:lnTo>
                <a:lnTo>
                  <a:pt x="490" y="575"/>
                </a:lnTo>
                <a:lnTo>
                  <a:pt x="492" y="575"/>
                </a:lnTo>
                <a:lnTo>
                  <a:pt x="492" y="575"/>
                </a:lnTo>
                <a:lnTo>
                  <a:pt x="495" y="575"/>
                </a:lnTo>
                <a:lnTo>
                  <a:pt x="495" y="575"/>
                </a:lnTo>
                <a:lnTo>
                  <a:pt x="497" y="575"/>
                </a:lnTo>
                <a:lnTo>
                  <a:pt x="497" y="575"/>
                </a:lnTo>
                <a:lnTo>
                  <a:pt x="502" y="573"/>
                </a:lnTo>
                <a:lnTo>
                  <a:pt x="502" y="573"/>
                </a:lnTo>
                <a:lnTo>
                  <a:pt x="502" y="575"/>
                </a:lnTo>
                <a:lnTo>
                  <a:pt x="502" y="575"/>
                </a:lnTo>
                <a:lnTo>
                  <a:pt x="500" y="578"/>
                </a:lnTo>
                <a:lnTo>
                  <a:pt x="500" y="578"/>
                </a:lnTo>
                <a:lnTo>
                  <a:pt x="497" y="580"/>
                </a:lnTo>
                <a:lnTo>
                  <a:pt x="497" y="580"/>
                </a:lnTo>
                <a:lnTo>
                  <a:pt x="495" y="580"/>
                </a:lnTo>
                <a:lnTo>
                  <a:pt x="495" y="580"/>
                </a:lnTo>
                <a:lnTo>
                  <a:pt x="492" y="580"/>
                </a:lnTo>
                <a:lnTo>
                  <a:pt x="492" y="580"/>
                </a:lnTo>
                <a:lnTo>
                  <a:pt x="490" y="580"/>
                </a:lnTo>
                <a:lnTo>
                  <a:pt x="490" y="580"/>
                </a:lnTo>
                <a:lnTo>
                  <a:pt x="490" y="583"/>
                </a:lnTo>
                <a:lnTo>
                  <a:pt x="490" y="583"/>
                </a:lnTo>
                <a:lnTo>
                  <a:pt x="492" y="583"/>
                </a:lnTo>
                <a:lnTo>
                  <a:pt x="492" y="583"/>
                </a:lnTo>
                <a:lnTo>
                  <a:pt x="492" y="585"/>
                </a:lnTo>
                <a:lnTo>
                  <a:pt x="492" y="585"/>
                </a:lnTo>
                <a:lnTo>
                  <a:pt x="492" y="585"/>
                </a:lnTo>
                <a:lnTo>
                  <a:pt x="490" y="585"/>
                </a:lnTo>
                <a:lnTo>
                  <a:pt x="490" y="585"/>
                </a:lnTo>
                <a:lnTo>
                  <a:pt x="490" y="585"/>
                </a:lnTo>
                <a:lnTo>
                  <a:pt x="487" y="583"/>
                </a:lnTo>
                <a:lnTo>
                  <a:pt x="487" y="583"/>
                </a:lnTo>
                <a:lnTo>
                  <a:pt x="487" y="585"/>
                </a:lnTo>
                <a:lnTo>
                  <a:pt x="487" y="585"/>
                </a:lnTo>
                <a:lnTo>
                  <a:pt x="487" y="588"/>
                </a:lnTo>
                <a:lnTo>
                  <a:pt x="487" y="588"/>
                </a:lnTo>
                <a:lnTo>
                  <a:pt x="485" y="585"/>
                </a:lnTo>
                <a:lnTo>
                  <a:pt x="485" y="585"/>
                </a:lnTo>
                <a:lnTo>
                  <a:pt x="482" y="585"/>
                </a:lnTo>
                <a:lnTo>
                  <a:pt x="482" y="585"/>
                </a:lnTo>
                <a:lnTo>
                  <a:pt x="482" y="588"/>
                </a:lnTo>
                <a:lnTo>
                  <a:pt x="482" y="588"/>
                </a:lnTo>
                <a:lnTo>
                  <a:pt x="482" y="588"/>
                </a:lnTo>
                <a:lnTo>
                  <a:pt x="482" y="588"/>
                </a:lnTo>
                <a:lnTo>
                  <a:pt x="482" y="590"/>
                </a:lnTo>
                <a:lnTo>
                  <a:pt x="482" y="590"/>
                </a:lnTo>
                <a:lnTo>
                  <a:pt x="480" y="592"/>
                </a:lnTo>
                <a:lnTo>
                  <a:pt x="480" y="592"/>
                </a:lnTo>
                <a:lnTo>
                  <a:pt x="480" y="592"/>
                </a:lnTo>
                <a:lnTo>
                  <a:pt x="477" y="590"/>
                </a:lnTo>
                <a:lnTo>
                  <a:pt x="477" y="590"/>
                </a:lnTo>
                <a:lnTo>
                  <a:pt x="477" y="590"/>
                </a:lnTo>
                <a:lnTo>
                  <a:pt x="475" y="590"/>
                </a:lnTo>
                <a:lnTo>
                  <a:pt x="475" y="590"/>
                </a:lnTo>
                <a:lnTo>
                  <a:pt x="477" y="592"/>
                </a:lnTo>
                <a:lnTo>
                  <a:pt x="477" y="592"/>
                </a:lnTo>
                <a:lnTo>
                  <a:pt x="477" y="595"/>
                </a:lnTo>
                <a:lnTo>
                  <a:pt x="477" y="595"/>
                </a:lnTo>
                <a:lnTo>
                  <a:pt x="475" y="595"/>
                </a:lnTo>
                <a:lnTo>
                  <a:pt x="475" y="595"/>
                </a:lnTo>
                <a:lnTo>
                  <a:pt x="472" y="595"/>
                </a:lnTo>
                <a:lnTo>
                  <a:pt x="472" y="595"/>
                </a:lnTo>
                <a:lnTo>
                  <a:pt x="472" y="597"/>
                </a:lnTo>
                <a:lnTo>
                  <a:pt x="472" y="597"/>
                </a:lnTo>
                <a:lnTo>
                  <a:pt x="470" y="595"/>
                </a:lnTo>
                <a:lnTo>
                  <a:pt x="470" y="595"/>
                </a:lnTo>
                <a:lnTo>
                  <a:pt x="470" y="595"/>
                </a:lnTo>
                <a:lnTo>
                  <a:pt x="468" y="595"/>
                </a:lnTo>
                <a:lnTo>
                  <a:pt x="468" y="595"/>
                </a:lnTo>
                <a:lnTo>
                  <a:pt x="468" y="597"/>
                </a:lnTo>
                <a:lnTo>
                  <a:pt x="468" y="597"/>
                </a:lnTo>
                <a:lnTo>
                  <a:pt x="470" y="597"/>
                </a:lnTo>
                <a:lnTo>
                  <a:pt x="470" y="597"/>
                </a:lnTo>
                <a:lnTo>
                  <a:pt x="468" y="600"/>
                </a:lnTo>
                <a:lnTo>
                  <a:pt x="468" y="600"/>
                </a:lnTo>
                <a:lnTo>
                  <a:pt x="465" y="600"/>
                </a:lnTo>
                <a:lnTo>
                  <a:pt x="465" y="600"/>
                </a:lnTo>
                <a:lnTo>
                  <a:pt x="465" y="597"/>
                </a:lnTo>
                <a:lnTo>
                  <a:pt x="465" y="597"/>
                </a:lnTo>
                <a:lnTo>
                  <a:pt x="463" y="600"/>
                </a:lnTo>
                <a:lnTo>
                  <a:pt x="463" y="600"/>
                </a:lnTo>
                <a:lnTo>
                  <a:pt x="463" y="600"/>
                </a:lnTo>
                <a:lnTo>
                  <a:pt x="465" y="602"/>
                </a:lnTo>
                <a:lnTo>
                  <a:pt x="465" y="602"/>
                </a:lnTo>
                <a:lnTo>
                  <a:pt x="465" y="605"/>
                </a:lnTo>
                <a:lnTo>
                  <a:pt x="465" y="605"/>
                </a:lnTo>
                <a:lnTo>
                  <a:pt x="460" y="605"/>
                </a:lnTo>
                <a:lnTo>
                  <a:pt x="460" y="605"/>
                </a:lnTo>
                <a:lnTo>
                  <a:pt x="460" y="605"/>
                </a:lnTo>
                <a:lnTo>
                  <a:pt x="460" y="605"/>
                </a:lnTo>
                <a:lnTo>
                  <a:pt x="458" y="602"/>
                </a:lnTo>
                <a:lnTo>
                  <a:pt x="458" y="602"/>
                </a:lnTo>
                <a:lnTo>
                  <a:pt x="455" y="602"/>
                </a:lnTo>
                <a:lnTo>
                  <a:pt x="455" y="602"/>
                </a:lnTo>
                <a:lnTo>
                  <a:pt x="455" y="605"/>
                </a:lnTo>
                <a:lnTo>
                  <a:pt x="455" y="605"/>
                </a:lnTo>
                <a:lnTo>
                  <a:pt x="458" y="607"/>
                </a:lnTo>
                <a:lnTo>
                  <a:pt x="458" y="607"/>
                </a:lnTo>
                <a:lnTo>
                  <a:pt x="458" y="607"/>
                </a:lnTo>
                <a:lnTo>
                  <a:pt x="455" y="610"/>
                </a:lnTo>
                <a:lnTo>
                  <a:pt x="455" y="610"/>
                </a:lnTo>
                <a:lnTo>
                  <a:pt x="453" y="610"/>
                </a:lnTo>
                <a:lnTo>
                  <a:pt x="453" y="610"/>
                </a:lnTo>
                <a:lnTo>
                  <a:pt x="453" y="610"/>
                </a:lnTo>
                <a:lnTo>
                  <a:pt x="448" y="612"/>
                </a:lnTo>
                <a:lnTo>
                  <a:pt x="448" y="612"/>
                </a:lnTo>
                <a:lnTo>
                  <a:pt x="448" y="612"/>
                </a:lnTo>
                <a:lnTo>
                  <a:pt x="445" y="615"/>
                </a:lnTo>
                <a:lnTo>
                  <a:pt x="445" y="615"/>
                </a:lnTo>
                <a:lnTo>
                  <a:pt x="445" y="615"/>
                </a:lnTo>
                <a:lnTo>
                  <a:pt x="443" y="612"/>
                </a:lnTo>
                <a:lnTo>
                  <a:pt x="443" y="612"/>
                </a:lnTo>
                <a:lnTo>
                  <a:pt x="443" y="612"/>
                </a:lnTo>
                <a:lnTo>
                  <a:pt x="441" y="615"/>
                </a:lnTo>
                <a:lnTo>
                  <a:pt x="441" y="615"/>
                </a:lnTo>
                <a:lnTo>
                  <a:pt x="438" y="615"/>
                </a:lnTo>
                <a:lnTo>
                  <a:pt x="438" y="615"/>
                </a:lnTo>
                <a:lnTo>
                  <a:pt x="436" y="615"/>
                </a:lnTo>
                <a:lnTo>
                  <a:pt x="436" y="615"/>
                </a:lnTo>
                <a:lnTo>
                  <a:pt x="436" y="617"/>
                </a:lnTo>
                <a:lnTo>
                  <a:pt x="436" y="617"/>
                </a:lnTo>
                <a:lnTo>
                  <a:pt x="433" y="617"/>
                </a:lnTo>
                <a:lnTo>
                  <a:pt x="433" y="617"/>
                </a:lnTo>
                <a:lnTo>
                  <a:pt x="433" y="617"/>
                </a:lnTo>
                <a:lnTo>
                  <a:pt x="431" y="615"/>
                </a:lnTo>
                <a:lnTo>
                  <a:pt x="431" y="615"/>
                </a:lnTo>
                <a:lnTo>
                  <a:pt x="431" y="615"/>
                </a:lnTo>
                <a:lnTo>
                  <a:pt x="428" y="620"/>
                </a:lnTo>
                <a:lnTo>
                  <a:pt x="428" y="620"/>
                </a:lnTo>
                <a:lnTo>
                  <a:pt x="428" y="617"/>
                </a:lnTo>
                <a:lnTo>
                  <a:pt x="428" y="617"/>
                </a:lnTo>
                <a:lnTo>
                  <a:pt x="426" y="617"/>
                </a:lnTo>
                <a:lnTo>
                  <a:pt x="426" y="617"/>
                </a:lnTo>
                <a:lnTo>
                  <a:pt x="426" y="617"/>
                </a:lnTo>
                <a:lnTo>
                  <a:pt x="426" y="617"/>
                </a:lnTo>
                <a:lnTo>
                  <a:pt x="423" y="620"/>
                </a:lnTo>
                <a:lnTo>
                  <a:pt x="423" y="620"/>
                </a:lnTo>
                <a:lnTo>
                  <a:pt x="421" y="620"/>
                </a:lnTo>
                <a:lnTo>
                  <a:pt x="421" y="620"/>
                </a:lnTo>
                <a:lnTo>
                  <a:pt x="421" y="617"/>
                </a:lnTo>
                <a:lnTo>
                  <a:pt x="421" y="617"/>
                </a:lnTo>
                <a:lnTo>
                  <a:pt x="421" y="617"/>
                </a:lnTo>
                <a:lnTo>
                  <a:pt x="421" y="620"/>
                </a:lnTo>
                <a:lnTo>
                  <a:pt x="421" y="620"/>
                </a:lnTo>
                <a:lnTo>
                  <a:pt x="421" y="620"/>
                </a:lnTo>
                <a:lnTo>
                  <a:pt x="418" y="620"/>
                </a:lnTo>
                <a:lnTo>
                  <a:pt x="418" y="620"/>
                </a:lnTo>
                <a:lnTo>
                  <a:pt x="416" y="620"/>
                </a:lnTo>
                <a:lnTo>
                  <a:pt x="416" y="620"/>
                </a:lnTo>
                <a:lnTo>
                  <a:pt x="416" y="622"/>
                </a:lnTo>
                <a:lnTo>
                  <a:pt x="416" y="622"/>
                </a:lnTo>
                <a:lnTo>
                  <a:pt x="416" y="622"/>
                </a:lnTo>
                <a:lnTo>
                  <a:pt x="413" y="622"/>
                </a:lnTo>
                <a:lnTo>
                  <a:pt x="413" y="622"/>
                </a:lnTo>
                <a:lnTo>
                  <a:pt x="413" y="622"/>
                </a:lnTo>
                <a:lnTo>
                  <a:pt x="411" y="622"/>
                </a:lnTo>
                <a:lnTo>
                  <a:pt x="411" y="622"/>
                </a:lnTo>
                <a:lnTo>
                  <a:pt x="411" y="624"/>
                </a:lnTo>
                <a:lnTo>
                  <a:pt x="411" y="624"/>
                </a:lnTo>
                <a:lnTo>
                  <a:pt x="411" y="624"/>
                </a:lnTo>
                <a:lnTo>
                  <a:pt x="409" y="622"/>
                </a:lnTo>
                <a:lnTo>
                  <a:pt x="409" y="622"/>
                </a:lnTo>
                <a:lnTo>
                  <a:pt x="409" y="622"/>
                </a:lnTo>
                <a:lnTo>
                  <a:pt x="409" y="624"/>
                </a:lnTo>
                <a:lnTo>
                  <a:pt x="409" y="624"/>
                </a:lnTo>
                <a:lnTo>
                  <a:pt x="406" y="627"/>
                </a:lnTo>
                <a:lnTo>
                  <a:pt x="406" y="627"/>
                </a:lnTo>
                <a:lnTo>
                  <a:pt x="406" y="627"/>
                </a:lnTo>
                <a:lnTo>
                  <a:pt x="404" y="627"/>
                </a:lnTo>
                <a:lnTo>
                  <a:pt x="404" y="627"/>
                </a:lnTo>
                <a:lnTo>
                  <a:pt x="404" y="627"/>
                </a:lnTo>
                <a:lnTo>
                  <a:pt x="401" y="622"/>
                </a:lnTo>
                <a:lnTo>
                  <a:pt x="401" y="622"/>
                </a:lnTo>
                <a:lnTo>
                  <a:pt x="399" y="622"/>
                </a:lnTo>
                <a:lnTo>
                  <a:pt x="399" y="622"/>
                </a:lnTo>
                <a:lnTo>
                  <a:pt x="396" y="622"/>
                </a:lnTo>
                <a:lnTo>
                  <a:pt x="396" y="622"/>
                </a:lnTo>
                <a:lnTo>
                  <a:pt x="396" y="624"/>
                </a:lnTo>
                <a:lnTo>
                  <a:pt x="396" y="624"/>
                </a:lnTo>
                <a:lnTo>
                  <a:pt x="396" y="624"/>
                </a:lnTo>
                <a:lnTo>
                  <a:pt x="396" y="627"/>
                </a:lnTo>
                <a:lnTo>
                  <a:pt x="396" y="627"/>
                </a:lnTo>
                <a:lnTo>
                  <a:pt x="394" y="627"/>
                </a:lnTo>
                <a:lnTo>
                  <a:pt x="394" y="627"/>
                </a:lnTo>
                <a:lnTo>
                  <a:pt x="391" y="627"/>
                </a:lnTo>
                <a:lnTo>
                  <a:pt x="391" y="627"/>
                </a:lnTo>
                <a:lnTo>
                  <a:pt x="391" y="627"/>
                </a:lnTo>
                <a:lnTo>
                  <a:pt x="389" y="627"/>
                </a:lnTo>
                <a:lnTo>
                  <a:pt x="389" y="627"/>
                </a:lnTo>
                <a:lnTo>
                  <a:pt x="386" y="629"/>
                </a:lnTo>
                <a:lnTo>
                  <a:pt x="386" y="629"/>
                </a:lnTo>
                <a:lnTo>
                  <a:pt x="386" y="627"/>
                </a:lnTo>
                <a:lnTo>
                  <a:pt x="386" y="627"/>
                </a:lnTo>
                <a:lnTo>
                  <a:pt x="384" y="627"/>
                </a:lnTo>
                <a:lnTo>
                  <a:pt x="384" y="627"/>
                </a:lnTo>
                <a:lnTo>
                  <a:pt x="381" y="627"/>
                </a:lnTo>
                <a:lnTo>
                  <a:pt x="381" y="627"/>
                </a:lnTo>
                <a:lnTo>
                  <a:pt x="381" y="627"/>
                </a:lnTo>
                <a:lnTo>
                  <a:pt x="381" y="629"/>
                </a:lnTo>
                <a:lnTo>
                  <a:pt x="381" y="629"/>
                </a:lnTo>
                <a:lnTo>
                  <a:pt x="379" y="629"/>
                </a:lnTo>
                <a:lnTo>
                  <a:pt x="379" y="629"/>
                </a:lnTo>
                <a:lnTo>
                  <a:pt x="377" y="627"/>
                </a:lnTo>
                <a:lnTo>
                  <a:pt x="377" y="627"/>
                </a:lnTo>
                <a:lnTo>
                  <a:pt x="377" y="624"/>
                </a:lnTo>
                <a:lnTo>
                  <a:pt x="377" y="624"/>
                </a:lnTo>
                <a:lnTo>
                  <a:pt x="377" y="622"/>
                </a:lnTo>
                <a:lnTo>
                  <a:pt x="377" y="622"/>
                </a:lnTo>
                <a:lnTo>
                  <a:pt x="377" y="622"/>
                </a:lnTo>
                <a:lnTo>
                  <a:pt x="374" y="622"/>
                </a:lnTo>
                <a:lnTo>
                  <a:pt x="374" y="622"/>
                </a:lnTo>
                <a:lnTo>
                  <a:pt x="372" y="617"/>
                </a:lnTo>
                <a:lnTo>
                  <a:pt x="372" y="617"/>
                </a:lnTo>
                <a:lnTo>
                  <a:pt x="372" y="615"/>
                </a:lnTo>
                <a:lnTo>
                  <a:pt x="372" y="615"/>
                </a:lnTo>
                <a:lnTo>
                  <a:pt x="372" y="615"/>
                </a:lnTo>
                <a:lnTo>
                  <a:pt x="372" y="610"/>
                </a:lnTo>
                <a:lnTo>
                  <a:pt x="372" y="610"/>
                </a:lnTo>
                <a:lnTo>
                  <a:pt x="369" y="610"/>
                </a:lnTo>
                <a:lnTo>
                  <a:pt x="369" y="610"/>
                </a:lnTo>
                <a:lnTo>
                  <a:pt x="369" y="610"/>
                </a:lnTo>
                <a:lnTo>
                  <a:pt x="369" y="612"/>
                </a:lnTo>
                <a:lnTo>
                  <a:pt x="369" y="612"/>
                </a:lnTo>
                <a:lnTo>
                  <a:pt x="369" y="615"/>
                </a:lnTo>
                <a:lnTo>
                  <a:pt x="369" y="615"/>
                </a:lnTo>
                <a:lnTo>
                  <a:pt x="369" y="617"/>
                </a:lnTo>
                <a:lnTo>
                  <a:pt x="369" y="617"/>
                </a:lnTo>
                <a:lnTo>
                  <a:pt x="372" y="617"/>
                </a:lnTo>
                <a:lnTo>
                  <a:pt x="372" y="617"/>
                </a:lnTo>
                <a:lnTo>
                  <a:pt x="372" y="620"/>
                </a:lnTo>
                <a:lnTo>
                  <a:pt x="372" y="620"/>
                </a:lnTo>
                <a:lnTo>
                  <a:pt x="372" y="622"/>
                </a:lnTo>
                <a:lnTo>
                  <a:pt x="372" y="622"/>
                </a:lnTo>
                <a:lnTo>
                  <a:pt x="372" y="624"/>
                </a:lnTo>
                <a:lnTo>
                  <a:pt x="372" y="624"/>
                </a:lnTo>
                <a:lnTo>
                  <a:pt x="372" y="624"/>
                </a:lnTo>
                <a:lnTo>
                  <a:pt x="374" y="624"/>
                </a:lnTo>
                <a:lnTo>
                  <a:pt x="374" y="624"/>
                </a:lnTo>
                <a:lnTo>
                  <a:pt x="374" y="629"/>
                </a:lnTo>
                <a:lnTo>
                  <a:pt x="374" y="629"/>
                </a:lnTo>
                <a:lnTo>
                  <a:pt x="374" y="632"/>
                </a:lnTo>
                <a:lnTo>
                  <a:pt x="374" y="632"/>
                </a:lnTo>
                <a:lnTo>
                  <a:pt x="372" y="634"/>
                </a:lnTo>
                <a:lnTo>
                  <a:pt x="372" y="634"/>
                </a:lnTo>
                <a:lnTo>
                  <a:pt x="369" y="634"/>
                </a:lnTo>
                <a:lnTo>
                  <a:pt x="369" y="634"/>
                </a:lnTo>
                <a:lnTo>
                  <a:pt x="369" y="634"/>
                </a:lnTo>
                <a:lnTo>
                  <a:pt x="367" y="634"/>
                </a:lnTo>
                <a:lnTo>
                  <a:pt x="367" y="634"/>
                </a:lnTo>
                <a:lnTo>
                  <a:pt x="367" y="634"/>
                </a:lnTo>
                <a:lnTo>
                  <a:pt x="364" y="639"/>
                </a:lnTo>
                <a:lnTo>
                  <a:pt x="364" y="639"/>
                </a:lnTo>
                <a:lnTo>
                  <a:pt x="362" y="639"/>
                </a:lnTo>
                <a:lnTo>
                  <a:pt x="362" y="639"/>
                </a:lnTo>
                <a:lnTo>
                  <a:pt x="359" y="639"/>
                </a:lnTo>
                <a:lnTo>
                  <a:pt x="359" y="639"/>
                </a:lnTo>
                <a:lnTo>
                  <a:pt x="359" y="639"/>
                </a:lnTo>
                <a:lnTo>
                  <a:pt x="359" y="639"/>
                </a:lnTo>
                <a:lnTo>
                  <a:pt x="359" y="642"/>
                </a:lnTo>
                <a:lnTo>
                  <a:pt x="359" y="642"/>
                </a:lnTo>
                <a:lnTo>
                  <a:pt x="357" y="644"/>
                </a:lnTo>
                <a:lnTo>
                  <a:pt x="357" y="644"/>
                </a:lnTo>
                <a:lnTo>
                  <a:pt x="357" y="644"/>
                </a:lnTo>
                <a:lnTo>
                  <a:pt x="354" y="644"/>
                </a:lnTo>
                <a:lnTo>
                  <a:pt x="354" y="644"/>
                </a:lnTo>
                <a:lnTo>
                  <a:pt x="354" y="647"/>
                </a:lnTo>
                <a:lnTo>
                  <a:pt x="354" y="647"/>
                </a:lnTo>
                <a:lnTo>
                  <a:pt x="354" y="649"/>
                </a:lnTo>
                <a:lnTo>
                  <a:pt x="354" y="649"/>
                </a:lnTo>
                <a:lnTo>
                  <a:pt x="354" y="647"/>
                </a:lnTo>
                <a:lnTo>
                  <a:pt x="354" y="647"/>
                </a:lnTo>
                <a:lnTo>
                  <a:pt x="352" y="647"/>
                </a:lnTo>
                <a:lnTo>
                  <a:pt x="352" y="647"/>
                </a:lnTo>
                <a:lnTo>
                  <a:pt x="354" y="647"/>
                </a:lnTo>
                <a:lnTo>
                  <a:pt x="354" y="647"/>
                </a:lnTo>
                <a:lnTo>
                  <a:pt x="354" y="649"/>
                </a:lnTo>
                <a:lnTo>
                  <a:pt x="354" y="649"/>
                </a:lnTo>
                <a:lnTo>
                  <a:pt x="354" y="651"/>
                </a:lnTo>
                <a:lnTo>
                  <a:pt x="354" y="651"/>
                </a:lnTo>
                <a:lnTo>
                  <a:pt x="352" y="651"/>
                </a:lnTo>
                <a:lnTo>
                  <a:pt x="352" y="651"/>
                </a:lnTo>
                <a:lnTo>
                  <a:pt x="352" y="649"/>
                </a:lnTo>
                <a:lnTo>
                  <a:pt x="352" y="649"/>
                </a:lnTo>
                <a:lnTo>
                  <a:pt x="349" y="649"/>
                </a:lnTo>
                <a:lnTo>
                  <a:pt x="349" y="649"/>
                </a:lnTo>
                <a:lnTo>
                  <a:pt x="349" y="651"/>
                </a:lnTo>
                <a:lnTo>
                  <a:pt x="349" y="651"/>
                </a:lnTo>
                <a:lnTo>
                  <a:pt x="349" y="651"/>
                </a:lnTo>
                <a:lnTo>
                  <a:pt x="349" y="654"/>
                </a:lnTo>
                <a:lnTo>
                  <a:pt x="349" y="654"/>
                </a:lnTo>
                <a:lnTo>
                  <a:pt x="349" y="654"/>
                </a:lnTo>
                <a:lnTo>
                  <a:pt x="347" y="656"/>
                </a:lnTo>
                <a:lnTo>
                  <a:pt x="347" y="656"/>
                </a:lnTo>
                <a:lnTo>
                  <a:pt x="342" y="659"/>
                </a:lnTo>
                <a:lnTo>
                  <a:pt x="342" y="659"/>
                </a:lnTo>
                <a:lnTo>
                  <a:pt x="342" y="661"/>
                </a:lnTo>
                <a:lnTo>
                  <a:pt x="342" y="661"/>
                </a:lnTo>
                <a:lnTo>
                  <a:pt x="342" y="664"/>
                </a:lnTo>
                <a:lnTo>
                  <a:pt x="342" y="664"/>
                </a:lnTo>
                <a:lnTo>
                  <a:pt x="342" y="666"/>
                </a:lnTo>
                <a:lnTo>
                  <a:pt x="342" y="666"/>
                </a:lnTo>
                <a:lnTo>
                  <a:pt x="340" y="669"/>
                </a:lnTo>
                <a:lnTo>
                  <a:pt x="340" y="669"/>
                </a:lnTo>
                <a:lnTo>
                  <a:pt x="340" y="669"/>
                </a:lnTo>
                <a:lnTo>
                  <a:pt x="337" y="669"/>
                </a:lnTo>
                <a:lnTo>
                  <a:pt x="337" y="669"/>
                </a:lnTo>
                <a:lnTo>
                  <a:pt x="337" y="666"/>
                </a:lnTo>
                <a:lnTo>
                  <a:pt x="337" y="666"/>
                </a:lnTo>
                <a:lnTo>
                  <a:pt x="337" y="666"/>
                </a:lnTo>
                <a:lnTo>
                  <a:pt x="337" y="666"/>
                </a:lnTo>
                <a:lnTo>
                  <a:pt x="335" y="669"/>
                </a:lnTo>
                <a:lnTo>
                  <a:pt x="335" y="669"/>
                </a:lnTo>
                <a:lnTo>
                  <a:pt x="335" y="669"/>
                </a:lnTo>
                <a:lnTo>
                  <a:pt x="335" y="671"/>
                </a:lnTo>
                <a:lnTo>
                  <a:pt x="335" y="671"/>
                </a:lnTo>
                <a:lnTo>
                  <a:pt x="335" y="671"/>
                </a:lnTo>
                <a:lnTo>
                  <a:pt x="330" y="676"/>
                </a:lnTo>
                <a:lnTo>
                  <a:pt x="330" y="676"/>
                </a:lnTo>
                <a:lnTo>
                  <a:pt x="330" y="676"/>
                </a:lnTo>
                <a:lnTo>
                  <a:pt x="327" y="676"/>
                </a:lnTo>
                <a:lnTo>
                  <a:pt x="327" y="676"/>
                </a:lnTo>
                <a:lnTo>
                  <a:pt x="327" y="674"/>
                </a:lnTo>
                <a:lnTo>
                  <a:pt x="327" y="674"/>
                </a:lnTo>
                <a:lnTo>
                  <a:pt x="327" y="674"/>
                </a:lnTo>
                <a:lnTo>
                  <a:pt x="325" y="674"/>
                </a:lnTo>
                <a:lnTo>
                  <a:pt x="325" y="674"/>
                </a:lnTo>
                <a:lnTo>
                  <a:pt x="325" y="674"/>
                </a:lnTo>
                <a:lnTo>
                  <a:pt x="325" y="674"/>
                </a:lnTo>
                <a:lnTo>
                  <a:pt x="322" y="674"/>
                </a:lnTo>
                <a:lnTo>
                  <a:pt x="322" y="674"/>
                </a:lnTo>
                <a:lnTo>
                  <a:pt x="320" y="671"/>
                </a:lnTo>
                <a:lnTo>
                  <a:pt x="320" y="671"/>
                </a:lnTo>
                <a:lnTo>
                  <a:pt x="320" y="671"/>
                </a:lnTo>
                <a:lnTo>
                  <a:pt x="320" y="671"/>
                </a:lnTo>
                <a:lnTo>
                  <a:pt x="320" y="674"/>
                </a:lnTo>
                <a:lnTo>
                  <a:pt x="320" y="674"/>
                </a:lnTo>
                <a:lnTo>
                  <a:pt x="322" y="674"/>
                </a:lnTo>
                <a:lnTo>
                  <a:pt x="322" y="674"/>
                </a:lnTo>
                <a:lnTo>
                  <a:pt x="322" y="676"/>
                </a:lnTo>
                <a:lnTo>
                  <a:pt x="322" y="676"/>
                </a:lnTo>
                <a:lnTo>
                  <a:pt x="322" y="679"/>
                </a:lnTo>
                <a:lnTo>
                  <a:pt x="322" y="679"/>
                </a:lnTo>
                <a:lnTo>
                  <a:pt x="320" y="679"/>
                </a:lnTo>
                <a:lnTo>
                  <a:pt x="320" y="679"/>
                </a:lnTo>
                <a:lnTo>
                  <a:pt x="320" y="679"/>
                </a:lnTo>
                <a:lnTo>
                  <a:pt x="315" y="681"/>
                </a:lnTo>
                <a:lnTo>
                  <a:pt x="315" y="681"/>
                </a:lnTo>
                <a:lnTo>
                  <a:pt x="313" y="683"/>
                </a:lnTo>
                <a:lnTo>
                  <a:pt x="313" y="683"/>
                </a:lnTo>
                <a:lnTo>
                  <a:pt x="313" y="686"/>
                </a:lnTo>
                <a:lnTo>
                  <a:pt x="313" y="686"/>
                </a:lnTo>
                <a:lnTo>
                  <a:pt x="310" y="683"/>
                </a:lnTo>
                <a:lnTo>
                  <a:pt x="310" y="683"/>
                </a:lnTo>
                <a:lnTo>
                  <a:pt x="310" y="683"/>
                </a:lnTo>
                <a:lnTo>
                  <a:pt x="310" y="681"/>
                </a:lnTo>
                <a:lnTo>
                  <a:pt x="310" y="681"/>
                </a:lnTo>
                <a:lnTo>
                  <a:pt x="310" y="681"/>
                </a:lnTo>
                <a:lnTo>
                  <a:pt x="310" y="681"/>
                </a:lnTo>
                <a:lnTo>
                  <a:pt x="308" y="681"/>
                </a:lnTo>
                <a:lnTo>
                  <a:pt x="308" y="681"/>
                </a:lnTo>
                <a:lnTo>
                  <a:pt x="308" y="683"/>
                </a:lnTo>
                <a:lnTo>
                  <a:pt x="308" y="683"/>
                </a:lnTo>
                <a:lnTo>
                  <a:pt x="308" y="686"/>
                </a:lnTo>
                <a:lnTo>
                  <a:pt x="308" y="686"/>
                </a:lnTo>
                <a:lnTo>
                  <a:pt x="305" y="686"/>
                </a:lnTo>
                <a:lnTo>
                  <a:pt x="305" y="686"/>
                </a:lnTo>
                <a:lnTo>
                  <a:pt x="303" y="686"/>
                </a:lnTo>
                <a:lnTo>
                  <a:pt x="303" y="686"/>
                </a:lnTo>
                <a:lnTo>
                  <a:pt x="303" y="686"/>
                </a:lnTo>
                <a:lnTo>
                  <a:pt x="300" y="683"/>
                </a:lnTo>
                <a:lnTo>
                  <a:pt x="300" y="683"/>
                </a:lnTo>
                <a:lnTo>
                  <a:pt x="300" y="681"/>
                </a:lnTo>
                <a:lnTo>
                  <a:pt x="300" y="681"/>
                </a:lnTo>
                <a:lnTo>
                  <a:pt x="300" y="679"/>
                </a:lnTo>
                <a:lnTo>
                  <a:pt x="300" y="679"/>
                </a:lnTo>
                <a:lnTo>
                  <a:pt x="300" y="679"/>
                </a:lnTo>
                <a:lnTo>
                  <a:pt x="300" y="676"/>
                </a:lnTo>
                <a:lnTo>
                  <a:pt x="300" y="676"/>
                </a:lnTo>
                <a:lnTo>
                  <a:pt x="300" y="681"/>
                </a:lnTo>
                <a:lnTo>
                  <a:pt x="300" y="681"/>
                </a:lnTo>
                <a:lnTo>
                  <a:pt x="298" y="683"/>
                </a:lnTo>
                <a:lnTo>
                  <a:pt x="298" y="683"/>
                </a:lnTo>
                <a:lnTo>
                  <a:pt x="298" y="683"/>
                </a:lnTo>
                <a:lnTo>
                  <a:pt x="298" y="686"/>
                </a:lnTo>
                <a:lnTo>
                  <a:pt x="298" y="686"/>
                </a:lnTo>
                <a:lnTo>
                  <a:pt x="298" y="686"/>
                </a:lnTo>
                <a:lnTo>
                  <a:pt x="293" y="681"/>
                </a:lnTo>
                <a:lnTo>
                  <a:pt x="293" y="681"/>
                </a:lnTo>
                <a:lnTo>
                  <a:pt x="293" y="679"/>
                </a:lnTo>
                <a:lnTo>
                  <a:pt x="293" y="679"/>
                </a:lnTo>
                <a:lnTo>
                  <a:pt x="295" y="676"/>
                </a:lnTo>
                <a:lnTo>
                  <a:pt x="295" y="676"/>
                </a:lnTo>
                <a:lnTo>
                  <a:pt x="295" y="674"/>
                </a:lnTo>
                <a:lnTo>
                  <a:pt x="295" y="674"/>
                </a:lnTo>
                <a:lnTo>
                  <a:pt x="298" y="674"/>
                </a:lnTo>
                <a:lnTo>
                  <a:pt x="298" y="674"/>
                </a:lnTo>
                <a:lnTo>
                  <a:pt x="298" y="671"/>
                </a:lnTo>
                <a:lnTo>
                  <a:pt x="298" y="671"/>
                </a:lnTo>
                <a:lnTo>
                  <a:pt x="295" y="671"/>
                </a:lnTo>
                <a:lnTo>
                  <a:pt x="295" y="671"/>
                </a:lnTo>
                <a:lnTo>
                  <a:pt x="293" y="669"/>
                </a:lnTo>
                <a:lnTo>
                  <a:pt x="293" y="669"/>
                </a:lnTo>
                <a:lnTo>
                  <a:pt x="293" y="669"/>
                </a:lnTo>
                <a:lnTo>
                  <a:pt x="293" y="669"/>
                </a:lnTo>
                <a:lnTo>
                  <a:pt x="290" y="669"/>
                </a:lnTo>
                <a:lnTo>
                  <a:pt x="290" y="669"/>
                </a:lnTo>
                <a:lnTo>
                  <a:pt x="290" y="671"/>
                </a:lnTo>
                <a:lnTo>
                  <a:pt x="290" y="671"/>
                </a:lnTo>
                <a:lnTo>
                  <a:pt x="290" y="671"/>
                </a:lnTo>
                <a:lnTo>
                  <a:pt x="293" y="674"/>
                </a:lnTo>
                <a:lnTo>
                  <a:pt x="293" y="674"/>
                </a:lnTo>
                <a:lnTo>
                  <a:pt x="290" y="676"/>
                </a:lnTo>
                <a:lnTo>
                  <a:pt x="290" y="676"/>
                </a:lnTo>
                <a:lnTo>
                  <a:pt x="290" y="679"/>
                </a:lnTo>
                <a:lnTo>
                  <a:pt x="290" y="679"/>
                </a:lnTo>
                <a:lnTo>
                  <a:pt x="290" y="679"/>
                </a:lnTo>
                <a:lnTo>
                  <a:pt x="288" y="681"/>
                </a:lnTo>
                <a:lnTo>
                  <a:pt x="288" y="681"/>
                </a:lnTo>
                <a:lnTo>
                  <a:pt x="286" y="681"/>
                </a:lnTo>
                <a:lnTo>
                  <a:pt x="286" y="681"/>
                </a:lnTo>
                <a:lnTo>
                  <a:pt x="286" y="679"/>
                </a:lnTo>
                <a:lnTo>
                  <a:pt x="286" y="679"/>
                </a:lnTo>
                <a:lnTo>
                  <a:pt x="286" y="679"/>
                </a:lnTo>
                <a:lnTo>
                  <a:pt x="283" y="681"/>
                </a:lnTo>
                <a:lnTo>
                  <a:pt x="283" y="681"/>
                </a:lnTo>
                <a:lnTo>
                  <a:pt x="283" y="681"/>
                </a:lnTo>
                <a:lnTo>
                  <a:pt x="286" y="686"/>
                </a:lnTo>
                <a:lnTo>
                  <a:pt x="286" y="686"/>
                </a:lnTo>
                <a:lnTo>
                  <a:pt x="286" y="688"/>
                </a:lnTo>
                <a:lnTo>
                  <a:pt x="286" y="688"/>
                </a:lnTo>
                <a:lnTo>
                  <a:pt x="286" y="688"/>
                </a:lnTo>
                <a:lnTo>
                  <a:pt x="286" y="688"/>
                </a:lnTo>
                <a:lnTo>
                  <a:pt x="286" y="691"/>
                </a:lnTo>
                <a:lnTo>
                  <a:pt x="286" y="691"/>
                </a:lnTo>
                <a:lnTo>
                  <a:pt x="283" y="691"/>
                </a:lnTo>
                <a:lnTo>
                  <a:pt x="283" y="691"/>
                </a:lnTo>
                <a:lnTo>
                  <a:pt x="281" y="691"/>
                </a:lnTo>
                <a:lnTo>
                  <a:pt x="281" y="691"/>
                </a:lnTo>
                <a:lnTo>
                  <a:pt x="281" y="691"/>
                </a:lnTo>
                <a:lnTo>
                  <a:pt x="278" y="691"/>
                </a:lnTo>
                <a:lnTo>
                  <a:pt x="278" y="691"/>
                </a:lnTo>
                <a:lnTo>
                  <a:pt x="278" y="693"/>
                </a:lnTo>
                <a:lnTo>
                  <a:pt x="278" y="693"/>
                </a:lnTo>
                <a:lnTo>
                  <a:pt x="276" y="693"/>
                </a:lnTo>
                <a:lnTo>
                  <a:pt x="276" y="693"/>
                </a:lnTo>
                <a:lnTo>
                  <a:pt x="273" y="693"/>
                </a:lnTo>
                <a:lnTo>
                  <a:pt x="273" y="693"/>
                </a:lnTo>
                <a:lnTo>
                  <a:pt x="273" y="691"/>
                </a:lnTo>
                <a:lnTo>
                  <a:pt x="273" y="691"/>
                </a:lnTo>
                <a:lnTo>
                  <a:pt x="271" y="688"/>
                </a:lnTo>
                <a:lnTo>
                  <a:pt x="271" y="688"/>
                </a:lnTo>
                <a:lnTo>
                  <a:pt x="271" y="688"/>
                </a:lnTo>
                <a:lnTo>
                  <a:pt x="271" y="691"/>
                </a:lnTo>
                <a:lnTo>
                  <a:pt x="271" y="691"/>
                </a:lnTo>
                <a:lnTo>
                  <a:pt x="271" y="691"/>
                </a:lnTo>
                <a:lnTo>
                  <a:pt x="268" y="693"/>
                </a:lnTo>
                <a:lnTo>
                  <a:pt x="268" y="693"/>
                </a:lnTo>
                <a:lnTo>
                  <a:pt x="268" y="693"/>
                </a:lnTo>
                <a:lnTo>
                  <a:pt x="266" y="691"/>
                </a:lnTo>
                <a:lnTo>
                  <a:pt x="266" y="691"/>
                </a:lnTo>
                <a:lnTo>
                  <a:pt x="266" y="688"/>
                </a:lnTo>
                <a:lnTo>
                  <a:pt x="266" y="688"/>
                </a:lnTo>
                <a:lnTo>
                  <a:pt x="263" y="688"/>
                </a:lnTo>
                <a:lnTo>
                  <a:pt x="263" y="688"/>
                </a:lnTo>
                <a:lnTo>
                  <a:pt x="263" y="691"/>
                </a:lnTo>
                <a:lnTo>
                  <a:pt x="263" y="691"/>
                </a:lnTo>
                <a:lnTo>
                  <a:pt x="261" y="691"/>
                </a:lnTo>
                <a:lnTo>
                  <a:pt x="261" y="691"/>
                </a:lnTo>
                <a:lnTo>
                  <a:pt x="261" y="691"/>
                </a:lnTo>
                <a:lnTo>
                  <a:pt x="261" y="693"/>
                </a:lnTo>
                <a:lnTo>
                  <a:pt x="261" y="693"/>
                </a:lnTo>
                <a:lnTo>
                  <a:pt x="261" y="696"/>
                </a:lnTo>
                <a:lnTo>
                  <a:pt x="261" y="696"/>
                </a:lnTo>
                <a:lnTo>
                  <a:pt x="261" y="698"/>
                </a:lnTo>
                <a:lnTo>
                  <a:pt x="261" y="698"/>
                </a:lnTo>
                <a:lnTo>
                  <a:pt x="261" y="701"/>
                </a:lnTo>
                <a:lnTo>
                  <a:pt x="261" y="701"/>
                </a:lnTo>
                <a:lnTo>
                  <a:pt x="258" y="706"/>
                </a:lnTo>
                <a:lnTo>
                  <a:pt x="258" y="706"/>
                </a:lnTo>
                <a:lnTo>
                  <a:pt x="256" y="706"/>
                </a:lnTo>
                <a:lnTo>
                  <a:pt x="256" y="706"/>
                </a:lnTo>
                <a:lnTo>
                  <a:pt x="254" y="703"/>
                </a:lnTo>
                <a:lnTo>
                  <a:pt x="254" y="703"/>
                </a:lnTo>
                <a:lnTo>
                  <a:pt x="254" y="701"/>
                </a:lnTo>
                <a:lnTo>
                  <a:pt x="254" y="701"/>
                </a:lnTo>
                <a:lnTo>
                  <a:pt x="251" y="701"/>
                </a:lnTo>
                <a:lnTo>
                  <a:pt x="251" y="701"/>
                </a:lnTo>
                <a:lnTo>
                  <a:pt x="251" y="701"/>
                </a:lnTo>
                <a:lnTo>
                  <a:pt x="251" y="703"/>
                </a:lnTo>
                <a:lnTo>
                  <a:pt x="251" y="703"/>
                </a:lnTo>
                <a:lnTo>
                  <a:pt x="249" y="701"/>
                </a:lnTo>
                <a:lnTo>
                  <a:pt x="249" y="701"/>
                </a:lnTo>
                <a:lnTo>
                  <a:pt x="249" y="698"/>
                </a:lnTo>
                <a:lnTo>
                  <a:pt x="249" y="698"/>
                </a:lnTo>
                <a:lnTo>
                  <a:pt x="246" y="698"/>
                </a:lnTo>
                <a:lnTo>
                  <a:pt x="246" y="698"/>
                </a:lnTo>
                <a:lnTo>
                  <a:pt x="246" y="701"/>
                </a:lnTo>
                <a:lnTo>
                  <a:pt x="246" y="701"/>
                </a:lnTo>
                <a:lnTo>
                  <a:pt x="246" y="701"/>
                </a:lnTo>
                <a:lnTo>
                  <a:pt x="246" y="703"/>
                </a:lnTo>
                <a:lnTo>
                  <a:pt x="246" y="703"/>
                </a:lnTo>
                <a:lnTo>
                  <a:pt x="246" y="706"/>
                </a:lnTo>
                <a:lnTo>
                  <a:pt x="246" y="706"/>
                </a:lnTo>
                <a:lnTo>
                  <a:pt x="246" y="706"/>
                </a:lnTo>
                <a:lnTo>
                  <a:pt x="246" y="708"/>
                </a:lnTo>
                <a:lnTo>
                  <a:pt x="246" y="708"/>
                </a:lnTo>
                <a:lnTo>
                  <a:pt x="249" y="711"/>
                </a:lnTo>
                <a:lnTo>
                  <a:pt x="249" y="711"/>
                </a:lnTo>
                <a:lnTo>
                  <a:pt x="249" y="713"/>
                </a:lnTo>
                <a:lnTo>
                  <a:pt x="249" y="713"/>
                </a:lnTo>
                <a:lnTo>
                  <a:pt x="249" y="718"/>
                </a:lnTo>
                <a:lnTo>
                  <a:pt x="249" y="718"/>
                </a:lnTo>
                <a:lnTo>
                  <a:pt x="249" y="720"/>
                </a:lnTo>
                <a:lnTo>
                  <a:pt x="249" y="720"/>
                </a:lnTo>
                <a:lnTo>
                  <a:pt x="246" y="718"/>
                </a:lnTo>
                <a:lnTo>
                  <a:pt x="246" y="718"/>
                </a:lnTo>
                <a:lnTo>
                  <a:pt x="246" y="718"/>
                </a:lnTo>
                <a:lnTo>
                  <a:pt x="246" y="720"/>
                </a:lnTo>
                <a:lnTo>
                  <a:pt x="246" y="720"/>
                </a:lnTo>
                <a:lnTo>
                  <a:pt x="244" y="720"/>
                </a:lnTo>
                <a:lnTo>
                  <a:pt x="244" y="720"/>
                </a:lnTo>
                <a:lnTo>
                  <a:pt x="239" y="720"/>
                </a:lnTo>
                <a:lnTo>
                  <a:pt x="239" y="720"/>
                </a:lnTo>
                <a:lnTo>
                  <a:pt x="236" y="720"/>
                </a:lnTo>
                <a:lnTo>
                  <a:pt x="236" y="720"/>
                </a:lnTo>
                <a:lnTo>
                  <a:pt x="236" y="723"/>
                </a:lnTo>
                <a:lnTo>
                  <a:pt x="236" y="723"/>
                </a:lnTo>
                <a:lnTo>
                  <a:pt x="236" y="723"/>
                </a:lnTo>
                <a:lnTo>
                  <a:pt x="239" y="725"/>
                </a:lnTo>
                <a:lnTo>
                  <a:pt x="239" y="725"/>
                </a:lnTo>
                <a:lnTo>
                  <a:pt x="241" y="725"/>
                </a:lnTo>
                <a:lnTo>
                  <a:pt x="241" y="725"/>
                </a:lnTo>
                <a:lnTo>
                  <a:pt x="244" y="725"/>
                </a:lnTo>
                <a:lnTo>
                  <a:pt x="244" y="725"/>
                </a:lnTo>
                <a:lnTo>
                  <a:pt x="244" y="728"/>
                </a:lnTo>
                <a:lnTo>
                  <a:pt x="244" y="728"/>
                </a:lnTo>
                <a:lnTo>
                  <a:pt x="246" y="728"/>
                </a:lnTo>
                <a:lnTo>
                  <a:pt x="246" y="728"/>
                </a:lnTo>
                <a:lnTo>
                  <a:pt x="249" y="728"/>
                </a:lnTo>
                <a:lnTo>
                  <a:pt x="249" y="728"/>
                </a:lnTo>
                <a:lnTo>
                  <a:pt x="249" y="728"/>
                </a:lnTo>
                <a:lnTo>
                  <a:pt x="246" y="730"/>
                </a:lnTo>
                <a:lnTo>
                  <a:pt x="246" y="730"/>
                </a:lnTo>
                <a:lnTo>
                  <a:pt x="246" y="730"/>
                </a:lnTo>
                <a:lnTo>
                  <a:pt x="244" y="730"/>
                </a:lnTo>
                <a:lnTo>
                  <a:pt x="244" y="730"/>
                </a:lnTo>
                <a:lnTo>
                  <a:pt x="244" y="733"/>
                </a:lnTo>
                <a:lnTo>
                  <a:pt x="244" y="733"/>
                </a:lnTo>
                <a:lnTo>
                  <a:pt x="246" y="733"/>
                </a:lnTo>
                <a:lnTo>
                  <a:pt x="246" y="733"/>
                </a:lnTo>
                <a:lnTo>
                  <a:pt x="246" y="735"/>
                </a:lnTo>
                <a:lnTo>
                  <a:pt x="246" y="735"/>
                </a:lnTo>
                <a:lnTo>
                  <a:pt x="246" y="738"/>
                </a:lnTo>
                <a:lnTo>
                  <a:pt x="246" y="738"/>
                </a:lnTo>
                <a:lnTo>
                  <a:pt x="246" y="738"/>
                </a:lnTo>
                <a:lnTo>
                  <a:pt x="244" y="740"/>
                </a:lnTo>
                <a:lnTo>
                  <a:pt x="244" y="740"/>
                </a:lnTo>
                <a:lnTo>
                  <a:pt x="244" y="740"/>
                </a:lnTo>
                <a:lnTo>
                  <a:pt x="241" y="738"/>
                </a:lnTo>
                <a:lnTo>
                  <a:pt x="241" y="738"/>
                </a:lnTo>
                <a:lnTo>
                  <a:pt x="239" y="735"/>
                </a:lnTo>
                <a:lnTo>
                  <a:pt x="239" y="735"/>
                </a:lnTo>
                <a:lnTo>
                  <a:pt x="239" y="735"/>
                </a:lnTo>
                <a:lnTo>
                  <a:pt x="236" y="735"/>
                </a:lnTo>
                <a:lnTo>
                  <a:pt x="236" y="735"/>
                </a:lnTo>
                <a:lnTo>
                  <a:pt x="236" y="733"/>
                </a:lnTo>
                <a:lnTo>
                  <a:pt x="236" y="733"/>
                </a:lnTo>
                <a:lnTo>
                  <a:pt x="234" y="733"/>
                </a:lnTo>
                <a:lnTo>
                  <a:pt x="234" y="733"/>
                </a:lnTo>
                <a:lnTo>
                  <a:pt x="234" y="735"/>
                </a:lnTo>
                <a:lnTo>
                  <a:pt x="234" y="735"/>
                </a:lnTo>
                <a:lnTo>
                  <a:pt x="231" y="735"/>
                </a:lnTo>
                <a:lnTo>
                  <a:pt x="231" y="735"/>
                </a:lnTo>
                <a:lnTo>
                  <a:pt x="234" y="735"/>
                </a:lnTo>
                <a:lnTo>
                  <a:pt x="234" y="735"/>
                </a:lnTo>
                <a:lnTo>
                  <a:pt x="236" y="738"/>
                </a:lnTo>
                <a:lnTo>
                  <a:pt x="236" y="738"/>
                </a:lnTo>
                <a:lnTo>
                  <a:pt x="239" y="738"/>
                </a:lnTo>
                <a:lnTo>
                  <a:pt x="239" y="738"/>
                </a:lnTo>
                <a:lnTo>
                  <a:pt x="241" y="740"/>
                </a:lnTo>
                <a:lnTo>
                  <a:pt x="241" y="740"/>
                </a:lnTo>
                <a:lnTo>
                  <a:pt x="244" y="740"/>
                </a:lnTo>
                <a:lnTo>
                  <a:pt x="244" y="740"/>
                </a:lnTo>
                <a:lnTo>
                  <a:pt x="244" y="740"/>
                </a:lnTo>
                <a:lnTo>
                  <a:pt x="244" y="742"/>
                </a:lnTo>
                <a:lnTo>
                  <a:pt x="244" y="742"/>
                </a:lnTo>
                <a:lnTo>
                  <a:pt x="241" y="745"/>
                </a:lnTo>
                <a:lnTo>
                  <a:pt x="241" y="745"/>
                </a:lnTo>
                <a:lnTo>
                  <a:pt x="239" y="745"/>
                </a:lnTo>
                <a:lnTo>
                  <a:pt x="239" y="745"/>
                </a:lnTo>
                <a:lnTo>
                  <a:pt x="236" y="745"/>
                </a:lnTo>
                <a:lnTo>
                  <a:pt x="236" y="745"/>
                </a:lnTo>
                <a:lnTo>
                  <a:pt x="236" y="745"/>
                </a:lnTo>
                <a:lnTo>
                  <a:pt x="231" y="742"/>
                </a:lnTo>
                <a:lnTo>
                  <a:pt x="231" y="742"/>
                </a:lnTo>
                <a:lnTo>
                  <a:pt x="231" y="740"/>
                </a:lnTo>
                <a:lnTo>
                  <a:pt x="231" y="740"/>
                </a:lnTo>
                <a:lnTo>
                  <a:pt x="229" y="740"/>
                </a:lnTo>
                <a:lnTo>
                  <a:pt x="229" y="740"/>
                </a:lnTo>
                <a:lnTo>
                  <a:pt x="229" y="742"/>
                </a:lnTo>
                <a:lnTo>
                  <a:pt x="229" y="742"/>
                </a:lnTo>
                <a:lnTo>
                  <a:pt x="229" y="742"/>
                </a:lnTo>
                <a:lnTo>
                  <a:pt x="229" y="745"/>
                </a:lnTo>
                <a:lnTo>
                  <a:pt x="229" y="745"/>
                </a:lnTo>
                <a:lnTo>
                  <a:pt x="229" y="747"/>
                </a:lnTo>
                <a:lnTo>
                  <a:pt x="229" y="747"/>
                </a:lnTo>
                <a:lnTo>
                  <a:pt x="234" y="747"/>
                </a:lnTo>
                <a:lnTo>
                  <a:pt x="234" y="747"/>
                </a:lnTo>
                <a:lnTo>
                  <a:pt x="234" y="750"/>
                </a:lnTo>
                <a:lnTo>
                  <a:pt x="234" y="750"/>
                </a:lnTo>
                <a:lnTo>
                  <a:pt x="234" y="752"/>
                </a:lnTo>
                <a:lnTo>
                  <a:pt x="234" y="752"/>
                </a:lnTo>
                <a:lnTo>
                  <a:pt x="234" y="752"/>
                </a:lnTo>
                <a:lnTo>
                  <a:pt x="231" y="750"/>
                </a:lnTo>
                <a:lnTo>
                  <a:pt x="231" y="750"/>
                </a:lnTo>
                <a:lnTo>
                  <a:pt x="229" y="750"/>
                </a:lnTo>
                <a:lnTo>
                  <a:pt x="229" y="750"/>
                </a:lnTo>
                <a:lnTo>
                  <a:pt x="226" y="747"/>
                </a:lnTo>
                <a:lnTo>
                  <a:pt x="226" y="747"/>
                </a:lnTo>
                <a:lnTo>
                  <a:pt x="224" y="747"/>
                </a:lnTo>
                <a:lnTo>
                  <a:pt x="224" y="747"/>
                </a:lnTo>
                <a:lnTo>
                  <a:pt x="224" y="747"/>
                </a:lnTo>
                <a:lnTo>
                  <a:pt x="224" y="750"/>
                </a:lnTo>
                <a:lnTo>
                  <a:pt x="224" y="750"/>
                </a:lnTo>
                <a:lnTo>
                  <a:pt x="226" y="750"/>
                </a:lnTo>
                <a:lnTo>
                  <a:pt x="226" y="750"/>
                </a:lnTo>
                <a:lnTo>
                  <a:pt x="229" y="752"/>
                </a:lnTo>
                <a:lnTo>
                  <a:pt x="229" y="752"/>
                </a:lnTo>
                <a:lnTo>
                  <a:pt x="231" y="752"/>
                </a:lnTo>
                <a:lnTo>
                  <a:pt x="231" y="752"/>
                </a:lnTo>
                <a:lnTo>
                  <a:pt x="231" y="755"/>
                </a:lnTo>
                <a:lnTo>
                  <a:pt x="231" y="755"/>
                </a:lnTo>
                <a:lnTo>
                  <a:pt x="229" y="755"/>
                </a:lnTo>
                <a:lnTo>
                  <a:pt x="229" y="755"/>
                </a:lnTo>
                <a:lnTo>
                  <a:pt x="226" y="755"/>
                </a:lnTo>
                <a:lnTo>
                  <a:pt x="226" y="755"/>
                </a:lnTo>
                <a:lnTo>
                  <a:pt x="224" y="752"/>
                </a:lnTo>
                <a:lnTo>
                  <a:pt x="224" y="752"/>
                </a:lnTo>
                <a:lnTo>
                  <a:pt x="224" y="752"/>
                </a:lnTo>
                <a:lnTo>
                  <a:pt x="224" y="750"/>
                </a:lnTo>
                <a:lnTo>
                  <a:pt x="224" y="750"/>
                </a:lnTo>
                <a:lnTo>
                  <a:pt x="222" y="750"/>
                </a:lnTo>
                <a:lnTo>
                  <a:pt x="222" y="750"/>
                </a:lnTo>
                <a:lnTo>
                  <a:pt x="222" y="752"/>
                </a:lnTo>
                <a:lnTo>
                  <a:pt x="222" y="752"/>
                </a:lnTo>
                <a:lnTo>
                  <a:pt x="222" y="752"/>
                </a:lnTo>
                <a:lnTo>
                  <a:pt x="222" y="755"/>
                </a:lnTo>
                <a:lnTo>
                  <a:pt x="222" y="755"/>
                </a:lnTo>
                <a:lnTo>
                  <a:pt x="222" y="757"/>
                </a:lnTo>
                <a:lnTo>
                  <a:pt x="222" y="757"/>
                </a:lnTo>
                <a:lnTo>
                  <a:pt x="222" y="757"/>
                </a:lnTo>
                <a:lnTo>
                  <a:pt x="224" y="757"/>
                </a:lnTo>
                <a:lnTo>
                  <a:pt x="224" y="757"/>
                </a:lnTo>
                <a:lnTo>
                  <a:pt x="226" y="757"/>
                </a:lnTo>
                <a:lnTo>
                  <a:pt x="226" y="757"/>
                </a:lnTo>
                <a:lnTo>
                  <a:pt x="229" y="757"/>
                </a:lnTo>
                <a:lnTo>
                  <a:pt x="229" y="757"/>
                </a:lnTo>
                <a:lnTo>
                  <a:pt x="229" y="760"/>
                </a:lnTo>
                <a:lnTo>
                  <a:pt x="229" y="760"/>
                </a:lnTo>
                <a:lnTo>
                  <a:pt x="229" y="760"/>
                </a:lnTo>
                <a:lnTo>
                  <a:pt x="229" y="762"/>
                </a:lnTo>
                <a:lnTo>
                  <a:pt x="229" y="762"/>
                </a:lnTo>
                <a:lnTo>
                  <a:pt x="226" y="762"/>
                </a:lnTo>
                <a:lnTo>
                  <a:pt x="226" y="762"/>
                </a:lnTo>
                <a:lnTo>
                  <a:pt x="224" y="765"/>
                </a:lnTo>
                <a:lnTo>
                  <a:pt x="224" y="765"/>
                </a:lnTo>
                <a:lnTo>
                  <a:pt x="224" y="762"/>
                </a:lnTo>
                <a:lnTo>
                  <a:pt x="224" y="762"/>
                </a:lnTo>
                <a:lnTo>
                  <a:pt x="222" y="762"/>
                </a:lnTo>
                <a:lnTo>
                  <a:pt x="222" y="762"/>
                </a:lnTo>
                <a:lnTo>
                  <a:pt x="219" y="762"/>
                </a:lnTo>
                <a:lnTo>
                  <a:pt x="219" y="762"/>
                </a:lnTo>
                <a:lnTo>
                  <a:pt x="219" y="760"/>
                </a:lnTo>
                <a:lnTo>
                  <a:pt x="219" y="760"/>
                </a:lnTo>
                <a:lnTo>
                  <a:pt x="219" y="760"/>
                </a:lnTo>
                <a:lnTo>
                  <a:pt x="217" y="757"/>
                </a:lnTo>
                <a:lnTo>
                  <a:pt x="217" y="757"/>
                </a:lnTo>
                <a:lnTo>
                  <a:pt x="217" y="757"/>
                </a:lnTo>
                <a:lnTo>
                  <a:pt x="217" y="760"/>
                </a:lnTo>
                <a:lnTo>
                  <a:pt x="217" y="760"/>
                </a:lnTo>
                <a:lnTo>
                  <a:pt x="217" y="762"/>
                </a:lnTo>
                <a:lnTo>
                  <a:pt x="217" y="762"/>
                </a:lnTo>
                <a:lnTo>
                  <a:pt x="214" y="765"/>
                </a:lnTo>
                <a:lnTo>
                  <a:pt x="214" y="765"/>
                </a:lnTo>
                <a:lnTo>
                  <a:pt x="212" y="765"/>
                </a:lnTo>
                <a:lnTo>
                  <a:pt x="212" y="765"/>
                </a:lnTo>
                <a:lnTo>
                  <a:pt x="212" y="762"/>
                </a:lnTo>
                <a:lnTo>
                  <a:pt x="212" y="762"/>
                </a:lnTo>
                <a:lnTo>
                  <a:pt x="209" y="762"/>
                </a:lnTo>
                <a:lnTo>
                  <a:pt x="209" y="762"/>
                </a:lnTo>
                <a:lnTo>
                  <a:pt x="209" y="762"/>
                </a:lnTo>
                <a:lnTo>
                  <a:pt x="209" y="765"/>
                </a:lnTo>
                <a:lnTo>
                  <a:pt x="209" y="765"/>
                </a:lnTo>
                <a:lnTo>
                  <a:pt x="209" y="765"/>
                </a:lnTo>
                <a:lnTo>
                  <a:pt x="214" y="767"/>
                </a:lnTo>
                <a:lnTo>
                  <a:pt x="214" y="767"/>
                </a:lnTo>
                <a:lnTo>
                  <a:pt x="217" y="767"/>
                </a:lnTo>
                <a:lnTo>
                  <a:pt x="217" y="767"/>
                </a:lnTo>
                <a:lnTo>
                  <a:pt x="219" y="770"/>
                </a:lnTo>
                <a:lnTo>
                  <a:pt x="219" y="770"/>
                </a:lnTo>
                <a:lnTo>
                  <a:pt x="219" y="774"/>
                </a:lnTo>
                <a:lnTo>
                  <a:pt x="219" y="774"/>
                </a:lnTo>
                <a:lnTo>
                  <a:pt x="219" y="774"/>
                </a:lnTo>
                <a:lnTo>
                  <a:pt x="217" y="774"/>
                </a:lnTo>
                <a:lnTo>
                  <a:pt x="217" y="774"/>
                </a:lnTo>
                <a:lnTo>
                  <a:pt x="214" y="772"/>
                </a:lnTo>
                <a:lnTo>
                  <a:pt x="214" y="772"/>
                </a:lnTo>
                <a:lnTo>
                  <a:pt x="212" y="770"/>
                </a:lnTo>
                <a:lnTo>
                  <a:pt x="212" y="770"/>
                </a:lnTo>
                <a:lnTo>
                  <a:pt x="209" y="770"/>
                </a:lnTo>
                <a:lnTo>
                  <a:pt x="209" y="770"/>
                </a:lnTo>
                <a:lnTo>
                  <a:pt x="207" y="770"/>
                </a:lnTo>
                <a:lnTo>
                  <a:pt x="207" y="770"/>
                </a:lnTo>
                <a:lnTo>
                  <a:pt x="207" y="770"/>
                </a:lnTo>
                <a:lnTo>
                  <a:pt x="209" y="772"/>
                </a:lnTo>
                <a:lnTo>
                  <a:pt x="209" y="772"/>
                </a:lnTo>
                <a:lnTo>
                  <a:pt x="212" y="772"/>
                </a:lnTo>
                <a:lnTo>
                  <a:pt x="212" y="772"/>
                </a:lnTo>
                <a:lnTo>
                  <a:pt x="214" y="774"/>
                </a:lnTo>
                <a:lnTo>
                  <a:pt x="214" y="774"/>
                </a:lnTo>
                <a:lnTo>
                  <a:pt x="217" y="777"/>
                </a:lnTo>
                <a:lnTo>
                  <a:pt x="217" y="777"/>
                </a:lnTo>
                <a:lnTo>
                  <a:pt x="217" y="779"/>
                </a:lnTo>
                <a:lnTo>
                  <a:pt x="217" y="779"/>
                </a:lnTo>
                <a:lnTo>
                  <a:pt x="217" y="782"/>
                </a:lnTo>
                <a:lnTo>
                  <a:pt x="217" y="782"/>
                </a:lnTo>
                <a:lnTo>
                  <a:pt x="217" y="782"/>
                </a:lnTo>
                <a:lnTo>
                  <a:pt x="217" y="784"/>
                </a:lnTo>
                <a:lnTo>
                  <a:pt x="217" y="784"/>
                </a:lnTo>
                <a:lnTo>
                  <a:pt x="214" y="784"/>
                </a:lnTo>
                <a:lnTo>
                  <a:pt x="214" y="784"/>
                </a:lnTo>
                <a:lnTo>
                  <a:pt x="214" y="787"/>
                </a:lnTo>
                <a:lnTo>
                  <a:pt x="214" y="787"/>
                </a:lnTo>
                <a:lnTo>
                  <a:pt x="214" y="789"/>
                </a:lnTo>
                <a:lnTo>
                  <a:pt x="214" y="789"/>
                </a:lnTo>
                <a:lnTo>
                  <a:pt x="212" y="789"/>
                </a:lnTo>
                <a:lnTo>
                  <a:pt x="212" y="789"/>
                </a:lnTo>
                <a:lnTo>
                  <a:pt x="212" y="787"/>
                </a:lnTo>
                <a:lnTo>
                  <a:pt x="212" y="787"/>
                </a:lnTo>
                <a:lnTo>
                  <a:pt x="209" y="787"/>
                </a:lnTo>
                <a:lnTo>
                  <a:pt x="209" y="787"/>
                </a:lnTo>
                <a:lnTo>
                  <a:pt x="207" y="787"/>
                </a:lnTo>
                <a:lnTo>
                  <a:pt x="207" y="787"/>
                </a:lnTo>
                <a:lnTo>
                  <a:pt x="204" y="787"/>
                </a:lnTo>
                <a:lnTo>
                  <a:pt x="204" y="787"/>
                </a:lnTo>
                <a:lnTo>
                  <a:pt x="207" y="787"/>
                </a:lnTo>
                <a:lnTo>
                  <a:pt x="207" y="787"/>
                </a:lnTo>
                <a:lnTo>
                  <a:pt x="209" y="789"/>
                </a:lnTo>
                <a:lnTo>
                  <a:pt x="209" y="789"/>
                </a:lnTo>
                <a:lnTo>
                  <a:pt x="212" y="789"/>
                </a:lnTo>
                <a:lnTo>
                  <a:pt x="212" y="789"/>
                </a:lnTo>
                <a:lnTo>
                  <a:pt x="212" y="789"/>
                </a:lnTo>
                <a:lnTo>
                  <a:pt x="209" y="792"/>
                </a:lnTo>
                <a:lnTo>
                  <a:pt x="209" y="792"/>
                </a:lnTo>
                <a:lnTo>
                  <a:pt x="207" y="792"/>
                </a:lnTo>
                <a:lnTo>
                  <a:pt x="207" y="792"/>
                </a:lnTo>
                <a:lnTo>
                  <a:pt x="207" y="792"/>
                </a:lnTo>
                <a:lnTo>
                  <a:pt x="207" y="792"/>
                </a:lnTo>
                <a:lnTo>
                  <a:pt x="207" y="792"/>
                </a:lnTo>
                <a:lnTo>
                  <a:pt x="207" y="794"/>
                </a:lnTo>
                <a:lnTo>
                  <a:pt x="207" y="794"/>
                </a:lnTo>
                <a:lnTo>
                  <a:pt x="209" y="794"/>
                </a:lnTo>
                <a:lnTo>
                  <a:pt x="209" y="794"/>
                </a:lnTo>
                <a:lnTo>
                  <a:pt x="209" y="794"/>
                </a:lnTo>
                <a:lnTo>
                  <a:pt x="207" y="797"/>
                </a:lnTo>
                <a:lnTo>
                  <a:pt x="207" y="797"/>
                </a:lnTo>
                <a:lnTo>
                  <a:pt x="204" y="797"/>
                </a:lnTo>
                <a:lnTo>
                  <a:pt x="204" y="797"/>
                </a:lnTo>
                <a:lnTo>
                  <a:pt x="204" y="797"/>
                </a:lnTo>
                <a:lnTo>
                  <a:pt x="202" y="797"/>
                </a:lnTo>
                <a:lnTo>
                  <a:pt x="202" y="797"/>
                </a:lnTo>
                <a:lnTo>
                  <a:pt x="202" y="797"/>
                </a:lnTo>
                <a:lnTo>
                  <a:pt x="202" y="797"/>
                </a:lnTo>
                <a:lnTo>
                  <a:pt x="204" y="799"/>
                </a:lnTo>
                <a:lnTo>
                  <a:pt x="204" y="799"/>
                </a:lnTo>
                <a:lnTo>
                  <a:pt x="207" y="799"/>
                </a:lnTo>
                <a:lnTo>
                  <a:pt x="207" y="799"/>
                </a:lnTo>
                <a:lnTo>
                  <a:pt x="204" y="802"/>
                </a:lnTo>
                <a:lnTo>
                  <a:pt x="204" y="802"/>
                </a:lnTo>
                <a:lnTo>
                  <a:pt x="204" y="802"/>
                </a:lnTo>
                <a:lnTo>
                  <a:pt x="199" y="802"/>
                </a:lnTo>
                <a:lnTo>
                  <a:pt x="199" y="802"/>
                </a:lnTo>
                <a:lnTo>
                  <a:pt x="197" y="802"/>
                </a:lnTo>
                <a:lnTo>
                  <a:pt x="197" y="802"/>
                </a:lnTo>
                <a:lnTo>
                  <a:pt x="197" y="802"/>
                </a:lnTo>
                <a:lnTo>
                  <a:pt x="197" y="802"/>
                </a:lnTo>
                <a:lnTo>
                  <a:pt x="199" y="804"/>
                </a:lnTo>
                <a:lnTo>
                  <a:pt x="199" y="804"/>
                </a:lnTo>
                <a:lnTo>
                  <a:pt x="204" y="804"/>
                </a:lnTo>
                <a:lnTo>
                  <a:pt x="204" y="804"/>
                </a:lnTo>
                <a:lnTo>
                  <a:pt x="207" y="804"/>
                </a:lnTo>
                <a:lnTo>
                  <a:pt x="207" y="804"/>
                </a:lnTo>
                <a:lnTo>
                  <a:pt x="207" y="806"/>
                </a:lnTo>
                <a:lnTo>
                  <a:pt x="207" y="806"/>
                </a:lnTo>
                <a:lnTo>
                  <a:pt x="207" y="806"/>
                </a:lnTo>
                <a:lnTo>
                  <a:pt x="204" y="809"/>
                </a:lnTo>
                <a:lnTo>
                  <a:pt x="204" y="809"/>
                </a:lnTo>
                <a:lnTo>
                  <a:pt x="202" y="809"/>
                </a:lnTo>
                <a:lnTo>
                  <a:pt x="202" y="809"/>
                </a:lnTo>
                <a:lnTo>
                  <a:pt x="197" y="809"/>
                </a:lnTo>
                <a:lnTo>
                  <a:pt x="197" y="809"/>
                </a:lnTo>
                <a:lnTo>
                  <a:pt x="194" y="806"/>
                </a:lnTo>
                <a:lnTo>
                  <a:pt x="194" y="806"/>
                </a:lnTo>
                <a:lnTo>
                  <a:pt x="194" y="809"/>
                </a:lnTo>
                <a:lnTo>
                  <a:pt x="194" y="809"/>
                </a:lnTo>
                <a:lnTo>
                  <a:pt x="197" y="809"/>
                </a:lnTo>
                <a:lnTo>
                  <a:pt x="197" y="809"/>
                </a:lnTo>
                <a:lnTo>
                  <a:pt x="199" y="809"/>
                </a:lnTo>
                <a:lnTo>
                  <a:pt x="199" y="809"/>
                </a:lnTo>
                <a:lnTo>
                  <a:pt x="199" y="811"/>
                </a:lnTo>
                <a:lnTo>
                  <a:pt x="199" y="811"/>
                </a:lnTo>
                <a:lnTo>
                  <a:pt x="199" y="811"/>
                </a:lnTo>
                <a:lnTo>
                  <a:pt x="197" y="811"/>
                </a:lnTo>
                <a:lnTo>
                  <a:pt x="197" y="811"/>
                </a:lnTo>
                <a:lnTo>
                  <a:pt x="197" y="811"/>
                </a:lnTo>
                <a:lnTo>
                  <a:pt x="199" y="814"/>
                </a:lnTo>
                <a:lnTo>
                  <a:pt x="199" y="814"/>
                </a:lnTo>
                <a:lnTo>
                  <a:pt x="202" y="814"/>
                </a:lnTo>
                <a:lnTo>
                  <a:pt x="202" y="814"/>
                </a:lnTo>
                <a:lnTo>
                  <a:pt x="202" y="814"/>
                </a:lnTo>
                <a:lnTo>
                  <a:pt x="202" y="816"/>
                </a:lnTo>
                <a:lnTo>
                  <a:pt x="202" y="816"/>
                </a:lnTo>
                <a:lnTo>
                  <a:pt x="199" y="816"/>
                </a:lnTo>
                <a:lnTo>
                  <a:pt x="199" y="816"/>
                </a:lnTo>
                <a:lnTo>
                  <a:pt x="197" y="816"/>
                </a:lnTo>
                <a:lnTo>
                  <a:pt x="197" y="816"/>
                </a:lnTo>
                <a:lnTo>
                  <a:pt x="197" y="816"/>
                </a:lnTo>
                <a:lnTo>
                  <a:pt x="199" y="819"/>
                </a:lnTo>
                <a:lnTo>
                  <a:pt x="199" y="819"/>
                </a:lnTo>
                <a:lnTo>
                  <a:pt x="202" y="816"/>
                </a:lnTo>
                <a:lnTo>
                  <a:pt x="202" y="816"/>
                </a:lnTo>
                <a:lnTo>
                  <a:pt x="204" y="819"/>
                </a:lnTo>
                <a:lnTo>
                  <a:pt x="204" y="819"/>
                </a:lnTo>
                <a:lnTo>
                  <a:pt x="202" y="819"/>
                </a:lnTo>
                <a:lnTo>
                  <a:pt x="202" y="819"/>
                </a:lnTo>
                <a:lnTo>
                  <a:pt x="202" y="821"/>
                </a:lnTo>
                <a:lnTo>
                  <a:pt x="202" y="821"/>
                </a:lnTo>
                <a:lnTo>
                  <a:pt x="199" y="821"/>
                </a:lnTo>
                <a:lnTo>
                  <a:pt x="199" y="821"/>
                </a:lnTo>
                <a:lnTo>
                  <a:pt x="197" y="821"/>
                </a:lnTo>
                <a:lnTo>
                  <a:pt x="197" y="821"/>
                </a:lnTo>
                <a:lnTo>
                  <a:pt x="194" y="819"/>
                </a:lnTo>
                <a:lnTo>
                  <a:pt x="194" y="819"/>
                </a:lnTo>
                <a:lnTo>
                  <a:pt x="192" y="819"/>
                </a:lnTo>
                <a:lnTo>
                  <a:pt x="192" y="819"/>
                </a:lnTo>
                <a:lnTo>
                  <a:pt x="192" y="816"/>
                </a:lnTo>
                <a:lnTo>
                  <a:pt x="192" y="816"/>
                </a:lnTo>
                <a:lnTo>
                  <a:pt x="190" y="816"/>
                </a:lnTo>
                <a:lnTo>
                  <a:pt x="190" y="816"/>
                </a:lnTo>
                <a:lnTo>
                  <a:pt x="190" y="816"/>
                </a:lnTo>
                <a:lnTo>
                  <a:pt x="187" y="816"/>
                </a:lnTo>
                <a:lnTo>
                  <a:pt x="187" y="816"/>
                </a:lnTo>
                <a:lnTo>
                  <a:pt x="187" y="816"/>
                </a:lnTo>
                <a:lnTo>
                  <a:pt x="187" y="819"/>
                </a:lnTo>
                <a:lnTo>
                  <a:pt x="187" y="819"/>
                </a:lnTo>
                <a:lnTo>
                  <a:pt x="192" y="821"/>
                </a:lnTo>
                <a:lnTo>
                  <a:pt x="192" y="821"/>
                </a:lnTo>
                <a:lnTo>
                  <a:pt x="194" y="821"/>
                </a:lnTo>
                <a:lnTo>
                  <a:pt x="194" y="821"/>
                </a:lnTo>
                <a:lnTo>
                  <a:pt x="194" y="824"/>
                </a:lnTo>
                <a:lnTo>
                  <a:pt x="194" y="824"/>
                </a:lnTo>
                <a:lnTo>
                  <a:pt x="194" y="824"/>
                </a:lnTo>
                <a:lnTo>
                  <a:pt x="194" y="826"/>
                </a:lnTo>
                <a:lnTo>
                  <a:pt x="194" y="826"/>
                </a:lnTo>
                <a:lnTo>
                  <a:pt x="194" y="826"/>
                </a:lnTo>
                <a:lnTo>
                  <a:pt x="197" y="826"/>
                </a:lnTo>
                <a:lnTo>
                  <a:pt x="197" y="826"/>
                </a:lnTo>
                <a:lnTo>
                  <a:pt x="197" y="826"/>
                </a:lnTo>
                <a:lnTo>
                  <a:pt x="199" y="826"/>
                </a:lnTo>
                <a:lnTo>
                  <a:pt x="199" y="826"/>
                </a:lnTo>
                <a:lnTo>
                  <a:pt x="199" y="829"/>
                </a:lnTo>
                <a:lnTo>
                  <a:pt x="199" y="829"/>
                </a:lnTo>
                <a:lnTo>
                  <a:pt x="197" y="829"/>
                </a:lnTo>
                <a:lnTo>
                  <a:pt x="197" y="829"/>
                </a:lnTo>
                <a:lnTo>
                  <a:pt x="197" y="829"/>
                </a:lnTo>
                <a:lnTo>
                  <a:pt x="197" y="831"/>
                </a:lnTo>
                <a:lnTo>
                  <a:pt x="197" y="831"/>
                </a:lnTo>
                <a:lnTo>
                  <a:pt x="194" y="831"/>
                </a:lnTo>
                <a:lnTo>
                  <a:pt x="194" y="831"/>
                </a:lnTo>
                <a:close/>
                <a:moveTo>
                  <a:pt x="192" y="831"/>
                </a:moveTo>
                <a:lnTo>
                  <a:pt x="192" y="831"/>
                </a:lnTo>
                <a:lnTo>
                  <a:pt x="187" y="829"/>
                </a:lnTo>
                <a:lnTo>
                  <a:pt x="187" y="829"/>
                </a:lnTo>
                <a:lnTo>
                  <a:pt x="185" y="829"/>
                </a:lnTo>
                <a:lnTo>
                  <a:pt x="185" y="829"/>
                </a:lnTo>
                <a:lnTo>
                  <a:pt x="185" y="829"/>
                </a:lnTo>
                <a:lnTo>
                  <a:pt x="187" y="833"/>
                </a:lnTo>
                <a:lnTo>
                  <a:pt x="187" y="833"/>
                </a:lnTo>
                <a:lnTo>
                  <a:pt x="190" y="833"/>
                </a:lnTo>
                <a:lnTo>
                  <a:pt x="190" y="833"/>
                </a:lnTo>
                <a:lnTo>
                  <a:pt x="192" y="831"/>
                </a:lnTo>
                <a:lnTo>
                  <a:pt x="192" y="831"/>
                </a:lnTo>
                <a:close/>
                <a:moveTo>
                  <a:pt x="433" y="560"/>
                </a:moveTo>
                <a:lnTo>
                  <a:pt x="433" y="560"/>
                </a:lnTo>
                <a:lnTo>
                  <a:pt x="433" y="563"/>
                </a:lnTo>
                <a:lnTo>
                  <a:pt x="433" y="563"/>
                </a:lnTo>
                <a:lnTo>
                  <a:pt x="438" y="563"/>
                </a:lnTo>
                <a:lnTo>
                  <a:pt x="438" y="563"/>
                </a:lnTo>
                <a:lnTo>
                  <a:pt x="443" y="560"/>
                </a:lnTo>
                <a:lnTo>
                  <a:pt x="443" y="560"/>
                </a:lnTo>
                <a:lnTo>
                  <a:pt x="450" y="563"/>
                </a:lnTo>
                <a:lnTo>
                  <a:pt x="450" y="563"/>
                </a:lnTo>
                <a:lnTo>
                  <a:pt x="453" y="560"/>
                </a:lnTo>
                <a:lnTo>
                  <a:pt x="453" y="560"/>
                </a:lnTo>
                <a:lnTo>
                  <a:pt x="455" y="558"/>
                </a:lnTo>
                <a:lnTo>
                  <a:pt x="455" y="558"/>
                </a:lnTo>
                <a:lnTo>
                  <a:pt x="460" y="560"/>
                </a:lnTo>
                <a:lnTo>
                  <a:pt x="460" y="560"/>
                </a:lnTo>
                <a:lnTo>
                  <a:pt x="463" y="560"/>
                </a:lnTo>
                <a:lnTo>
                  <a:pt x="463" y="560"/>
                </a:lnTo>
                <a:lnTo>
                  <a:pt x="465" y="560"/>
                </a:lnTo>
                <a:lnTo>
                  <a:pt x="465" y="560"/>
                </a:lnTo>
                <a:lnTo>
                  <a:pt x="468" y="558"/>
                </a:lnTo>
                <a:lnTo>
                  <a:pt x="468" y="558"/>
                </a:lnTo>
                <a:lnTo>
                  <a:pt x="468" y="548"/>
                </a:lnTo>
                <a:lnTo>
                  <a:pt x="468" y="548"/>
                </a:lnTo>
                <a:lnTo>
                  <a:pt x="465" y="548"/>
                </a:lnTo>
                <a:lnTo>
                  <a:pt x="465" y="548"/>
                </a:lnTo>
                <a:lnTo>
                  <a:pt x="465" y="543"/>
                </a:lnTo>
                <a:lnTo>
                  <a:pt x="465" y="543"/>
                </a:lnTo>
                <a:lnTo>
                  <a:pt x="463" y="543"/>
                </a:lnTo>
                <a:lnTo>
                  <a:pt x="463" y="543"/>
                </a:lnTo>
                <a:lnTo>
                  <a:pt x="453" y="548"/>
                </a:lnTo>
                <a:lnTo>
                  <a:pt x="453" y="548"/>
                </a:lnTo>
                <a:lnTo>
                  <a:pt x="445" y="548"/>
                </a:lnTo>
                <a:lnTo>
                  <a:pt x="445" y="548"/>
                </a:lnTo>
                <a:lnTo>
                  <a:pt x="443" y="551"/>
                </a:lnTo>
                <a:lnTo>
                  <a:pt x="443" y="551"/>
                </a:lnTo>
                <a:lnTo>
                  <a:pt x="441" y="553"/>
                </a:lnTo>
                <a:lnTo>
                  <a:pt x="441" y="553"/>
                </a:lnTo>
                <a:lnTo>
                  <a:pt x="438" y="556"/>
                </a:lnTo>
                <a:lnTo>
                  <a:pt x="438" y="556"/>
                </a:lnTo>
                <a:lnTo>
                  <a:pt x="436" y="556"/>
                </a:lnTo>
                <a:lnTo>
                  <a:pt x="436" y="556"/>
                </a:lnTo>
                <a:lnTo>
                  <a:pt x="433" y="558"/>
                </a:lnTo>
                <a:lnTo>
                  <a:pt x="433" y="558"/>
                </a:lnTo>
                <a:lnTo>
                  <a:pt x="433" y="560"/>
                </a:lnTo>
                <a:lnTo>
                  <a:pt x="433" y="560"/>
                </a:lnTo>
                <a:close/>
                <a:moveTo>
                  <a:pt x="202" y="811"/>
                </a:moveTo>
                <a:lnTo>
                  <a:pt x="202" y="811"/>
                </a:lnTo>
                <a:lnTo>
                  <a:pt x="204" y="811"/>
                </a:lnTo>
                <a:lnTo>
                  <a:pt x="204" y="811"/>
                </a:lnTo>
                <a:lnTo>
                  <a:pt x="207" y="811"/>
                </a:lnTo>
                <a:lnTo>
                  <a:pt x="207" y="811"/>
                </a:lnTo>
                <a:lnTo>
                  <a:pt x="204" y="809"/>
                </a:lnTo>
                <a:lnTo>
                  <a:pt x="204" y="809"/>
                </a:lnTo>
                <a:lnTo>
                  <a:pt x="204" y="811"/>
                </a:lnTo>
                <a:lnTo>
                  <a:pt x="204" y="811"/>
                </a:lnTo>
                <a:lnTo>
                  <a:pt x="202" y="811"/>
                </a:lnTo>
                <a:lnTo>
                  <a:pt x="202" y="811"/>
                </a:lnTo>
                <a:close/>
                <a:moveTo>
                  <a:pt x="217" y="779"/>
                </a:moveTo>
                <a:lnTo>
                  <a:pt x="217" y="779"/>
                </a:lnTo>
                <a:lnTo>
                  <a:pt x="219" y="782"/>
                </a:lnTo>
                <a:lnTo>
                  <a:pt x="219" y="782"/>
                </a:lnTo>
                <a:lnTo>
                  <a:pt x="219" y="779"/>
                </a:lnTo>
                <a:lnTo>
                  <a:pt x="219" y="779"/>
                </a:lnTo>
                <a:lnTo>
                  <a:pt x="217" y="779"/>
                </a:lnTo>
                <a:lnTo>
                  <a:pt x="217" y="779"/>
                </a:lnTo>
                <a:close/>
                <a:moveTo>
                  <a:pt x="219" y="777"/>
                </a:moveTo>
                <a:lnTo>
                  <a:pt x="219" y="777"/>
                </a:lnTo>
                <a:lnTo>
                  <a:pt x="219" y="777"/>
                </a:lnTo>
                <a:lnTo>
                  <a:pt x="219" y="777"/>
                </a:lnTo>
                <a:lnTo>
                  <a:pt x="219" y="774"/>
                </a:lnTo>
                <a:lnTo>
                  <a:pt x="219" y="774"/>
                </a:lnTo>
                <a:lnTo>
                  <a:pt x="219" y="777"/>
                </a:lnTo>
                <a:lnTo>
                  <a:pt x="219" y="777"/>
                </a:lnTo>
                <a:close/>
                <a:moveTo>
                  <a:pt x="222" y="770"/>
                </a:moveTo>
                <a:lnTo>
                  <a:pt x="222" y="770"/>
                </a:lnTo>
                <a:lnTo>
                  <a:pt x="222" y="772"/>
                </a:lnTo>
                <a:lnTo>
                  <a:pt x="222" y="772"/>
                </a:lnTo>
                <a:lnTo>
                  <a:pt x="222" y="772"/>
                </a:lnTo>
                <a:lnTo>
                  <a:pt x="222" y="770"/>
                </a:lnTo>
                <a:lnTo>
                  <a:pt x="222" y="770"/>
                </a:lnTo>
                <a:lnTo>
                  <a:pt x="222" y="770"/>
                </a:lnTo>
                <a:lnTo>
                  <a:pt x="222" y="770"/>
                </a:lnTo>
                <a:close/>
                <a:moveTo>
                  <a:pt x="219" y="765"/>
                </a:moveTo>
                <a:lnTo>
                  <a:pt x="219" y="765"/>
                </a:lnTo>
                <a:lnTo>
                  <a:pt x="219" y="767"/>
                </a:lnTo>
                <a:lnTo>
                  <a:pt x="219" y="767"/>
                </a:lnTo>
                <a:lnTo>
                  <a:pt x="222" y="767"/>
                </a:lnTo>
                <a:lnTo>
                  <a:pt x="222" y="767"/>
                </a:lnTo>
                <a:lnTo>
                  <a:pt x="222" y="767"/>
                </a:lnTo>
                <a:lnTo>
                  <a:pt x="224" y="767"/>
                </a:lnTo>
                <a:lnTo>
                  <a:pt x="224" y="767"/>
                </a:lnTo>
                <a:lnTo>
                  <a:pt x="224" y="767"/>
                </a:lnTo>
                <a:lnTo>
                  <a:pt x="224" y="765"/>
                </a:lnTo>
                <a:lnTo>
                  <a:pt x="224" y="765"/>
                </a:lnTo>
                <a:lnTo>
                  <a:pt x="222" y="765"/>
                </a:lnTo>
                <a:lnTo>
                  <a:pt x="222" y="765"/>
                </a:lnTo>
                <a:lnTo>
                  <a:pt x="219" y="765"/>
                </a:lnTo>
                <a:lnTo>
                  <a:pt x="219" y="765"/>
                </a:lnTo>
                <a:lnTo>
                  <a:pt x="219" y="765"/>
                </a:lnTo>
                <a:close/>
                <a:moveTo>
                  <a:pt x="231" y="762"/>
                </a:moveTo>
                <a:lnTo>
                  <a:pt x="231" y="762"/>
                </a:lnTo>
                <a:lnTo>
                  <a:pt x="231" y="762"/>
                </a:lnTo>
                <a:lnTo>
                  <a:pt x="231" y="760"/>
                </a:lnTo>
                <a:lnTo>
                  <a:pt x="231" y="760"/>
                </a:lnTo>
                <a:lnTo>
                  <a:pt x="231" y="760"/>
                </a:lnTo>
                <a:lnTo>
                  <a:pt x="231" y="762"/>
                </a:lnTo>
                <a:lnTo>
                  <a:pt x="231" y="762"/>
                </a:lnTo>
                <a:close/>
                <a:moveTo>
                  <a:pt x="229" y="742"/>
                </a:moveTo>
                <a:lnTo>
                  <a:pt x="229" y="742"/>
                </a:lnTo>
                <a:lnTo>
                  <a:pt x="229" y="745"/>
                </a:lnTo>
                <a:lnTo>
                  <a:pt x="229" y="745"/>
                </a:lnTo>
                <a:lnTo>
                  <a:pt x="231" y="747"/>
                </a:lnTo>
                <a:lnTo>
                  <a:pt x="231" y="747"/>
                </a:lnTo>
                <a:lnTo>
                  <a:pt x="236" y="747"/>
                </a:lnTo>
                <a:lnTo>
                  <a:pt x="236" y="747"/>
                </a:lnTo>
                <a:lnTo>
                  <a:pt x="236" y="750"/>
                </a:lnTo>
                <a:lnTo>
                  <a:pt x="236" y="750"/>
                </a:lnTo>
                <a:lnTo>
                  <a:pt x="236" y="747"/>
                </a:lnTo>
                <a:lnTo>
                  <a:pt x="236" y="747"/>
                </a:lnTo>
                <a:lnTo>
                  <a:pt x="236" y="747"/>
                </a:lnTo>
                <a:lnTo>
                  <a:pt x="231" y="745"/>
                </a:lnTo>
                <a:lnTo>
                  <a:pt x="231" y="745"/>
                </a:lnTo>
                <a:lnTo>
                  <a:pt x="231" y="742"/>
                </a:lnTo>
                <a:lnTo>
                  <a:pt x="231" y="742"/>
                </a:lnTo>
                <a:lnTo>
                  <a:pt x="229" y="742"/>
                </a:lnTo>
                <a:lnTo>
                  <a:pt x="229" y="742"/>
                </a:lnTo>
                <a:close/>
                <a:moveTo>
                  <a:pt x="249" y="708"/>
                </a:moveTo>
                <a:lnTo>
                  <a:pt x="249" y="708"/>
                </a:lnTo>
                <a:lnTo>
                  <a:pt x="251" y="711"/>
                </a:lnTo>
                <a:lnTo>
                  <a:pt x="251" y="711"/>
                </a:lnTo>
                <a:lnTo>
                  <a:pt x="251" y="713"/>
                </a:lnTo>
                <a:lnTo>
                  <a:pt x="251" y="713"/>
                </a:lnTo>
                <a:lnTo>
                  <a:pt x="251" y="715"/>
                </a:lnTo>
                <a:lnTo>
                  <a:pt x="251" y="715"/>
                </a:lnTo>
                <a:lnTo>
                  <a:pt x="251" y="718"/>
                </a:lnTo>
                <a:lnTo>
                  <a:pt x="251" y="718"/>
                </a:lnTo>
                <a:lnTo>
                  <a:pt x="254" y="718"/>
                </a:lnTo>
                <a:lnTo>
                  <a:pt x="254" y="718"/>
                </a:lnTo>
                <a:lnTo>
                  <a:pt x="254" y="715"/>
                </a:lnTo>
                <a:lnTo>
                  <a:pt x="254" y="715"/>
                </a:lnTo>
                <a:lnTo>
                  <a:pt x="254" y="713"/>
                </a:lnTo>
                <a:lnTo>
                  <a:pt x="254" y="713"/>
                </a:lnTo>
                <a:lnTo>
                  <a:pt x="251" y="711"/>
                </a:lnTo>
                <a:lnTo>
                  <a:pt x="251" y="711"/>
                </a:lnTo>
                <a:lnTo>
                  <a:pt x="251" y="708"/>
                </a:lnTo>
                <a:lnTo>
                  <a:pt x="251" y="708"/>
                </a:lnTo>
                <a:lnTo>
                  <a:pt x="251" y="708"/>
                </a:lnTo>
                <a:lnTo>
                  <a:pt x="249" y="708"/>
                </a:lnTo>
                <a:lnTo>
                  <a:pt x="249" y="708"/>
                </a:lnTo>
                <a:close/>
                <a:moveTo>
                  <a:pt x="263" y="698"/>
                </a:moveTo>
                <a:lnTo>
                  <a:pt x="263" y="698"/>
                </a:lnTo>
                <a:lnTo>
                  <a:pt x="263" y="701"/>
                </a:lnTo>
                <a:lnTo>
                  <a:pt x="263" y="701"/>
                </a:lnTo>
                <a:lnTo>
                  <a:pt x="266" y="701"/>
                </a:lnTo>
                <a:lnTo>
                  <a:pt x="266" y="701"/>
                </a:lnTo>
                <a:lnTo>
                  <a:pt x="266" y="701"/>
                </a:lnTo>
                <a:lnTo>
                  <a:pt x="266" y="698"/>
                </a:lnTo>
                <a:lnTo>
                  <a:pt x="266" y="698"/>
                </a:lnTo>
                <a:lnTo>
                  <a:pt x="263" y="698"/>
                </a:lnTo>
                <a:lnTo>
                  <a:pt x="263" y="698"/>
                </a:lnTo>
                <a:close/>
                <a:moveTo>
                  <a:pt x="268" y="696"/>
                </a:moveTo>
                <a:lnTo>
                  <a:pt x="268" y="696"/>
                </a:lnTo>
                <a:lnTo>
                  <a:pt x="268" y="696"/>
                </a:lnTo>
                <a:lnTo>
                  <a:pt x="268" y="696"/>
                </a:lnTo>
                <a:lnTo>
                  <a:pt x="268" y="693"/>
                </a:lnTo>
                <a:lnTo>
                  <a:pt x="268" y="693"/>
                </a:lnTo>
                <a:lnTo>
                  <a:pt x="268" y="696"/>
                </a:lnTo>
                <a:lnTo>
                  <a:pt x="268" y="696"/>
                </a:lnTo>
                <a:close/>
                <a:moveTo>
                  <a:pt x="293" y="693"/>
                </a:moveTo>
                <a:lnTo>
                  <a:pt x="293" y="693"/>
                </a:lnTo>
                <a:lnTo>
                  <a:pt x="295" y="691"/>
                </a:lnTo>
                <a:lnTo>
                  <a:pt x="295" y="691"/>
                </a:lnTo>
                <a:lnTo>
                  <a:pt x="298" y="691"/>
                </a:lnTo>
                <a:lnTo>
                  <a:pt x="298" y="691"/>
                </a:lnTo>
                <a:lnTo>
                  <a:pt x="298" y="691"/>
                </a:lnTo>
                <a:lnTo>
                  <a:pt x="295" y="686"/>
                </a:lnTo>
                <a:lnTo>
                  <a:pt x="295" y="686"/>
                </a:lnTo>
                <a:lnTo>
                  <a:pt x="295" y="686"/>
                </a:lnTo>
                <a:lnTo>
                  <a:pt x="293" y="683"/>
                </a:lnTo>
                <a:lnTo>
                  <a:pt x="293" y="683"/>
                </a:lnTo>
                <a:lnTo>
                  <a:pt x="293" y="683"/>
                </a:lnTo>
                <a:lnTo>
                  <a:pt x="290" y="686"/>
                </a:lnTo>
                <a:lnTo>
                  <a:pt x="290" y="686"/>
                </a:lnTo>
                <a:lnTo>
                  <a:pt x="290" y="688"/>
                </a:lnTo>
                <a:lnTo>
                  <a:pt x="290" y="688"/>
                </a:lnTo>
                <a:lnTo>
                  <a:pt x="288" y="691"/>
                </a:lnTo>
                <a:lnTo>
                  <a:pt x="288" y="691"/>
                </a:lnTo>
                <a:lnTo>
                  <a:pt x="290" y="691"/>
                </a:lnTo>
                <a:lnTo>
                  <a:pt x="290" y="691"/>
                </a:lnTo>
                <a:lnTo>
                  <a:pt x="290" y="693"/>
                </a:lnTo>
                <a:lnTo>
                  <a:pt x="290" y="693"/>
                </a:lnTo>
                <a:lnTo>
                  <a:pt x="293" y="693"/>
                </a:lnTo>
                <a:lnTo>
                  <a:pt x="293" y="693"/>
                </a:lnTo>
                <a:close/>
                <a:moveTo>
                  <a:pt x="303" y="691"/>
                </a:moveTo>
                <a:lnTo>
                  <a:pt x="303" y="691"/>
                </a:lnTo>
                <a:lnTo>
                  <a:pt x="303" y="691"/>
                </a:lnTo>
                <a:lnTo>
                  <a:pt x="303" y="688"/>
                </a:lnTo>
                <a:lnTo>
                  <a:pt x="303" y="688"/>
                </a:lnTo>
                <a:lnTo>
                  <a:pt x="300" y="688"/>
                </a:lnTo>
                <a:lnTo>
                  <a:pt x="300" y="688"/>
                </a:lnTo>
                <a:lnTo>
                  <a:pt x="300" y="691"/>
                </a:lnTo>
                <a:lnTo>
                  <a:pt x="300" y="691"/>
                </a:lnTo>
                <a:lnTo>
                  <a:pt x="303" y="693"/>
                </a:lnTo>
                <a:lnTo>
                  <a:pt x="303" y="693"/>
                </a:lnTo>
                <a:lnTo>
                  <a:pt x="303" y="691"/>
                </a:lnTo>
                <a:lnTo>
                  <a:pt x="303" y="691"/>
                </a:lnTo>
                <a:close/>
                <a:moveTo>
                  <a:pt x="485" y="590"/>
                </a:moveTo>
                <a:lnTo>
                  <a:pt x="485" y="590"/>
                </a:lnTo>
                <a:lnTo>
                  <a:pt x="487" y="590"/>
                </a:lnTo>
                <a:lnTo>
                  <a:pt x="487" y="590"/>
                </a:lnTo>
                <a:lnTo>
                  <a:pt x="487" y="588"/>
                </a:lnTo>
                <a:lnTo>
                  <a:pt x="487" y="588"/>
                </a:lnTo>
                <a:lnTo>
                  <a:pt x="487" y="588"/>
                </a:lnTo>
                <a:lnTo>
                  <a:pt x="485" y="588"/>
                </a:lnTo>
                <a:lnTo>
                  <a:pt x="485" y="588"/>
                </a:lnTo>
                <a:lnTo>
                  <a:pt x="485" y="590"/>
                </a:lnTo>
                <a:lnTo>
                  <a:pt x="485" y="590"/>
                </a:lnTo>
                <a:close/>
                <a:moveTo>
                  <a:pt x="453" y="563"/>
                </a:moveTo>
                <a:lnTo>
                  <a:pt x="453" y="563"/>
                </a:lnTo>
                <a:lnTo>
                  <a:pt x="455" y="563"/>
                </a:lnTo>
                <a:lnTo>
                  <a:pt x="455" y="563"/>
                </a:lnTo>
                <a:lnTo>
                  <a:pt x="455" y="563"/>
                </a:lnTo>
                <a:lnTo>
                  <a:pt x="455" y="563"/>
                </a:lnTo>
                <a:lnTo>
                  <a:pt x="453" y="560"/>
                </a:lnTo>
                <a:lnTo>
                  <a:pt x="453" y="563"/>
                </a:lnTo>
                <a:lnTo>
                  <a:pt x="453" y="563"/>
                </a:lnTo>
                <a:close/>
                <a:moveTo>
                  <a:pt x="438" y="551"/>
                </a:moveTo>
                <a:lnTo>
                  <a:pt x="438" y="551"/>
                </a:lnTo>
                <a:lnTo>
                  <a:pt x="441" y="551"/>
                </a:lnTo>
                <a:lnTo>
                  <a:pt x="441" y="551"/>
                </a:lnTo>
                <a:lnTo>
                  <a:pt x="443" y="551"/>
                </a:lnTo>
                <a:lnTo>
                  <a:pt x="443" y="551"/>
                </a:lnTo>
                <a:lnTo>
                  <a:pt x="443" y="548"/>
                </a:lnTo>
                <a:lnTo>
                  <a:pt x="443" y="548"/>
                </a:lnTo>
                <a:lnTo>
                  <a:pt x="441" y="548"/>
                </a:lnTo>
                <a:lnTo>
                  <a:pt x="441" y="548"/>
                </a:lnTo>
                <a:lnTo>
                  <a:pt x="438" y="551"/>
                </a:lnTo>
                <a:lnTo>
                  <a:pt x="438" y="551"/>
                </a:lnTo>
                <a:close/>
                <a:moveTo>
                  <a:pt x="468" y="543"/>
                </a:moveTo>
                <a:lnTo>
                  <a:pt x="468" y="543"/>
                </a:lnTo>
                <a:lnTo>
                  <a:pt x="468" y="543"/>
                </a:lnTo>
                <a:lnTo>
                  <a:pt x="468" y="546"/>
                </a:lnTo>
                <a:lnTo>
                  <a:pt x="468" y="546"/>
                </a:lnTo>
                <a:lnTo>
                  <a:pt x="470" y="546"/>
                </a:lnTo>
                <a:lnTo>
                  <a:pt x="470" y="546"/>
                </a:lnTo>
                <a:lnTo>
                  <a:pt x="468" y="543"/>
                </a:lnTo>
                <a:lnTo>
                  <a:pt x="468" y="543"/>
                </a:lnTo>
                <a:lnTo>
                  <a:pt x="468" y="541"/>
                </a:lnTo>
                <a:lnTo>
                  <a:pt x="468" y="541"/>
                </a:lnTo>
                <a:lnTo>
                  <a:pt x="468" y="543"/>
                </a:lnTo>
                <a:lnTo>
                  <a:pt x="468" y="543"/>
                </a:lnTo>
                <a:close/>
                <a:moveTo>
                  <a:pt x="485" y="484"/>
                </a:moveTo>
                <a:lnTo>
                  <a:pt x="485" y="484"/>
                </a:lnTo>
                <a:lnTo>
                  <a:pt x="485" y="487"/>
                </a:lnTo>
                <a:lnTo>
                  <a:pt x="485" y="487"/>
                </a:lnTo>
                <a:lnTo>
                  <a:pt x="487" y="487"/>
                </a:lnTo>
                <a:lnTo>
                  <a:pt x="487" y="487"/>
                </a:lnTo>
                <a:lnTo>
                  <a:pt x="487" y="489"/>
                </a:lnTo>
                <a:lnTo>
                  <a:pt x="487" y="489"/>
                </a:lnTo>
                <a:lnTo>
                  <a:pt x="487" y="494"/>
                </a:lnTo>
                <a:lnTo>
                  <a:pt x="487" y="494"/>
                </a:lnTo>
                <a:lnTo>
                  <a:pt x="490" y="497"/>
                </a:lnTo>
                <a:lnTo>
                  <a:pt x="490" y="497"/>
                </a:lnTo>
                <a:lnTo>
                  <a:pt x="495" y="497"/>
                </a:lnTo>
                <a:lnTo>
                  <a:pt x="495" y="497"/>
                </a:lnTo>
                <a:lnTo>
                  <a:pt x="497" y="501"/>
                </a:lnTo>
                <a:lnTo>
                  <a:pt x="497" y="501"/>
                </a:lnTo>
                <a:lnTo>
                  <a:pt x="500" y="504"/>
                </a:lnTo>
                <a:lnTo>
                  <a:pt x="500" y="504"/>
                </a:lnTo>
                <a:lnTo>
                  <a:pt x="502" y="504"/>
                </a:lnTo>
                <a:lnTo>
                  <a:pt x="502" y="504"/>
                </a:lnTo>
                <a:lnTo>
                  <a:pt x="504" y="506"/>
                </a:lnTo>
                <a:lnTo>
                  <a:pt x="504" y="506"/>
                </a:lnTo>
                <a:lnTo>
                  <a:pt x="504" y="506"/>
                </a:lnTo>
                <a:lnTo>
                  <a:pt x="507" y="509"/>
                </a:lnTo>
                <a:lnTo>
                  <a:pt x="507" y="509"/>
                </a:lnTo>
                <a:lnTo>
                  <a:pt x="509" y="506"/>
                </a:lnTo>
                <a:lnTo>
                  <a:pt x="509" y="506"/>
                </a:lnTo>
                <a:lnTo>
                  <a:pt x="509" y="504"/>
                </a:lnTo>
                <a:lnTo>
                  <a:pt x="509" y="504"/>
                </a:lnTo>
                <a:lnTo>
                  <a:pt x="509" y="504"/>
                </a:lnTo>
                <a:lnTo>
                  <a:pt x="507" y="501"/>
                </a:lnTo>
                <a:lnTo>
                  <a:pt x="507" y="501"/>
                </a:lnTo>
                <a:lnTo>
                  <a:pt x="504" y="499"/>
                </a:lnTo>
                <a:lnTo>
                  <a:pt x="504" y="499"/>
                </a:lnTo>
                <a:lnTo>
                  <a:pt x="504" y="499"/>
                </a:lnTo>
                <a:lnTo>
                  <a:pt x="502" y="497"/>
                </a:lnTo>
                <a:lnTo>
                  <a:pt x="502" y="497"/>
                </a:lnTo>
                <a:lnTo>
                  <a:pt x="502" y="497"/>
                </a:lnTo>
                <a:lnTo>
                  <a:pt x="504" y="494"/>
                </a:lnTo>
                <a:lnTo>
                  <a:pt x="504" y="494"/>
                </a:lnTo>
                <a:lnTo>
                  <a:pt x="504" y="497"/>
                </a:lnTo>
                <a:lnTo>
                  <a:pt x="504" y="497"/>
                </a:lnTo>
                <a:lnTo>
                  <a:pt x="507" y="497"/>
                </a:lnTo>
                <a:lnTo>
                  <a:pt x="507" y="497"/>
                </a:lnTo>
                <a:lnTo>
                  <a:pt x="512" y="499"/>
                </a:lnTo>
                <a:lnTo>
                  <a:pt x="512" y="499"/>
                </a:lnTo>
                <a:lnTo>
                  <a:pt x="512" y="499"/>
                </a:lnTo>
                <a:lnTo>
                  <a:pt x="512" y="499"/>
                </a:lnTo>
                <a:lnTo>
                  <a:pt x="512" y="494"/>
                </a:lnTo>
                <a:lnTo>
                  <a:pt x="512" y="494"/>
                </a:lnTo>
                <a:lnTo>
                  <a:pt x="504" y="492"/>
                </a:lnTo>
                <a:lnTo>
                  <a:pt x="504" y="492"/>
                </a:lnTo>
                <a:lnTo>
                  <a:pt x="502" y="487"/>
                </a:lnTo>
                <a:lnTo>
                  <a:pt x="502" y="487"/>
                </a:lnTo>
                <a:lnTo>
                  <a:pt x="500" y="487"/>
                </a:lnTo>
                <a:lnTo>
                  <a:pt x="500" y="487"/>
                </a:lnTo>
                <a:lnTo>
                  <a:pt x="497" y="487"/>
                </a:lnTo>
                <a:lnTo>
                  <a:pt x="497" y="487"/>
                </a:lnTo>
                <a:lnTo>
                  <a:pt x="495" y="484"/>
                </a:lnTo>
                <a:lnTo>
                  <a:pt x="495" y="484"/>
                </a:lnTo>
                <a:lnTo>
                  <a:pt x="492" y="484"/>
                </a:lnTo>
                <a:lnTo>
                  <a:pt x="492" y="484"/>
                </a:lnTo>
                <a:lnTo>
                  <a:pt x="490" y="484"/>
                </a:lnTo>
                <a:lnTo>
                  <a:pt x="490" y="484"/>
                </a:lnTo>
                <a:lnTo>
                  <a:pt x="487" y="482"/>
                </a:lnTo>
                <a:lnTo>
                  <a:pt x="487" y="482"/>
                </a:lnTo>
                <a:lnTo>
                  <a:pt x="485" y="484"/>
                </a:lnTo>
                <a:lnTo>
                  <a:pt x="485" y="484"/>
                </a:lnTo>
                <a:close/>
                <a:moveTo>
                  <a:pt x="477" y="487"/>
                </a:moveTo>
                <a:lnTo>
                  <a:pt x="477" y="487"/>
                </a:lnTo>
                <a:lnTo>
                  <a:pt x="480" y="484"/>
                </a:lnTo>
                <a:lnTo>
                  <a:pt x="480" y="484"/>
                </a:lnTo>
                <a:lnTo>
                  <a:pt x="480" y="482"/>
                </a:lnTo>
                <a:lnTo>
                  <a:pt x="480" y="482"/>
                </a:lnTo>
                <a:lnTo>
                  <a:pt x="482" y="482"/>
                </a:lnTo>
                <a:lnTo>
                  <a:pt x="482" y="482"/>
                </a:lnTo>
                <a:lnTo>
                  <a:pt x="477" y="482"/>
                </a:lnTo>
                <a:lnTo>
                  <a:pt x="477" y="482"/>
                </a:lnTo>
                <a:lnTo>
                  <a:pt x="477" y="484"/>
                </a:lnTo>
                <a:lnTo>
                  <a:pt x="477" y="484"/>
                </a:lnTo>
                <a:lnTo>
                  <a:pt x="477" y="487"/>
                </a:lnTo>
                <a:lnTo>
                  <a:pt x="477" y="487"/>
                </a:lnTo>
                <a:close/>
                <a:moveTo>
                  <a:pt x="485" y="479"/>
                </a:moveTo>
                <a:lnTo>
                  <a:pt x="485" y="479"/>
                </a:lnTo>
                <a:lnTo>
                  <a:pt x="487" y="482"/>
                </a:lnTo>
                <a:lnTo>
                  <a:pt x="487" y="482"/>
                </a:lnTo>
                <a:lnTo>
                  <a:pt x="492" y="482"/>
                </a:lnTo>
                <a:lnTo>
                  <a:pt x="492" y="482"/>
                </a:lnTo>
                <a:lnTo>
                  <a:pt x="495" y="484"/>
                </a:lnTo>
                <a:lnTo>
                  <a:pt x="495" y="484"/>
                </a:lnTo>
                <a:lnTo>
                  <a:pt x="500" y="484"/>
                </a:lnTo>
                <a:lnTo>
                  <a:pt x="500" y="484"/>
                </a:lnTo>
                <a:lnTo>
                  <a:pt x="502" y="487"/>
                </a:lnTo>
                <a:lnTo>
                  <a:pt x="502" y="487"/>
                </a:lnTo>
                <a:lnTo>
                  <a:pt x="504" y="487"/>
                </a:lnTo>
                <a:lnTo>
                  <a:pt x="504" y="487"/>
                </a:lnTo>
                <a:lnTo>
                  <a:pt x="507" y="487"/>
                </a:lnTo>
                <a:lnTo>
                  <a:pt x="507" y="487"/>
                </a:lnTo>
                <a:lnTo>
                  <a:pt x="507" y="489"/>
                </a:lnTo>
                <a:lnTo>
                  <a:pt x="507" y="489"/>
                </a:lnTo>
                <a:lnTo>
                  <a:pt x="507" y="489"/>
                </a:lnTo>
                <a:lnTo>
                  <a:pt x="509" y="489"/>
                </a:lnTo>
                <a:lnTo>
                  <a:pt x="509" y="489"/>
                </a:lnTo>
                <a:lnTo>
                  <a:pt x="512" y="489"/>
                </a:lnTo>
                <a:lnTo>
                  <a:pt x="512" y="489"/>
                </a:lnTo>
                <a:lnTo>
                  <a:pt x="514" y="489"/>
                </a:lnTo>
                <a:lnTo>
                  <a:pt x="514" y="489"/>
                </a:lnTo>
                <a:lnTo>
                  <a:pt x="514" y="487"/>
                </a:lnTo>
                <a:lnTo>
                  <a:pt x="514" y="487"/>
                </a:lnTo>
                <a:lnTo>
                  <a:pt x="514" y="487"/>
                </a:lnTo>
                <a:lnTo>
                  <a:pt x="514" y="484"/>
                </a:lnTo>
                <a:lnTo>
                  <a:pt x="514" y="484"/>
                </a:lnTo>
                <a:lnTo>
                  <a:pt x="517" y="484"/>
                </a:lnTo>
                <a:lnTo>
                  <a:pt x="517" y="484"/>
                </a:lnTo>
                <a:lnTo>
                  <a:pt x="512" y="482"/>
                </a:lnTo>
                <a:lnTo>
                  <a:pt x="512" y="482"/>
                </a:lnTo>
                <a:lnTo>
                  <a:pt x="509" y="479"/>
                </a:lnTo>
                <a:lnTo>
                  <a:pt x="509" y="479"/>
                </a:lnTo>
                <a:lnTo>
                  <a:pt x="504" y="477"/>
                </a:lnTo>
                <a:lnTo>
                  <a:pt x="504" y="477"/>
                </a:lnTo>
                <a:lnTo>
                  <a:pt x="502" y="477"/>
                </a:lnTo>
                <a:lnTo>
                  <a:pt x="502" y="477"/>
                </a:lnTo>
                <a:lnTo>
                  <a:pt x="497" y="479"/>
                </a:lnTo>
                <a:lnTo>
                  <a:pt x="497" y="479"/>
                </a:lnTo>
                <a:lnTo>
                  <a:pt x="495" y="479"/>
                </a:lnTo>
                <a:lnTo>
                  <a:pt x="495" y="479"/>
                </a:lnTo>
                <a:lnTo>
                  <a:pt x="490" y="479"/>
                </a:lnTo>
                <a:lnTo>
                  <a:pt x="490" y="479"/>
                </a:lnTo>
                <a:lnTo>
                  <a:pt x="487" y="479"/>
                </a:lnTo>
                <a:lnTo>
                  <a:pt x="485" y="479"/>
                </a:lnTo>
                <a:lnTo>
                  <a:pt x="485" y="479"/>
                </a:lnTo>
                <a:close/>
                <a:moveTo>
                  <a:pt x="472" y="469"/>
                </a:moveTo>
                <a:lnTo>
                  <a:pt x="472" y="469"/>
                </a:lnTo>
                <a:lnTo>
                  <a:pt x="475" y="472"/>
                </a:lnTo>
                <a:lnTo>
                  <a:pt x="475" y="472"/>
                </a:lnTo>
                <a:lnTo>
                  <a:pt x="480" y="472"/>
                </a:lnTo>
                <a:lnTo>
                  <a:pt x="480" y="472"/>
                </a:lnTo>
                <a:lnTo>
                  <a:pt x="482" y="474"/>
                </a:lnTo>
                <a:lnTo>
                  <a:pt x="482" y="474"/>
                </a:lnTo>
                <a:lnTo>
                  <a:pt x="487" y="477"/>
                </a:lnTo>
                <a:lnTo>
                  <a:pt x="487" y="477"/>
                </a:lnTo>
                <a:lnTo>
                  <a:pt x="492" y="477"/>
                </a:lnTo>
                <a:lnTo>
                  <a:pt x="492" y="477"/>
                </a:lnTo>
                <a:lnTo>
                  <a:pt x="502" y="477"/>
                </a:lnTo>
                <a:lnTo>
                  <a:pt x="502" y="477"/>
                </a:lnTo>
                <a:lnTo>
                  <a:pt x="504" y="477"/>
                </a:lnTo>
                <a:lnTo>
                  <a:pt x="504" y="477"/>
                </a:lnTo>
                <a:lnTo>
                  <a:pt x="504" y="474"/>
                </a:lnTo>
                <a:lnTo>
                  <a:pt x="504" y="474"/>
                </a:lnTo>
                <a:lnTo>
                  <a:pt x="502" y="474"/>
                </a:lnTo>
                <a:lnTo>
                  <a:pt x="502" y="474"/>
                </a:lnTo>
                <a:lnTo>
                  <a:pt x="495" y="474"/>
                </a:lnTo>
                <a:lnTo>
                  <a:pt x="495" y="474"/>
                </a:lnTo>
                <a:lnTo>
                  <a:pt x="492" y="474"/>
                </a:lnTo>
                <a:lnTo>
                  <a:pt x="492" y="474"/>
                </a:lnTo>
                <a:lnTo>
                  <a:pt x="487" y="472"/>
                </a:lnTo>
                <a:lnTo>
                  <a:pt x="487" y="472"/>
                </a:lnTo>
                <a:lnTo>
                  <a:pt x="485" y="469"/>
                </a:lnTo>
                <a:lnTo>
                  <a:pt x="485" y="469"/>
                </a:lnTo>
                <a:lnTo>
                  <a:pt x="482" y="469"/>
                </a:lnTo>
                <a:lnTo>
                  <a:pt x="482" y="469"/>
                </a:lnTo>
                <a:lnTo>
                  <a:pt x="485" y="467"/>
                </a:lnTo>
                <a:lnTo>
                  <a:pt x="485" y="467"/>
                </a:lnTo>
                <a:lnTo>
                  <a:pt x="487" y="467"/>
                </a:lnTo>
                <a:lnTo>
                  <a:pt x="487" y="467"/>
                </a:lnTo>
                <a:lnTo>
                  <a:pt x="492" y="472"/>
                </a:lnTo>
                <a:lnTo>
                  <a:pt x="492" y="472"/>
                </a:lnTo>
                <a:lnTo>
                  <a:pt x="497" y="472"/>
                </a:lnTo>
                <a:lnTo>
                  <a:pt x="497" y="472"/>
                </a:lnTo>
                <a:lnTo>
                  <a:pt x="500" y="472"/>
                </a:lnTo>
                <a:lnTo>
                  <a:pt x="500" y="472"/>
                </a:lnTo>
                <a:lnTo>
                  <a:pt x="497" y="469"/>
                </a:lnTo>
                <a:lnTo>
                  <a:pt x="497" y="469"/>
                </a:lnTo>
                <a:lnTo>
                  <a:pt x="490" y="465"/>
                </a:lnTo>
                <a:lnTo>
                  <a:pt x="490" y="465"/>
                </a:lnTo>
                <a:lnTo>
                  <a:pt x="482" y="465"/>
                </a:lnTo>
                <a:lnTo>
                  <a:pt x="482" y="465"/>
                </a:lnTo>
                <a:lnTo>
                  <a:pt x="480" y="465"/>
                </a:lnTo>
                <a:lnTo>
                  <a:pt x="480" y="465"/>
                </a:lnTo>
                <a:lnTo>
                  <a:pt x="480" y="467"/>
                </a:lnTo>
                <a:lnTo>
                  <a:pt x="480" y="467"/>
                </a:lnTo>
                <a:lnTo>
                  <a:pt x="475" y="467"/>
                </a:lnTo>
                <a:lnTo>
                  <a:pt x="475" y="467"/>
                </a:lnTo>
                <a:lnTo>
                  <a:pt x="472" y="469"/>
                </a:lnTo>
                <a:lnTo>
                  <a:pt x="472" y="469"/>
                </a:lnTo>
                <a:close/>
                <a:moveTo>
                  <a:pt x="519" y="477"/>
                </a:moveTo>
                <a:lnTo>
                  <a:pt x="519" y="477"/>
                </a:lnTo>
                <a:lnTo>
                  <a:pt x="522" y="477"/>
                </a:lnTo>
                <a:lnTo>
                  <a:pt x="522" y="477"/>
                </a:lnTo>
                <a:lnTo>
                  <a:pt x="524" y="477"/>
                </a:lnTo>
                <a:lnTo>
                  <a:pt x="524" y="477"/>
                </a:lnTo>
                <a:lnTo>
                  <a:pt x="524" y="474"/>
                </a:lnTo>
                <a:lnTo>
                  <a:pt x="524" y="474"/>
                </a:lnTo>
                <a:lnTo>
                  <a:pt x="522" y="477"/>
                </a:lnTo>
                <a:lnTo>
                  <a:pt x="522" y="477"/>
                </a:lnTo>
                <a:lnTo>
                  <a:pt x="519" y="477"/>
                </a:lnTo>
                <a:lnTo>
                  <a:pt x="519" y="477"/>
                </a:lnTo>
                <a:close/>
                <a:moveTo>
                  <a:pt x="524" y="430"/>
                </a:moveTo>
                <a:lnTo>
                  <a:pt x="524" y="430"/>
                </a:lnTo>
                <a:lnTo>
                  <a:pt x="522" y="435"/>
                </a:lnTo>
                <a:lnTo>
                  <a:pt x="522" y="435"/>
                </a:lnTo>
                <a:lnTo>
                  <a:pt x="522" y="438"/>
                </a:lnTo>
                <a:lnTo>
                  <a:pt x="522" y="438"/>
                </a:lnTo>
                <a:lnTo>
                  <a:pt x="522" y="440"/>
                </a:lnTo>
                <a:lnTo>
                  <a:pt x="522" y="440"/>
                </a:lnTo>
                <a:lnTo>
                  <a:pt x="524" y="440"/>
                </a:lnTo>
                <a:lnTo>
                  <a:pt x="524" y="440"/>
                </a:lnTo>
                <a:lnTo>
                  <a:pt x="529" y="442"/>
                </a:lnTo>
                <a:lnTo>
                  <a:pt x="529" y="442"/>
                </a:lnTo>
                <a:lnTo>
                  <a:pt x="529" y="442"/>
                </a:lnTo>
                <a:lnTo>
                  <a:pt x="534" y="442"/>
                </a:lnTo>
                <a:lnTo>
                  <a:pt x="534" y="442"/>
                </a:lnTo>
                <a:lnTo>
                  <a:pt x="536" y="442"/>
                </a:lnTo>
                <a:lnTo>
                  <a:pt x="536" y="442"/>
                </a:lnTo>
                <a:lnTo>
                  <a:pt x="536" y="438"/>
                </a:lnTo>
                <a:lnTo>
                  <a:pt x="536" y="438"/>
                </a:lnTo>
                <a:lnTo>
                  <a:pt x="539" y="438"/>
                </a:lnTo>
                <a:lnTo>
                  <a:pt x="539" y="438"/>
                </a:lnTo>
                <a:lnTo>
                  <a:pt x="536" y="433"/>
                </a:lnTo>
                <a:lnTo>
                  <a:pt x="536" y="433"/>
                </a:lnTo>
                <a:lnTo>
                  <a:pt x="532" y="430"/>
                </a:lnTo>
                <a:lnTo>
                  <a:pt x="532" y="430"/>
                </a:lnTo>
                <a:lnTo>
                  <a:pt x="527" y="430"/>
                </a:lnTo>
                <a:lnTo>
                  <a:pt x="527" y="430"/>
                </a:lnTo>
                <a:lnTo>
                  <a:pt x="524" y="430"/>
                </a:lnTo>
                <a:lnTo>
                  <a:pt x="524" y="430"/>
                </a:lnTo>
                <a:close/>
                <a:moveTo>
                  <a:pt x="551" y="428"/>
                </a:moveTo>
                <a:lnTo>
                  <a:pt x="551" y="428"/>
                </a:lnTo>
                <a:lnTo>
                  <a:pt x="554" y="428"/>
                </a:lnTo>
                <a:lnTo>
                  <a:pt x="554" y="428"/>
                </a:lnTo>
                <a:lnTo>
                  <a:pt x="556" y="425"/>
                </a:lnTo>
                <a:lnTo>
                  <a:pt x="556" y="425"/>
                </a:lnTo>
                <a:lnTo>
                  <a:pt x="556" y="425"/>
                </a:lnTo>
                <a:lnTo>
                  <a:pt x="554" y="425"/>
                </a:lnTo>
                <a:lnTo>
                  <a:pt x="554" y="425"/>
                </a:lnTo>
                <a:lnTo>
                  <a:pt x="551" y="425"/>
                </a:lnTo>
                <a:lnTo>
                  <a:pt x="551" y="425"/>
                </a:lnTo>
                <a:lnTo>
                  <a:pt x="551" y="428"/>
                </a:lnTo>
                <a:lnTo>
                  <a:pt x="551" y="428"/>
                </a:lnTo>
                <a:close/>
                <a:moveTo>
                  <a:pt x="539" y="410"/>
                </a:moveTo>
                <a:lnTo>
                  <a:pt x="539" y="410"/>
                </a:lnTo>
                <a:lnTo>
                  <a:pt x="539" y="413"/>
                </a:lnTo>
                <a:lnTo>
                  <a:pt x="539" y="413"/>
                </a:lnTo>
                <a:lnTo>
                  <a:pt x="539" y="418"/>
                </a:lnTo>
                <a:lnTo>
                  <a:pt x="539" y="418"/>
                </a:lnTo>
                <a:lnTo>
                  <a:pt x="539" y="420"/>
                </a:lnTo>
                <a:lnTo>
                  <a:pt x="539" y="420"/>
                </a:lnTo>
                <a:lnTo>
                  <a:pt x="541" y="420"/>
                </a:lnTo>
                <a:lnTo>
                  <a:pt x="541" y="420"/>
                </a:lnTo>
                <a:lnTo>
                  <a:pt x="544" y="420"/>
                </a:lnTo>
                <a:lnTo>
                  <a:pt x="544" y="420"/>
                </a:lnTo>
                <a:lnTo>
                  <a:pt x="544" y="418"/>
                </a:lnTo>
                <a:lnTo>
                  <a:pt x="544" y="418"/>
                </a:lnTo>
                <a:lnTo>
                  <a:pt x="544" y="415"/>
                </a:lnTo>
                <a:lnTo>
                  <a:pt x="544" y="415"/>
                </a:lnTo>
                <a:lnTo>
                  <a:pt x="544" y="413"/>
                </a:lnTo>
                <a:lnTo>
                  <a:pt x="544" y="413"/>
                </a:lnTo>
                <a:lnTo>
                  <a:pt x="541" y="410"/>
                </a:lnTo>
                <a:lnTo>
                  <a:pt x="541" y="410"/>
                </a:lnTo>
                <a:lnTo>
                  <a:pt x="539" y="410"/>
                </a:lnTo>
                <a:lnTo>
                  <a:pt x="539" y="410"/>
                </a:lnTo>
                <a:close/>
                <a:moveTo>
                  <a:pt x="559" y="398"/>
                </a:moveTo>
                <a:lnTo>
                  <a:pt x="559" y="398"/>
                </a:lnTo>
                <a:lnTo>
                  <a:pt x="559" y="406"/>
                </a:lnTo>
                <a:lnTo>
                  <a:pt x="559" y="406"/>
                </a:lnTo>
                <a:lnTo>
                  <a:pt x="556" y="408"/>
                </a:lnTo>
                <a:lnTo>
                  <a:pt x="556" y="408"/>
                </a:lnTo>
                <a:lnTo>
                  <a:pt x="559" y="410"/>
                </a:lnTo>
                <a:lnTo>
                  <a:pt x="559" y="410"/>
                </a:lnTo>
                <a:lnTo>
                  <a:pt x="561" y="413"/>
                </a:lnTo>
                <a:lnTo>
                  <a:pt x="561" y="413"/>
                </a:lnTo>
                <a:lnTo>
                  <a:pt x="564" y="413"/>
                </a:lnTo>
                <a:lnTo>
                  <a:pt x="564" y="413"/>
                </a:lnTo>
                <a:lnTo>
                  <a:pt x="566" y="413"/>
                </a:lnTo>
                <a:lnTo>
                  <a:pt x="566" y="413"/>
                </a:lnTo>
                <a:lnTo>
                  <a:pt x="568" y="413"/>
                </a:lnTo>
                <a:lnTo>
                  <a:pt x="568" y="413"/>
                </a:lnTo>
                <a:lnTo>
                  <a:pt x="568" y="415"/>
                </a:lnTo>
                <a:lnTo>
                  <a:pt x="568" y="415"/>
                </a:lnTo>
                <a:lnTo>
                  <a:pt x="571" y="415"/>
                </a:lnTo>
                <a:lnTo>
                  <a:pt x="571" y="415"/>
                </a:lnTo>
                <a:lnTo>
                  <a:pt x="573" y="413"/>
                </a:lnTo>
                <a:lnTo>
                  <a:pt x="573" y="413"/>
                </a:lnTo>
                <a:lnTo>
                  <a:pt x="573" y="410"/>
                </a:lnTo>
                <a:lnTo>
                  <a:pt x="573" y="410"/>
                </a:lnTo>
                <a:lnTo>
                  <a:pt x="573" y="408"/>
                </a:lnTo>
                <a:lnTo>
                  <a:pt x="573" y="408"/>
                </a:lnTo>
                <a:lnTo>
                  <a:pt x="571" y="406"/>
                </a:lnTo>
                <a:lnTo>
                  <a:pt x="571" y="406"/>
                </a:lnTo>
                <a:lnTo>
                  <a:pt x="571" y="408"/>
                </a:lnTo>
                <a:lnTo>
                  <a:pt x="571" y="408"/>
                </a:lnTo>
                <a:lnTo>
                  <a:pt x="571" y="410"/>
                </a:lnTo>
                <a:lnTo>
                  <a:pt x="571" y="410"/>
                </a:lnTo>
                <a:lnTo>
                  <a:pt x="568" y="408"/>
                </a:lnTo>
                <a:lnTo>
                  <a:pt x="568" y="408"/>
                </a:lnTo>
                <a:lnTo>
                  <a:pt x="568" y="406"/>
                </a:lnTo>
                <a:lnTo>
                  <a:pt x="568" y="406"/>
                </a:lnTo>
                <a:lnTo>
                  <a:pt x="568" y="403"/>
                </a:lnTo>
                <a:lnTo>
                  <a:pt x="568" y="403"/>
                </a:lnTo>
                <a:lnTo>
                  <a:pt x="566" y="401"/>
                </a:lnTo>
                <a:lnTo>
                  <a:pt x="566" y="401"/>
                </a:lnTo>
                <a:lnTo>
                  <a:pt x="566" y="401"/>
                </a:lnTo>
                <a:lnTo>
                  <a:pt x="568" y="401"/>
                </a:lnTo>
                <a:lnTo>
                  <a:pt x="568" y="401"/>
                </a:lnTo>
                <a:lnTo>
                  <a:pt x="568" y="398"/>
                </a:lnTo>
                <a:lnTo>
                  <a:pt x="568" y="398"/>
                </a:lnTo>
                <a:lnTo>
                  <a:pt x="566" y="396"/>
                </a:lnTo>
                <a:lnTo>
                  <a:pt x="566" y="396"/>
                </a:lnTo>
                <a:lnTo>
                  <a:pt x="564" y="398"/>
                </a:lnTo>
                <a:lnTo>
                  <a:pt x="564" y="398"/>
                </a:lnTo>
                <a:lnTo>
                  <a:pt x="561" y="398"/>
                </a:lnTo>
                <a:lnTo>
                  <a:pt x="561" y="398"/>
                </a:lnTo>
                <a:lnTo>
                  <a:pt x="561" y="398"/>
                </a:lnTo>
                <a:lnTo>
                  <a:pt x="559" y="398"/>
                </a:lnTo>
                <a:lnTo>
                  <a:pt x="559" y="398"/>
                </a:lnTo>
                <a:close/>
                <a:moveTo>
                  <a:pt x="561" y="349"/>
                </a:moveTo>
                <a:lnTo>
                  <a:pt x="561" y="349"/>
                </a:lnTo>
                <a:lnTo>
                  <a:pt x="559" y="351"/>
                </a:lnTo>
                <a:lnTo>
                  <a:pt x="559" y="351"/>
                </a:lnTo>
                <a:lnTo>
                  <a:pt x="561" y="354"/>
                </a:lnTo>
                <a:lnTo>
                  <a:pt x="561" y="354"/>
                </a:lnTo>
                <a:lnTo>
                  <a:pt x="561" y="354"/>
                </a:lnTo>
                <a:lnTo>
                  <a:pt x="561" y="356"/>
                </a:lnTo>
                <a:lnTo>
                  <a:pt x="561" y="356"/>
                </a:lnTo>
                <a:lnTo>
                  <a:pt x="561" y="359"/>
                </a:lnTo>
                <a:lnTo>
                  <a:pt x="561" y="359"/>
                </a:lnTo>
                <a:lnTo>
                  <a:pt x="561" y="361"/>
                </a:lnTo>
                <a:lnTo>
                  <a:pt x="561" y="361"/>
                </a:lnTo>
                <a:lnTo>
                  <a:pt x="564" y="366"/>
                </a:lnTo>
                <a:lnTo>
                  <a:pt x="564" y="366"/>
                </a:lnTo>
                <a:lnTo>
                  <a:pt x="564" y="371"/>
                </a:lnTo>
                <a:lnTo>
                  <a:pt x="564" y="371"/>
                </a:lnTo>
                <a:lnTo>
                  <a:pt x="561" y="374"/>
                </a:lnTo>
                <a:lnTo>
                  <a:pt x="561" y="374"/>
                </a:lnTo>
                <a:lnTo>
                  <a:pt x="561" y="376"/>
                </a:lnTo>
                <a:lnTo>
                  <a:pt x="561" y="376"/>
                </a:lnTo>
                <a:lnTo>
                  <a:pt x="564" y="378"/>
                </a:lnTo>
                <a:lnTo>
                  <a:pt x="564" y="378"/>
                </a:lnTo>
                <a:lnTo>
                  <a:pt x="564" y="376"/>
                </a:lnTo>
                <a:lnTo>
                  <a:pt x="564" y="376"/>
                </a:lnTo>
                <a:lnTo>
                  <a:pt x="564" y="374"/>
                </a:lnTo>
                <a:lnTo>
                  <a:pt x="564" y="374"/>
                </a:lnTo>
                <a:lnTo>
                  <a:pt x="566" y="371"/>
                </a:lnTo>
                <a:lnTo>
                  <a:pt x="566" y="371"/>
                </a:lnTo>
                <a:lnTo>
                  <a:pt x="566" y="366"/>
                </a:lnTo>
                <a:lnTo>
                  <a:pt x="566" y="366"/>
                </a:lnTo>
                <a:lnTo>
                  <a:pt x="564" y="364"/>
                </a:lnTo>
                <a:lnTo>
                  <a:pt x="564" y="364"/>
                </a:lnTo>
                <a:lnTo>
                  <a:pt x="564" y="356"/>
                </a:lnTo>
                <a:lnTo>
                  <a:pt x="564" y="356"/>
                </a:lnTo>
                <a:lnTo>
                  <a:pt x="564" y="354"/>
                </a:lnTo>
                <a:lnTo>
                  <a:pt x="564" y="354"/>
                </a:lnTo>
                <a:lnTo>
                  <a:pt x="564" y="351"/>
                </a:lnTo>
                <a:lnTo>
                  <a:pt x="564" y="351"/>
                </a:lnTo>
                <a:lnTo>
                  <a:pt x="561" y="349"/>
                </a:lnTo>
                <a:lnTo>
                  <a:pt x="561" y="349"/>
                </a:lnTo>
                <a:close/>
                <a:moveTo>
                  <a:pt x="539" y="359"/>
                </a:moveTo>
                <a:lnTo>
                  <a:pt x="539" y="359"/>
                </a:lnTo>
                <a:lnTo>
                  <a:pt x="539" y="359"/>
                </a:lnTo>
                <a:lnTo>
                  <a:pt x="539" y="361"/>
                </a:lnTo>
                <a:lnTo>
                  <a:pt x="539" y="361"/>
                </a:lnTo>
                <a:lnTo>
                  <a:pt x="541" y="361"/>
                </a:lnTo>
                <a:lnTo>
                  <a:pt x="541" y="361"/>
                </a:lnTo>
                <a:lnTo>
                  <a:pt x="544" y="359"/>
                </a:lnTo>
                <a:lnTo>
                  <a:pt x="544" y="359"/>
                </a:lnTo>
                <a:lnTo>
                  <a:pt x="544" y="356"/>
                </a:lnTo>
                <a:lnTo>
                  <a:pt x="544" y="356"/>
                </a:lnTo>
                <a:lnTo>
                  <a:pt x="539" y="356"/>
                </a:lnTo>
                <a:lnTo>
                  <a:pt x="539" y="356"/>
                </a:lnTo>
                <a:lnTo>
                  <a:pt x="539" y="359"/>
                </a:lnTo>
                <a:lnTo>
                  <a:pt x="539" y="359"/>
                </a:lnTo>
                <a:close/>
                <a:moveTo>
                  <a:pt x="534" y="351"/>
                </a:moveTo>
                <a:lnTo>
                  <a:pt x="534" y="351"/>
                </a:lnTo>
                <a:lnTo>
                  <a:pt x="536" y="354"/>
                </a:lnTo>
                <a:lnTo>
                  <a:pt x="536" y="354"/>
                </a:lnTo>
                <a:lnTo>
                  <a:pt x="539" y="354"/>
                </a:lnTo>
                <a:lnTo>
                  <a:pt x="539" y="354"/>
                </a:lnTo>
                <a:lnTo>
                  <a:pt x="536" y="351"/>
                </a:lnTo>
                <a:lnTo>
                  <a:pt x="536" y="351"/>
                </a:lnTo>
                <a:lnTo>
                  <a:pt x="536" y="351"/>
                </a:lnTo>
                <a:lnTo>
                  <a:pt x="534" y="351"/>
                </a:lnTo>
                <a:lnTo>
                  <a:pt x="534" y="351"/>
                </a:lnTo>
                <a:close/>
                <a:moveTo>
                  <a:pt x="556" y="302"/>
                </a:moveTo>
                <a:lnTo>
                  <a:pt x="556" y="302"/>
                </a:lnTo>
                <a:lnTo>
                  <a:pt x="559" y="305"/>
                </a:lnTo>
                <a:lnTo>
                  <a:pt x="559" y="305"/>
                </a:lnTo>
                <a:lnTo>
                  <a:pt x="559" y="307"/>
                </a:lnTo>
                <a:lnTo>
                  <a:pt x="559" y="307"/>
                </a:lnTo>
                <a:lnTo>
                  <a:pt x="561" y="307"/>
                </a:lnTo>
                <a:lnTo>
                  <a:pt x="561" y="307"/>
                </a:lnTo>
                <a:lnTo>
                  <a:pt x="561" y="305"/>
                </a:lnTo>
                <a:lnTo>
                  <a:pt x="561" y="305"/>
                </a:lnTo>
                <a:lnTo>
                  <a:pt x="559" y="305"/>
                </a:lnTo>
                <a:lnTo>
                  <a:pt x="559" y="305"/>
                </a:lnTo>
                <a:lnTo>
                  <a:pt x="556" y="302"/>
                </a:lnTo>
                <a:lnTo>
                  <a:pt x="556" y="302"/>
                </a:lnTo>
                <a:lnTo>
                  <a:pt x="556" y="300"/>
                </a:lnTo>
                <a:lnTo>
                  <a:pt x="556" y="300"/>
                </a:lnTo>
                <a:lnTo>
                  <a:pt x="556" y="302"/>
                </a:lnTo>
                <a:lnTo>
                  <a:pt x="556" y="302"/>
                </a:lnTo>
                <a:close/>
                <a:moveTo>
                  <a:pt x="576" y="315"/>
                </a:moveTo>
                <a:lnTo>
                  <a:pt x="576" y="315"/>
                </a:lnTo>
                <a:lnTo>
                  <a:pt x="576" y="315"/>
                </a:lnTo>
                <a:lnTo>
                  <a:pt x="578" y="315"/>
                </a:lnTo>
                <a:lnTo>
                  <a:pt x="578" y="315"/>
                </a:lnTo>
                <a:lnTo>
                  <a:pt x="578" y="315"/>
                </a:lnTo>
                <a:lnTo>
                  <a:pt x="578" y="312"/>
                </a:lnTo>
                <a:lnTo>
                  <a:pt x="578" y="312"/>
                </a:lnTo>
                <a:lnTo>
                  <a:pt x="578" y="310"/>
                </a:lnTo>
                <a:lnTo>
                  <a:pt x="578" y="310"/>
                </a:lnTo>
                <a:lnTo>
                  <a:pt x="581" y="307"/>
                </a:lnTo>
                <a:lnTo>
                  <a:pt x="581" y="307"/>
                </a:lnTo>
                <a:lnTo>
                  <a:pt x="581" y="305"/>
                </a:lnTo>
                <a:lnTo>
                  <a:pt x="581" y="305"/>
                </a:lnTo>
                <a:lnTo>
                  <a:pt x="576" y="307"/>
                </a:lnTo>
                <a:lnTo>
                  <a:pt x="576" y="307"/>
                </a:lnTo>
                <a:lnTo>
                  <a:pt x="576" y="312"/>
                </a:lnTo>
                <a:lnTo>
                  <a:pt x="576" y="312"/>
                </a:lnTo>
                <a:lnTo>
                  <a:pt x="576" y="315"/>
                </a:lnTo>
                <a:lnTo>
                  <a:pt x="576" y="315"/>
                </a:lnTo>
                <a:close/>
                <a:moveTo>
                  <a:pt x="566" y="295"/>
                </a:moveTo>
                <a:lnTo>
                  <a:pt x="566" y="295"/>
                </a:lnTo>
                <a:lnTo>
                  <a:pt x="566" y="297"/>
                </a:lnTo>
                <a:lnTo>
                  <a:pt x="566" y="297"/>
                </a:lnTo>
                <a:lnTo>
                  <a:pt x="568" y="295"/>
                </a:lnTo>
                <a:lnTo>
                  <a:pt x="568" y="295"/>
                </a:lnTo>
                <a:lnTo>
                  <a:pt x="568" y="292"/>
                </a:lnTo>
                <a:lnTo>
                  <a:pt x="568" y="292"/>
                </a:lnTo>
                <a:lnTo>
                  <a:pt x="568" y="290"/>
                </a:lnTo>
                <a:lnTo>
                  <a:pt x="568" y="290"/>
                </a:lnTo>
                <a:lnTo>
                  <a:pt x="568" y="292"/>
                </a:lnTo>
                <a:lnTo>
                  <a:pt x="568" y="292"/>
                </a:lnTo>
                <a:lnTo>
                  <a:pt x="566" y="295"/>
                </a:lnTo>
                <a:lnTo>
                  <a:pt x="566" y="295"/>
                </a:lnTo>
                <a:close/>
                <a:moveTo>
                  <a:pt x="568" y="285"/>
                </a:moveTo>
                <a:lnTo>
                  <a:pt x="568" y="285"/>
                </a:lnTo>
                <a:lnTo>
                  <a:pt x="566" y="285"/>
                </a:lnTo>
                <a:lnTo>
                  <a:pt x="566" y="285"/>
                </a:lnTo>
                <a:lnTo>
                  <a:pt x="568" y="287"/>
                </a:lnTo>
                <a:lnTo>
                  <a:pt x="568" y="287"/>
                </a:lnTo>
                <a:lnTo>
                  <a:pt x="568" y="285"/>
                </a:lnTo>
                <a:lnTo>
                  <a:pt x="568" y="285"/>
                </a:lnTo>
                <a:lnTo>
                  <a:pt x="568" y="285"/>
                </a:lnTo>
                <a:lnTo>
                  <a:pt x="568" y="285"/>
                </a:lnTo>
                <a:close/>
                <a:moveTo>
                  <a:pt x="581" y="251"/>
                </a:moveTo>
                <a:lnTo>
                  <a:pt x="581" y="251"/>
                </a:lnTo>
                <a:lnTo>
                  <a:pt x="583" y="256"/>
                </a:lnTo>
                <a:lnTo>
                  <a:pt x="583" y="256"/>
                </a:lnTo>
                <a:lnTo>
                  <a:pt x="583" y="256"/>
                </a:lnTo>
                <a:lnTo>
                  <a:pt x="586" y="253"/>
                </a:lnTo>
                <a:lnTo>
                  <a:pt x="586" y="253"/>
                </a:lnTo>
                <a:lnTo>
                  <a:pt x="586" y="251"/>
                </a:lnTo>
                <a:lnTo>
                  <a:pt x="586" y="251"/>
                </a:lnTo>
                <a:lnTo>
                  <a:pt x="586" y="246"/>
                </a:lnTo>
                <a:lnTo>
                  <a:pt x="586" y="246"/>
                </a:lnTo>
                <a:lnTo>
                  <a:pt x="588" y="243"/>
                </a:lnTo>
                <a:lnTo>
                  <a:pt x="588" y="243"/>
                </a:lnTo>
                <a:lnTo>
                  <a:pt x="586" y="243"/>
                </a:lnTo>
                <a:lnTo>
                  <a:pt x="586" y="243"/>
                </a:lnTo>
                <a:lnTo>
                  <a:pt x="583" y="246"/>
                </a:lnTo>
                <a:lnTo>
                  <a:pt x="583" y="246"/>
                </a:lnTo>
                <a:lnTo>
                  <a:pt x="583" y="248"/>
                </a:lnTo>
                <a:lnTo>
                  <a:pt x="583" y="248"/>
                </a:lnTo>
                <a:lnTo>
                  <a:pt x="581" y="251"/>
                </a:lnTo>
                <a:lnTo>
                  <a:pt x="581" y="251"/>
                </a:lnTo>
                <a:close/>
                <a:moveTo>
                  <a:pt x="573" y="206"/>
                </a:moveTo>
                <a:lnTo>
                  <a:pt x="573" y="206"/>
                </a:lnTo>
                <a:lnTo>
                  <a:pt x="573" y="206"/>
                </a:lnTo>
                <a:lnTo>
                  <a:pt x="573" y="206"/>
                </a:lnTo>
                <a:lnTo>
                  <a:pt x="578" y="206"/>
                </a:lnTo>
                <a:lnTo>
                  <a:pt x="578" y="206"/>
                </a:lnTo>
                <a:lnTo>
                  <a:pt x="581" y="204"/>
                </a:lnTo>
                <a:lnTo>
                  <a:pt x="581" y="204"/>
                </a:lnTo>
                <a:lnTo>
                  <a:pt x="581" y="199"/>
                </a:lnTo>
                <a:lnTo>
                  <a:pt x="581" y="199"/>
                </a:lnTo>
                <a:lnTo>
                  <a:pt x="578" y="196"/>
                </a:lnTo>
                <a:lnTo>
                  <a:pt x="578" y="196"/>
                </a:lnTo>
                <a:lnTo>
                  <a:pt x="573" y="199"/>
                </a:lnTo>
                <a:lnTo>
                  <a:pt x="573" y="199"/>
                </a:lnTo>
                <a:lnTo>
                  <a:pt x="571" y="204"/>
                </a:lnTo>
                <a:lnTo>
                  <a:pt x="571" y="204"/>
                </a:lnTo>
                <a:lnTo>
                  <a:pt x="573" y="206"/>
                </a:lnTo>
                <a:lnTo>
                  <a:pt x="573" y="206"/>
                </a:lnTo>
                <a:close/>
                <a:moveTo>
                  <a:pt x="603" y="120"/>
                </a:moveTo>
                <a:lnTo>
                  <a:pt x="603" y="120"/>
                </a:lnTo>
                <a:lnTo>
                  <a:pt x="605" y="120"/>
                </a:lnTo>
                <a:lnTo>
                  <a:pt x="605" y="120"/>
                </a:lnTo>
                <a:lnTo>
                  <a:pt x="605" y="118"/>
                </a:lnTo>
                <a:lnTo>
                  <a:pt x="605" y="118"/>
                </a:lnTo>
                <a:lnTo>
                  <a:pt x="605" y="113"/>
                </a:lnTo>
                <a:lnTo>
                  <a:pt x="605" y="113"/>
                </a:lnTo>
                <a:lnTo>
                  <a:pt x="605" y="110"/>
                </a:lnTo>
                <a:lnTo>
                  <a:pt x="605" y="110"/>
                </a:lnTo>
                <a:lnTo>
                  <a:pt x="605" y="108"/>
                </a:lnTo>
                <a:lnTo>
                  <a:pt x="605" y="108"/>
                </a:lnTo>
                <a:lnTo>
                  <a:pt x="603" y="108"/>
                </a:lnTo>
                <a:lnTo>
                  <a:pt x="603" y="108"/>
                </a:lnTo>
                <a:lnTo>
                  <a:pt x="603" y="110"/>
                </a:lnTo>
                <a:lnTo>
                  <a:pt x="603" y="110"/>
                </a:lnTo>
                <a:lnTo>
                  <a:pt x="603" y="110"/>
                </a:lnTo>
                <a:lnTo>
                  <a:pt x="603" y="113"/>
                </a:lnTo>
                <a:lnTo>
                  <a:pt x="603" y="113"/>
                </a:lnTo>
                <a:lnTo>
                  <a:pt x="603" y="118"/>
                </a:lnTo>
                <a:lnTo>
                  <a:pt x="603" y="118"/>
                </a:lnTo>
                <a:lnTo>
                  <a:pt x="603" y="120"/>
                </a:lnTo>
                <a:lnTo>
                  <a:pt x="603" y="120"/>
                </a:lnTo>
                <a:close/>
                <a:moveTo>
                  <a:pt x="595" y="130"/>
                </a:moveTo>
                <a:lnTo>
                  <a:pt x="595" y="133"/>
                </a:lnTo>
                <a:lnTo>
                  <a:pt x="595" y="133"/>
                </a:lnTo>
                <a:lnTo>
                  <a:pt x="595" y="130"/>
                </a:lnTo>
                <a:lnTo>
                  <a:pt x="595" y="130"/>
                </a:lnTo>
                <a:lnTo>
                  <a:pt x="598" y="125"/>
                </a:lnTo>
                <a:lnTo>
                  <a:pt x="598" y="125"/>
                </a:lnTo>
                <a:lnTo>
                  <a:pt x="595" y="123"/>
                </a:lnTo>
                <a:lnTo>
                  <a:pt x="595" y="123"/>
                </a:lnTo>
                <a:lnTo>
                  <a:pt x="593" y="125"/>
                </a:lnTo>
                <a:lnTo>
                  <a:pt x="593" y="125"/>
                </a:lnTo>
                <a:lnTo>
                  <a:pt x="593" y="128"/>
                </a:lnTo>
                <a:lnTo>
                  <a:pt x="593" y="128"/>
                </a:lnTo>
                <a:lnTo>
                  <a:pt x="595" y="130"/>
                </a:lnTo>
                <a:lnTo>
                  <a:pt x="595" y="130"/>
                </a:lnTo>
                <a:close/>
                <a:moveTo>
                  <a:pt x="588" y="123"/>
                </a:moveTo>
                <a:lnTo>
                  <a:pt x="588" y="123"/>
                </a:lnTo>
                <a:lnTo>
                  <a:pt x="591" y="123"/>
                </a:lnTo>
                <a:lnTo>
                  <a:pt x="591" y="123"/>
                </a:lnTo>
                <a:lnTo>
                  <a:pt x="593" y="120"/>
                </a:lnTo>
                <a:lnTo>
                  <a:pt x="593" y="120"/>
                </a:lnTo>
                <a:lnTo>
                  <a:pt x="593" y="118"/>
                </a:lnTo>
                <a:lnTo>
                  <a:pt x="593" y="118"/>
                </a:lnTo>
                <a:lnTo>
                  <a:pt x="593" y="118"/>
                </a:lnTo>
                <a:lnTo>
                  <a:pt x="593" y="113"/>
                </a:lnTo>
                <a:lnTo>
                  <a:pt x="593" y="113"/>
                </a:lnTo>
                <a:lnTo>
                  <a:pt x="593" y="113"/>
                </a:lnTo>
                <a:lnTo>
                  <a:pt x="591" y="113"/>
                </a:lnTo>
                <a:lnTo>
                  <a:pt x="591" y="113"/>
                </a:lnTo>
                <a:lnTo>
                  <a:pt x="588" y="115"/>
                </a:lnTo>
                <a:lnTo>
                  <a:pt x="588" y="115"/>
                </a:lnTo>
                <a:lnTo>
                  <a:pt x="591" y="118"/>
                </a:lnTo>
                <a:lnTo>
                  <a:pt x="591" y="118"/>
                </a:lnTo>
                <a:lnTo>
                  <a:pt x="588" y="123"/>
                </a:lnTo>
                <a:lnTo>
                  <a:pt x="588" y="123"/>
                </a:lnTo>
                <a:close/>
                <a:moveTo>
                  <a:pt x="428" y="10"/>
                </a:moveTo>
                <a:lnTo>
                  <a:pt x="428" y="10"/>
                </a:lnTo>
                <a:lnTo>
                  <a:pt x="428" y="10"/>
                </a:lnTo>
                <a:lnTo>
                  <a:pt x="428" y="7"/>
                </a:lnTo>
                <a:lnTo>
                  <a:pt x="428" y="7"/>
                </a:lnTo>
                <a:lnTo>
                  <a:pt x="431" y="5"/>
                </a:lnTo>
                <a:lnTo>
                  <a:pt x="431" y="5"/>
                </a:lnTo>
                <a:lnTo>
                  <a:pt x="428" y="2"/>
                </a:lnTo>
                <a:lnTo>
                  <a:pt x="428" y="2"/>
                </a:lnTo>
                <a:lnTo>
                  <a:pt x="426" y="2"/>
                </a:lnTo>
                <a:lnTo>
                  <a:pt x="426" y="2"/>
                </a:lnTo>
                <a:lnTo>
                  <a:pt x="426" y="7"/>
                </a:lnTo>
                <a:lnTo>
                  <a:pt x="426" y="7"/>
                </a:lnTo>
                <a:lnTo>
                  <a:pt x="428" y="10"/>
                </a:lnTo>
                <a:lnTo>
                  <a:pt x="428" y="10"/>
                </a:lnTo>
                <a:close/>
                <a:moveTo>
                  <a:pt x="428" y="14"/>
                </a:moveTo>
                <a:lnTo>
                  <a:pt x="428" y="14"/>
                </a:lnTo>
                <a:lnTo>
                  <a:pt x="428" y="14"/>
                </a:lnTo>
                <a:lnTo>
                  <a:pt x="431" y="14"/>
                </a:lnTo>
                <a:lnTo>
                  <a:pt x="431" y="14"/>
                </a:lnTo>
                <a:lnTo>
                  <a:pt x="431" y="12"/>
                </a:lnTo>
                <a:lnTo>
                  <a:pt x="431" y="12"/>
                </a:lnTo>
                <a:lnTo>
                  <a:pt x="431" y="10"/>
                </a:lnTo>
                <a:lnTo>
                  <a:pt x="431" y="10"/>
                </a:lnTo>
                <a:lnTo>
                  <a:pt x="431" y="10"/>
                </a:lnTo>
                <a:lnTo>
                  <a:pt x="428" y="12"/>
                </a:lnTo>
                <a:lnTo>
                  <a:pt x="428" y="12"/>
                </a:lnTo>
                <a:lnTo>
                  <a:pt x="428" y="14"/>
                </a:lnTo>
                <a:lnTo>
                  <a:pt x="428" y="14"/>
                </a:lnTo>
                <a:close/>
                <a:moveTo>
                  <a:pt x="413" y="14"/>
                </a:moveTo>
                <a:lnTo>
                  <a:pt x="413" y="14"/>
                </a:lnTo>
                <a:lnTo>
                  <a:pt x="416" y="17"/>
                </a:lnTo>
                <a:lnTo>
                  <a:pt x="416" y="17"/>
                </a:lnTo>
                <a:lnTo>
                  <a:pt x="418" y="19"/>
                </a:lnTo>
                <a:lnTo>
                  <a:pt x="418" y="19"/>
                </a:lnTo>
                <a:lnTo>
                  <a:pt x="418" y="19"/>
                </a:lnTo>
                <a:lnTo>
                  <a:pt x="421" y="17"/>
                </a:lnTo>
                <a:lnTo>
                  <a:pt x="421" y="17"/>
                </a:lnTo>
                <a:lnTo>
                  <a:pt x="423" y="17"/>
                </a:lnTo>
                <a:lnTo>
                  <a:pt x="423" y="17"/>
                </a:lnTo>
                <a:lnTo>
                  <a:pt x="418" y="12"/>
                </a:lnTo>
                <a:lnTo>
                  <a:pt x="418" y="12"/>
                </a:lnTo>
                <a:lnTo>
                  <a:pt x="418" y="10"/>
                </a:lnTo>
                <a:lnTo>
                  <a:pt x="418" y="10"/>
                </a:lnTo>
                <a:lnTo>
                  <a:pt x="416" y="10"/>
                </a:lnTo>
                <a:lnTo>
                  <a:pt x="416" y="10"/>
                </a:lnTo>
                <a:lnTo>
                  <a:pt x="416" y="10"/>
                </a:lnTo>
                <a:lnTo>
                  <a:pt x="416" y="12"/>
                </a:lnTo>
                <a:lnTo>
                  <a:pt x="416" y="12"/>
                </a:lnTo>
                <a:lnTo>
                  <a:pt x="413" y="12"/>
                </a:lnTo>
                <a:lnTo>
                  <a:pt x="413" y="12"/>
                </a:lnTo>
                <a:lnTo>
                  <a:pt x="413" y="14"/>
                </a:lnTo>
                <a:lnTo>
                  <a:pt x="413" y="14"/>
                </a:lnTo>
                <a:close/>
                <a:moveTo>
                  <a:pt x="406" y="17"/>
                </a:moveTo>
                <a:lnTo>
                  <a:pt x="406" y="17"/>
                </a:lnTo>
                <a:lnTo>
                  <a:pt x="406" y="19"/>
                </a:lnTo>
                <a:lnTo>
                  <a:pt x="406" y="19"/>
                </a:lnTo>
                <a:lnTo>
                  <a:pt x="409" y="19"/>
                </a:lnTo>
                <a:lnTo>
                  <a:pt x="409" y="19"/>
                </a:lnTo>
                <a:lnTo>
                  <a:pt x="409" y="19"/>
                </a:lnTo>
                <a:lnTo>
                  <a:pt x="409" y="19"/>
                </a:lnTo>
                <a:lnTo>
                  <a:pt x="406" y="17"/>
                </a:lnTo>
                <a:lnTo>
                  <a:pt x="406" y="17"/>
                </a:lnTo>
                <a:lnTo>
                  <a:pt x="406" y="17"/>
                </a:lnTo>
                <a:close/>
                <a:moveTo>
                  <a:pt x="359" y="29"/>
                </a:moveTo>
                <a:lnTo>
                  <a:pt x="359" y="29"/>
                </a:lnTo>
                <a:lnTo>
                  <a:pt x="362" y="32"/>
                </a:lnTo>
                <a:lnTo>
                  <a:pt x="362" y="32"/>
                </a:lnTo>
                <a:lnTo>
                  <a:pt x="364" y="34"/>
                </a:lnTo>
                <a:lnTo>
                  <a:pt x="364" y="34"/>
                </a:lnTo>
                <a:lnTo>
                  <a:pt x="367" y="37"/>
                </a:lnTo>
                <a:lnTo>
                  <a:pt x="367" y="37"/>
                </a:lnTo>
                <a:lnTo>
                  <a:pt x="369" y="39"/>
                </a:lnTo>
                <a:lnTo>
                  <a:pt x="369" y="39"/>
                </a:lnTo>
                <a:lnTo>
                  <a:pt x="372" y="34"/>
                </a:lnTo>
                <a:lnTo>
                  <a:pt x="372" y="34"/>
                </a:lnTo>
                <a:lnTo>
                  <a:pt x="372" y="32"/>
                </a:lnTo>
                <a:lnTo>
                  <a:pt x="372" y="32"/>
                </a:lnTo>
                <a:lnTo>
                  <a:pt x="372" y="32"/>
                </a:lnTo>
                <a:lnTo>
                  <a:pt x="372" y="29"/>
                </a:lnTo>
                <a:lnTo>
                  <a:pt x="372" y="29"/>
                </a:lnTo>
                <a:lnTo>
                  <a:pt x="369" y="29"/>
                </a:lnTo>
                <a:lnTo>
                  <a:pt x="369" y="29"/>
                </a:lnTo>
                <a:lnTo>
                  <a:pt x="367" y="24"/>
                </a:lnTo>
                <a:lnTo>
                  <a:pt x="367" y="24"/>
                </a:lnTo>
                <a:lnTo>
                  <a:pt x="364" y="24"/>
                </a:lnTo>
                <a:lnTo>
                  <a:pt x="364" y="24"/>
                </a:lnTo>
                <a:lnTo>
                  <a:pt x="364" y="27"/>
                </a:lnTo>
                <a:lnTo>
                  <a:pt x="364" y="27"/>
                </a:lnTo>
                <a:lnTo>
                  <a:pt x="364" y="29"/>
                </a:lnTo>
                <a:lnTo>
                  <a:pt x="364" y="29"/>
                </a:lnTo>
                <a:lnTo>
                  <a:pt x="364" y="29"/>
                </a:lnTo>
                <a:lnTo>
                  <a:pt x="364" y="32"/>
                </a:lnTo>
                <a:lnTo>
                  <a:pt x="364" y="32"/>
                </a:lnTo>
                <a:lnTo>
                  <a:pt x="362" y="29"/>
                </a:lnTo>
                <a:lnTo>
                  <a:pt x="362" y="29"/>
                </a:lnTo>
                <a:lnTo>
                  <a:pt x="359" y="29"/>
                </a:lnTo>
                <a:lnTo>
                  <a:pt x="359" y="29"/>
                </a:lnTo>
                <a:close/>
                <a:moveTo>
                  <a:pt x="357" y="32"/>
                </a:moveTo>
                <a:lnTo>
                  <a:pt x="357" y="32"/>
                </a:lnTo>
                <a:lnTo>
                  <a:pt x="359" y="37"/>
                </a:lnTo>
                <a:lnTo>
                  <a:pt x="359" y="37"/>
                </a:lnTo>
                <a:lnTo>
                  <a:pt x="362" y="37"/>
                </a:lnTo>
                <a:lnTo>
                  <a:pt x="362" y="37"/>
                </a:lnTo>
                <a:lnTo>
                  <a:pt x="362" y="34"/>
                </a:lnTo>
                <a:lnTo>
                  <a:pt x="362" y="34"/>
                </a:lnTo>
                <a:lnTo>
                  <a:pt x="359" y="32"/>
                </a:lnTo>
                <a:lnTo>
                  <a:pt x="359" y="32"/>
                </a:lnTo>
                <a:lnTo>
                  <a:pt x="357" y="32"/>
                </a:lnTo>
                <a:lnTo>
                  <a:pt x="357" y="32"/>
                </a:lnTo>
                <a:close/>
                <a:moveTo>
                  <a:pt x="342" y="32"/>
                </a:moveTo>
                <a:lnTo>
                  <a:pt x="342" y="32"/>
                </a:lnTo>
                <a:lnTo>
                  <a:pt x="342" y="34"/>
                </a:lnTo>
                <a:lnTo>
                  <a:pt x="342" y="34"/>
                </a:lnTo>
                <a:lnTo>
                  <a:pt x="347" y="34"/>
                </a:lnTo>
                <a:lnTo>
                  <a:pt x="347" y="34"/>
                </a:lnTo>
                <a:lnTo>
                  <a:pt x="347" y="37"/>
                </a:lnTo>
                <a:lnTo>
                  <a:pt x="347" y="37"/>
                </a:lnTo>
                <a:lnTo>
                  <a:pt x="349" y="37"/>
                </a:lnTo>
                <a:lnTo>
                  <a:pt x="349" y="37"/>
                </a:lnTo>
                <a:lnTo>
                  <a:pt x="349" y="34"/>
                </a:lnTo>
                <a:lnTo>
                  <a:pt x="349" y="34"/>
                </a:lnTo>
                <a:lnTo>
                  <a:pt x="349" y="32"/>
                </a:lnTo>
                <a:lnTo>
                  <a:pt x="349" y="32"/>
                </a:lnTo>
                <a:lnTo>
                  <a:pt x="347" y="32"/>
                </a:lnTo>
                <a:lnTo>
                  <a:pt x="347" y="32"/>
                </a:lnTo>
                <a:lnTo>
                  <a:pt x="347" y="29"/>
                </a:lnTo>
                <a:lnTo>
                  <a:pt x="347" y="29"/>
                </a:lnTo>
                <a:lnTo>
                  <a:pt x="345" y="29"/>
                </a:lnTo>
                <a:lnTo>
                  <a:pt x="345" y="29"/>
                </a:lnTo>
                <a:lnTo>
                  <a:pt x="342" y="29"/>
                </a:lnTo>
                <a:lnTo>
                  <a:pt x="342" y="29"/>
                </a:lnTo>
                <a:lnTo>
                  <a:pt x="342" y="32"/>
                </a:lnTo>
                <a:lnTo>
                  <a:pt x="342" y="32"/>
                </a:lnTo>
                <a:close/>
                <a:moveTo>
                  <a:pt x="332" y="61"/>
                </a:moveTo>
                <a:lnTo>
                  <a:pt x="332" y="61"/>
                </a:lnTo>
                <a:lnTo>
                  <a:pt x="335" y="61"/>
                </a:lnTo>
                <a:lnTo>
                  <a:pt x="335" y="61"/>
                </a:lnTo>
                <a:lnTo>
                  <a:pt x="337" y="61"/>
                </a:lnTo>
                <a:lnTo>
                  <a:pt x="337" y="61"/>
                </a:lnTo>
                <a:lnTo>
                  <a:pt x="337" y="59"/>
                </a:lnTo>
                <a:lnTo>
                  <a:pt x="337" y="59"/>
                </a:lnTo>
                <a:lnTo>
                  <a:pt x="335" y="56"/>
                </a:lnTo>
                <a:lnTo>
                  <a:pt x="335" y="56"/>
                </a:lnTo>
                <a:lnTo>
                  <a:pt x="335" y="51"/>
                </a:lnTo>
                <a:lnTo>
                  <a:pt x="335" y="51"/>
                </a:lnTo>
                <a:lnTo>
                  <a:pt x="332" y="49"/>
                </a:lnTo>
                <a:lnTo>
                  <a:pt x="332" y="49"/>
                </a:lnTo>
                <a:lnTo>
                  <a:pt x="330" y="49"/>
                </a:lnTo>
                <a:lnTo>
                  <a:pt x="330" y="49"/>
                </a:lnTo>
                <a:lnTo>
                  <a:pt x="330" y="51"/>
                </a:lnTo>
                <a:lnTo>
                  <a:pt x="330" y="51"/>
                </a:lnTo>
                <a:lnTo>
                  <a:pt x="332" y="54"/>
                </a:lnTo>
                <a:lnTo>
                  <a:pt x="332" y="54"/>
                </a:lnTo>
                <a:lnTo>
                  <a:pt x="332" y="59"/>
                </a:lnTo>
                <a:lnTo>
                  <a:pt x="332" y="59"/>
                </a:lnTo>
                <a:lnTo>
                  <a:pt x="332" y="61"/>
                </a:lnTo>
                <a:lnTo>
                  <a:pt x="332" y="61"/>
                </a:lnTo>
                <a:close/>
                <a:moveTo>
                  <a:pt x="337" y="91"/>
                </a:moveTo>
                <a:lnTo>
                  <a:pt x="337" y="91"/>
                </a:lnTo>
                <a:lnTo>
                  <a:pt x="342" y="91"/>
                </a:lnTo>
                <a:lnTo>
                  <a:pt x="342" y="91"/>
                </a:lnTo>
                <a:lnTo>
                  <a:pt x="342" y="88"/>
                </a:lnTo>
                <a:lnTo>
                  <a:pt x="342" y="88"/>
                </a:lnTo>
                <a:lnTo>
                  <a:pt x="342" y="86"/>
                </a:lnTo>
                <a:lnTo>
                  <a:pt x="342" y="86"/>
                </a:lnTo>
                <a:lnTo>
                  <a:pt x="340" y="83"/>
                </a:lnTo>
                <a:lnTo>
                  <a:pt x="340" y="83"/>
                </a:lnTo>
                <a:lnTo>
                  <a:pt x="340" y="81"/>
                </a:lnTo>
                <a:lnTo>
                  <a:pt x="340" y="81"/>
                </a:lnTo>
                <a:lnTo>
                  <a:pt x="340" y="81"/>
                </a:lnTo>
                <a:lnTo>
                  <a:pt x="335" y="81"/>
                </a:lnTo>
                <a:lnTo>
                  <a:pt x="335" y="81"/>
                </a:lnTo>
                <a:lnTo>
                  <a:pt x="335" y="83"/>
                </a:lnTo>
                <a:lnTo>
                  <a:pt x="335" y="83"/>
                </a:lnTo>
                <a:lnTo>
                  <a:pt x="335" y="86"/>
                </a:lnTo>
                <a:lnTo>
                  <a:pt x="335" y="86"/>
                </a:lnTo>
                <a:lnTo>
                  <a:pt x="337" y="88"/>
                </a:lnTo>
                <a:lnTo>
                  <a:pt x="337" y="88"/>
                </a:lnTo>
                <a:lnTo>
                  <a:pt x="337" y="91"/>
                </a:lnTo>
                <a:lnTo>
                  <a:pt x="337" y="91"/>
                </a:lnTo>
                <a:close/>
                <a:moveTo>
                  <a:pt x="337" y="93"/>
                </a:moveTo>
                <a:lnTo>
                  <a:pt x="337" y="93"/>
                </a:lnTo>
                <a:lnTo>
                  <a:pt x="337" y="96"/>
                </a:lnTo>
                <a:lnTo>
                  <a:pt x="337" y="96"/>
                </a:lnTo>
                <a:lnTo>
                  <a:pt x="337" y="98"/>
                </a:lnTo>
                <a:lnTo>
                  <a:pt x="337" y="98"/>
                </a:lnTo>
                <a:lnTo>
                  <a:pt x="337" y="101"/>
                </a:lnTo>
                <a:lnTo>
                  <a:pt x="337" y="101"/>
                </a:lnTo>
                <a:lnTo>
                  <a:pt x="342" y="105"/>
                </a:lnTo>
                <a:lnTo>
                  <a:pt x="342" y="105"/>
                </a:lnTo>
                <a:lnTo>
                  <a:pt x="345" y="103"/>
                </a:lnTo>
                <a:lnTo>
                  <a:pt x="345" y="103"/>
                </a:lnTo>
                <a:lnTo>
                  <a:pt x="342" y="96"/>
                </a:lnTo>
                <a:lnTo>
                  <a:pt x="342" y="96"/>
                </a:lnTo>
                <a:lnTo>
                  <a:pt x="342" y="93"/>
                </a:lnTo>
                <a:lnTo>
                  <a:pt x="342" y="93"/>
                </a:lnTo>
                <a:lnTo>
                  <a:pt x="340" y="93"/>
                </a:lnTo>
                <a:lnTo>
                  <a:pt x="340" y="93"/>
                </a:lnTo>
                <a:lnTo>
                  <a:pt x="337" y="93"/>
                </a:lnTo>
                <a:lnTo>
                  <a:pt x="337" y="93"/>
                </a:lnTo>
                <a:close/>
                <a:moveTo>
                  <a:pt x="295" y="64"/>
                </a:moveTo>
                <a:lnTo>
                  <a:pt x="295" y="64"/>
                </a:lnTo>
                <a:lnTo>
                  <a:pt x="295" y="64"/>
                </a:lnTo>
                <a:lnTo>
                  <a:pt x="295" y="61"/>
                </a:lnTo>
                <a:lnTo>
                  <a:pt x="295" y="61"/>
                </a:lnTo>
                <a:lnTo>
                  <a:pt x="295" y="59"/>
                </a:lnTo>
                <a:lnTo>
                  <a:pt x="295" y="59"/>
                </a:lnTo>
                <a:lnTo>
                  <a:pt x="293" y="59"/>
                </a:lnTo>
                <a:lnTo>
                  <a:pt x="293" y="59"/>
                </a:lnTo>
                <a:lnTo>
                  <a:pt x="293" y="59"/>
                </a:lnTo>
                <a:lnTo>
                  <a:pt x="293" y="61"/>
                </a:lnTo>
                <a:lnTo>
                  <a:pt x="293" y="61"/>
                </a:lnTo>
                <a:lnTo>
                  <a:pt x="295" y="64"/>
                </a:lnTo>
                <a:lnTo>
                  <a:pt x="295" y="64"/>
                </a:lnTo>
                <a:close/>
                <a:moveTo>
                  <a:pt x="288" y="83"/>
                </a:moveTo>
                <a:lnTo>
                  <a:pt x="288" y="83"/>
                </a:lnTo>
                <a:lnTo>
                  <a:pt x="290" y="83"/>
                </a:lnTo>
                <a:lnTo>
                  <a:pt x="290" y="83"/>
                </a:lnTo>
                <a:lnTo>
                  <a:pt x="290" y="81"/>
                </a:lnTo>
                <a:lnTo>
                  <a:pt x="290" y="81"/>
                </a:lnTo>
                <a:lnTo>
                  <a:pt x="290" y="78"/>
                </a:lnTo>
                <a:lnTo>
                  <a:pt x="290" y="78"/>
                </a:lnTo>
                <a:lnTo>
                  <a:pt x="286" y="74"/>
                </a:lnTo>
                <a:lnTo>
                  <a:pt x="286" y="74"/>
                </a:lnTo>
                <a:lnTo>
                  <a:pt x="286" y="69"/>
                </a:lnTo>
                <a:lnTo>
                  <a:pt x="286" y="69"/>
                </a:lnTo>
                <a:lnTo>
                  <a:pt x="288" y="64"/>
                </a:lnTo>
                <a:lnTo>
                  <a:pt x="288" y="64"/>
                </a:lnTo>
                <a:lnTo>
                  <a:pt x="288" y="59"/>
                </a:lnTo>
                <a:lnTo>
                  <a:pt x="288" y="59"/>
                </a:lnTo>
                <a:lnTo>
                  <a:pt x="288" y="56"/>
                </a:lnTo>
                <a:lnTo>
                  <a:pt x="288" y="56"/>
                </a:lnTo>
                <a:lnTo>
                  <a:pt x="288" y="51"/>
                </a:lnTo>
                <a:lnTo>
                  <a:pt x="288" y="51"/>
                </a:lnTo>
                <a:lnTo>
                  <a:pt x="286" y="49"/>
                </a:lnTo>
                <a:lnTo>
                  <a:pt x="286" y="49"/>
                </a:lnTo>
                <a:lnTo>
                  <a:pt x="283" y="51"/>
                </a:lnTo>
                <a:lnTo>
                  <a:pt x="283" y="51"/>
                </a:lnTo>
                <a:lnTo>
                  <a:pt x="283" y="61"/>
                </a:lnTo>
                <a:lnTo>
                  <a:pt x="283" y="61"/>
                </a:lnTo>
                <a:lnTo>
                  <a:pt x="281" y="64"/>
                </a:lnTo>
                <a:lnTo>
                  <a:pt x="281" y="64"/>
                </a:lnTo>
                <a:lnTo>
                  <a:pt x="281" y="66"/>
                </a:lnTo>
                <a:lnTo>
                  <a:pt x="281" y="66"/>
                </a:lnTo>
                <a:lnTo>
                  <a:pt x="286" y="74"/>
                </a:lnTo>
                <a:lnTo>
                  <a:pt x="286" y="74"/>
                </a:lnTo>
                <a:lnTo>
                  <a:pt x="286" y="78"/>
                </a:lnTo>
                <a:lnTo>
                  <a:pt x="286" y="78"/>
                </a:lnTo>
                <a:lnTo>
                  <a:pt x="288" y="83"/>
                </a:lnTo>
                <a:lnTo>
                  <a:pt x="288" y="83"/>
                </a:lnTo>
                <a:close/>
                <a:moveTo>
                  <a:pt x="121" y="108"/>
                </a:moveTo>
                <a:lnTo>
                  <a:pt x="121" y="108"/>
                </a:lnTo>
                <a:lnTo>
                  <a:pt x="123" y="110"/>
                </a:lnTo>
                <a:lnTo>
                  <a:pt x="123" y="110"/>
                </a:lnTo>
                <a:lnTo>
                  <a:pt x="123" y="113"/>
                </a:lnTo>
                <a:lnTo>
                  <a:pt x="123" y="113"/>
                </a:lnTo>
                <a:lnTo>
                  <a:pt x="126" y="113"/>
                </a:lnTo>
                <a:lnTo>
                  <a:pt x="126" y="113"/>
                </a:lnTo>
                <a:lnTo>
                  <a:pt x="126" y="110"/>
                </a:lnTo>
                <a:lnTo>
                  <a:pt x="126" y="110"/>
                </a:lnTo>
                <a:lnTo>
                  <a:pt x="123" y="108"/>
                </a:lnTo>
                <a:lnTo>
                  <a:pt x="123" y="108"/>
                </a:lnTo>
                <a:lnTo>
                  <a:pt x="121" y="108"/>
                </a:lnTo>
                <a:lnTo>
                  <a:pt x="121" y="108"/>
                </a:lnTo>
                <a:close/>
                <a:moveTo>
                  <a:pt x="15" y="243"/>
                </a:moveTo>
                <a:lnTo>
                  <a:pt x="15" y="243"/>
                </a:lnTo>
                <a:lnTo>
                  <a:pt x="17" y="246"/>
                </a:lnTo>
                <a:lnTo>
                  <a:pt x="17" y="246"/>
                </a:lnTo>
                <a:lnTo>
                  <a:pt x="22" y="246"/>
                </a:lnTo>
                <a:lnTo>
                  <a:pt x="22" y="246"/>
                </a:lnTo>
                <a:lnTo>
                  <a:pt x="25" y="248"/>
                </a:lnTo>
                <a:lnTo>
                  <a:pt x="25" y="248"/>
                </a:lnTo>
                <a:lnTo>
                  <a:pt x="27" y="248"/>
                </a:lnTo>
                <a:lnTo>
                  <a:pt x="27" y="248"/>
                </a:lnTo>
                <a:lnTo>
                  <a:pt x="25" y="246"/>
                </a:lnTo>
                <a:lnTo>
                  <a:pt x="25" y="246"/>
                </a:lnTo>
                <a:lnTo>
                  <a:pt x="22" y="246"/>
                </a:lnTo>
                <a:lnTo>
                  <a:pt x="22" y="246"/>
                </a:lnTo>
                <a:lnTo>
                  <a:pt x="20" y="241"/>
                </a:lnTo>
                <a:lnTo>
                  <a:pt x="20" y="241"/>
                </a:lnTo>
                <a:lnTo>
                  <a:pt x="17" y="243"/>
                </a:lnTo>
                <a:lnTo>
                  <a:pt x="17" y="243"/>
                </a:lnTo>
                <a:lnTo>
                  <a:pt x="17" y="241"/>
                </a:lnTo>
                <a:lnTo>
                  <a:pt x="17" y="241"/>
                </a:lnTo>
                <a:lnTo>
                  <a:pt x="15" y="243"/>
                </a:lnTo>
                <a:lnTo>
                  <a:pt x="15" y="243"/>
                </a:lnTo>
                <a:close/>
                <a:moveTo>
                  <a:pt x="0" y="243"/>
                </a:moveTo>
                <a:lnTo>
                  <a:pt x="0" y="243"/>
                </a:lnTo>
                <a:lnTo>
                  <a:pt x="5" y="246"/>
                </a:lnTo>
                <a:lnTo>
                  <a:pt x="5" y="246"/>
                </a:lnTo>
                <a:lnTo>
                  <a:pt x="8" y="248"/>
                </a:lnTo>
                <a:lnTo>
                  <a:pt x="8" y="248"/>
                </a:lnTo>
                <a:lnTo>
                  <a:pt x="10" y="248"/>
                </a:lnTo>
                <a:lnTo>
                  <a:pt x="10" y="248"/>
                </a:lnTo>
                <a:lnTo>
                  <a:pt x="15" y="246"/>
                </a:lnTo>
                <a:lnTo>
                  <a:pt x="15" y="246"/>
                </a:lnTo>
                <a:lnTo>
                  <a:pt x="10" y="243"/>
                </a:lnTo>
                <a:lnTo>
                  <a:pt x="10" y="243"/>
                </a:lnTo>
                <a:lnTo>
                  <a:pt x="5" y="241"/>
                </a:lnTo>
                <a:lnTo>
                  <a:pt x="5" y="241"/>
                </a:lnTo>
                <a:lnTo>
                  <a:pt x="3" y="241"/>
                </a:lnTo>
                <a:lnTo>
                  <a:pt x="3" y="241"/>
                </a:lnTo>
                <a:lnTo>
                  <a:pt x="0" y="243"/>
                </a:lnTo>
                <a:lnTo>
                  <a:pt x="0" y="243"/>
                </a:lnTo>
                <a:close/>
                <a:moveTo>
                  <a:pt x="118" y="371"/>
                </a:moveTo>
                <a:lnTo>
                  <a:pt x="118" y="371"/>
                </a:lnTo>
                <a:lnTo>
                  <a:pt x="118" y="374"/>
                </a:lnTo>
                <a:lnTo>
                  <a:pt x="118" y="374"/>
                </a:lnTo>
                <a:lnTo>
                  <a:pt x="121" y="374"/>
                </a:lnTo>
                <a:lnTo>
                  <a:pt x="121" y="374"/>
                </a:lnTo>
                <a:lnTo>
                  <a:pt x="121" y="371"/>
                </a:lnTo>
                <a:lnTo>
                  <a:pt x="121" y="371"/>
                </a:lnTo>
                <a:lnTo>
                  <a:pt x="121" y="371"/>
                </a:lnTo>
                <a:lnTo>
                  <a:pt x="118" y="371"/>
                </a:lnTo>
                <a:lnTo>
                  <a:pt x="118" y="371"/>
                </a:lnTo>
                <a:close/>
                <a:moveTo>
                  <a:pt x="121" y="386"/>
                </a:moveTo>
                <a:lnTo>
                  <a:pt x="121" y="386"/>
                </a:lnTo>
                <a:lnTo>
                  <a:pt x="121" y="386"/>
                </a:lnTo>
                <a:lnTo>
                  <a:pt x="123" y="386"/>
                </a:lnTo>
                <a:lnTo>
                  <a:pt x="123" y="386"/>
                </a:lnTo>
                <a:lnTo>
                  <a:pt x="128" y="386"/>
                </a:lnTo>
                <a:lnTo>
                  <a:pt x="128" y="386"/>
                </a:lnTo>
                <a:lnTo>
                  <a:pt x="131" y="386"/>
                </a:lnTo>
                <a:lnTo>
                  <a:pt x="131" y="386"/>
                </a:lnTo>
                <a:lnTo>
                  <a:pt x="131" y="388"/>
                </a:lnTo>
                <a:lnTo>
                  <a:pt x="131" y="388"/>
                </a:lnTo>
                <a:lnTo>
                  <a:pt x="133" y="386"/>
                </a:lnTo>
                <a:lnTo>
                  <a:pt x="133" y="386"/>
                </a:lnTo>
                <a:lnTo>
                  <a:pt x="131" y="383"/>
                </a:lnTo>
                <a:lnTo>
                  <a:pt x="131" y="383"/>
                </a:lnTo>
                <a:lnTo>
                  <a:pt x="126" y="383"/>
                </a:lnTo>
                <a:lnTo>
                  <a:pt x="126" y="383"/>
                </a:lnTo>
                <a:lnTo>
                  <a:pt x="126" y="383"/>
                </a:lnTo>
                <a:lnTo>
                  <a:pt x="123" y="381"/>
                </a:lnTo>
                <a:lnTo>
                  <a:pt x="123" y="381"/>
                </a:lnTo>
                <a:lnTo>
                  <a:pt x="121" y="383"/>
                </a:lnTo>
                <a:lnTo>
                  <a:pt x="121" y="383"/>
                </a:lnTo>
                <a:lnTo>
                  <a:pt x="118" y="383"/>
                </a:lnTo>
                <a:lnTo>
                  <a:pt x="118" y="383"/>
                </a:lnTo>
                <a:lnTo>
                  <a:pt x="121" y="386"/>
                </a:lnTo>
                <a:lnTo>
                  <a:pt x="121" y="386"/>
                </a:lnTo>
                <a:close/>
                <a:moveTo>
                  <a:pt x="123" y="388"/>
                </a:moveTo>
                <a:lnTo>
                  <a:pt x="123" y="388"/>
                </a:lnTo>
                <a:lnTo>
                  <a:pt x="123" y="391"/>
                </a:lnTo>
                <a:lnTo>
                  <a:pt x="123" y="391"/>
                </a:lnTo>
                <a:lnTo>
                  <a:pt x="126" y="391"/>
                </a:lnTo>
                <a:lnTo>
                  <a:pt x="126" y="391"/>
                </a:lnTo>
                <a:lnTo>
                  <a:pt x="126" y="388"/>
                </a:lnTo>
                <a:lnTo>
                  <a:pt x="126" y="388"/>
                </a:lnTo>
                <a:lnTo>
                  <a:pt x="123" y="388"/>
                </a:lnTo>
                <a:lnTo>
                  <a:pt x="123" y="388"/>
                </a:lnTo>
                <a:close/>
                <a:moveTo>
                  <a:pt x="123" y="408"/>
                </a:moveTo>
                <a:lnTo>
                  <a:pt x="123" y="408"/>
                </a:lnTo>
                <a:lnTo>
                  <a:pt x="126" y="410"/>
                </a:lnTo>
                <a:lnTo>
                  <a:pt x="126" y="410"/>
                </a:lnTo>
                <a:lnTo>
                  <a:pt x="128" y="410"/>
                </a:lnTo>
                <a:lnTo>
                  <a:pt x="128" y="410"/>
                </a:lnTo>
                <a:lnTo>
                  <a:pt x="128" y="413"/>
                </a:lnTo>
                <a:lnTo>
                  <a:pt x="128" y="413"/>
                </a:lnTo>
                <a:lnTo>
                  <a:pt x="131" y="410"/>
                </a:lnTo>
                <a:lnTo>
                  <a:pt x="131" y="410"/>
                </a:lnTo>
                <a:lnTo>
                  <a:pt x="131" y="410"/>
                </a:lnTo>
                <a:lnTo>
                  <a:pt x="126" y="408"/>
                </a:lnTo>
                <a:lnTo>
                  <a:pt x="126" y="408"/>
                </a:lnTo>
                <a:lnTo>
                  <a:pt x="126" y="408"/>
                </a:lnTo>
                <a:lnTo>
                  <a:pt x="123" y="408"/>
                </a:lnTo>
                <a:lnTo>
                  <a:pt x="123" y="408"/>
                </a:lnTo>
                <a:close/>
                <a:moveTo>
                  <a:pt x="121" y="415"/>
                </a:moveTo>
                <a:lnTo>
                  <a:pt x="121" y="415"/>
                </a:lnTo>
                <a:lnTo>
                  <a:pt x="123" y="418"/>
                </a:lnTo>
                <a:lnTo>
                  <a:pt x="123" y="418"/>
                </a:lnTo>
                <a:lnTo>
                  <a:pt x="123" y="418"/>
                </a:lnTo>
                <a:lnTo>
                  <a:pt x="126" y="418"/>
                </a:lnTo>
                <a:lnTo>
                  <a:pt x="126" y="418"/>
                </a:lnTo>
                <a:lnTo>
                  <a:pt x="123" y="415"/>
                </a:lnTo>
                <a:lnTo>
                  <a:pt x="123" y="415"/>
                </a:lnTo>
                <a:lnTo>
                  <a:pt x="123" y="415"/>
                </a:lnTo>
                <a:lnTo>
                  <a:pt x="121" y="415"/>
                </a:lnTo>
                <a:lnTo>
                  <a:pt x="121" y="415"/>
                </a:lnTo>
                <a:close/>
                <a:moveTo>
                  <a:pt x="126" y="428"/>
                </a:moveTo>
                <a:lnTo>
                  <a:pt x="126" y="428"/>
                </a:lnTo>
                <a:lnTo>
                  <a:pt x="126" y="430"/>
                </a:lnTo>
                <a:lnTo>
                  <a:pt x="126" y="430"/>
                </a:lnTo>
                <a:lnTo>
                  <a:pt x="128" y="428"/>
                </a:lnTo>
                <a:lnTo>
                  <a:pt x="128" y="428"/>
                </a:lnTo>
                <a:lnTo>
                  <a:pt x="126" y="425"/>
                </a:lnTo>
                <a:lnTo>
                  <a:pt x="126" y="425"/>
                </a:lnTo>
                <a:lnTo>
                  <a:pt x="126" y="425"/>
                </a:lnTo>
                <a:lnTo>
                  <a:pt x="126" y="425"/>
                </a:lnTo>
                <a:lnTo>
                  <a:pt x="126" y="428"/>
                </a:lnTo>
                <a:lnTo>
                  <a:pt x="126" y="428"/>
                </a:lnTo>
                <a:close/>
                <a:moveTo>
                  <a:pt x="131" y="433"/>
                </a:moveTo>
                <a:lnTo>
                  <a:pt x="131" y="433"/>
                </a:lnTo>
                <a:lnTo>
                  <a:pt x="131" y="433"/>
                </a:lnTo>
                <a:lnTo>
                  <a:pt x="131" y="433"/>
                </a:lnTo>
                <a:lnTo>
                  <a:pt x="131" y="433"/>
                </a:lnTo>
                <a:lnTo>
                  <a:pt x="131" y="433"/>
                </a:lnTo>
                <a:close/>
                <a:moveTo>
                  <a:pt x="121" y="435"/>
                </a:moveTo>
                <a:lnTo>
                  <a:pt x="121" y="435"/>
                </a:lnTo>
                <a:lnTo>
                  <a:pt x="121" y="433"/>
                </a:lnTo>
                <a:lnTo>
                  <a:pt x="121" y="433"/>
                </a:lnTo>
                <a:lnTo>
                  <a:pt x="121" y="433"/>
                </a:lnTo>
                <a:lnTo>
                  <a:pt x="121" y="433"/>
                </a:lnTo>
                <a:lnTo>
                  <a:pt x="121" y="435"/>
                </a:lnTo>
                <a:lnTo>
                  <a:pt x="121" y="435"/>
                </a:lnTo>
                <a:close/>
                <a:moveTo>
                  <a:pt x="126" y="433"/>
                </a:moveTo>
                <a:lnTo>
                  <a:pt x="126" y="433"/>
                </a:lnTo>
                <a:lnTo>
                  <a:pt x="126" y="433"/>
                </a:lnTo>
                <a:lnTo>
                  <a:pt x="126" y="433"/>
                </a:lnTo>
                <a:lnTo>
                  <a:pt x="126" y="433"/>
                </a:lnTo>
                <a:lnTo>
                  <a:pt x="126" y="433"/>
                </a:lnTo>
                <a:close/>
                <a:moveTo>
                  <a:pt x="123" y="438"/>
                </a:moveTo>
                <a:lnTo>
                  <a:pt x="123" y="438"/>
                </a:lnTo>
                <a:lnTo>
                  <a:pt x="126" y="438"/>
                </a:lnTo>
                <a:lnTo>
                  <a:pt x="126" y="438"/>
                </a:lnTo>
                <a:lnTo>
                  <a:pt x="126" y="435"/>
                </a:lnTo>
                <a:lnTo>
                  <a:pt x="126" y="435"/>
                </a:lnTo>
                <a:lnTo>
                  <a:pt x="123" y="435"/>
                </a:lnTo>
                <a:lnTo>
                  <a:pt x="123" y="435"/>
                </a:lnTo>
                <a:lnTo>
                  <a:pt x="123" y="438"/>
                </a:lnTo>
                <a:lnTo>
                  <a:pt x="123" y="438"/>
                </a:lnTo>
                <a:close/>
                <a:moveTo>
                  <a:pt x="126" y="442"/>
                </a:moveTo>
                <a:lnTo>
                  <a:pt x="126" y="442"/>
                </a:lnTo>
                <a:lnTo>
                  <a:pt x="126" y="442"/>
                </a:lnTo>
                <a:lnTo>
                  <a:pt x="126" y="442"/>
                </a:lnTo>
                <a:lnTo>
                  <a:pt x="123" y="442"/>
                </a:lnTo>
                <a:lnTo>
                  <a:pt x="123" y="442"/>
                </a:lnTo>
                <a:lnTo>
                  <a:pt x="123" y="442"/>
                </a:lnTo>
                <a:lnTo>
                  <a:pt x="126" y="442"/>
                </a:lnTo>
                <a:lnTo>
                  <a:pt x="126" y="442"/>
                </a:lnTo>
                <a:close/>
                <a:moveTo>
                  <a:pt x="128" y="445"/>
                </a:moveTo>
                <a:lnTo>
                  <a:pt x="128" y="445"/>
                </a:lnTo>
                <a:lnTo>
                  <a:pt x="128" y="445"/>
                </a:lnTo>
                <a:lnTo>
                  <a:pt x="131" y="442"/>
                </a:lnTo>
                <a:lnTo>
                  <a:pt x="131" y="442"/>
                </a:lnTo>
                <a:lnTo>
                  <a:pt x="128" y="442"/>
                </a:lnTo>
                <a:lnTo>
                  <a:pt x="128" y="442"/>
                </a:lnTo>
                <a:lnTo>
                  <a:pt x="126" y="445"/>
                </a:lnTo>
                <a:lnTo>
                  <a:pt x="128" y="445"/>
                </a:lnTo>
                <a:lnTo>
                  <a:pt x="128" y="445"/>
                </a:lnTo>
                <a:close/>
                <a:moveTo>
                  <a:pt x="118" y="452"/>
                </a:moveTo>
                <a:lnTo>
                  <a:pt x="118" y="452"/>
                </a:lnTo>
                <a:lnTo>
                  <a:pt x="121" y="452"/>
                </a:lnTo>
                <a:lnTo>
                  <a:pt x="121" y="452"/>
                </a:lnTo>
                <a:lnTo>
                  <a:pt x="121" y="452"/>
                </a:lnTo>
                <a:lnTo>
                  <a:pt x="121" y="450"/>
                </a:lnTo>
                <a:lnTo>
                  <a:pt x="121" y="450"/>
                </a:lnTo>
                <a:lnTo>
                  <a:pt x="118" y="450"/>
                </a:lnTo>
                <a:lnTo>
                  <a:pt x="118" y="450"/>
                </a:lnTo>
                <a:lnTo>
                  <a:pt x="118" y="452"/>
                </a:lnTo>
                <a:lnTo>
                  <a:pt x="118" y="452"/>
                </a:lnTo>
                <a:lnTo>
                  <a:pt x="118" y="452"/>
                </a:lnTo>
                <a:close/>
                <a:moveTo>
                  <a:pt x="123" y="457"/>
                </a:moveTo>
                <a:lnTo>
                  <a:pt x="123" y="457"/>
                </a:lnTo>
                <a:lnTo>
                  <a:pt x="128" y="455"/>
                </a:lnTo>
                <a:lnTo>
                  <a:pt x="128" y="455"/>
                </a:lnTo>
                <a:lnTo>
                  <a:pt x="131" y="452"/>
                </a:lnTo>
                <a:lnTo>
                  <a:pt x="131" y="452"/>
                </a:lnTo>
                <a:lnTo>
                  <a:pt x="131" y="450"/>
                </a:lnTo>
                <a:lnTo>
                  <a:pt x="131" y="450"/>
                </a:lnTo>
                <a:lnTo>
                  <a:pt x="128" y="450"/>
                </a:lnTo>
                <a:lnTo>
                  <a:pt x="128" y="450"/>
                </a:lnTo>
                <a:lnTo>
                  <a:pt x="126" y="452"/>
                </a:lnTo>
                <a:lnTo>
                  <a:pt x="126" y="452"/>
                </a:lnTo>
                <a:lnTo>
                  <a:pt x="123" y="452"/>
                </a:lnTo>
                <a:lnTo>
                  <a:pt x="123" y="452"/>
                </a:lnTo>
                <a:lnTo>
                  <a:pt x="123" y="455"/>
                </a:lnTo>
                <a:lnTo>
                  <a:pt x="123" y="455"/>
                </a:lnTo>
                <a:lnTo>
                  <a:pt x="121" y="455"/>
                </a:lnTo>
                <a:lnTo>
                  <a:pt x="121" y="455"/>
                </a:lnTo>
                <a:lnTo>
                  <a:pt x="121" y="457"/>
                </a:lnTo>
                <a:lnTo>
                  <a:pt x="121" y="457"/>
                </a:lnTo>
                <a:lnTo>
                  <a:pt x="121" y="457"/>
                </a:lnTo>
                <a:lnTo>
                  <a:pt x="123" y="457"/>
                </a:lnTo>
                <a:lnTo>
                  <a:pt x="123" y="457"/>
                </a:lnTo>
                <a:lnTo>
                  <a:pt x="123" y="457"/>
                </a:lnTo>
                <a:close/>
                <a:moveTo>
                  <a:pt x="128" y="457"/>
                </a:moveTo>
                <a:lnTo>
                  <a:pt x="128" y="457"/>
                </a:lnTo>
                <a:lnTo>
                  <a:pt x="128" y="457"/>
                </a:lnTo>
                <a:lnTo>
                  <a:pt x="131" y="457"/>
                </a:lnTo>
                <a:lnTo>
                  <a:pt x="131" y="457"/>
                </a:lnTo>
                <a:lnTo>
                  <a:pt x="131" y="455"/>
                </a:lnTo>
                <a:lnTo>
                  <a:pt x="131" y="455"/>
                </a:lnTo>
                <a:lnTo>
                  <a:pt x="128" y="457"/>
                </a:lnTo>
                <a:lnTo>
                  <a:pt x="128" y="457"/>
                </a:lnTo>
                <a:close/>
                <a:moveTo>
                  <a:pt x="126" y="460"/>
                </a:moveTo>
                <a:lnTo>
                  <a:pt x="126" y="460"/>
                </a:lnTo>
                <a:lnTo>
                  <a:pt x="128" y="460"/>
                </a:lnTo>
                <a:lnTo>
                  <a:pt x="128" y="460"/>
                </a:lnTo>
                <a:lnTo>
                  <a:pt x="128" y="457"/>
                </a:lnTo>
                <a:lnTo>
                  <a:pt x="128" y="457"/>
                </a:lnTo>
                <a:lnTo>
                  <a:pt x="126" y="460"/>
                </a:lnTo>
                <a:lnTo>
                  <a:pt x="126" y="460"/>
                </a:lnTo>
                <a:lnTo>
                  <a:pt x="126" y="460"/>
                </a:lnTo>
                <a:close/>
                <a:moveTo>
                  <a:pt x="121" y="462"/>
                </a:moveTo>
                <a:lnTo>
                  <a:pt x="121" y="462"/>
                </a:lnTo>
                <a:lnTo>
                  <a:pt x="123" y="460"/>
                </a:lnTo>
                <a:lnTo>
                  <a:pt x="123" y="460"/>
                </a:lnTo>
                <a:lnTo>
                  <a:pt x="123" y="460"/>
                </a:lnTo>
                <a:lnTo>
                  <a:pt x="121" y="460"/>
                </a:lnTo>
                <a:lnTo>
                  <a:pt x="121" y="460"/>
                </a:lnTo>
                <a:lnTo>
                  <a:pt x="121" y="462"/>
                </a:lnTo>
                <a:lnTo>
                  <a:pt x="121" y="462"/>
                </a:lnTo>
                <a:lnTo>
                  <a:pt x="121" y="462"/>
                </a:lnTo>
                <a:close/>
                <a:moveTo>
                  <a:pt x="116" y="472"/>
                </a:moveTo>
                <a:lnTo>
                  <a:pt x="116" y="472"/>
                </a:lnTo>
                <a:lnTo>
                  <a:pt x="116" y="474"/>
                </a:lnTo>
                <a:lnTo>
                  <a:pt x="116" y="474"/>
                </a:lnTo>
                <a:lnTo>
                  <a:pt x="118" y="474"/>
                </a:lnTo>
                <a:lnTo>
                  <a:pt x="118" y="474"/>
                </a:lnTo>
                <a:lnTo>
                  <a:pt x="121" y="472"/>
                </a:lnTo>
                <a:lnTo>
                  <a:pt x="121" y="472"/>
                </a:lnTo>
                <a:lnTo>
                  <a:pt x="123" y="469"/>
                </a:lnTo>
                <a:lnTo>
                  <a:pt x="123" y="469"/>
                </a:lnTo>
                <a:lnTo>
                  <a:pt x="126" y="469"/>
                </a:lnTo>
                <a:lnTo>
                  <a:pt x="126" y="469"/>
                </a:lnTo>
                <a:lnTo>
                  <a:pt x="123" y="467"/>
                </a:lnTo>
                <a:lnTo>
                  <a:pt x="123" y="467"/>
                </a:lnTo>
                <a:lnTo>
                  <a:pt x="121" y="469"/>
                </a:lnTo>
                <a:lnTo>
                  <a:pt x="121" y="469"/>
                </a:lnTo>
                <a:lnTo>
                  <a:pt x="118" y="469"/>
                </a:lnTo>
                <a:lnTo>
                  <a:pt x="118" y="469"/>
                </a:lnTo>
                <a:lnTo>
                  <a:pt x="118" y="472"/>
                </a:lnTo>
                <a:lnTo>
                  <a:pt x="116" y="472"/>
                </a:lnTo>
                <a:lnTo>
                  <a:pt x="116" y="472"/>
                </a:lnTo>
                <a:close/>
                <a:moveTo>
                  <a:pt x="113" y="482"/>
                </a:moveTo>
                <a:lnTo>
                  <a:pt x="113" y="482"/>
                </a:lnTo>
                <a:lnTo>
                  <a:pt x="116" y="484"/>
                </a:lnTo>
                <a:lnTo>
                  <a:pt x="116" y="484"/>
                </a:lnTo>
                <a:lnTo>
                  <a:pt x="116" y="484"/>
                </a:lnTo>
                <a:lnTo>
                  <a:pt x="118" y="482"/>
                </a:lnTo>
                <a:lnTo>
                  <a:pt x="118" y="482"/>
                </a:lnTo>
                <a:lnTo>
                  <a:pt x="116" y="482"/>
                </a:lnTo>
                <a:lnTo>
                  <a:pt x="116" y="482"/>
                </a:lnTo>
                <a:lnTo>
                  <a:pt x="113" y="482"/>
                </a:lnTo>
                <a:lnTo>
                  <a:pt x="113" y="482"/>
                </a:lnTo>
                <a:close/>
                <a:moveTo>
                  <a:pt x="182" y="838"/>
                </a:moveTo>
                <a:lnTo>
                  <a:pt x="182" y="838"/>
                </a:lnTo>
                <a:lnTo>
                  <a:pt x="185" y="836"/>
                </a:lnTo>
                <a:lnTo>
                  <a:pt x="185" y="836"/>
                </a:lnTo>
                <a:lnTo>
                  <a:pt x="187" y="836"/>
                </a:lnTo>
                <a:lnTo>
                  <a:pt x="187" y="836"/>
                </a:lnTo>
                <a:lnTo>
                  <a:pt x="187" y="836"/>
                </a:lnTo>
                <a:lnTo>
                  <a:pt x="187" y="838"/>
                </a:lnTo>
                <a:lnTo>
                  <a:pt x="187" y="838"/>
                </a:lnTo>
                <a:lnTo>
                  <a:pt x="185" y="838"/>
                </a:lnTo>
                <a:lnTo>
                  <a:pt x="185" y="838"/>
                </a:lnTo>
                <a:lnTo>
                  <a:pt x="182" y="838"/>
                </a:lnTo>
                <a:lnTo>
                  <a:pt x="182" y="838"/>
                </a:lnTo>
                <a:lnTo>
                  <a:pt x="182" y="838"/>
                </a:lnTo>
                <a:close/>
                <a:moveTo>
                  <a:pt x="165" y="829"/>
                </a:moveTo>
                <a:lnTo>
                  <a:pt x="165" y="829"/>
                </a:lnTo>
                <a:lnTo>
                  <a:pt x="167" y="829"/>
                </a:lnTo>
                <a:lnTo>
                  <a:pt x="167" y="829"/>
                </a:lnTo>
                <a:lnTo>
                  <a:pt x="167" y="826"/>
                </a:lnTo>
                <a:lnTo>
                  <a:pt x="167" y="826"/>
                </a:lnTo>
                <a:lnTo>
                  <a:pt x="170" y="826"/>
                </a:lnTo>
                <a:lnTo>
                  <a:pt x="170" y="826"/>
                </a:lnTo>
                <a:lnTo>
                  <a:pt x="167" y="824"/>
                </a:lnTo>
                <a:lnTo>
                  <a:pt x="167" y="824"/>
                </a:lnTo>
                <a:lnTo>
                  <a:pt x="167" y="824"/>
                </a:lnTo>
                <a:lnTo>
                  <a:pt x="167" y="824"/>
                </a:lnTo>
                <a:lnTo>
                  <a:pt x="165" y="826"/>
                </a:lnTo>
                <a:lnTo>
                  <a:pt x="165" y="826"/>
                </a:lnTo>
                <a:lnTo>
                  <a:pt x="165" y="829"/>
                </a:lnTo>
                <a:lnTo>
                  <a:pt x="165" y="829"/>
                </a:lnTo>
                <a:close/>
                <a:moveTo>
                  <a:pt x="155" y="809"/>
                </a:moveTo>
                <a:lnTo>
                  <a:pt x="155" y="809"/>
                </a:lnTo>
                <a:lnTo>
                  <a:pt x="155" y="809"/>
                </a:lnTo>
                <a:lnTo>
                  <a:pt x="158" y="809"/>
                </a:lnTo>
                <a:lnTo>
                  <a:pt x="158" y="809"/>
                </a:lnTo>
                <a:lnTo>
                  <a:pt x="158" y="806"/>
                </a:lnTo>
                <a:lnTo>
                  <a:pt x="158" y="806"/>
                </a:lnTo>
                <a:lnTo>
                  <a:pt x="158" y="806"/>
                </a:lnTo>
                <a:lnTo>
                  <a:pt x="155" y="806"/>
                </a:lnTo>
                <a:lnTo>
                  <a:pt x="155" y="806"/>
                </a:lnTo>
                <a:lnTo>
                  <a:pt x="155" y="809"/>
                </a:lnTo>
                <a:lnTo>
                  <a:pt x="155" y="809"/>
                </a:lnTo>
                <a:close/>
                <a:moveTo>
                  <a:pt x="148" y="806"/>
                </a:moveTo>
                <a:lnTo>
                  <a:pt x="148" y="806"/>
                </a:lnTo>
                <a:lnTo>
                  <a:pt x="148" y="809"/>
                </a:lnTo>
                <a:lnTo>
                  <a:pt x="148" y="809"/>
                </a:lnTo>
                <a:lnTo>
                  <a:pt x="150" y="809"/>
                </a:lnTo>
                <a:lnTo>
                  <a:pt x="150" y="809"/>
                </a:lnTo>
                <a:lnTo>
                  <a:pt x="150" y="806"/>
                </a:lnTo>
                <a:lnTo>
                  <a:pt x="150" y="806"/>
                </a:lnTo>
                <a:lnTo>
                  <a:pt x="150" y="806"/>
                </a:lnTo>
                <a:lnTo>
                  <a:pt x="148" y="806"/>
                </a:lnTo>
                <a:lnTo>
                  <a:pt x="148" y="806"/>
                </a:lnTo>
                <a:close/>
                <a:moveTo>
                  <a:pt x="133" y="809"/>
                </a:moveTo>
                <a:lnTo>
                  <a:pt x="133" y="809"/>
                </a:lnTo>
                <a:lnTo>
                  <a:pt x="133" y="811"/>
                </a:lnTo>
                <a:lnTo>
                  <a:pt x="133" y="811"/>
                </a:lnTo>
                <a:lnTo>
                  <a:pt x="133" y="811"/>
                </a:lnTo>
                <a:lnTo>
                  <a:pt x="133" y="811"/>
                </a:lnTo>
                <a:lnTo>
                  <a:pt x="135" y="811"/>
                </a:lnTo>
                <a:lnTo>
                  <a:pt x="135" y="811"/>
                </a:lnTo>
                <a:lnTo>
                  <a:pt x="135" y="809"/>
                </a:lnTo>
                <a:lnTo>
                  <a:pt x="135" y="809"/>
                </a:lnTo>
                <a:lnTo>
                  <a:pt x="133" y="809"/>
                </a:lnTo>
                <a:lnTo>
                  <a:pt x="133" y="809"/>
                </a:lnTo>
                <a:lnTo>
                  <a:pt x="133" y="809"/>
                </a:lnTo>
                <a:close/>
                <a:moveTo>
                  <a:pt x="111" y="715"/>
                </a:moveTo>
                <a:lnTo>
                  <a:pt x="111" y="715"/>
                </a:lnTo>
                <a:lnTo>
                  <a:pt x="111" y="715"/>
                </a:lnTo>
                <a:lnTo>
                  <a:pt x="113" y="713"/>
                </a:lnTo>
                <a:lnTo>
                  <a:pt x="113" y="713"/>
                </a:lnTo>
                <a:lnTo>
                  <a:pt x="116" y="711"/>
                </a:lnTo>
                <a:lnTo>
                  <a:pt x="116" y="711"/>
                </a:lnTo>
                <a:lnTo>
                  <a:pt x="116" y="711"/>
                </a:lnTo>
                <a:lnTo>
                  <a:pt x="113" y="711"/>
                </a:lnTo>
                <a:lnTo>
                  <a:pt x="113" y="711"/>
                </a:lnTo>
                <a:lnTo>
                  <a:pt x="111" y="715"/>
                </a:lnTo>
                <a:lnTo>
                  <a:pt x="111" y="715"/>
                </a:lnTo>
                <a:close/>
                <a:moveTo>
                  <a:pt x="111" y="711"/>
                </a:moveTo>
                <a:lnTo>
                  <a:pt x="111" y="713"/>
                </a:lnTo>
                <a:lnTo>
                  <a:pt x="111" y="713"/>
                </a:lnTo>
                <a:lnTo>
                  <a:pt x="111" y="713"/>
                </a:lnTo>
                <a:lnTo>
                  <a:pt x="113" y="711"/>
                </a:lnTo>
                <a:lnTo>
                  <a:pt x="113" y="711"/>
                </a:lnTo>
                <a:lnTo>
                  <a:pt x="113" y="708"/>
                </a:lnTo>
                <a:lnTo>
                  <a:pt x="113" y="708"/>
                </a:lnTo>
                <a:lnTo>
                  <a:pt x="113" y="708"/>
                </a:lnTo>
                <a:lnTo>
                  <a:pt x="111" y="711"/>
                </a:lnTo>
                <a:lnTo>
                  <a:pt x="111" y="711"/>
                </a:lnTo>
                <a:close/>
                <a:moveTo>
                  <a:pt x="99" y="679"/>
                </a:moveTo>
                <a:lnTo>
                  <a:pt x="99" y="679"/>
                </a:lnTo>
                <a:lnTo>
                  <a:pt x="96" y="681"/>
                </a:lnTo>
                <a:lnTo>
                  <a:pt x="96" y="681"/>
                </a:lnTo>
                <a:lnTo>
                  <a:pt x="96" y="681"/>
                </a:lnTo>
                <a:lnTo>
                  <a:pt x="99" y="681"/>
                </a:lnTo>
                <a:lnTo>
                  <a:pt x="99" y="681"/>
                </a:lnTo>
                <a:lnTo>
                  <a:pt x="99" y="679"/>
                </a:lnTo>
                <a:lnTo>
                  <a:pt x="99" y="679"/>
                </a:lnTo>
                <a:lnTo>
                  <a:pt x="99" y="679"/>
                </a:lnTo>
                <a:lnTo>
                  <a:pt x="99" y="679"/>
                </a:lnTo>
                <a:close/>
                <a:moveTo>
                  <a:pt x="96" y="676"/>
                </a:moveTo>
                <a:lnTo>
                  <a:pt x="96" y="676"/>
                </a:lnTo>
                <a:lnTo>
                  <a:pt x="96" y="679"/>
                </a:lnTo>
                <a:lnTo>
                  <a:pt x="96" y="679"/>
                </a:lnTo>
                <a:lnTo>
                  <a:pt x="99" y="679"/>
                </a:lnTo>
                <a:lnTo>
                  <a:pt x="99" y="679"/>
                </a:lnTo>
                <a:lnTo>
                  <a:pt x="99" y="676"/>
                </a:lnTo>
                <a:lnTo>
                  <a:pt x="99" y="676"/>
                </a:lnTo>
                <a:lnTo>
                  <a:pt x="99" y="676"/>
                </a:lnTo>
                <a:lnTo>
                  <a:pt x="96" y="676"/>
                </a:lnTo>
                <a:lnTo>
                  <a:pt x="96" y="676"/>
                </a:lnTo>
                <a:close/>
                <a:moveTo>
                  <a:pt x="99" y="647"/>
                </a:moveTo>
                <a:lnTo>
                  <a:pt x="99" y="647"/>
                </a:lnTo>
                <a:lnTo>
                  <a:pt x="101" y="647"/>
                </a:lnTo>
                <a:lnTo>
                  <a:pt x="101" y="647"/>
                </a:lnTo>
                <a:lnTo>
                  <a:pt x="101" y="644"/>
                </a:lnTo>
                <a:lnTo>
                  <a:pt x="101" y="644"/>
                </a:lnTo>
                <a:lnTo>
                  <a:pt x="101" y="644"/>
                </a:lnTo>
                <a:lnTo>
                  <a:pt x="99" y="647"/>
                </a:lnTo>
                <a:lnTo>
                  <a:pt x="99" y="647"/>
                </a:lnTo>
                <a:close/>
                <a:moveTo>
                  <a:pt x="99" y="642"/>
                </a:moveTo>
                <a:lnTo>
                  <a:pt x="99" y="642"/>
                </a:lnTo>
                <a:lnTo>
                  <a:pt x="101" y="644"/>
                </a:lnTo>
                <a:lnTo>
                  <a:pt x="101" y="644"/>
                </a:lnTo>
                <a:lnTo>
                  <a:pt x="103" y="644"/>
                </a:lnTo>
                <a:lnTo>
                  <a:pt x="103" y="644"/>
                </a:lnTo>
                <a:lnTo>
                  <a:pt x="103" y="642"/>
                </a:lnTo>
                <a:lnTo>
                  <a:pt x="103" y="642"/>
                </a:lnTo>
                <a:lnTo>
                  <a:pt x="101" y="642"/>
                </a:lnTo>
                <a:lnTo>
                  <a:pt x="101" y="642"/>
                </a:lnTo>
                <a:lnTo>
                  <a:pt x="99" y="642"/>
                </a:lnTo>
                <a:lnTo>
                  <a:pt x="99" y="642"/>
                </a:lnTo>
                <a:lnTo>
                  <a:pt x="99" y="642"/>
                </a:lnTo>
                <a:close/>
                <a:moveTo>
                  <a:pt x="94" y="642"/>
                </a:moveTo>
                <a:lnTo>
                  <a:pt x="94" y="642"/>
                </a:lnTo>
                <a:lnTo>
                  <a:pt x="94" y="644"/>
                </a:lnTo>
                <a:lnTo>
                  <a:pt x="94" y="644"/>
                </a:lnTo>
                <a:lnTo>
                  <a:pt x="96" y="642"/>
                </a:lnTo>
                <a:lnTo>
                  <a:pt x="96" y="642"/>
                </a:lnTo>
                <a:lnTo>
                  <a:pt x="96" y="642"/>
                </a:lnTo>
                <a:lnTo>
                  <a:pt x="94" y="642"/>
                </a:lnTo>
                <a:lnTo>
                  <a:pt x="94" y="642"/>
                </a:lnTo>
                <a:lnTo>
                  <a:pt x="94" y="642"/>
                </a:lnTo>
                <a:close/>
                <a:moveTo>
                  <a:pt x="101" y="615"/>
                </a:moveTo>
                <a:lnTo>
                  <a:pt x="101" y="615"/>
                </a:lnTo>
                <a:lnTo>
                  <a:pt x="101" y="617"/>
                </a:lnTo>
                <a:lnTo>
                  <a:pt x="101" y="617"/>
                </a:lnTo>
                <a:lnTo>
                  <a:pt x="101" y="617"/>
                </a:lnTo>
                <a:lnTo>
                  <a:pt x="103" y="617"/>
                </a:lnTo>
                <a:lnTo>
                  <a:pt x="103" y="617"/>
                </a:lnTo>
                <a:lnTo>
                  <a:pt x="106" y="615"/>
                </a:lnTo>
                <a:lnTo>
                  <a:pt x="106" y="615"/>
                </a:lnTo>
                <a:lnTo>
                  <a:pt x="106" y="612"/>
                </a:lnTo>
                <a:lnTo>
                  <a:pt x="106" y="612"/>
                </a:lnTo>
                <a:lnTo>
                  <a:pt x="103" y="612"/>
                </a:lnTo>
                <a:lnTo>
                  <a:pt x="103" y="612"/>
                </a:lnTo>
                <a:lnTo>
                  <a:pt x="101" y="615"/>
                </a:lnTo>
                <a:lnTo>
                  <a:pt x="101" y="615"/>
                </a:lnTo>
                <a:close/>
                <a:moveTo>
                  <a:pt x="126" y="605"/>
                </a:moveTo>
                <a:lnTo>
                  <a:pt x="126" y="605"/>
                </a:lnTo>
                <a:lnTo>
                  <a:pt x="128" y="605"/>
                </a:lnTo>
                <a:lnTo>
                  <a:pt x="128" y="605"/>
                </a:lnTo>
                <a:lnTo>
                  <a:pt x="133" y="605"/>
                </a:lnTo>
                <a:lnTo>
                  <a:pt x="133" y="605"/>
                </a:lnTo>
                <a:lnTo>
                  <a:pt x="133" y="602"/>
                </a:lnTo>
                <a:lnTo>
                  <a:pt x="133" y="602"/>
                </a:lnTo>
                <a:lnTo>
                  <a:pt x="128" y="602"/>
                </a:lnTo>
                <a:lnTo>
                  <a:pt x="128" y="602"/>
                </a:lnTo>
                <a:lnTo>
                  <a:pt x="126" y="602"/>
                </a:lnTo>
                <a:lnTo>
                  <a:pt x="126" y="602"/>
                </a:lnTo>
                <a:lnTo>
                  <a:pt x="126" y="605"/>
                </a:lnTo>
                <a:lnTo>
                  <a:pt x="126" y="605"/>
                </a:lnTo>
                <a:close/>
                <a:moveTo>
                  <a:pt x="116" y="590"/>
                </a:moveTo>
                <a:lnTo>
                  <a:pt x="116" y="590"/>
                </a:lnTo>
                <a:lnTo>
                  <a:pt x="116" y="592"/>
                </a:lnTo>
                <a:lnTo>
                  <a:pt x="116" y="592"/>
                </a:lnTo>
                <a:lnTo>
                  <a:pt x="118" y="592"/>
                </a:lnTo>
                <a:lnTo>
                  <a:pt x="118" y="592"/>
                </a:lnTo>
                <a:lnTo>
                  <a:pt x="121" y="592"/>
                </a:lnTo>
                <a:lnTo>
                  <a:pt x="121" y="592"/>
                </a:lnTo>
                <a:lnTo>
                  <a:pt x="121" y="590"/>
                </a:lnTo>
                <a:lnTo>
                  <a:pt x="121" y="590"/>
                </a:lnTo>
                <a:lnTo>
                  <a:pt x="118" y="590"/>
                </a:lnTo>
                <a:lnTo>
                  <a:pt x="118" y="590"/>
                </a:lnTo>
                <a:lnTo>
                  <a:pt x="116" y="590"/>
                </a:lnTo>
                <a:lnTo>
                  <a:pt x="116" y="590"/>
                </a:lnTo>
                <a:close/>
                <a:moveTo>
                  <a:pt x="128" y="590"/>
                </a:moveTo>
                <a:lnTo>
                  <a:pt x="128" y="590"/>
                </a:lnTo>
                <a:lnTo>
                  <a:pt x="131" y="590"/>
                </a:lnTo>
                <a:lnTo>
                  <a:pt x="131" y="590"/>
                </a:lnTo>
                <a:lnTo>
                  <a:pt x="133" y="590"/>
                </a:lnTo>
                <a:lnTo>
                  <a:pt x="133" y="590"/>
                </a:lnTo>
                <a:lnTo>
                  <a:pt x="133" y="590"/>
                </a:lnTo>
                <a:lnTo>
                  <a:pt x="131" y="588"/>
                </a:lnTo>
                <a:lnTo>
                  <a:pt x="131" y="588"/>
                </a:lnTo>
                <a:lnTo>
                  <a:pt x="128" y="590"/>
                </a:lnTo>
                <a:lnTo>
                  <a:pt x="128" y="590"/>
                </a:lnTo>
                <a:close/>
                <a:moveTo>
                  <a:pt x="121" y="588"/>
                </a:moveTo>
                <a:lnTo>
                  <a:pt x="121" y="588"/>
                </a:lnTo>
                <a:lnTo>
                  <a:pt x="126" y="590"/>
                </a:lnTo>
                <a:lnTo>
                  <a:pt x="126" y="590"/>
                </a:lnTo>
                <a:lnTo>
                  <a:pt x="128" y="588"/>
                </a:lnTo>
                <a:lnTo>
                  <a:pt x="128" y="588"/>
                </a:lnTo>
                <a:lnTo>
                  <a:pt x="131" y="588"/>
                </a:lnTo>
                <a:lnTo>
                  <a:pt x="131" y="588"/>
                </a:lnTo>
                <a:lnTo>
                  <a:pt x="128" y="585"/>
                </a:lnTo>
                <a:lnTo>
                  <a:pt x="128" y="585"/>
                </a:lnTo>
                <a:lnTo>
                  <a:pt x="126" y="585"/>
                </a:lnTo>
                <a:lnTo>
                  <a:pt x="126" y="585"/>
                </a:lnTo>
                <a:lnTo>
                  <a:pt x="123" y="585"/>
                </a:lnTo>
                <a:lnTo>
                  <a:pt x="123" y="585"/>
                </a:lnTo>
                <a:lnTo>
                  <a:pt x="121" y="588"/>
                </a:lnTo>
                <a:lnTo>
                  <a:pt x="121" y="588"/>
                </a:lnTo>
                <a:close/>
                <a:moveTo>
                  <a:pt x="148" y="526"/>
                </a:moveTo>
                <a:lnTo>
                  <a:pt x="148" y="526"/>
                </a:lnTo>
                <a:lnTo>
                  <a:pt x="150" y="529"/>
                </a:lnTo>
                <a:lnTo>
                  <a:pt x="150" y="529"/>
                </a:lnTo>
                <a:lnTo>
                  <a:pt x="150" y="531"/>
                </a:lnTo>
                <a:lnTo>
                  <a:pt x="150" y="531"/>
                </a:lnTo>
                <a:lnTo>
                  <a:pt x="153" y="529"/>
                </a:lnTo>
                <a:lnTo>
                  <a:pt x="153" y="529"/>
                </a:lnTo>
                <a:lnTo>
                  <a:pt x="150" y="529"/>
                </a:lnTo>
                <a:lnTo>
                  <a:pt x="150" y="529"/>
                </a:lnTo>
                <a:lnTo>
                  <a:pt x="148" y="526"/>
                </a:lnTo>
                <a:lnTo>
                  <a:pt x="148" y="526"/>
                </a:lnTo>
                <a:close/>
                <a:moveTo>
                  <a:pt x="148" y="519"/>
                </a:moveTo>
                <a:lnTo>
                  <a:pt x="148" y="519"/>
                </a:lnTo>
                <a:lnTo>
                  <a:pt x="145" y="521"/>
                </a:lnTo>
                <a:lnTo>
                  <a:pt x="145" y="521"/>
                </a:lnTo>
                <a:lnTo>
                  <a:pt x="150" y="524"/>
                </a:lnTo>
                <a:lnTo>
                  <a:pt x="150" y="524"/>
                </a:lnTo>
                <a:lnTo>
                  <a:pt x="150" y="524"/>
                </a:lnTo>
                <a:lnTo>
                  <a:pt x="150" y="521"/>
                </a:lnTo>
                <a:lnTo>
                  <a:pt x="148" y="519"/>
                </a:lnTo>
                <a:lnTo>
                  <a:pt x="148" y="519"/>
                </a:lnTo>
                <a:close/>
                <a:moveTo>
                  <a:pt x="138" y="499"/>
                </a:moveTo>
                <a:lnTo>
                  <a:pt x="138" y="499"/>
                </a:lnTo>
                <a:lnTo>
                  <a:pt x="140" y="499"/>
                </a:lnTo>
                <a:lnTo>
                  <a:pt x="140" y="499"/>
                </a:lnTo>
                <a:lnTo>
                  <a:pt x="143" y="497"/>
                </a:lnTo>
                <a:lnTo>
                  <a:pt x="143" y="497"/>
                </a:lnTo>
                <a:lnTo>
                  <a:pt x="145" y="497"/>
                </a:lnTo>
                <a:lnTo>
                  <a:pt x="145" y="497"/>
                </a:lnTo>
                <a:lnTo>
                  <a:pt x="145" y="494"/>
                </a:lnTo>
                <a:lnTo>
                  <a:pt x="145" y="494"/>
                </a:lnTo>
                <a:lnTo>
                  <a:pt x="143" y="494"/>
                </a:lnTo>
                <a:lnTo>
                  <a:pt x="143" y="494"/>
                </a:lnTo>
                <a:lnTo>
                  <a:pt x="140" y="494"/>
                </a:lnTo>
                <a:lnTo>
                  <a:pt x="140" y="494"/>
                </a:lnTo>
                <a:lnTo>
                  <a:pt x="138" y="494"/>
                </a:lnTo>
                <a:lnTo>
                  <a:pt x="138" y="494"/>
                </a:lnTo>
                <a:lnTo>
                  <a:pt x="138" y="497"/>
                </a:lnTo>
                <a:lnTo>
                  <a:pt x="138" y="497"/>
                </a:lnTo>
                <a:lnTo>
                  <a:pt x="138" y="499"/>
                </a:lnTo>
                <a:lnTo>
                  <a:pt x="138" y="499"/>
                </a:lnTo>
                <a:close/>
                <a:moveTo>
                  <a:pt x="138" y="511"/>
                </a:moveTo>
                <a:lnTo>
                  <a:pt x="138" y="511"/>
                </a:lnTo>
                <a:lnTo>
                  <a:pt x="140" y="511"/>
                </a:lnTo>
                <a:lnTo>
                  <a:pt x="140" y="511"/>
                </a:lnTo>
                <a:lnTo>
                  <a:pt x="143" y="511"/>
                </a:lnTo>
                <a:lnTo>
                  <a:pt x="143" y="511"/>
                </a:lnTo>
                <a:lnTo>
                  <a:pt x="145" y="509"/>
                </a:lnTo>
                <a:lnTo>
                  <a:pt x="145" y="509"/>
                </a:lnTo>
                <a:lnTo>
                  <a:pt x="145" y="506"/>
                </a:lnTo>
                <a:lnTo>
                  <a:pt x="145" y="506"/>
                </a:lnTo>
                <a:lnTo>
                  <a:pt x="143" y="504"/>
                </a:lnTo>
                <a:lnTo>
                  <a:pt x="143" y="504"/>
                </a:lnTo>
                <a:lnTo>
                  <a:pt x="140" y="506"/>
                </a:lnTo>
                <a:lnTo>
                  <a:pt x="140" y="506"/>
                </a:lnTo>
                <a:lnTo>
                  <a:pt x="138" y="511"/>
                </a:lnTo>
                <a:lnTo>
                  <a:pt x="138" y="511"/>
                </a:lnTo>
                <a:close/>
                <a:moveTo>
                  <a:pt x="128" y="511"/>
                </a:moveTo>
                <a:lnTo>
                  <a:pt x="128" y="511"/>
                </a:lnTo>
                <a:lnTo>
                  <a:pt x="131" y="514"/>
                </a:lnTo>
                <a:lnTo>
                  <a:pt x="131" y="514"/>
                </a:lnTo>
                <a:lnTo>
                  <a:pt x="133" y="511"/>
                </a:lnTo>
                <a:lnTo>
                  <a:pt x="133" y="511"/>
                </a:lnTo>
                <a:lnTo>
                  <a:pt x="133" y="509"/>
                </a:lnTo>
                <a:lnTo>
                  <a:pt x="133" y="509"/>
                </a:lnTo>
                <a:lnTo>
                  <a:pt x="133" y="504"/>
                </a:lnTo>
                <a:lnTo>
                  <a:pt x="133" y="504"/>
                </a:lnTo>
                <a:lnTo>
                  <a:pt x="131" y="506"/>
                </a:lnTo>
                <a:lnTo>
                  <a:pt x="131" y="506"/>
                </a:lnTo>
                <a:lnTo>
                  <a:pt x="128" y="509"/>
                </a:lnTo>
                <a:lnTo>
                  <a:pt x="128" y="509"/>
                </a:lnTo>
                <a:lnTo>
                  <a:pt x="128" y="511"/>
                </a:lnTo>
                <a:lnTo>
                  <a:pt x="128" y="511"/>
                </a:lnTo>
                <a:close/>
                <a:moveTo>
                  <a:pt x="111" y="526"/>
                </a:moveTo>
                <a:lnTo>
                  <a:pt x="111" y="526"/>
                </a:lnTo>
                <a:lnTo>
                  <a:pt x="108" y="529"/>
                </a:lnTo>
                <a:lnTo>
                  <a:pt x="108" y="529"/>
                </a:lnTo>
                <a:lnTo>
                  <a:pt x="111" y="531"/>
                </a:lnTo>
                <a:lnTo>
                  <a:pt x="111" y="531"/>
                </a:lnTo>
                <a:lnTo>
                  <a:pt x="113" y="531"/>
                </a:lnTo>
                <a:lnTo>
                  <a:pt x="113" y="531"/>
                </a:lnTo>
                <a:lnTo>
                  <a:pt x="113" y="529"/>
                </a:lnTo>
                <a:lnTo>
                  <a:pt x="113" y="529"/>
                </a:lnTo>
                <a:lnTo>
                  <a:pt x="111" y="526"/>
                </a:lnTo>
                <a:lnTo>
                  <a:pt x="111" y="526"/>
                </a:lnTo>
                <a:lnTo>
                  <a:pt x="111" y="526"/>
                </a:lnTo>
                <a:close/>
                <a:moveTo>
                  <a:pt x="148" y="556"/>
                </a:moveTo>
                <a:lnTo>
                  <a:pt x="148" y="556"/>
                </a:lnTo>
                <a:lnTo>
                  <a:pt x="148" y="556"/>
                </a:lnTo>
                <a:lnTo>
                  <a:pt x="148" y="556"/>
                </a:lnTo>
                <a:lnTo>
                  <a:pt x="148" y="558"/>
                </a:lnTo>
                <a:lnTo>
                  <a:pt x="148" y="558"/>
                </a:lnTo>
                <a:lnTo>
                  <a:pt x="148" y="560"/>
                </a:lnTo>
                <a:lnTo>
                  <a:pt x="148" y="560"/>
                </a:lnTo>
                <a:lnTo>
                  <a:pt x="148" y="563"/>
                </a:lnTo>
                <a:lnTo>
                  <a:pt x="148" y="563"/>
                </a:lnTo>
                <a:lnTo>
                  <a:pt x="150" y="560"/>
                </a:lnTo>
                <a:lnTo>
                  <a:pt x="150" y="560"/>
                </a:lnTo>
                <a:lnTo>
                  <a:pt x="153" y="556"/>
                </a:lnTo>
                <a:lnTo>
                  <a:pt x="153" y="556"/>
                </a:lnTo>
                <a:lnTo>
                  <a:pt x="155" y="556"/>
                </a:lnTo>
                <a:lnTo>
                  <a:pt x="155" y="556"/>
                </a:lnTo>
                <a:lnTo>
                  <a:pt x="153" y="553"/>
                </a:lnTo>
                <a:lnTo>
                  <a:pt x="153" y="553"/>
                </a:lnTo>
                <a:lnTo>
                  <a:pt x="153" y="553"/>
                </a:lnTo>
                <a:lnTo>
                  <a:pt x="148" y="553"/>
                </a:lnTo>
                <a:lnTo>
                  <a:pt x="148" y="553"/>
                </a:lnTo>
                <a:lnTo>
                  <a:pt x="148" y="556"/>
                </a:lnTo>
                <a:lnTo>
                  <a:pt x="148" y="556"/>
                </a:lnTo>
                <a:close/>
                <a:moveTo>
                  <a:pt x="111" y="565"/>
                </a:moveTo>
                <a:lnTo>
                  <a:pt x="111" y="565"/>
                </a:lnTo>
                <a:lnTo>
                  <a:pt x="111" y="568"/>
                </a:lnTo>
                <a:lnTo>
                  <a:pt x="111" y="568"/>
                </a:lnTo>
                <a:lnTo>
                  <a:pt x="116" y="568"/>
                </a:lnTo>
                <a:lnTo>
                  <a:pt x="116" y="568"/>
                </a:lnTo>
                <a:lnTo>
                  <a:pt x="118" y="570"/>
                </a:lnTo>
                <a:lnTo>
                  <a:pt x="118" y="570"/>
                </a:lnTo>
                <a:lnTo>
                  <a:pt x="121" y="570"/>
                </a:lnTo>
                <a:lnTo>
                  <a:pt x="121" y="570"/>
                </a:lnTo>
                <a:lnTo>
                  <a:pt x="121" y="568"/>
                </a:lnTo>
                <a:lnTo>
                  <a:pt x="121" y="568"/>
                </a:lnTo>
                <a:lnTo>
                  <a:pt x="131" y="568"/>
                </a:lnTo>
                <a:lnTo>
                  <a:pt x="131" y="568"/>
                </a:lnTo>
                <a:lnTo>
                  <a:pt x="135" y="568"/>
                </a:lnTo>
                <a:lnTo>
                  <a:pt x="135" y="568"/>
                </a:lnTo>
                <a:lnTo>
                  <a:pt x="140" y="563"/>
                </a:lnTo>
                <a:lnTo>
                  <a:pt x="140" y="563"/>
                </a:lnTo>
                <a:lnTo>
                  <a:pt x="138" y="558"/>
                </a:lnTo>
                <a:lnTo>
                  <a:pt x="138" y="558"/>
                </a:lnTo>
                <a:lnTo>
                  <a:pt x="138" y="553"/>
                </a:lnTo>
                <a:lnTo>
                  <a:pt x="138" y="553"/>
                </a:lnTo>
                <a:lnTo>
                  <a:pt x="135" y="553"/>
                </a:lnTo>
                <a:lnTo>
                  <a:pt x="135" y="553"/>
                </a:lnTo>
                <a:lnTo>
                  <a:pt x="131" y="553"/>
                </a:lnTo>
                <a:lnTo>
                  <a:pt x="131" y="553"/>
                </a:lnTo>
                <a:lnTo>
                  <a:pt x="131" y="546"/>
                </a:lnTo>
                <a:lnTo>
                  <a:pt x="131" y="546"/>
                </a:lnTo>
                <a:lnTo>
                  <a:pt x="126" y="541"/>
                </a:lnTo>
                <a:lnTo>
                  <a:pt x="126" y="541"/>
                </a:lnTo>
                <a:lnTo>
                  <a:pt x="121" y="538"/>
                </a:lnTo>
                <a:lnTo>
                  <a:pt x="121" y="538"/>
                </a:lnTo>
                <a:lnTo>
                  <a:pt x="118" y="536"/>
                </a:lnTo>
                <a:lnTo>
                  <a:pt x="118" y="536"/>
                </a:lnTo>
                <a:lnTo>
                  <a:pt x="113" y="536"/>
                </a:lnTo>
                <a:lnTo>
                  <a:pt x="113" y="536"/>
                </a:lnTo>
                <a:lnTo>
                  <a:pt x="111" y="533"/>
                </a:lnTo>
                <a:lnTo>
                  <a:pt x="111" y="533"/>
                </a:lnTo>
                <a:lnTo>
                  <a:pt x="111" y="536"/>
                </a:lnTo>
                <a:lnTo>
                  <a:pt x="111" y="536"/>
                </a:lnTo>
                <a:lnTo>
                  <a:pt x="108" y="538"/>
                </a:lnTo>
                <a:lnTo>
                  <a:pt x="108" y="538"/>
                </a:lnTo>
                <a:lnTo>
                  <a:pt x="108" y="543"/>
                </a:lnTo>
                <a:lnTo>
                  <a:pt x="108" y="543"/>
                </a:lnTo>
                <a:lnTo>
                  <a:pt x="111" y="546"/>
                </a:lnTo>
                <a:lnTo>
                  <a:pt x="111" y="546"/>
                </a:lnTo>
                <a:lnTo>
                  <a:pt x="111" y="548"/>
                </a:lnTo>
                <a:lnTo>
                  <a:pt x="111" y="548"/>
                </a:lnTo>
                <a:lnTo>
                  <a:pt x="108" y="546"/>
                </a:lnTo>
                <a:lnTo>
                  <a:pt x="108" y="546"/>
                </a:lnTo>
                <a:lnTo>
                  <a:pt x="106" y="548"/>
                </a:lnTo>
                <a:lnTo>
                  <a:pt x="106" y="548"/>
                </a:lnTo>
                <a:lnTo>
                  <a:pt x="106" y="551"/>
                </a:lnTo>
                <a:lnTo>
                  <a:pt x="106" y="551"/>
                </a:lnTo>
                <a:lnTo>
                  <a:pt x="106" y="553"/>
                </a:lnTo>
                <a:lnTo>
                  <a:pt x="106" y="553"/>
                </a:lnTo>
                <a:lnTo>
                  <a:pt x="108" y="553"/>
                </a:lnTo>
                <a:lnTo>
                  <a:pt x="108" y="553"/>
                </a:lnTo>
                <a:lnTo>
                  <a:pt x="106" y="556"/>
                </a:lnTo>
                <a:lnTo>
                  <a:pt x="106" y="556"/>
                </a:lnTo>
                <a:lnTo>
                  <a:pt x="106" y="556"/>
                </a:lnTo>
                <a:lnTo>
                  <a:pt x="108" y="558"/>
                </a:lnTo>
                <a:lnTo>
                  <a:pt x="108" y="558"/>
                </a:lnTo>
                <a:lnTo>
                  <a:pt x="113" y="560"/>
                </a:lnTo>
                <a:lnTo>
                  <a:pt x="113" y="560"/>
                </a:lnTo>
                <a:lnTo>
                  <a:pt x="116" y="563"/>
                </a:lnTo>
                <a:lnTo>
                  <a:pt x="116" y="563"/>
                </a:lnTo>
                <a:lnTo>
                  <a:pt x="118" y="563"/>
                </a:lnTo>
                <a:lnTo>
                  <a:pt x="118" y="563"/>
                </a:lnTo>
                <a:lnTo>
                  <a:pt x="123" y="560"/>
                </a:lnTo>
                <a:lnTo>
                  <a:pt x="123" y="560"/>
                </a:lnTo>
                <a:lnTo>
                  <a:pt x="118" y="563"/>
                </a:lnTo>
                <a:lnTo>
                  <a:pt x="118" y="563"/>
                </a:lnTo>
                <a:lnTo>
                  <a:pt x="116" y="563"/>
                </a:lnTo>
                <a:lnTo>
                  <a:pt x="116" y="563"/>
                </a:lnTo>
                <a:lnTo>
                  <a:pt x="113" y="563"/>
                </a:lnTo>
                <a:lnTo>
                  <a:pt x="113" y="563"/>
                </a:lnTo>
                <a:lnTo>
                  <a:pt x="111" y="563"/>
                </a:lnTo>
                <a:lnTo>
                  <a:pt x="111" y="56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171"/>
          <p:cNvSpPr>
            <a:spLocks noEditPoints="1"/>
          </p:cNvSpPr>
          <p:nvPr/>
        </p:nvSpPr>
        <p:spPr bwMode="auto">
          <a:xfrm>
            <a:off x="1664992" y="1429524"/>
            <a:ext cx="2190376" cy="1910831"/>
          </a:xfrm>
          <a:custGeom>
            <a:avLst/>
            <a:gdLst/>
            <a:ahLst/>
            <a:cxnLst>
              <a:cxn ang="0">
                <a:pos x="991" y="91"/>
              </a:cxn>
              <a:cxn ang="0">
                <a:pos x="984" y="86"/>
              </a:cxn>
              <a:cxn ang="0">
                <a:pos x="972" y="239"/>
              </a:cxn>
              <a:cxn ang="0">
                <a:pos x="1045" y="165"/>
              </a:cxn>
              <a:cxn ang="0">
                <a:pos x="1055" y="106"/>
              </a:cxn>
              <a:cxn ang="0">
                <a:pos x="1109" y="25"/>
              </a:cxn>
              <a:cxn ang="0">
                <a:pos x="1314" y="37"/>
              </a:cxn>
              <a:cxn ang="0">
                <a:pos x="1181" y="172"/>
              </a:cxn>
              <a:cxn ang="0">
                <a:pos x="1090" y="258"/>
              </a:cxn>
              <a:cxn ang="0">
                <a:pos x="1055" y="735"/>
              </a:cxn>
              <a:cxn ang="0">
                <a:pos x="913" y="204"/>
              </a:cxn>
              <a:cxn ang="0">
                <a:pos x="841" y="130"/>
              </a:cxn>
              <a:cxn ang="0">
                <a:pos x="740" y="167"/>
              </a:cxn>
              <a:cxn ang="0">
                <a:pos x="898" y="303"/>
              </a:cxn>
              <a:cxn ang="0">
                <a:pos x="898" y="364"/>
              </a:cxn>
              <a:cxn ang="0">
                <a:pos x="772" y="273"/>
              </a:cxn>
              <a:cxn ang="0">
                <a:pos x="608" y="170"/>
              </a:cxn>
              <a:cxn ang="0">
                <a:pos x="782" y="300"/>
              </a:cxn>
              <a:cxn ang="0">
                <a:pos x="790" y="315"/>
              </a:cxn>
              <a:cxn ang="0">
                <a:pos x="662" y="212"/>
              </a:cxn>
              <a:cxn ang="0">
                <a:pos x="428" y="386"/>
              </a:cxn>
              <a:cxn ang="0">
                <a:pos x="770" y="354"/>
              </a:cxn>
              <a:cxn ang="0">
                <a:pos x="772" y="421"/>
              </a:cxn>
              <a:cxn ang="0">
                <a:pos x="863" y="381"/>
              </a:cxn>
              <a:cxn ang="0">
                <a:pos x="881" y="548"/>
              </a:cxn>
              <a:cxn ang="0">
                <a:pos x="846" y="659"/>
              </a:cxn>
              <a:cxn ang="0">
                <a:pos x="654" y="504"/>
              </a:cxn>
              <a:cxn ang="0">
                <a:pos x="605" y="384"/>
              </a:cxn>
              <a:cxn ang="0">
                <a:pos x="544" y="448"/>
              </a:cxn>
              <a:cxn ang="0">
                <a:pos x="642" y="529"/>
              </a:cxn>
              <a:cxn ang="0">
                <a:pos x="1036" y="534"/>
              </a:cxn>
              <a:cxn ang="0">
                <a:pos x="962" y="671"/>
              </a:cxn>
              <a:cxn ang="0">
                <a:pos x="893" y="534"/>
              </a:cxn>
              <a:cxn ang="0">
                <a:pos x="878" y="465"/>
              </a:cxn>
              <a:cxn ang="0">
                <a:pos x="954" y="470"/>
              </a:cxn>
              <a:cxn ang="0">
                <a:pos x="1033" y="514"/>
              </a:cxn>
              <a:cxn ang="0">
                <a:pos x="1068" y="580"/>
              </a:cxn>
              <a:cxn ang="0">
                <a:pos x="1095" y="664"/>
              </a:cxn>
              <a:cxn ang="0">
                <a:pos x="1072" y="713"/>
              </a:cxn>
              <a:cxn ang="0">
                <a:pos x="1053" y="745"/>
              </a:cxn>
              <a:cxn ang="0">
                <a:pos x="831" y="735"/>
              </a:cxn>
              <a:cxn ang="0">
                <a:pos x="1043" y="814"/>
              </a:cxn>
              <a:cxn ang="0">
                <a:pos x="812" y="935"/>
              </a:cxn>
              <a:cxn ang="0">
                <a:pos x="1055" y="1136"/>
              </a:cxn>
              <a:cxn ang="0">
                <a:pos x="1129" y="1146"/>
              </a:cxn>
              <a:cxn ang="0">
                <a:pos x="1104" y="1070"/>
              </a:cxn>
              <a:cxn ang="0">
                <a:pos x="71" y="1003"/>
              </a:cxn>
              <a:cxn ang="0">
                <a:pos x="74" y="908"/>
              </a:cxn>
              <a:cxn ang="0">
                <a:pos x="207" y="384"/>
              </a:cxn>
              <a:cxn ang="0">
                <a:pos x="91" y="935"/>
              </a:cxn>
              <a:cxn ang="0">
                <a:pos x="241" y="433"/>
              </a:cxn>
              <a:cxn ang="0">
                <a:pos x="401" y="440"/>
              </a:cxn>
              <a:cxn ang="0">
                <a:pos x="590" y="529"/>
              </a:cxn>
              <a:cxn ang="0">
                <a:pos x="699" y="610"/>
              </a:cxn>
              <a:cxn ang="0">
                <a:pos x="785" y="507"/>
              </a:cxn>
              <a:cxn ang="0">
                <a:pos x="890" y="568"/>
              </a:cxn>
              <a:cxn ang="0">
                <a:pos x="775" y="691"/>
              </a:cxn>
              <a:cxn ang="0">
                <a:pos x="635" y="878"/>
              </a:cxn>
              <a:cxn ang="0">
                <a:pos x="836" y="871"/>
              </a:cxn>
              <a:cxn ang="0">
                <a:pos x="1006" y="888"/>
              </a:cxn>
              <a:cxn ang="0">
                <a:pos x="1070" y="984"/>
              </a:cxn>
              <a:cxn ang="0">
                <a:pos x="1023" y="1090"/>
              </a:cxn>
              <a:cxn ang="0">
                <a:pos x="959" y="1215"/>
              </a:cxn>
            </a:cxnLst>
            <a:rect l="0" t="0" r="r" b="b"/>
            <a:pathLst>
              <a:path w="1343" h="1244">
                <a:moveTo>
                  <a:pt x="972" y="219"/>
                </a:moveTo>
                <a:lnTo>
                  <a:pt x="972" y="219"/>
                </a:lnTo>
                <a:lnTo>
                  <a:pt x="972" y="219"/>
                </a:lnTo>
                <a:lnTo>
                  <a:pt x="974" y="214"/>
                </a:lnTo>
                <a:lnTo>
                  <a:pt x="974" y="214"/>
                </a:lnTo>
                <a:lnTo>
                  <a:pt x="979" y="209"/>
                </a:lnTo>
                <a:lnTo>
                  <a:pt x="979" y="209"/>
                </a:lnTo>
                <a:lnTo>
                  <a:pt x="981" y="202"/>
                </a:lnTo>
                <a:lnTo>
                  <a:pt x="981" y="202"/>
                </a:lnTo>
                <a:lnTo>
                  <a:pt x="984" y="202"/>
                </a:lnTo>
                <a:lnTo>
                  <a:pt x="984" y="202"/>
                </a:lnTo>
                <a:lnTo>
                  <a:pt x="984" y="204"/>
                </a:lnTo>
                <a:lnTo>
                  <a:pt x="984" y="204"/>
                </a:lnTo>
                <a:lnTo>
                  <a:pt x="981" y="207"/>
                </a:lnTo>
                <a:lnTo>
                  <a:pt x="981" y="207"/>
                </a:lnTo>
                <a:lnTo>
                  <a:pt x="981" y="209"/>
                </a:lnTo>
                <a:lnTo>
                  <a:pt x="981" y="209"/>
                </a:lnTo>
                <a:lnTo>
                  <a:pt x="984" y="209"/>
                </a:lnTo>
                <a:lnTo>
                  <a:pt x="984" y="209"/>
                </a:lnTo>
                <a:lnTo>
                  <a:pt x="989" y="207"/>
                </a:lnTo>
                <a:lnTo>
                  <a:pt x="989" y="207"/>
                </a:lnTo>
                <a:lnTo>
                  <a:pt x="991" y="204"/>
                </a:lnTo>
                <a:lnTo>
                  <a:pt x="991" y="204"/>
                </a:lnTo>
                <a:lnTo>
                  <a:pt x="991" y="202"/>
                </a:lnTo>
                <a:lnTo>
                  <a:pt x="991" y="202"/>
                </a:lnTo>
                <a:lnTo>
                  <a:pt x="989" y="202"/>
                </a:lnTo>
                <a:lnTo>
                  <a:pt x="989" y="202"/>
                </a:lnTo>
                <a:lnTo>
                  <a:pt x="989" y="199"/>
                </a:lnTo>
                <a:lnTo>
                  <a:pt x="989" y="199"/>
                </a:lnTo>
                <a:lnTo>
                  <a:pt x="991" y="199"/>
                </a:lnTo>
                <a:lnTo>
                  <a:pt x="991" y="199"/>
                </a:lnTo>
                <a:lnTo>
                  <a:pt x="991" y="194"/>
                </a:lnTo>
                <a:lnTo>
                  <a:pt x="991" y="194"/>
                </a:lnTo>
                <a:lnTo>
                  <a:pt x="989" y="192"/>
                </a:lnTo>
                <a:lnTo>
                  <a:pt x="989" y="192"/>
                </a:lnTo>
                <a:lnTo>
                  <a:pt x="989" y="189"/>
                </a:lnTo>
                <a:lnTo>
                  <a:pt x="989" y="189"/>
                </a:lnTo>
                <a:lnTo>
                  <a:pt x="994" y="187"/>
                </a:lnTo>
                <a:lnTo>
                  <a:pt x="994" y="187"/>
                </a:lnTo>
                <a:lnTo>
                  <a:pt x="996" y="182"/>
                </a:lnTo>
                <a:lnTo>
                  <a:pt x="996" y="182"/>
                </a:lnTo>
                <a:lnTo>
                  <a:pt x="999" y="180"/>
                </a:lnTo>
                <a:lnTo>
                  <a:pt x="999" y="180"/>
                </a:lnTo>
                <a:lnTo>
                  <a:pt x="999" y="177"/>
                </a:lnTo>
                <a:lnTo>
                  <a:pt x="999" y="177"/>
                </a:lnTo>
                <a:lnTo>
                  <a:pt x="999" y="180"/>
                </a:lnTo>
                <a:lnTo>
                  <a:pt x="999" y="180"/>
                </a:lnTo>
                <a:lnTo>
                  <a:pt x="1001" y="182"/>
                </a:lnTo>
                <a:lnTo>
                  <a:pt x="1001" y="182"/>
                </a:lnTo>
                <a:lnTo>
                  <a:pt x="999" y="182"/>
                </a:lnTo>
                <a:lnTo>
                  <a:pt x="999" y="182"/>
                </a:lnTo>
                <a:lnTo>
                  <a:pt x="996" y="187"/>
                </a:lnTo>
                <a:lnTo>
                  <a:pt x="996" y="187"/>
                </a:lnTo>
                <a:lnTo>
                  <a:pt x="994" y="192"/>
                </a:lnTo>
                <a:lnTo>
                  <a:pt x="994" y="192"/>
                </a:lnTo>
                <a:lnTo>
                  <a:pt x="994" y="197"/>
                </a:lnTo>
                <a:lnTo>
                  <a:pt x="994" y="197"/>
                </a:lnTo>
                <a:lnTo>
                  <a:pt x="994" y="199"/>
                </a:lnTo>
                <a:lnTo>
                  <a:pt x="994" y="199"/>
                </a:lnTo>
                <a:lnTo>
                  <a:pt x="994" y="202"/>
                </a:lnTo>
                <a:lnTo>
                  <a:pt x="994" y="202"/>
                </a:lnTo>
                <a:lnTo>
                  <a:pt x="996" y="199"/>
                </a:lnTo>
                <a:lnTo>
                  <a:pt x="996" y="199"/>
                </a:lnTo>
                <a:lnTo>
                  <a:pt x="999" y="194"/>
                </a:lnTo>
                <a:lnTo>
                  <a:pt x="999" y="194"/>
                </a:lnTo>
                <a:lnTo>
                  <a:pt x="1004" y="189"/>
                </a:lnTo>
                <a:lnTo>
                  <a:pt x="1004" y="189"/>
                </a:lnTo>
                <a:lnTo>
                  <a:pt x="1006" y="187"/>
                </a:lnTo>
                <a:lnTo>
                  <a:pt x="1006" y="187"/>
                </a:lnTo>
                <a:lnTo>
                  <a:pt x="1006" y="182"/>
                </a:lnTo>
                <a:lnTo>
                  <a:pt x="1006" y="182"/>
                </a:lnTo>
                <a:lnTo>
                  <a:pt x="1009" y="180"/>
                </a:lnTo>
                <a:lnTo>
                  <a:pt x="1009" y="180"/>
                </a:lnTo>
                <a:lnTo>
                  <a:pt x="1011" y="180"/>
                </a:lnTo>
                <a:lnTo>
                  <a:pt x="1011" y="180"/>
                </a:lnTo>
                <a:lnTo>
                  <a:pt x="1011" y="182"/>
                </a:lnTo>
                <a:lnTo>
                  <a:pt x="1011" y="182"/>
                </a:lnTo>
                <a:lnTo>
                  <a:pt x="1011" y="182"/>
                </a:lnTo>
                <a:lnTo>
                  <a:pt x="1011" y="184"/>
                </a:lnTo>
                <a:lnTo>
                  <a:pt x="1011" y="184"/>
                </a:lnTo>
                <a:lnTo>
                  <a:pt x="1013" y="184"/>
                </a:lnTo>
                <a:lnTo>
                  <a:pt x="1013" y="184"/>
                </a:lnTo>
                <a:lnTo>
                  <a:pt x="1016" y="180"/>
                </a:lnTo>
                <a:lnTo>
                  <a:pt x="1016" y="180"/>
                </a:lnTo>
                <a:lnTo>
                  <a:pt x="1018" y="180"/>
                </a:lnTo>
                <a:lnTo>
                  <a:pt x="1018" y="180"/>
                </a:lnTo>
                <a:lnTo>
                  <a:pt x="1023" y="180"/>
                </a:lnTo>
                <a:lnTo>
                  <a:pt x="1023" y="180"/>
                </a:lnTo>
                <a:lnTo>
                  <a:pt x="1028" y="180"/>
                </a:lnTo>
                <a:lnTo>
                  <a:pt x="1028" y="180"/>
                </a:lnTo>
                <a:lnTo>
                  <a:pt x="1031" y="180"/>
                </a:lnTo>
                <a:lnTo>
                  <a:pt x="1031" y="180"/>
                </a:lnTo>
                <a:lnTo>
                  <a:pt x="1033" y="177"/>
                </a:lnTo>
                <a:lnTo>
                  <a:pt x="1033" y="177"/>
                </a:lnTo>
                <a:lnTo>
                  <a:pt x="1036" y="175"/>
                </a:lnTo>
                <a:lnTo>
                  <a:pt x="1036" y="175"/>
                </a:lnTo>
                <a:lnTo>
                  <a:pt x="1038" y="172"/>
                </a:lnTo>
                <a:lnTo>
                  <a:pt x="1038" y="172"/>
                </a:lnTo>
                <a:lnTo>
                  <a:pt x="1038" y="170"/>
                </a:lnTo>
                <a:lnTo>
                  <a:pt x="1038" y="170"/>
                </a:lnTo>
                <a:lnTo>
                  <a:pt x="1038" y="170"/>
                </a:lnTo>
                <a:lnTo>
                  <a:pt x="1036" y="167"/>
                </a:lnTo>
                <a:lnTo>
                  <a:pt x="1036" y="167"/>
                </a:lnTo>
                <a:lnTo>
                  <a:pt x="1038" y="162"/>
                </a:lnTo>
                <a:lnTo>
                  <a:pt x="1038" y="162"/>
                </a:lnTo>
                <a:lnTo>
                  <a:pt x="1036" y="155"/>
                </a:lnTo>
                <a:lnTo>
                  <a:pt x="1036" y="155"/>
                </a:lnTo>
                <a:lnTo>
                  <a:pt x="1036" y="155"/>
                </a:lnTo>
                <a:lnTo>
                  <a:pt x="1033" y="160"/>
                </a:lnTo>
                <a:lnTo>
                  <a:pt x="1033" y="160"/>
                </a:lnTo>
                <a:lnTo>
                  <a:pt x="1031" y="165"/>
                </a:lnTo>
                <a:lnTo>
                  <a:pt x="1031" y="165"/>
                </a:lnTo>
                <a:lnTo>
                  <a:pt x="1028" y="165"/>
                </a:lnTo>
                <a:lnTo>
                  <a:pt x="1028" y="165"/>
                </a:lnTo>
                <a:lnTo>
                  <a:pt x="1028" y="162"/>
                </a:lnTo>
                <a:lnTo>
                  <a:pt x="1028" y="162"/>
                </a:lnTo>
                <a:lnTo>
                  <a:pt x="1031" y="160"/>
                </a:lnTo>
                <a:lnTo>
                  <a:pt x="1031" y="160"/>
                </a:lnTo>
                <a:lnTo>
                  <a:pt x="1033" y="157"/>
                </a:lnTo>
                <a:lnTo>
                  <a:pt x="1033" y="157"/>
                </a:lnTo>
                <a:lnTo>
                  <a:pt x="1033" y="155"/>
                </a:lnTo>
                <a:lnTo>
                  <a:pt x="1033" y="155"/>
                </a:lnTo>
                <a:lnTo>
                  <a:pt x="1031" y="152"/>
                </a:lnTo>
                <a:lnTo>
                  <a:pt x="1031" y="152"/>
                </a:lnTo>
                <a:lnTo>
                  <a:pt x="1031" y="150"/>
                </a:lnTo>
                <a:lnTo>
                  <a:pt x="1031" y="150"/>
                </a:lnTo>
                <a:lnTo>
                  <a:pt x="1028" y="150"/>
                </a:lnTo>
                <a:lnTo>
                  <a:pt x="1028" y="150"/>
                </a:lnTo>
                <a:lnTo>
                  <a:pt x="1026" y="150"/>
                </a:lnTo>
                <a:lnTo>
                  <a:pt x="1026" y="150"/>
                </a:lnTo>
                <a:lnTo>
                  <a:pt x="1026" y="152"/>
                </a:lnTo>
                <a:lnTo>
                  <a:pt x="1026" y="152"/>
                </a:lnTo>
                <a:lnTo>
                  <a:pt x="1023" y="150"/>
                </a:lnTo>
                <a:lnTo>
                  <a:pt x="1023" y="150"/>
                </a:lnTo>
                <a:lnTo>
                  <a:pt x="1021" y="150"/>
                </a:lnTo>
                <a:lnTo>
                  <a:pt x="1021" y="150"/>
                </a:lnTo>
                <a:lnTo>
                  <a:pt x="1018" y="152"/>
                </a:lnTo>
                <a:lnTo>
                  <a:pt x="1018" y="152"/>
                </a:lnTo>
                <a:lnTo>
                  <a:pt x="1016" y="152"/>
                </a:lnTo>
                <a:lnTo>
                  <a:pt x="1016" y="152"/>
                </a:lnTo>
                <a:lnTo>
                  <a:pt x="1018" y="150"/>
                </a:lnTo>
                <a:lnTo>
                  <a:pt x="1018" y="150"/>
                </a:lnTo>
                <a:lnTo>
                  <a:pt x="1026" y="148"/>
                </a:lnTo>
                <a:lnTo>
                  <a:pt x="1026" y="148"/>
                </a:lnTo>
                <a:lnTo>
                  <a:pt x="1028" y="148"/>
                </a:lnTo>
                <a:lnTo>
                  <a:pt x="1028" y="148"/>
                </a:lnTo>
                <a:lnTo>
                  <a:pt x="1033" y="143"/>
                </a:lnTo>
                <a:lnTo>
                  <a:pt x="1033" y="143"/>
                </a:lnTo>
                <a:lnTo>
                  <a:pt x="1036" y="140"/>
                </a:lnTo>
                <a:lnTo>
                  <a:pt x="1036" y="140"/>
                </a:lnTo>
                <a:lnTo>
                  <a:pt x="1038" y="135"/>
                </a:lnTo>
                <a:lnTo>
                  <a:pt x="1038" y="135"/>
                </a:lnTo>
                <a:lnTo>
                  <a:pt x="1041" y="130"/>
                </a:lnTo>
                <a:lnTo>
                  <a:pt x="1041" y="130"/>
                </a:lnTo>
                <a:lnTo>
                  <a:pt x="1038" y="128"/>
                </a:lnTo>
                <a:lnTo>
                  <a:pt x="1038" y="128"/>
                </a:lnTo>
                <a:lnTo>
                  <a:pt x="1036" y="128"/>
                </a:lnTo>
                <a:lnTo>
                  <a:pt x="1036" y="128"/>
                </a:lnTo>
                <a:lnTo>
                  <a:pt x="1036" y="130"/>
                </a:lnTo>
                <a:lnTo>
                  <a:pt x="1036" y="130"/>
                </a:lnTo>
                <a:lnTo>
                  <a:pt x="1033" y="128"/>
                </a:lnTo>
                <a:lnTo>
                  <a:pt x="1033" y="128"/>
                </a:lnTo>
                <a:lnTo>
                  <a:pt x="1036" y="128"/>
                </a:lnTo>
                <a:lnTo>
                  <a:pt x="1036" y="128"/>
                </a:lnTo>
                <a:lnTo>
                  <a:pt x="1036" y="125"/>
                </a:lnTo>
                <a:lnTo>
                  <a:pt x="1036" y="125"/>
                </a:lnTo>
                <a:lnTo>
                  <a:pt x="1038" y="125"/>
                </a:lnTo>
                <a:lnTo>
                  <a:pt x="1038" y="125"/>
                </a:lnTo>
                <a:lnTo>
                  <a:pt x="1041" y="123"/>
                </a:lnTo>
                <a:lnTo>
                  <a:pt x="1041" y="123"/>
                </a:lnTo>
                <a:lnTo>
                  <a:pt x="1041" y="121"/>
                </a:lnTo>
                <a:lnTo>
                  <a:pt x="1041" y="121"/>
                </a:lnTo>
                <a:lnTo>
                  <a:pt x="1043" y="118"/>
                </a:lnTo>
                <a:lnTo>
                  <a:pt x="1043" y="118"/>
                </a:lnTo>
                <a:lnTo>
                  <a:pt x="1043" y="113"/>
                </a:lnTo>
                <a:lnTo>
                  <a:pt x="1043" y="113"/>
                </a:lnTo>
                <a:lnTo>
                  <a:pt x="1043" y="113"/>
                </a:lnTo>
                <a:lnTo>
                  <a:pt x="1043" y="111"/>
                </a:lnTo>
                <a:lnTo>
                  <a:pt x="1043" y="111"/>
                </a:lnTo>
                <a:lnTo>
                  <a:pt x="1038" y="111"/>
                </a:lnTo>
                <a:lnTo>
                  <a:pt x="1038" y="111"/>
                </a:lnTo>
                <a:lnTo>
                  <a:pt x="1036" y="111"/>
                </a:lnTo>
                <a:lnTo>
                  <a:pt x="1036" y="111"/>
                </a:lnTo>
                <a:lnTo>
                  <a:pt x="1033" y="118"/>
                </a:lnTo>
                <a:lnTo>
                  <a:pt x="1033" y="118"/>
                </a:lnTo>
                <a:lnTo>
                  <a:pt x="1033" y="121"/>
                </a:lnTo>
                <a:lnTo>
                  <a:pt x="1033" y="121"/>
                </a:lnTo>
                <a:lnTo>
                  <a:pt x="1033" y="123"/>
                </a:lnTo>
                <a:lnTo>
                  <a:pt x="1033" y="123"/>
                </a:lnTo>
                <a:lnTo>
                  <a:pt x="1033" y="125"/>
                </a:lnTo>
                <a:lnTo>
                  <a:pt x="1033" y="125"/>
                </a:lnTo>
                <a:lnTo>
                  <a:pt x="1031" y="128"/>
                </a:lnTo>
                <a:lnTo>
                  <a:pt x="1031" y="128"/>
                </a:lnTo>
                <a:lnTo>
                  <a:pt x="1031" y="125"/>
                </a:lnTo>
                <a:lnTo>
                  <a:pt x="1031" y="125"/>
                </a:lnTo>
                <a:lnTo>
                  <a:pt x="1031" y="125"/>
                </a:lnTo>
                <a:lnTo>
                  <a:pt x="1028" y="123"/>
                </a:lnTo>
                <a:lnTo>
                  <a:pt x="1028" y="123"/>
                </a:lnTo>
                <a:lnTo>
                  <a:pt x="1028" y="121"/>
                </a:lnTo>
                <a:lnTo>
                  <a:pt x="1028" y="121"/>
                </a:lnTo>
                <a:lnTo>
                  <a:pt x="1031" y="116"/>
                </a:lnTo>
                <a:lnTo>
                  <a:pt x="1031" y="116"/>
                </a:lnTo>
                <a:lnTo>
                  <a:pt x="1031" y="113"/>
                </a:lnTo>
                <a:lnTo>
                  <a:pt x="1031" y="113"/>
                </a:lnTo>
                <a:lnTo>
                  <a:pt x="1031" y="111"/>
                </a:lnTo>
                <a:lnTo>
                  <a:pt x="1031" y="111"/>
                </a:lnTo>
                <a:lnTo>
                  <a:pt x="1033" y="111"/>
                </a:lnTo>
                <a:lnTo>
                  <a:pt x="1033" y="111"/>
                </a:lnTo>
                <a:lnTo>
                  <a:pt x="1033" y="111"/>
                </a:lnTo>
                <a:lnTo>
                  <a:pt x="1033" y="106"/>
                </a:lnTo>
                <a:lnTo>
                  <a:pt x="1033" y="106"/>
                </a:lnTo>
                <a:lnTo>
                  <a:pt x="1031" y="103"/>
                </a:lnTo>
                <a:lnTo>
                  <a:pt x="1031" y="103"/>
                </a:lnTo>
                <a:lnTo>
                  <a:pt x="1028" y="103"/>
                </a:lnTo>
                <a:lnTo>
                  <a:pt x="1028" y="103"/>
                </a:lnTo>
                <a:lnTo>
                  <a:pt x="1026" y="106"/>
                </a:lnTo>
                <a:lnTo>
                  <a:pt x="1026" y="106"/>
                </a:lnTo>
                <a:lnTo>
                  <a:pt x="1023" y="108"/>
                </a:lnTo>
                <a:lnTo>
                  <a:pt x="1023" y="108"/>
                </a:lnTo>
                <a:lnTo>
                  <a:pt x="1023" y="106"/>
                </a:lnTo>
                <a:lnTo>
                  <a:pt x="1023" y="106"/>
                </a:lnTo>
                <a:lnTo>
                  <a:pt x="1023" y="106"/>
                </a:lnTo>
                <a:lnTo>
                  <a:pt x="1023" y="101"/>
                </a:lnTo>
                <a:lnTo>
                  <a:pt x="1023" y="101"/>
                </a:lnTo>
                <a:lnTo>
                  <a:pt x="1021" y="96"/>
                </a:lnTo>
                <a:lnTo>
                  <a:pt x="1021" y="96"/>
                </a:lnTo>
                <a:lnTo>
                  <a:pt x="1021" y="89"/>
                </a:lnTo>
                <a:lnTo>
                  <a:pt x="1021" y="89"/>
                </a:lnTo>
                <a:lnTo>
                  <a:pt x="1021" y="84"/>
                </a:lnTo>
                <a:lnTo>
                  <a:pt x="1021" y="84"/>
                </a:lnTo>
                <a:lnTo>
                  <a:pt x="1023" y="81"/>
                </a:lnTo>
                <a:lnTo>
                  <a:pt x="1023" y="81"/>
                </a:lnTo>
                <a:lnTo>
                  <a:pt x="1023" y="76"/>
                </a:lnTo>
                <a:lnTo>
                  <a:pt x="1023" y="76"/>
                </a:lnTo>
                <a:lnTo>
                  <a:pt x="1023" y="71"/>
                </a:lnTo>
                <a:lnTo>
                  <a:pt x="1023" y="71"/>
                </a:lnTo>
                <a:lnTo>
                  <a:pt x="1026" y="66"/>
                </a:lnTo>
                <a:lnTo>
                  <a:pt x="1026" y="66"/>
                </a:lnTo>
                <a:lnTo>
                  <a:pt x="1026" y="64"/>
                </a:lnTo>
                <a:lnTo>
                  <a:pt x="1026" y="64"/>
                </a:lnTo>
                <a:lnTo>
                  <a:pt x="1023" y="59"/>
                </a:lnTo>
                <a:lnTo>
                  <a:pt x="1023" y="59"/>
                </a:lnTo>
                <a:lnTo>
                  <a:pt x="1023" y="57"/>
                </a:lnTo>
                <a:lnTo>
                  <a:pt x="1023" y="57"/>
                </a:lnTo>
                <a:lnTo>
                  <a:pt x="1018" y="54"/>
                </a:lnTo>
                <a:lnTo>
                  <a:pt x="1018" y="54"/>
                </a:lnTo>
                <a:lnTo>
                  <a:pt x="1016" y="52"/>
                </a:lnTo>
                <a:lnTo>
                  <a:pt x="1016" y="52"/>
                </a:lnTo>
                <a:lnTo>
                  <a:pt x="1013" y="49"/>
                </a:lnTo>
                <a:lnTo>
                  <a:pt x="1013" y="49"/>
                </a:lnTo>
                <a:lnTo>
                  <a:pt x="1011" y="49"/>
                </a:lnTo>
                <a:lnTo>
                  <a:pt x="1011" y="49"/>
                </a:lnTo>
                <a:lnTo>
                  <a:pt x="1011" y="52"/>
                </a:lnTo>
                <a:lnTo>
                  <a:pt x="1011" y="52"/>
                </a:lnTo>
                <a:lnTo>
                  <a:pt x="1011" y="52"/>
                </a:lnTo>
                <a:lnTo>
                  <a:pt x="1006" y="49"/>
                </a:lnTo>
                <a:lnTo>
                  <a:pt x="1006" y="49"/>
                </a:lnTo>
                <a:lnTo>
                  <a:pt x="1004" y="49"/>
                </a:lnTo>
                <a:lnTo>
                  <a:pt x="1004" y="49"/>
                </a:lnTo>
                <a:lnTo>
                  <a:pt x="1004" y="52"/>
                </a:lnTo>
                <a:lnTo>
                  <a:pt x="1004" y="52"/>
                </a:lnTo>
                <a:lnTo>
                  <a:pt x="1001" y="57"/>
                </a:lnTo>
                <a:lnTo>
                  <a:pt x="1001" y="57"/>
                </a:lnTo>
                <a:lnTo>
                  <a:pt x="1004" y="59"/>
                </a:lnTo>
                <a:lnTo>
                  <a:pt x="1004" y="59"/>
                </a:lnTo>
                <a:lnTo>
                  <a:pt x="1006" y="59"/>
                </a:lnTo>
                <a:lnTo>
                  <a:pt x="1006" y="59"/>
                </a:lnTo>
                <a:lnTo>
                  <a:pt x="1009" y="57"/>
                </a:lnTo>
                <a:lnTo>
                  <a:pt x="1009" y="57"/>
                </a:lnTo>
                <a:lnTo>
                  <a:pt x="1011" y="59"/>
                </a:lnTo>
                <a:lnTo>
                  <a:pt x="1011" y="59"/>
                </a:lnTo>
                <a:lnTo>
                  <a:pt x="1013" y="61"/>
                </a:lnTo>
                <a:lnTo>
                  <a:pt x="1013" y="61"/>
                </a:lnTo>
                <a:lnTo>
                  <a:pt x="1016" y="61"/>
                </a:lnTo>
                <a:lnTo>
                  <a:pt x="1016" y="61"/>
                </a:lnTo>
                <a:lnTo>
                  <a:pt x="1016" y="64"/>
                </a:lnTo>
                <a:lnTo>
                  <a:pt x="1016" y="64"/>
                </a:lnTo>
                <a:lnTo>
                  <a:pt x="1011" y="69"/>
                </a:lnTo>
                <a:lnTo>
                  <a:pt x="1011" y="69"/>
                </a:lnTo>
                <a:lnTo>
                  <a:pt x="1009" y="69"/>
                </a:lnTo>
                <a:lnTo>
                  <a:pt x="1009" y="69"/>
                </a:lnTo>
                <a:lnTo>
                  <a:pt x="1006" y="66"/>
                </a:lnTo>
                <a:lnTo>
                  <a:pt x="1006" y="66"/>
                </a:lnTo>
                <a:lnTo>
                  <a:pt x="1004" y="66"/>
                </a:lnTo>
                <a:lnTo>
                  <a:pt x="1004" y="66"/>
                </a:lnTo>
                <a:lnTo>
                  <a:pt x="999" y="66"/>
                </a:lnTo>
                <a:lnTo>
                  <a:pt x="999" y="66"/>
                </a:lnTo>
                <a:lnTo>
                  <a:pt x="1001" y="69"/>
                </a:lnTo>
                <a:lnTo>
                  <a:pt x="1001" y="69"/>
                </a:lnTo>
                <a:lnTo>
                  <a:pt x="1004" y="69"/>
                </a:lnTo>
                <a:lnTo>
                  <a:pt x="1004" y="69"/>
                </a:lnTo>
                <a:lnTo>
                  <a:pt x="1001" y="71"/>
                </a:lnTo>
                <a:lnTo>
                  <a:pt x="1001" y="71"/>
                </a:lnTo>
                <a:lnTo>
                  <a:pt x="999" y="71"/>
                </a:lnTo>
                <a:lnTo>
                  <a:pt x="999" y="71"/>
                </a:lnTo>
                <a:lnTo>
                  <a:pt x="994" y="69"/>
                </a:lnTo>
                <a:lnTo>
                  <a:pt x="994" y="69"/>
                </a:lnTo>
                <a:lnTo>
                  <a:pt x="989" y="71"/>
                </a:lnTo>
                <a:lnTo>
                  <a:pt x="989" y="71"/>
                </a:lnTo>
                <a:lnTo>
                  <a:pt x="989" y="74"/>
                </a:lnTo>
                <a:lnTo>
                  <a:pt x="989" y="74"/>
                </a:lnTo>
                <a:lnTo>
                  <a:pt x="986" y="76"/>
                </a:lnTo>
                <a:lnTo>
                  <a:pt x="986" y="76"/>
                </a:lnTo>
                <a:lnTo>
                  <a:pt x="986" y="79"/>
                </a:lnTo>
                <a:lnTo>
                  <a:pt x="986" y="79"/>
                </a:lnTo>
                <a:lnTo>
                  <a:pt x="989" y="79"/>
                </a:lnTo>
                <a:lnTo>
                  <a:pt x="989" y="79"/>
                </a:lnTo>
                <a:lnTo>
                  <a:pt x="989" y="84"/>
                </a:lnTo>
                <a:lnTo>
                  <a:pt x="989" y="84"/>
                </a:lnTo>
                <a:lnTo>
                  <a:pt x="994" y="84"/>
                </a:lnTo>
                <a:lnTo>
                  <a:pt x="994" y="84"/>
                </a:lnTo>
                <a:lnTo>
                  <a:pt x="994" y="86"/>
                </a:lnTo>
                <a:lnTo>
                  <a:pt x="994" y="86"/>
                </a:lnTo>
                <a:lnTo>
                  <a:pt x="991" y="86"/>
                </a:lnTo>
                <a:lnTo>
                  <a:pt x="991" y="86"/>
                </a:lnTo>
                <a:lnTo>
                  <a:pt x="991" y="89"/>
                </a:lnTo>
                <a:lnTo>
                  <a:pt x="991" y="89"/>
                </a:lnTo>
                <a:lnTo>
                  <a:pt x="991" y="91"/>
                </a:lnTo>
                <a:lnTo>
                  <a:pt x="991" y="91"/>
                </a:lnTo>
                <a:lnTo>
                  <a:pt x="991" y="91"/>
                </a:lnTo>
                <a:lnTo>
                  <a:pt x="989" y="91"/>
                </a:lnTo>
                <a:lnTo>
                  <a:pt x="989" y="91"/>
                </a:lnTo>
                <a:lnTo>
                  <a:pt x="989" y="91"/>
                </a:lnTo>
                <a:lnTo>
                  <a:pt x="984" y="91"/>
                </a:lnTo>
                <a:lnTo>
                  <a:pt x="984" y="91"/>
                </a:lnTo>
                <a:lnTo>
                  <a:pt x="981" y="89"/>
                </a:lnTo>
                <a:lnTo>
                  <a:pt x="981" y="89"/>
                </a:lnTo>
                <a:lnTo>
                  <a:pt x="979" y="86"/>
                </a:lnTo>
                <a:lnTo>
                  <a:pt x="979" y="86"/>
                </a:lnTo>
                <a:lnTo>
                  <a:pt x="977" y="89"/>
                </a:lnTo>
                <a:lnTo>
                  <a:pt x="977" y="89"/>
                </a:lnTo>
                <a:lnTo>
                  <a:pt x="977" y="91"/>
                </a:lnTo>
                <a:lnTo>
                  <a:pt x="977" y="91"/>
                </a:lnTo>
                <a:lnTo>
                  <a:pt x="979" y="93"/>
                </a:lnTo>
                <a:lnTo>
                  <a:pt x="979" y="93"/>
                </a:lnTo>
                <a:lnTo>
                  <a:pt x="977" y="96"/>
                </a:lnTo>
                <a:lnTo>
                  <a:pt x="977" y="96"/>
                </a:lnTo>
                <a:lnTo>
                  <a:pt x="974" y="96"/>
                </a:lnTo>
                <a:lnTo>
                  <a:pt x="974" y="96"/>
                </a:lnTo>
                <a:lnTo>
                  <a:pt x="974" y="93"/>
                </a:lnTo>
                <a:lnTo>
                  <a:pt x="974" y="93"/>
                </a:lnTo>
                <a:lnTo>
                  <a:pt x="974" y="91"/>
                </a:lnTo>
                <a:lnTo>
                  <a:pt x="974" y="91"/>
                </a:lnTo>
                <a:lnTo>
                  <a:pt x="969" y="91"/>
                </a:lnTo>
                <a:lnTo>
                  <a:pt x="969" y="91"/>
                </a:lnTo>
                <a:lnTo>
                  <a:pt x="969" y="91"/>
                </a:lnTo>
                <a:lnTo>
                  <a:pt x="967" y="89"/>
                </a:lnTo>
                <a:lnTo>
                  <a:pt x="967" y="89"/>
                </a:lnTo>
                <a:lnTo>
                  <a:pt x="964" y="89"/>
                </a:lnTo>
                <a:lnTo>
                  <a:pt x="964" y="89"/>
                </a:lnTo>
                <a:lnTo>
                  <a:pt x="964" y="91"/>
                </a:lnTo>
                <a:lnTo>
                  <a:pt x="964" y="91"/>
                </a:lnTo>
                <a:lnTo>
                  <a:pt x="964" y="93"/>
                </a:lnTo>
                <a:lnTo>
                  <a:pt x="964" y="93"/>
                </a:lnTo>
                <a:lnTo>
                  <a:pt x="964" y="98"/>
                </a:lnTo>
                <a:lnTo>
                  <a:pt x="964" y="98"/>
                </a:lnTo>
                <a:lnTo>
                  <a:pt x="967" y="101"/>
                </a:lnTo>
                <a:lnTo>
                  <a:pt x="967" y="101"/>
                </a:lnTo>
                <a:lnTo>
                  <a:pt x="969" y="103"/>
                </a:lnTo>
                <a:lnTo>
                  <a:pt x="969" y="103"/>
                </a:lnTo>
                <a:lnTo>
                  <a:pt x="972" y="103"/>
                </a:lnTo>
                <a:lnTo>
                  <a:pt x="972" y="103"/>
                </a:lnTo>
                <a:lnTo>
                  <a:pt x="974" y="106"/>
                </a:lnTo>
                <a:lnTo>
                  <a:pt x="974" y="106"/>
                </a:lnTo>
                <a:lnTo>
                  <a:pt x="972" y="106"/>
                </a:lnTo>
                <a:lnTo>
                  <a:pt x="972" y="106"/>
                </a:lnTo>
                <a:lnTo>
                  <a:pt x="969" y="106"/>
                </a:lnTo>
                <a:lnTo>
                  <a:pt x="969" y="106"/>
                </a:lnTo>
                <a:lnTo>
                  <a:pt x="972" y="108"/>
                </a:lnTo>
                <a:lnTo>
                  <a:pt x="972" y="108"/>
                </a:lnTo>
                <a:lnTo>
                  <a:pt x="974" y="111"/>
                </a:lnTo>
                <a:lnTo>
                  <a:pt x="974" y="111"/>
                </a:lnTo>
                <a:lnTo>
                  <a:pt x="977" y="113"/>
                </a:lnTo>
                <a:lnTo>
                  <a:pt x="977" y="113"/>
                </a:lnTo>
                <a:lnTo>
                  <a:pt x="981" y="113"/>
                </a:lnTo>
                <a:lnTo>
                  <a:pt x="981" y="113"/>
                </a:lnTo>
                <a:lnTo>
                  <a:pt x="981" y="111"/>
                </a:lnTo>
                <a:lnTo>
                  <a:pt x="981" y="111"/>
                </a:lnTo>
                <a:lnTo>
                  <a:pt x="984" y="111"/>
                </a:lnTo>
                <a:lnTo>
                  <a:pt x="984" y="111"/>
                </a:lnTo>
                <a:lnTo>
                  <a:pt x="984" y="113"/>
                </a:lnTo>
                <a:lnTo>
                  <a:pt x="984" y="113"/>
                </a:lnTo>
                <a:lnTo>
                  <a:pt x="981" y="113"/>
                </a:lnTo>
                <a:lnTo>
                  <a:pt x="981" y="113"/>
                </a:lnTo>
                <a:lnTo>
                  <a:pt x="981" y="118"/>
                </a:lnTo>
                <a:lnTo>
                  <a:pt x="981" y="118"/>
                </a:lnTo>
                <a:lnTo>
                  <a:pt x="979" y="118"/>
                </a:lnTo>
                <a:lnTo>
                  <a:pt x="979" y="118"/>
                </a:lnTo>
                <a:lnTo>
                  <a:pt x="974" y="116"/>
                </a:lnTo>
                <a:lnTo>
                  <a:pt x="974" y="116"/>
                </a:lnTo>
                <a:lnTo>
                  <a:pt x="967" y="113"/>
                </a:lnTo>
                <a:lnTo>
                  <a:pt x="967" y="113"/>
                </a:lnTo>
                <a:lnTo>
                  <a:pt x="964" y="111"/>
                </a:lnTo>
                <a:lnTo>
                  <a:pt x="964" y="111"/>
                </a:lnTo>
                <a:lnTo>
                  <a:pt x="962" y="108"/>
                </a:lnTo>
                <a:lnTo>
                  <a:pt x="962" y="108"/>
                </a:lnTo>
                <a:lnTo>
                  <a:pt x="959" y="108"/>
                </a:lnTo>
                <a:lnTo>
                  <a:pt x="959" y="108"/>
                </a:lnTo>
                <a:lnTo>
                  <a:pt x="959" y="108"/>
                </a:lnTo>
                <a:lnTo>
                  <a:pt x="957" y="111"/>
                </a:lnTo>
                <a:lnTo>
                  <a:pt x="957" y="111"/>
                </a:lnTo>
                <a:lnTo>
                  <a:pt x="957" y="113"/>
                </a:lnTo>
                <a:lnTo>
                  <a:pt x="957" y="113"/>
                </a:lnTo>
                <a:lnTo>
                  <a:pt x="957" y="113"/>
                </a:lnTo>
                <a:lnTo>
                  <a:pt x="957" y="118"/>
                </a:lnTo>
                <a:lnTo>
                  <a:pt x="957" y="118"/>
                </a:lnTo>
                <a:lnTo>
                  <a:pt x="954" y="121"/>
                </a:lnTo>
                <a:lnTo>
                  <a:pt x="954" y="121"/>
                </a:lnTo>
                <a:lnTo>
                  <a:pt x="954" y="118"/>
                </a:lnTo>
                <a:lnTo>
                  <a:pt x="954" y="118"/>
                </a:lnTo>
                <a:lnTo>
                  <a:pt x="954" y="123"/>
                </a:lnTo>
                <a:lnTo>
                  <a:pt x="954" y="123"/>
                </a:lnTo>
                <a:lnTo>
                  <a:pt x="952" y="123"/>
                </a:lnTo>
                <a:lnTo>
                  <a:pt x="952" y="123"/>
                </a:lnTo>
                <a:lnTo>
                  <a:pt x="952" y="130"/>
                </a:lnTo>
                <a:lnTo>
                  <a:pt x="952" y="130"/>
                </a:lnTo>
                <a:lnTo>
                  <a:pt x="954" y="133"/>
                </a:lnTo>
                <a:lnTo>
                  <a:pt x="954" y="133"/>
                </a:lnTo>
                <a:lnTo>
                  <a:pt x="959" y="133"/>
                </a:lnTo>
                <a:lnTo>
                  <a:pt x="959" y="133"/>
                </a:lnTo>
                <a:lnTo>
                  <a:pt x="962" y="135"/>
                </a:lnTo>
                <a:lnTo>
                  <a:pt x="962" y="135"/>
                </a:lnTo>
                <a:lnTo>
                  <a:pt x="964" y="133"/>
                </a:lnTo>
                <a:lnTo>
                  <a:pt x="964" y="133"/>
                </a:lnTo>
                <a:lnTo>
                  <a:pt x="964" y="135"/>
                </a:lnTo>
                <a:lnTo>
                  <a:pt x="964" y="135"/>
                </a:lnTo>
                <a:lnTo>
                  <a:pt x="962" y="135"/>
                </a:lnTo>
                <a:lnTo>
                  <a:pt x="962" y="135"/>
                </a:lnTo>
                <a:lnTo>
                  <a:pt x="959" y="135"/>
                </a:lnTo>
                <a:lnTo>
                  <a:pt x="959" y="135"/>
                </a:lnTo>
                <a:lnTo>
                  <a:pt x="954" y="135"/>
                </a:lnTo>
                <a:lnTo>
                  <a:pt x="954" y="135"/>
                </a:lnTo>
                <a:lnTo>
                  <a:pt x="952" y="133"/>
                </a:lnTo>
                <a:lnTo>
                  <a:pt x="952" y="133"/>
                </a:lnTo>
                <a:lnTo>
                  <a:pt x="949" y="135"/>
                </a:lnTo>
                <a:lnTo>
                  <a:pt x="949" y="135"/>
                </a:lnTo>
                <a:lnTo>
                  <a:pt x="945" y="140"/>
                </a:lnTo>
                <a:lnTo>
                  <a:pt x="945" y="140"/>
                </a:lnTo>
                <a:lnTo>
                  <a:pt x="945" y="143"/>
                </a:lnTo>
                <a:lnTo>
                  <a:pt x="945" y="143"/>
                </a:lnTo>
                <a:lnTo>
                  <a:pt x="947" y="145"/>
                </a:lnTo>
                <a:lnTo>
                  <a:pt x="947" y="145"/>
                </a:lnTo>
                <a:lnTo>
                  <a:pt x="947" y="145"/>
                </a:lnTo>
                <a:lnTo>
                  <a:pt x="945" y="148"/>
                </a:lnTo>
                <a:lnTo>
                  <a:pt x="945" y="148"/>
                </a:lnTo>
                <a:lnTo>
                  <a:pt x="945" y="150"/>
                </a:lnTo>
                <a:lnTo>
                  <a:pt x="945" y="150"/>
                </a:lnTo>
                <a:lnTo>
                  <a:pt x="947" y="150"/>
                </a:lnTo>
                <a:lnTo>
                  <a:pt x="947" y="150"/>
                </a:lnTo>
                <a:lnTo>
                  <a:pt x="947" y="150"/>
                </a:lnTo>
                <a:lnTo>
                  <a:pt x="952" y="150"/>
                </a:lnTo>
                <a:lnTo>
                  <a:pt x="952" y="150"/>
                </a:lnTo>
                <a:lnTo>
                  <a:pt x="954" y="148"/>
                </a:lnTo>
                <a:lnTo>
                  <a:pt x="954" y="148"/>
                </a:lnTo>
                <a:lnTo>
                  <a:pt x="957" y="148"/>
                </a:lnTo>
                <a:lnTo>
                  <a:pt x="957" y="148"/>
                </a:lnTo>
                <a:lnTo>
                  <a:pt x="954" y="150"/>
                </a:lnTo>
                <a:lnTo>
                  <a:pt x="954" y="150"/>
                </a:lnTo>
                <a:lnTo>
                  <a:pt x="952" y="150"/>
                </a:lnTo>
                <a:lnTo>
                  <a:pt x="952" y="150"/>
                </a:lnTo>
                <a:lnTo>
                  <a:pt x="952" y="155"/>
                </a:lnTo>
                <a:lnTo>
                  <a:pt x="952" y="155"/>
                </a:lnTo>
                <a:lnTo>
                  <a:pt x="952" y="155"/>
                </a:lnTo>
                <a:lnTo>
                  <a:pt x="954" y="155"/>
                </a:lnTo>
                <a:lnTo>
                  <a:pt x="954" y="155"/>
                </a:lnTo>
                <a:lnTo>
                  <a:pt x="957" y="152"/>
                </a:lnTo>
                <a:lnTo>
                  <a:pt x="957" y="152"/>
                </a:lnTo>
                <a:lnTo>
                  <a:pt x="959" y="152"/>
                </a:lnTo>
                <a:lnTo>
                  <a:pt x="959" y="152"/>
                </a:lnTo>
                <a:lnTo>
                  <a:pt x="962" y="150"/>
                </a:lnTo>
                <a:lnTo>
                  <a:pt x="962" y="150"/>
                </a:lnTo>
                <a:lnTo>
                  <a:pt x="962" y="152"/>
                </a:lnTo>
                <a:lnTo>
                  <a:pt x="962" y="152"/>
                </a:lnTo>
                <a:lnTo>
                  <a:pt x="959" y="155"/>
                </a:lnTo>
                <a:lnTo>
                  <a:pt x="959" y="155"/>
                </a:lnTo>
                <a:lnTo>
                  <a:pt x="962" y="155"/>
                </a:lnTo>
                <a:lnTo>
                  <a:pt x="962" y="155"/>
                </a:lnTo>
                <a:lnTo>
                  <a:pt x="967" y="155"/>
                </a:lnTo>
                <a:lnTo>
                  <a:pt x="967" y="155"/>
                </a:lnTo>
                <a:lnTo>
                  <a:pt x="967" y="157"/>
                </a:lnTo>
                <a:lnTo>
                  <a:pt x="967" y="157"/>
                </a:lnTo>
                <a:lnTo>
                  <a:pt x="964" y="157"/>
                </a:lnTo>
                <a:lnTo>
                  <a:pt x="964" y="157"/>
                </a:lnTo>
                <a:lnTo>
                  <a:pt x="964" y="160"/>
                </a:lnTo>
                <a:lnTo>
                  <a:pt x="964" y="160"/>
                </a:lnTo>
                <a:lnTo>
                  <a:pt x="967" y="160"/>
                </a:lnTo>
                <a:lnTo>
                  <a:pt x="967" y="160"/>
                </a:lnTo>
                <a:lnTo>
                  <a:pt x="972" y="160"/>
                </a:lnTo>
                <a:lnTo>
                  <a:pt x="972" y="160"/>
                </a:lnTo>
                <a:lnTo>
                  <a:pt x="974" y="162"/>
                </a:lnTo>
                <a:lnTo>
                  <a:pt x="974" y="162"/>
                </a:lnTo>
                <a:lnTo>
                  <a:pt x="981" y="165"/>
                </a:lnTo>
                <a:lnTo>
                  <a:pt x="981" y="165"/>
                </a:lnTo>
                <a:lnTo>
                  <a:pt x="981" y="165"/>
                </a:lnTo>
                <a:lnTo>
                  <a:pt x="977" y="165"/>
                </a:lnTo>
                <a:lnTo>
                  <a:pt x="977" y="165"/>
                </a:lnTo>
                <a:lnTo>
                  <a:pt x="974" y="165"/>
                </a:lnTo>
                <a:lnTo>
                  <a:pt x="974" y="165"/>
                </a:lnTo>
                <a:lnTo>
                  <a:pt x="969" y="162"/>
                </a:lnTo>
                <a:lnTo>
                  <a:pt x="969" y="162"/>
                </a:lnTo>
                <a:lnTo>
                  <a:pt x="964" y="165"/>
                </a:lnTo>
                <a:lnTo>
                  <a:pt x="964" y="165"/>
                </a:lnTo>
                <a:lnTo>
                  <a:pt x="964" y="165"/>
                </a:lnTo>
                <a:lnTo>
                  <a:pt x="969" y="167"/>
                </a:lnTo>
                <a:lnTo>
                  <a:pt x="969" y="167"/>
                </a:lnTo>
                <a:lnTo>
                  <a:pt x="974" y="167"/>
                </a:lnTo>
                <a:lnTo>
                  <a:pt x="974" y="167"/>
                </a:lnTo>
                <a:lnTo>
                  <a:pt x="981" y="167"/>
                </a:lnTo>
                <a:lnTo>
                  <a:pt x="981" y="167"/>
                </a:lnTo>
                <a:lnTo>
                  <a:pt x="984" y="170"/>
                </a:lnTo>
                <a:lnTo>
                  <a:pt x="984" y="170"/>
                </a:lnTo>
                <a:lnTo>
                  <a:pt x="977" y="172"/>
                </a:lnTo>
                <a:lnTo>
                  <a:pt x="977" y="172"/>
                </a:lnTo>
                <a:lnTo>
                  <a:pt x="974" y="170"/>
                </a:lnTo>
                <a:lnTo>
                  <a:pt x="974" y="170"/>
                </a:lnTo>
                <a:lnTo>
                  <a:pt x="969" y="170"/>
                </a:lnTo>
                <a:lnTo>
                  <a:pt x="969" y="170"/>
                </a:lnTo>
                <a:lnTo>
                  <a:pt x="964" y="170"/>
                </a:lnTo>
                <a:lnTo>
                  <a:pt x="964" y="170"/>
                </a:lnTo>
                <a:lnTo>
                  <a:pt x="962" y="167"/>
                </a:lnTo>
                <a:lnTo>
                  <a:pt x="962" y="167"/>
                </a:lnTo>
                <a:lnTo>
                  <a:pt x="959" y="165"/>
                </a:lnTo>
                <a:lnTo>
                  <a:pt x="959" y="165"/>
                </a:lnTo>
                <a:lnTo>
                  <a:pt x="954" y="162"/>
                </a:lnTo>
                <a:lnTo>
                  <a:pt x="954" y="162"/>
                </a:lnTo>
                <a:lnTo>
                  <a:pt x="954" y="162"/>
                </a:lnTo>
                <a:lnTo>
                  <a:pt x="952" y="165"/>
                </a:lnTo>
                <a:lnTo>
                  <a:pt x="952" y="165"/>
                </a:lnTo>
                <a:lnTo>
                  <a:pt x="947" y="165"/>
                </a:lnTo>
                <a:lnTo>
                  <a:pt x="947" y="165"/>
                </a:lnTo>
                <a:lnTo>
                  <a:pt x="945" y="167"/>
                </a:lnTo>
                <a:lnTo>
                  <a:pt x="945" y="167"/>
                </a:lnTo>
                <a:lnTo>
                  <a:pt x="945" y="172"/>
                </a:lnTo>
                <a:lnTo>
                  <a:pt x="945" y="172"/>
                </a:lnTo>
                <a:lnTo>
                  <a:pt x="947" y="177"/>
                </a:lnTo>
                <a:lnTo>
                  <a:pt x="947" y="177"/>
                </a:lnTo>
                <a:lnTo>
                  <a:pt x="947" y="180"/>
                </a:lnTo>
                <a:lnTo>
                  <a:pt x="947" y="180"/>
                </a:lnTo>
                <a:lnTo>
                  <a:pt x="947" y="182"/>
                </a:lnTo>
                <a:lnTo>
                  <a:pt x="947" y="182"/>
                </a:lnTo>
                <a:lnTo>
                  <a:pt x="945" y="177"/>
                </a:lnTo>
                <a:lnTo>
                  <a:pt x="945" y="177"/>
                </a:lnTo>
                <a:lnTo>
                  <a:pt x="942" y="177"/>
                </a:lnTo>
                <a:lnTo>
                  <a:pt x="942" y="177"/>
                </a:lnTo>
                <a:lnTo>
                  <a:pt x="940" y="182"/>
                </a:lnTo>
                <a:lnTo>
                  <a:pt x="940" y="182"/>
                </a:lnTo>
                <a:lnTo>
                  <a:pt x="940" y="187"/>
                </a:lnTo>
                <a:lnTo>
                  <a:pt x="940" y="187"/>
                </a:lnTo>
                <a:lnTo>
                  <a:pt x="942" y="187"/>
                </a:lnTo>
                <a:lnTo>
                  <a:pt x="942" y="187"/>
                </a:lnTo>
                <a:lnTo>
                  <a:pt x="945" y="187"/>
                </a:lnTo>
                <a:lnTo>
                  <a:pt x="945" y="187"/>
                </a:lnTo>
                <a:lnTo>
                  <a:pt x="947" y="187"/>
                </a:lnTo>
                <a:lnTo>
                  <a:pt x="947" y="187"/>
                </a:lnTo>
                <a:lnTo>
                  <a:pt x="947" y="189"/>
                </a:lnTo>
                <a:lnTo>
                  <a:pt x="947" y="189"/>
                </a:lnTo>
                <a:lnTo>
                  <a:pt x="949" y="189"/>
                </a:lnTo>
                <a:lnTo>
                  <a:pt x="949" y="189"/>
                </a:lnTo>
                <a:lnTo>
                  <a:pt x="947" y="192"/>
                </a:lnTo>
                <a:lnTo>
                  <a:pt x="947" y="192"/>
                </a:lnTo>
                <a:lnTo>
                  <a:pt x="947" y="192"/>
                </a:lnTo>
                <a:lnTo>
                  <a:pt x="945" y="189"/>
                </a:lnTo>
                <a:lnTo>
                  <a:pt x="945" y="189"/>
                </a:lnTo>
                <a:lnTo>
                  <a:pt x="940" y="189"/>
                </a:lnTo>
                <a:lnTo>
                  <a:pt x="940" y="189"/>
                </a:lnTo>
                <a:lnTo>
                  <a:pt x="940" y="194"/>
                </a:lnTo>
                <a:lnTo>
                  <a:pt x="940" y="194"/>
                </a:lnTo>
                <a:lnTo>
                  <a:pt x="940" y="197"/>
                </a:lnTo>
                <a:lnTo>
                  <a:pt x="940" y="197"/>
                </a:lnTo>
                <a:lnTo>
                  <a:pt x="942" y="197"/>
                </a:lnTo>
                <a:lnTo>
                  <a:pt x="942" y="197"/>
                </a:lnTo>
                <a:lnTo>
                  <a:pt x="942" y="199"/>
                </a:lnTo>
                <a:lnTo>
                  <a:pt x="942" y="199"/>
                </a:lnTo>
                <a:lnTo>
                  <a:pt x="942" y="204"/>
                </a:lnTo>
                <a:lnTo>
                  <a:pt x="942" y="204"/>
                </a:lnTo>
                <a:lnTo>
                  <a:pt x="942" y="204"/>
                </a:lnTo>
                <a:lnTo>
                  <a:pt x="945" y="204"/>
                </a:lnTo>
                <a:lnTo>
                  <a:pt x="945" y="204"/>
                </a:lnTo>
                <a:lnTo>
                  <a:pt x="945" y="209"/>
                </a:lnTo>
                <a:lnTo>
                  <a:pt x="945" y="209"/>
                </a:lnTo>
                <a:lnTo>
                  <a:pt x="949" y="209"/>
                </a:lnTo>
                <a:lnTo>
                  <a:pt x="949" y="209"/>
                </a:lnTo>
                <a:lnTo>
                  <a:pt x="957" y="214"/>
                </a:lnTo>
                <a:lnTo>
                  <a:pt x="957" y="214"/>
                </a:lnTo>
                <a:lnTo>
                  <a:pt x="959" y="214"/>
                </a:lnTo>
                <a:lnTo>
                  <a:pt x="959" y="214"/>
                </a:lnTo>
                <a:lnTo>
                  <a:pt x="959" y="212"/>
                </a:lnTo>
                <a:lnTo>
                  <a:pt x="959" y="212"/>
                </a:lnTo>
                <a:lnTo>
                  <a:pt x="959" y="207"/>
                </a:lnTo>
                <a:lnTo>
                  <a:pt x="959" y="207"/>
                </a:lnTo>
                <a:lnTo>
                  <a:pt x="964" y="209"/>
                </a:lnTo>
                <a:lnTo>
                  <a:pt x="964" y="209"/>
                </a:lnTo>
                <a:lnTo>
                  <a:pt x="964" y="212"/>
                </a:lnTo>
                <a:lnTo>
                  <a:pt x="964" y="212"/>
                </a:lnTo>
                <a:lnTo>
                  <a:pt x="964" y="214"/>
                </a:lnTo>
                <a:lnTo>
                  <a:pt x="964" y="214"/>
                </a:lnTo>
                <a:lnTo>
                  <a:pt x="964" y="216"/>
                </a:lnTo>
                <a:lnTo>
                  <a:pt x="964" y="216"/>
                </a:lnTo>
                <a:lnTo>
                  <a:pt x="964" y="216"/>
                </a:lnTo>
                <a:lnTo>
                  <a:pt x="967" y="209"/>
                </a:lnTo>
                <a:lnTo>
                  <a:pt x="967" y="209"/>
                </a:lnTo>
                <a:lnTo>
                  <a:pt x="967" y="202"/>
                </a:lnTo>
                <a:lnTo>
                  <a:pt x="967" y="202"/>
                </a:lnTo>
                <a:lnTo>
                  <a:pt x="969" y="199"/>
                </a:lnTo>
                <a:lnTo>
                  <a:pt x="969" y="199"/>
                </a:lnTo>
                <a:lnTo>
                  <a:pt x="972" y="194"/>
                </a:lnTo>
                <a:lnTo>
                  <a:pt x="972" y="194"/>
                </a:lnTo>
                <a:lnTo>
                  <a:pt x="974" y="192"/>
                </a:lnTo>
                <a:lnTo>
                  <a:pt x="974" y="192"/>
                </a:lnTo>
                <a:lnTo>
                  <a:pt x="974" y="194"/>
                </a:lnTo>
                <a:lnTo>
                  <a:pt x="974" y="194"/>
                </a:lnTo>
                <a:lnTo>
                  <a:pt x="969" y="202"/>
                </a:lnTo>
                <a:lnTo>
                  <a:pt x="969" y="202"/>
                </a:lnTo>
                <a:lnTo>
                  <a:pt x="969" y="204"/>
                </a:lnTo>
                <a:lnTo>
                  <a:pt x="969" y="204"/>
                </a:lnTo>
                <a:lnTo>
                  <a:pt x="969" y="209"/>
                </a:lnTo>
                <a:lnTo>
                  <a:pt x="969" y="209"/>
                </a:lnTo>
                <a:lnTo>
                  <a:pt x="969" y="214"/>
                </a:lnTo>
                <a:lnTo>
                  <a:pt x="969" y="214"/>
                </a:lnTo>
                <a:lnTo>
                  <a:pt x="972" y="216"/>
                </a:lnTo>
                <a:lnTo>
                  <a:pt x="972" y="216"/>
                </a:lnTo>
                <a:lnTo>
                  <a:pt x="969" y="219"/>
                </a:lnTo>
                <a:lnTo>
                  <a:pt x="969" y="219"/>
                </a:lnTo>
                <a:lnTo>
                  <a:pt x="972" y="219"/>
                </a:lnTo>
                <a:lnTo>
                  <a:pt x="972" y="219"/>
                </a:lnTo>
                <a:close/>
                <a:moveTo>
                  <a:pt x="979" y="84"/>
                </a:moveTo>
                <a:lnTo>
                  <a:pt x="979" y="84"/>
                </a:lnTo>
                <a:lnTo>
                  <a:pt x="979" y="84"/>
                </a:lnTo>
                <a:lnTo>
                  <a:pt x="981" y="84"/>
                </a:lnTo>
                <a:lnTo>
                  <a:pt x="981" y="84"/>
                </a:lnTo>
                <a:lnTo>
                  <a:pt x="981" y="84"/>
                </a:lnTo>
                <a:lnTo>
                  <a:pt x="984" y="84"/>
                </a:lnTo>
                <a:lnTo>
                  <a:pt x="984" y="84"/>
                </a:lnTo>
                <a:lnTo>
                  <a:pt x="984" y="86"/>
                </a:lnTo>
                <a:lnTo>
                  <a:pt x="984" y="86"/>
                </a:lnTo>
                <a:lnTo>
                  <a:pt x="984" y="86"/>
                </a:lnTo>
                <a:lnTo>
                  <a:pt x="981" y="86"/>
                </a:lnTo>
                <a:lnTo>
                  <a:pt x="981" y="86"/>
                </a:lnTo>
                <a:lnTo>
                  <a:pt x="979" y="84"/>
                </a:lnTo>
                <a:lnTo>
                  <a:pt x="979" y="84"/>
                </a:lnTo>
                <a:lnTo>
                  <a:pt x="979" y="84"/>
                </a:lnTo>
                <a:close/>
                <a:moveTo>
                  <a:pt x="981" y="219"/>
                </a:moveTo>
                <a:lnTo>
                  <a:pt x="981" y="219"/>
                </a:lnTo>
                <a:lnTo>
                  <a:pt x="981" y="216"/>
                </a:lnTo>
                <a:lnTo>
                  <a:pt x="981" y="216"/>
                </a:lnTo>
                <a:lnTo>
                  <a:pt x="984" y="214"/>
                </a:lnTo>
                <a:lnTo>
                  <a:pt x="984" y="214"/>
                </a:lnTo>
                <a:lnTo>
                  <a:pt x="984" y="212"/>
                </a:lnTo>
                <a:lnTo>
                  <a:pt x="984" y="212"/>
                </a:lnTo>
                <a:lnTo>
                  <a:pt x="986" y="212"/>
                </a:lnTo>
                <a:lnTo>
                  <a:pt x="986" y="212"/>
                </a:lnTo>
                <a:lnTo>
                  <a:pt x="986" y="212"/>
                </a:lnTo>
                <a:lnTo>
                  <a:pt x="986" y="214"/>
                </a:lnTo>
                <a:lnTo>
                  <a:pt x="986" y="214"/>
                </a:lnTo>
                <a:lnTo>
                  <a:pt x="984" y="214"/>
                </a:lnTo>
                <a:lnTo>
                  <a:pt x="984" y="214"/>
                </a:lnTo>
                <a:lnTo>
                  <a:pt x="981" y="219"/>
                </a:lnTo>
                <a:lnTo>
                  <a:pt x="981" y="219"/>
                </a:lnTo>
                <a:lnTo>
                  <a:pt x="981" y="219"/>
                </a:lnTo>
                <a:close/>
                <a:moveTo>
                  <a:pt x="1013" y="189"/>
                </a:moveTo>
                <a:lnTo>
                  <a:pt x="1013" y="189"/>
                </a:lnTo>
                <a:lnTo>
                  <a:pt x="1016" y="184"/>
                </a:lnTo>
                <a:lnTo>
                  <a:pt x="1016" y="184"/>
                </a:lnTo>
                <a:lnTo>
                  <a:pt x="1018" y="184"/>
                </a:lnTo>
                <a:lnTo>
                  <a:pt x="1018" y="184"/>
                </a:lnTo>
                <a:lnTo>
                  <a:pt x="1021" y="182"/>
                </a:lnTo>
                <a:lnTo>
                  <a:pt x="1021" y="182"/>
                </a:lnTo>
                <a:lnTo>
                  <a:pt x="1023" y="184"/>
                </a:lnTo>
                <a:lnTo>
                  <a:pt x="1023" y="184"/>
                </a:lnTo>
                <a:lnTo>
                  <a:pt x="1028" y="187"/>
                </a:lnTo>
                <a:lnTo>
                  <a:pt x="1028" y="187"/>
                </a:lnTo>
                <a:lnTo>
                  <a:pt x="1026" y="189"/>
                </a:lnTo>
                <a:lnTo>
                  <a:pt x="1026" y="189"/>
                </a:lnTo>
                <a:lnTo>
                  <a:pt x="1021" y="187"/>
                </a:lnTo>
                <a:lnTo>
                  <a:pt x="1021" y="187"/>
                </a:lnTo>
                <a:lnTo>
                  <a:pt x="1018" y="189"/>
                </a:lnTo>
                <a:lnTo>
                  <a:pt x="1018" y="189"/>
                </a:lnTo>
                <a:lnTo>
                  <a:pt x="1016" y="192"/>
                </a:lnTo>
                <a:lnTo>
                  <a:pt x="1016" y="192"/>
                </a:lnTo>
                <a:lnTo>
                  <a:pt x="1013" y="189"/>
                </a:lnTo>
                <a:lnTo>
                  <a:pt x="1013" y="189"/>
                </a:lnTo>
                <a:lnTo>
                  <a:pt x="1013" y="189"/>
                </a:lnTo>
                <a:close/>
                <a:moveTo>
                  <a:pt x="1245" y="7"/>
                </a:moveTo>
                <a:lnTo>
                  <a:pt x="1245" y="7"/>
                </a:lnTo>
                <a:lnTo>
                  <a:pt x="1247" y="5"/>
                </a:lnTo>
                <a:lnTo>
                  <a:pt x="1247" y="5"/>
                </a:lnTo>
                <a:lnTo>
                  <a:pt x="1247" y="5"/>
                </a:lnTo>
                <a:lnTo>
                  <a:pt x="1250" y="7"/>
                </a:lnTo>
                <a:lnTo>
                  <a:pt x="1250" y="7"/>
                </a:lnTo>
                <a:lnTo>
                  <a:pt x="1247" y="7"/>
                </a:lnTo>
                <a:lnTo>
                  <a:pt x="1247" y="7"/>
                </a:lnTo>
                <a:lnTo>
                  <a:pt x="1245" y="7"/>
                </a:lnTo>
                <a:lnTo>
                  <a:pt x="1245" y="7"/>
                </a:lnTo>
                <a:close/>
                <a:moveTo>
                  <a:pt x="1134" y="224"/>
                </a:moveTo>
                <a:lnTo>
                  <a:pt x="1134" y="224"/>
                </a:lnTo>
                <a:lnTo>
                  <a:pt x="1132" y="226"/>
                </a:lnTo>
                <a:lnTo>
                  <a:pt x="1132" y="226"/>
                </a:lnTo>
                <a:lnTo>
                  <a:pt x="1134" y="229"/>
                </a:lnTo>
                <a:lnTo>
                  <a:pt x="1134" y="229"/>
                </a:lnTo>
                <a:lnTo>
                  <a:pt x="1136" y="229"/>
                </a:lnTo>
                <a:lnTo>
                  <a:pt x="1136" y="229"/>
                </a:lnTo>
                <a:lnTo>
                  <a:pt x="1136" y="226"/>
                </a:lnTo>
                <a:lnTo>
                  <a:pt x="1136" y="226"/>
                </a:lnTo>
                <a:lnTo>
                  <a:pt x="1134" y="224"/>
                </a:lnTo>
                <a:lnTo>
                  <a:pt x="1134" y="224"/>
                </a:lnTo>
                <a:lnTo>
                  <a:pt x="1134" y="224"/>
                </a:lnTo>
                <a:close/>
                <a:moveTo>
                  <a:pt x="1077" y="258"/>
                </a:moveTo>
                <a:lnTo>
                  <a:pt x="1077" y="258"/>
                </a:lnTo>
                <a:lnTo>
                  <a:pt x="1080" y="261"/>
                </a:lnTo>
                <a:lnTo>
                  <a:pt x="1080" y="261"/>
                </a:lnTo>
                <a:lnTo>
                  <a:pt x="1082" y="261"/>
                </a:lnTo>
                <a:lnTo>
                  <a:pt x="1082" y="261"/>
                </a:lnTo>
                <a:lnTo>
                  <a:pt x="1080" y="258"/>
                </a:lnTo>
                <a:lnTo>
                  <a:pt x="1080" y="258"/>
                </a:lnTo>
                <a:lnTo>
                  <a:pt x="1077" y="258"/>
                </a:lnTo>
                <a:lnTo>
                  <a:pt x="1077" y="258"/>
                </a:lnTo>
                <a:close/>
                <a:moveTo>
                  <a:pt x="999" y="258"/>
                </a:moveTo>
                <a:lnTo>
                  <a:pt x="999" y="258"/>
                </a:lnTo>
                <a:lnTo>
                  <a:pt x="999" y="253"/>
                </a:lnTo>
                <a:lnTo>
                  <a:pt x="999" y="253"/>
                </a:lnTo>
                <a:lnTo>
                  <a:pt x="999" y="253"/>
                </a:lnTo>
                <a:lnTo>
                  <a:pt x="999" y="251"/>
                </a:lnTo>
                <a:lnTo>
                  <a:pt x="999" y="251"/>
                </a:lnTo>
                <a:lnTo>
                  <a:pt x="1001" y="253"/>
                </a:lnTo>
                <a:lnTo>
                  <a:pt x="1001" y="253"/>
                </a:lnTo>
                <a:lnTo>
                  <a:pt x="1001" y="256"/>
                </a:lnTo>
                <a:lnTo>
                  <a:pt x="1001" y="256"/>
                </a:lnTo>
                <a:lnTo>
                  <a:pt x="1001" y="258"/>
                </a:lnTo>
                <a:lnTo>
                  <a:pt x="1001" y="258"/>
                </a:lnTo>
                <a:lnTo>
                  <a:pt x="999" y="258"/>
                </a:lnTo>
                <a:lnTo>
                  <a:pt x="999" y="258"/>
                </a:lnTo>
                <a:close/>
                <a:moveTo>
                  <a:pt x="977" y="305"/>
                </a:moveTo>
                <a:lnTo>
                  <a:pt x="977" y="305"/>
                </a:lnTo>
                <a:lnTo>
                  <a:pt x="977" y="303"/>
                </a:lnTo>
                <a:lnTo>
                  <a:pt x="977" y="303"/>
                </a:lnTo>
                <a:lnTo>
                  <a:pt x="977" y="300"/>
                </a:lnTo>
                <a:lnTo>
                  <a:pt x="977" y="300"/>
                </a:lnTo>
                <a:lnTo>
                  <a:pt x="977" y="295"/>
                </a:lnTo>
                <a:lnTo>
                  <a:pt x="977" y="295"/>
                </a:lnTo>
                <a:lnTo>
                  <a:pt x="974" y="295"/>
                </a:lnTo>
                <a:lnTo>
                  <a:pt x="974" y="295"/>
                </a:lnTo>
                <a:lnTo>
                  <a:pt x="974" y="295"/>
                </a:lnTo>
                <a:lnTo>
                  <a:pt x="972" y="300"/>
                </a:lnTo>
                <a:lnTo>
                  <a:pt x="972" y="300"/>
                </a:lnTo>
                <a:lnTo>
                  <a:pt x="974" y="305"/>
                </a:lnTo>
                <a:lnTo>
                  <a:pt x="974" y="305"/>
                </a:lnTo>
                <a:lnTo>
                  <a:pt x="977" y="307"/>
                </a:lnTo>
                <a:lnTo>
                  <a:pt x="977" y="307"/>
                </a:lnTo>
                <a:lnTo>
                  <a:pt x="974" y="310"/>
                </a:lnTo>
                <a:lnTo>
                  <a:pt x="974" y="310"/>
                </a:lnTo>
                <a:lnTo>
                  <a:pt x="974" y="310"/>
                </a:lnTo>
                <a:lnTo>
                  <a:pt x="972" y="310"/>
                </a:lnTo>
                <a:lnTo>
                  <a:pt x="972" y="310"/>
                </a:lnTo>
                <a:lnTo>
                  <a:pt x="967" y="310"/>
                </a:lnTo>
                <a:lnTo>
                  <a:pt x="967" y="310"/>
                </a:lnTo>
                <a:lnTo>
                  <a:pt x="964" y="307"/>
                </a:lnTo>
                <a:lnTo>
                  <a:pt x="964" y="307"/>
                </a:lnTo>
                <a:lnTo>
                  <a:pt x="964" y="307"/>
                </a:lnTo>
                <a:lnTo>
                  <a:pt x="959" y="305"/>
                </a:lnTo>
                <a:lnTo>
                  <a:pt x="959" y="305"/>
                </a:lnTo>
                <a:lnTo>
                  <a:pt x="957" y="305"/>
                </a:lnTo>
                <a:lnTo>
                  <a:pt x="957" y="305"/>
                </a:lnTo>
                <a:lnTo>
                  <a:pt x="957" y="303"/>
                </a:lnTo>
                <a:lnTo>
                  <a:pt x="957" y="303"/>
                </a:lnTo>
                <a:lnTo>
                  <a:pt x="954" y="303"/>
                </a:lnTo>
                <a:lnTo>
                  <a:pt x="954" y="303"/>
                </a:lnTo>
                <a:lnTo>
                  <a:pt x="954" y="303"/>
                </a:lnTo>
                <a:lnTo>
                  <a:pt x="954" y="300"/>
                </a:lnTo>
                <a:lnTo>
                  <a:pt x="954" y="300"/>
                </a:lnTo>
                <a:lnTo>
                  <a:pt x="954" y="298"/>
                </a:lnTo>
                <a:lnTo>
                  <a:pt x="954" y="298"/>
                </a:lnTo>
                <a:lnTo>
                  <a:pt x="957" y="298"/>
                </a:lnTo>
                <a:lnTo>
                  <a:pt x="957" y="298"/>
                </a:lnTo>
                <a:lnTo>
                  <a:pt x="957" y="295"/>
                </a:lnTo>
                <a:lnTo>
                  <a:pt x="957" y="295"/>
                </a:lnTo>
                <a:lnTo>
                  <a:pt x="957" y="293"/>
                </a:lnTo>
                <a:lnTo>
                  <a:pt x="957" y="293"/>
                </a:lnTo>
                <a:lnTo>
                  <a:pt x="957" y="288"/>
                </a:lnTo>
                <a:lnTo>
                  <a:pt x="957" y="288"/>
                </a:lnTo>
                <a:lnTo>
                  <a:pt x="954" y="288"/>
                </a:lnTo>
                <a:lnTo>
                  <a:pt x="954" y="288"/>
                </a:lnTo>
                <a:lnTo>
                  <a:pt x="954" y="290"/>
                </a:lnTo>
                <a:lnTo>
                  <a:pt x="954" y="290"/>
                </a:lnTo>
                <a:lnTo>
                  <a:pt x="957" y="293"/>
                </a:lnTo>
                <a:lnTo>
                  <a:pt x="957" y="293"/>
                </a:lnTo>
                <a:lnTo>
                  <a:pt x="957" y="295"/>
                </a:lnTo>
                <a:lnTo>
                  <a:pt x="957" y="295"/>
                </a:lnTo>
                <a:lnTo>
                  <a:pt x="954" y="295"/>
                </a:lnTo>
                <a:lnTo>
                  <a:pt x="954" y="295"/>
                </a:lnTo>
                <a:lnTo>
                  <a:pt x="952" y="295"/>
                </a:lnTo>
                <a:lnTo>
                  <a:pt x="952" y="295"/>
                </a:lnTo>
                <a:lnTo>
                  <a:pt x="952" y="298"/>
                </a:lnTo>
                <a:lnTo>
                  <a:pt x="952" y="298"/>
                </a:lnTo>
                <a:lnTo>
                  <a:pt x="952" y="298"/>
                </a:lnTo>
                <a:lnTo>
                  <a:pt x="952" y="300"/>
                </a:lnTo>
                <a:lnTo>
                  <a:pt x="952" y="300"/>
                </a:lnTo>
                <a:lnTo>
                  <a:pt x="952" y="300"/>
                </a:lnTo>
                <a:lnTo>
                  <a:pt x="949" y="300"/>
                </a:lnTo>
                <a:lnTo>
                  <a:pt x="949" y="300"/>
                </a:lnTo>
                <a:lnTo>
                  <a:pt x="947" y="298"/>
                </a:lnTo>
                <a:lnTo>
                  <a:pt x="947" y="298"/>
                </a:lnTo>
                <a:lnTo>
                  <a:pt x="947" y="295"/>
                </a:lnTo>
                <a:lnTo>
                  <a:pt x="947" y="295"/>
                </a:lnTo>
                <a:lnTo>
                  <a:pt x="947" y="293"/>
                </a:lnTo>
                <a:lnTo>
                  <a:pt x="947" y="293"/>
                </a:lnTo>
                <a:lnTo>
                  <a:pt x="949" y="290"/>
                </a:lnTo>
                <a:lnTo>
                  <a:pt x="949" y="290"/>
                </a:lnTo>
                <a:lnTo>
                  <a:pt x="947" y="288"/>
                </a:lnTo>
                <a:lnTo>
                  <a:pt x="947" y="288"/>
                </a:lnTo>
                <a:lnTo>
                  <a:pt x="947" y="288"/>
                </a:lnTo>
                <a:lnTo>
                  <a:pt x="947" y="288"/>
                </a:lnTo>
                <a:lnTo>
                  <a:pt x="947" y="290"/>
                </a:lnTo>
                <a:lnTo>
                  <a:pt x="947" y="290"/>
                </a:lnTo>
                <a:lnTo>
                  <a:pt x="945" y="293"/>
                </a:lnTo>
                <a:lnTo>
                  <a:pt x="945" y="293"/>
                </a:lnTo>
                <a:lnTo>
                  <a:pt x="945" y="295"/>
                </a:lnTo>
                <a:lnTo>
                  <a:pt x="945" y="295"/>
                </a:lnTo>
                <a:lnTo>
                  <a:pt x="945" y="298"/>
                </a:lnTo>
                <a:lnTo>
                  <a:pt x="945" y="298"/>
                </a:lnTo>
                <a:lnTo>
                  <a:pt x="942" y="298"/>
                </a:lnTo>
                <a:lnTo>
                  <a:pt x="942" y="298"/>
                </a:lnTo>
                <a:lnTo>
                  <a:pt x="940" y="295"/>
                </a:lnTo>
                <a:lnTo>
                  <a:pt x="940" y="295"/>
                </a:lnTo>
                <a:lnTo>
                  <a:pt x="937" y="295"/>
                </a:lnTo>
                <a:lnTo>
                  <a:pt x="937" y="295"/>
                </a:lnTo>
                <a:lnTo>
                  <a:pt x="937" y="293"/>
                </a:lnTo>
                <a:lnTo>
                  <a:pt x="937" y="293"/>
                </a:lnTo>
                <a:lnTo>
                  <a:pt x="937" y="290"/>
                </a:lnTo>
                <a:lnTo>
                  <a:pt x="937" y="290"/>
                </a:lnTo>
                <a:lnTo>
                  <a:pt x="940" y="288"/>
                </a:lnTo>
                <a:lnTo>
                  <a:pt x="940" y="288"/>
                </a:lnTo>
                <a:lnTo>
                  <a:pt x="940" y="285"/>
                </a:lnTo>
                <a:lnTo>
                  <a:pt x="940" y="285"/>
                </a:lnTo>
                <a:lnTo>
                  <a:pt x="940" y="283"/>
                </a:lnTo>
                <a:lnTo>
                  <a:pt x="940" y="283"/>
                </a:lnTo>
                <a:lnTo>
                  <a:pt x="942" y="278"/>
                </a:lnTo>
                <a:lnTo>
                  <a:pt x="942" y="278"/>
                </a:lnTo>
                <a:lnTo>
                  <a:pt x="940" y="278"/>
                </a:lnTo>
                <a:lnTo>
                  <a:pt x="940" y="278"/>
                </a:lnTo>
                <a:lnTo>
                  <a:pt x="940" y="280"/>
                </a:lnTo>
                <a:lnTo>
                  <a:pt x="940" y="280"/>
                </a:lnTo>
                <a:lnTo>
                  <a:pt x="937" y="285"/>
                </a:lnTo>
                <a:lnTo>
                  <a:pt x="937" y="285"/>
                </a:lnTo>
                <a:lnTo>
                  <a:pt x="937" y="290"/>
                </a:lnTo>
                <a:lnTo>
                  <a:pt x="937" y="290"/>
                </a:lnTo>
                <a:lnTo>
                  <a:pt x="935" y="293"/>
                </a:lnTo>
                <a:lnTo>
                  <a:pt x="935" y="293"/>
                </a:lnTo>
                <a:lnTo>
                  <a:pt x="935" y="293"/>
                </a:lnTo>
                <a:lnTo>
                  <a:pt x="935" y="288"/>
                </a:lnTo>
                <a:lnTo>
                  <a:pt x="935" y="288"/>
                </a:lnTo>
                <a:lnTo>
                  <a:pt x="935" y="288"/>
                </a:lnTo>
                <a:lnTo>
                  <a:pt x="935" y="288"/>
                </a:lnTo>
                <a:lnTo>
                  <a:pt x="932" y="293"/>
                </a:lnTo>
                <a:lnTo>
                  <a:pt x="932" y="293"/>
                </a:lnTo>
                <a:lnTo>
                  <a:pt x="930" y="293"/>
                </a:lnTo>
                <a:lnTo>
                  <a:pt x="930" y="293"/>
                </a:lnTo>
                <a:lnTo>
                  <a:pt x="930" y="290"/>
                </a:lnTo>
                <a:lnTo>
                  <a:pt x="930" y="290"/>
                </a:lnTo>
                <a:lnTo>
                  <a:pt x="930" y="285"/>
                </a:lnTo>
                <a:lnTo>
                  <a:pt x="930" y="285"/>
                </a:lnTo>
                <a:lnTo>
                  <a:pt x="927" y="285"/>
                </a:lnTo>
                <a:lnTo>
                  <a:pt x="927" y="285"/>
                </a:lnTo>
                <a:lnTo>
                  <a:pt x="927" y="283"/>
                </a:lnTo>
                <a:lnTo>
                  <a:pt x="927" y="283"/>
                </a:lnTo>
                <a:lnTo>
                  <a:pt x="932" y="280"/>
                </a:lnTo>
                <a:lnTo>
                  <a:pt x="932" y="280"/>
                </a:lnTo>
                <a:lnTo>
                  <a:pt x="932" y="278"/>
                </a:lnTo>
                <a:lnTo>
                  <a:pt x="932" y="278"/>
                </a:lnTo>
                <a:lnTo>
                  <a:pt x="932" y="275"/>
                </a:lnTo>
                <a:lnTo>
                  <a:pt x="932" y="275"/>
                </a:lnTo>
                <a:lnTo>
                  <a:pt x="932" y="273"/>
                </a:lnTo>
                <a:lnTo>
                  <a:pt x="932" y="273"/>
                </a:lnTo>
                <a:lnTo>
                  <a:pt x="935" y="273"/>
                </a:lnTo>
                <a:lnTo>
                  <a:pt x="935" y="273"/>
                </a:lnTo>
                <a:lnTo>
                  <a:pt x="937" y="271"/>
                </a:lnTo>
                <a:lnTo>
                  <a:pt x="937" y="271"/>
                </a:lnTo>
                <a:lnTo>
                  <a:pt x="940" y="271"/>
                </a:lnTo>
                <a:lnTo>
                  <a:pt x="940" y="271"/>
                </a:lnTo>
                <a:lnTo>
                  <a:pt x="945" y="271"/>
                </a:lnTo>
                <a:lnTo>
                  <a:pt x="945" y="271"/>
                </a:lnTo>
                <a:lnTo>
                  <a:pt x="945" y="268"/>
                </a:lnTo>
                <a:lnTo>
                  <a:pt x="945" y="268"/>
                </a:lnTo>
                <a:lnTo>
                  <a:pt x="947" y="266"/>
                </a:lnTo>
                <a:lnTo>
                  <a:pt x="947" y="266"/>
                </a:lnTo>
                <a:lnTo>
                  <a:pt x="949" y="266"/>
                </a:lnTo>
                <a:lnTo>
                  <a:pt x="949" y="266"/>
                </a:lnTo>
                <a:lnTo>
                  <a:pt x="949" y="263"/>
                </a:lnTo>
                <a:lnTo>
                  <a:pt x="949" y="263"/>
                </a:lnTo>
                <a:lnTo>
                  <a:pt x="952" y="263"/>
                </a:lnTo>
                <a:lnTo>
                  <a:pt x="952" y="263"/>
                </a:lnTo>
                <a:lnTo>
                  <a:pt x="954" y="263"/>
                </a:lnTo>
                <a:lnTo>
                  <a:pt x="954" y="263"/>
                </a:lnTo>
                <a:lnTo>
                  <a:pt x="957" y="266"/>
                </a:lnTo>
                <a:lnTo>
                  <a:pt x="957" y="266"/>
                </a:lnTo>
                <a:lnTo>
                  <a:pt x="962" y="266"/>
                </a:lnTo>
                <a:lnTo>
                  <a:pt x="962" y="266"/>
                </a:lnTo>
                <a:lnTo>
                  <a:pt x="964" y="263"/>
                </a:lnTo>
                <a:lnTo>
                  <a:pt x="964" y="263"/>
                </a:lnTo>
                <a:lnTo>
                  <a:pt x="967" y="263"/>
                </a:lnTo>
                <a:lnTo>
                  <a:pt x="967" y="263"/>
                </a:lnTo>
                <a:lnTo>
                  <a:pt x="969" y="268"/>
                </a:lnTo>
                <a:lnTo>
                  <a:pt x="969" y="268"/>
                </a:lnTo>
                <a:lnTo>
                  <a:pt x="972" y="268"/>
                </a:lnTo>
                <a:lnTo>
                  <a:pt x="972" y="268"/>
                </a:lnTo>
                <a:lnTo>
                  <a:pt x="972" y="266"/>
                </a:lnTo>
                <a:lnTo>
                  <a:pt x="972" y="266"/>
                </a:lnTo>
                <a:lnTo>
                  <a:pt x="972" y="266"/>
                </a:lnTo>
                <a:lnTo>
                  <a:pt x="977" y="268"/>
                </a:lnTo>
                <a:lnTo>
                  <a:pt x="977" y="268"/>
                </a:lnTo>
                <a:lnTo>
                  <a:pt x="977" y="266"/>
                </a:lnTo>
                <a:lnTo>
                  <a:pt x="977" y="266"/>
                </a:lnTo>
                <a:lnTo>
                  <a:pt x="979" y="268"/>
                </a:lnTo>
                <a:lnTo>
                  <a:pt x="979" y="268"/>
                </a:lnTo>
                <a:lnTo>
                  <a:pt x="981" y="266"/>
                </a:lnTo>
                <a:lnTo>
                  <a:pt x="981" y="266"/>
                </a:lnTo>
                <a:lnTo>
                  <a:pt x="979" y="266"/>
                </a:lnTo>
                <a:lnTo>
                  <a:pt x="979" y="266"/>
                </a:lnTo>
                <a:lnTo>
                  <a:pt x="977" y="266"/>
                </a:lnTo>
                <a:lnTo>
                  <a:pt x="977" y="266"/>
                </a:lnTo>
                <a:lnTo>
                  <a:pt x="977" y="263"/>
                </a:lnTo>
                <a:lnTo>
                  <a:pt x="977" y="263"/>
                </a:lnTo>
                <a:lnTo>
                  <a:pt x="974" y="263"/>
                </a:lnTo>
                <a:lnTo>
                  <a:pt x="974" y="263"/>
                </a:lnTo>
                <a:lnTo>
                  <a:pt x="974" y="263"/>
                </a:lnTo>
                <a:lnTo>
                  <a:pt x="977" y="261"/>
                </a:lnTo>
                <a:lnTo>
                  <a:pt x="977" y="261"/>
                </a:lnTo>
                <a:lnTo>
                  <a:pt x="977" y="258"/>
                </a:lnTo>
                <a:lnTo>
                  <a:pt x="977" y="258"/>
                </a:lnTo>
                <a:lnTo>
                  <a:pt x="974" y="258"/>
                </a:lnTo>
                <a:lnTo>
                  <a:pt x="974" y="258"/>
                </a:lnTo>
                <a:lnTo>
                  <a:pt x="974" y="258"/>
                </a:lnTo>
                <a:lnTo>
                  <a:pt x="977" y="258"/>
                </a:lnTo>
                <a:lnTo>
                  <a:pt x="977" y="258"/>
                </a:lnTo>
                <a:lnTo>
                  <a:pt x="979" y="256"/>
                </a:lnTo>
                <a:lnTo>
                  <a:pt x="979" y="256"/>
                </a:lnTo>
                <a:lnTo>
                  <a:pt x="974" y="256"/>
                </a:lnTo>
                <a:lnTo>
                  <a:pt x="974" y="256"/>
                </a:lnTo>
                <a:lnTo>
                  <a:pt x="974" y="256"/>
                </a:lnTo>
                <a:lnTo>
                  <a:pt x="972" y="256"/>
                </a:lnTo>
                <a:lnTo>
                  <a:pt x="972" y="256"/>
                </a:lnTo>
                <a:lnTo>
                  <a:pt x="972" y="253"/>
                </a:lnTo>
                <a:lnTo>
                  <a:pt x="972" y="253"/>
                </a:lnTo>
                <a:lnTo>
                  <a:pt x="972" y="253"/>
                </a:lnTo>
                <a:lnTo>
                  <a:pt x="974" y="251"/>
                </a:lnTo>
                <a:lnTo>
                  <a:pt x="974" y="251"/>
                </a:lnTo>
                <a:lnTo>
                  <a:pt x="974" y="248"/>
                </a:lnTo>
                <a:lnTo>
                  <a:pt x="974" y="248"/>
                </a:lnTo>
                <a:lnTo>
                  <a:pt x="972" y="248"/>
                </a:lnTo>
                <a:lnTo>
                  <a:pt x="972" y="248"/>
                </a:lnTo>
                <a:lnTo>
                  <a:pt x="972" y="246"/>
                </a:lnTo>
                <a:lnTo>
                  <a:pt x="972" y="246"/>
                </a:lnTo>
                <a:lnTo>
                  <a:pt x="972" y="241"/>
                </a:lnTo>
                <a:lnTo>
                  <a:pt x="972" y="241"/>
                </a:lnTo>
                <a:lnTo>
                  <a:pt x="972" y="239"/>
                </a:lnTo>
                <a:lnTo>
                  <a:pt x="972" y="239"/>
                </a:lnTo>
                <a:lnTo>
                  <a:pt x="972" y="236"/>
                </a:lnTo>
                <a:lnTo>
                  <a:pt x="972" y="236"/>
                </a:lnTo>
                <a:lnTo>
                  <a:pt x="972" y="234"/>
                </a:lnTo>
                <a:lnTo>
                  <a:pt x="972" y="234"/>
                </a:lnTo>
                <a:lnTo>
                  <a:pt x="974" y="234"/>
                </a:lnTo>
                <a:lnTo>
                  <a:pt x="974" y="234"/>
                </a:lnTo>
                <a:lnTo>
                  <a:pt x="977" y="234"/>
                </a:lnTo>
                <a:lnTo>
                  <a:pt x="977" y="234"/>
                </a:lnTo>
                <a:lnTo>
                  <a:pt x="981" y="234"/>
                </a:lnTo>
                <a:lnTo>
                  <a:pt x="981" y="234"/>
                </a:lnTo>
                <a:lnTo>
                  <a:pt x="981" y="234"/>
                </a:lnTo>
                <a:lnTo>
                  <a:pt x="986" y="234"/>
                </a:lnTo>
                <a:lnTo>
                  <a:pt x="986" y="234"/>
                </a:lnTo>
                <a:lnTo>
                  <a:pt x="989" y="234"/>
                </a:lnTo>
                <a:lnTo>
                  <a:pt x="989" y="234"/>
                </a:lnTo>
                <a:lnTo>
                  <a:pt x="991" y="239"/>
                </a:lnTo>
                <a:lnTo>
                  <a:pt x="991" y="239"/>
                </a:lnTo>
                <a:lnTo>
                  <a:pt x="994" y="243"/>
                </a:lnTo>
                <a:lnTo>
                  <a:pt x="994" y="243"/>
                </a:lnTo>
                <a:lnTo>
                  <a:pt x="994" y="253"/>
                </a:lnTo>
                <a:lnTo>
                  <a:pt x="994" y="253"/>
                </a:lnTo>
                <a:lnTo>
                  <a:pt x="991" y="256"/>
                </a:lnTo>
                <a:lnTo>
                  <a:pt x="991" y="256"/>
                </a:lnTo>
                <a:lnTo>
                  <a:pt x="994" y="258"/>
                </a:lnTo>
                <a:lnTo>
                  <a:pt x="994" y="258"/>
                </a:lnTo>
                <a:lnTo>
                  <a:pt x="994" y="258"/>
                </a:lnTo>
                <a:lnTo>
                  <a:pt x="1001" y="261"/>
                </a:lnTo>
                <a:lnTo>
                  <a:pt x="1001" y="261"/>
                </a:lnTo>
                <a:lnTo>
                  <a:pt x="1001" y="263"/>
                </a:lnTo>
                <a:lnTo>
                  <a:pt x="1001" y="263"/>
                </a:lnTo>
                <a:lnTo>
                  <a:pt x="1004" y="263"/>
                </a:lnTo>
                <a:lnTo>
                  <a:pt x="1004" y="263"/>
                </a:lnTo>
                <a:lnTo>
                  <a:pt x="1004" y="263"/>
                </a:lnTo>
                <a:lnTo>
                  <a:pt x="1011" y="263"/>
                </a:lnTo>
                <a:lnTo>
                  <a:pt x="1011" y="263"/>
                </a:lnTo>
                <a:lnTo>
                  <a:pt x="1013" y="266"/>
                </a:lnTo>
                <a:lnTo>
                  <a:pt x="1013" y="266"/>
                </a:lnTo>
                <a:lnTo>
                  <a:pt x="1016" y="266"/>
                </a:lnTo>
                <a:lnTo>
                  <a:pt x="1016" y="266"/>
                </a:lnTo>
                <a:lnTo>
                  <a:pt x="1013" y="263"/>
                </a:lnTo>
                <a:lnTo>
                  <a:pt x="1013" y="263"/>
                </a:lnTo>
                <a:lnTo>
                  <a:pt x="1016" y="261"/>
                </a:lnTo>
                <a:lnTo>
                  <a:pt x="1016" y="261"/>
                </a:lnTo>
                <a:lnTo>
                  <a:pt x="1021" y="258"/>
                </a:lnTo>
                <a:lnTo>
                  <a:pt x="1021" y="258"/>
                </a:lnTo>
                <a:lnTo>
                  <a:pt x="1023" y="253"/>
                </a:lnTo>
                <a:lnTo>
                  <a:pt x="1023" y="253"/>
                </a:lnTo>
                <a:lnTo>
                  <a:pt x="1031" y="251"/>
                </a:lnTo>
                <a:lnTo>
                  <a:pt x="1031" y="251"/>
                </a:lnTo>
                <a:lnTo>
                  <a:pt x="1036" y="246"/>
                </a:lnTo>
                <a:lnTo>
                  <a:pt x="1036" y="246"/>
                </a:lnTo>
                <a:lnTo>
                  <a:pt x="1036" y="243"/>
                </a:lnTo>
                <a:lnTo>
                  <a:pt x="1036" y="243"/>
                </a:lnTo>
                <a:lnTo>
                  <a:pt x="1038" y="241"/>
                </a:lnTo>
                <a:lnTo>
                  <a:pt x="1038" y="241"/>
                </a:lnTo>
                <a:lnTo>
                  <a:pt x="1036" y="241"/>
                </a:lnTo>
                <a:lnTo>
                  <a:pt x="1036" y="241"/>
                </a:lnTo>
                <a:lnTo>
                  <a:pt x="1033" y="243"/>
                </a:lnTo>
                <a:lnTo>
                  <a:pt x="1033" y="243"/>
                </a:lnTo>
                <a:lnTo>
                  <a:pt x="1033" y="246"/>
                </a:lnTo>
                <a:lnTo>
                  <a:pt x="1033" y="246"/>
                </a:lnTo>
                <a:lnTo>
                  <a:pt x="1028" y="251"/>
                </a:lnTo>
                <a:lnTo>
                  <a:pt x="1028" y="251"/>
                </a:lnTo>
                <a:lnTo>
                  <a:pt x="1026" y="253"/>
                </a:lnTo>
                <a:lnTo>
                  <a:pt x="1026" y="253"/>
                </a:lnTo>
                <a:lnTo>
                  <a:pt x="1026" y="253"/>
                </a:lnTo>
                <a:lnTo>
                  <a:pt x="1021" y="258"/>
                </a:lnTo>
                <a:lnTo>
                  <a:pt x="1021" y="258"/>
                </a:lnTo>
                <a:lnTo>
                  <a:pt x="1016" y="258"/>
                </a:lnTo>
                <a:lnTo>
                  <a:pt x="1016" y="258"/>
                </a:lnTo>
                <a:lnTo>
                  <a:pt x="1013" y="258"/>
                </a:lnTo>
                <a:lnTo>
                  <a:pt x="1013" y="258"/>
                </a:lnTo>
                <a:lnTo>
                  <a:pt x="1011" y="258"/>
                </a:lnTo>
                <a:lnTo>
                  <a:pt x="1011" y="258"/>
                </a:lnTo>
                <a:lnTo>
                  <a:pt x="1011" y="258"/>
                </a:lnTo>
                <a:lnTo>
                  <a:pt x="1009" y="258"/>
                </a:lnTo>
                <a:lnTo>
                  <a:pt x="1009" y="258"/>
                </a:lnTo>
                <a:lnTo>
                  <a:pt x="1004" y="256"/>
                </a:lnTo>
                <a:lnTo>
                  <a:pt x="1004" y="256"/>
                </a:lnTo>
                <a:lnTo>
                  <a:pt x="1004" y="253"/>
                </a:lnTo>
                <a:lnTo>
                  <a:pt x="1004" y="253"/>
                </a:lnTo>
                <a:lnTo>
                  <a:pt x="1006" y="253"/>
                </a:lnTo>
                <a:lnTo>
                  <a:pt x="1006" y="253"/>
                </a:lnTo>
                <a:lnTo>
                  <a:pt x="1009" y="251"/>
                </a:lnTo>
                <a:lnTo>
                  <a:pt x="1009" y="251"/>
                </a:lnTo>
                <a:lnTo>
                  <a:pt x="1009" y="248"/>
                </a:lnTo>
                <a:lnTo>
                  <a:pt x="1009" y="248"/>
                </a:lnTo>
                <a:lnTo>
                  <a:pt x="1006" y="251"/>
                </a:lnTo>
                <a:lnTo>
                  <a:pt x="1006" y="251"/>
                </a:lnTo>
                <a:lnTo>
                  <a:pt x="1004" y="253"/>
                </a:lnTo>
                <a:lnTo>
                  <a:pt x="1004" y="253"/>
                </a:lnTo>
                <a:lnTo>
                  <a:pt x="1001" y="251"/>
                </a:lnTo>
                <a:lnTo>
                  <a:pt x="1001" y="251"/>
                </a:lnTo>
                <a:lnTo>
                  <a:pt x="1001" y="248"/>
                </a:lnTo>
                <a:lnTo>
                  <a:pt x="1001" y="248"/>
                </a:lnTo>
                <a:lnTo>
                  <a:pt x="1001" y="246"/>
                </a:lnTo>
                <a:lnTo>
                  <a:pt x="1001" y="246"/>
                </a:lnTo>
                <a:lnTo>
                  <a:pt x="1001" y="246"/>
                </a:lnTo>
                <a:lnTo>
                  <a:pt x="1006" y="246"/>
                </a:lnTo>
                <a:lnTo>
                  <a:pt x="1006" y="246"/>
                </a:lnTo>
                <a:lnTo>
                  <a:pt x="1006" y="243"/>
                </a:lnTo>
                <a:lnTo>
                  <a:pt x="1006" y="243"/>
                </a:lnTo>
                <a:lnTo>
                  <a:pt x="1004" y="243"/>
                </a:lnTo>
                <a:lnTo>
                  <a:pt x="1004" y="243"/>
                </a:lnTo>
                <a:lnTo>
                  <a:pt x="1004" y="243"/>
                </a:lnTo>
                <a:lnTo>
                  <a:pt x="1004" y="241"/>
                </a:lnTo>
                <a:lnTo>
                  <a:pt x="1004" y="241"/>
                </a:lnTo>
                <a:lnTo>
                  <a:pt x="1006" y="243"/>
                </a:lnTo>
                <a:lnTo>
                  <a:pt x="1006" y="243"/>
                </a:lnTo>
                <a:lnTo>
                  <a:pt x="1009" y="243"/>
                </a:lnTo>
                <a:lnTo>
                  <a:pt x="1009" y="243"/>
                </a:lnTo>
                <a:lnTo>
                  <a:pt x="1009" y="241"/>
                </a:lnTo>
                <a:lnTo>
                  <a:pt x="1009" y="241"/>
                </a:lnTo>
                <a:lnTo>
                  <a:pt x="1006" y="241"/>
                </a:lnTo>
                <a:lnTo>
                  <a:pt x="1006" y="241"/>
                </a:lnTo>
                <a:lnTo>
                  <a:pt x="1004" y="239"/>
                </a:lnTo>
                <a:lnTo>
                  <a:pt x="1004" y="239"/>
                </a:lnTo>
                <a:lnTo>
                  <a:pt x="1004" y="241"/>
                </a:lnTo>
                <a:lnTo>
                  <a:pt x="1004" y="241"/>
                </a:lnTo>
                <a:lnTo>
                  <a:pt x="1001" y="241"/>
                </a:lnTo>
                <a:lnTo>
                  <a:pt x="1001" y="241"/>
                </a:lnTo>
                <a:lnTo>
                  <a:pt x="999" y="239"/>
                </a:lnTo>
                <a:lnTo>
                  <a:pt x="999" y="239"/>
                </a:lnTo>
                <a:lnTo>
                  <a:pt x="1001" y="236"/>
                </a:lnTo>
                <a:lnTo>
                  <a:pt x="1001" y="236"/>
                </a:lnTo>
                <a:lnTo>
                  <a:pt x="1004" y="236"/>
                </a:lnTo>
                <a:lnTo>
                  <a:pt x="1004" y="236"/>
                </a:lnTo>
                <a:lnTo>
                  <a:pt x="1006" y="234"/>
                </a:lnTo>
                <a:lnTo>
                  <a:pt x="1006" y="234"/>
                </a:lnTo>
                <a:lnTo>
                  <a:pt x="1009" y="236"/>
                </a:lnTo>
                <a:lnTo>
                  <a:pt x="1009" y="236"/>
                </a:lnTo>
                <a:lnTo>
                  <a:pt x="1011" y="236"/>
                </a:lnTo>
                <a:lnTo>
                  <a:pt x="1011" y="236"/>
                </a:lnTo>
                <a:lnTo>
                  <a:pt x="1013" y="234"/>
                </a:lnTo>
                <a:lnTo>
                  <a:pt x="1013" y="234"/>
                </a:lnTo>
                <a:lnTo>
                  <a:pt x="1011" y="234"/>
                </a:lnTo>
                <a:lnTo>
                  <a:pt x="1011" y="234"/>
                </a:lnTo>
                <a:lnTo>
                  <a:pt x="1011" y="234"/>
                </a:lnTo>
                <a:lnTo>
                  <a:pt x="1013" y="231"/>
                </a:lnTo>
                <a:lnTo>
                  <a:pt x="1013" y="231"/>
                </a:lnTo>
                <a:lnTo>
                  <a:pt x="1016" y="231"/>
                </a:lnTo>
                <a:lnTo>
                  <a:pt x="1016" y="231"/>
                </a:lnTo>
                <a:lnTo>
                  <a:pt x="1016" y="229"/>
                </a:lnTo>
                <a:lnTo>
                  <a:pt x="1016" y="229"/>
                </a:lnTo>
                <a:lnTo>
                  <a:pt x="1013" y="229"/>
                </a:lnTo>
                <a:lnTo>
                  <a:pt x="1013" y="229"/>
                </a:lnTo>
                <a:lnTo>
                  <a:pt x="1013" y="226"/>
                </a:lnTo>
                <a:lnTo>
                  <a:pt x="1013" y="226"/>
                </a:lnTo>
                <a:lnTo>
                  <a:pt x="1016" y="224"/>
                </a:lnTo>
                <a:lnTo>
                  <a:pt x="1016" y="224"/>
                </a:lnTo>
                <a:lnTo>
                  <a:pt x="1018" y="224"/>
                </a:lnTo>
                <a:lnTo>
                  <a:pt x="1018" y="224"/>
                </a:lnTo>
                <a:lnTo>
                  <a:pt x="1016" y="221"/>
                </a:lnTo>
                <a:lnTo>
                  <a:pt x="1016" y="221"/>
                </a:lnTo>
                <a:lnTo>
                  <a:pt x="1021" y="216"/>
                </a:lnTo>
                <a:lnTo>
                  <a:pt x="1021" y="216"/>
                </a:lnTo>
                <a:lnTo>
                  <a:pt x="1023" y="214"/>
                </a:lnTo>
                <a:lnTo>
                  <a:pt x="1023" y="214"/>
                </a:lnTo>
                <a:lnTo>
                  <a:pt x="1023" y="212"/>
                </a:lnTo>
                <a:lnTo>
                  <a:pt x="1023" y="212"/>
                </a:lnTo>
                <a:lnTo>
                  <a:pt x="1021" y="214"/>
                </a:lnTo>
                <a:lnTo>
                  <a:pt x="1021" y="214"/>
                </a:lnTo>
                <a:lnTo>
                  <a:pt x="1016" y="219"/>
                </a:lnTo>
                <a:lnTo>
                  <a:pt x="1016" y="219"/>
                </a:lnTo>
                <a:lnTo>
                  <a:pt x="1013" y="224"/>
                </a:lnTo>
                <a:lnTo>
                  <a:pt x="1013" y="224"/>
                </a:lnTo>
                <a:lnTo>
                  <a:pt x="1009" y="229"/>
                </a:lnTo>
                <a:lnTo>
                  <a:pt x="1009" y="229"/>
                </a:lnTo>
                <a:lnTo>
                  <a:pt x="1006" y="231"/>
                </a:lnTo>
                <a:lnTo>
                  <a:pt x="1006" y="231"/>
                </a:lnTo>
                <a:lnTo>
                  <a:pt x="1004" y="231"/>
                </a:lnTo>
                <a:lnTo>
                  <a:pt x="1004" y="231"/>
                </a:lnTo>
                <a:lnTo>
                  <a:pt x="999" y="231"/>
                </a:lnTo>
                <a:lnTo>
                  <a:pt x="999" y="231"/>
                </a:lnTo>
                <a:lnTo>
                  <a:pt x="999" y="229"/>
                </a:lnTo>
                <a:lnTo>
                  <a:pt x="999" y="229"/>
                </a:lnTo>
                <a:lnTo>
                  <a:pt x="1001" y="226"/>
                </a:lnTo>
                <a:lnTo>
                  <a:pt x="1001" y="226"/>
                </a:lnTo>
                <a:lnTo>
                  <a:pt x="1004" y="224"/>
                </a:lnTo>
                <a:lnTo>
                  <a:pt x="1004" y="224"/>
                </a:lnTo>
                <a:lnTo>
                  <a:pt x="1004" y="221"/>
                </a:lnTo>
                <a:lnTo>
                  <a:pt x="1004" y="221"/>
                </a:lnTo>
                <a:lnTo>
                  <a:pt x="999" y="224"/>
                </a:lnTo>
                <a:lnTo>
                  <a:pt x="999" y="224"/>
                </a:lnTo>
                <a:lnTo>
                  <a:pt x="996" y="224"/>
                </a:lnTo>
                <a:lnTo>
                  <a:pt x="996" y="224"/>
                </a:lnTo>
                <a:lnTo>
                  <a:pt x="996" y="226"/>
                </a:lnTo>
                <a:lnTo>
                  <a:pt x="996" y="226"/>
                </a:lnTo>
                <a:lnTo>
                  <a:pt x="994" y="229"/>
                </a:lnTo>
                <a:lnTo>
                  <a:pt x="994" y="229"/>
                </a:lnTo>
                <a:lnTo>
                  <a:pt x="989" y="229"/>
                </a:lnTo>
                <a:lnTo>
                  <a:pt x="989" y="229"/>
                </a:lnTo>
                <a:lnTo>
                  <a:pt x="984" y="224"/>
                </a:lnTo>
                <a:lnTo>
                  <a:pt x="984" y="224"/>
                </a:lnTo>
                <a:lnTo>
                  <a:pt x="986" y="224"/>
                </a:lnTo>
                <a:lnTo>
                  <a:pt x="986" y="224"/>
                </a:lnTo>
                <a:lnTo>
                  <a:pt x="989" y="221"/>
                </a:lnTo>
                <a:lnTo>
                  <a:pt x="989" y="221"/>
                </a:lnTo>
                <a:lnTo>
                  <a:pt x="989" y="221"/>
                </a:lnTo>
                <a:lnTo>
                  <a:pt x="986" y="221"/>
                </a:lnTo>
                <a:lnTo>
                  <a:pt x="986" y="221"/>
                </a:lnTo>
                <a:lnTo>
                  <a:pt x="986" y="216"/>
                </a:lnTo>
                <a:lnTo>
                  <a:pt x="986" y="216"/>
                </a:lnTo>
                <a:lnTo>
                  <a:pt x="991" y="214"/>
                </a:lnTo>
                <a:lnTo>
                  <a:pt x="991" y="214"/>
                </a:lnTo>
                <a:lnTo>
                  <a:pt x="991" y="212"/>
                </a:lnTo>
                <a:lnTo>
                  <a:pt x="991" y="212"/>
                </a:lnTo>
                <a:lnTo>
                  <a:pt x="994" y="212"/>
                </a:lnTo>
                <a:lnTo>
                  <a:pt x="994" y="212"/>
                </a:lnTo>
                <a:lnTo>
                  <a:pt x="999" y="209"/>
                </a:lnTo>
                <a:lnTo>
                  <a:pt x="999" y="209"/>
                </a:lnTo>
                <a:lnTo>
                  <a:pt x="1001" y="209"/>
                </a:lnTo>
                <a:lnTo>
                  <a:pt x="1001" y="209"/>
                </a:lnTo>
                <a:lnTo>
                  <a:pt x="1001" y="204"/>
                </a:lnTo>
                <a:lnTo>
                  <a:pt x="1001" y="204"/>
                </a:lnTo>
                <a:lnTo>
                  <a:pt x="1004" y="202"/>
                </a:lnTo>
                <a:lnTo>
                  <a:pt x="1004" y="202"/>
                </a:lnTo>
                <a:lnTo>
                  <a:pt x="1006" y="197"/>
                </a:lnTo>
                <a:lnTo>
                  <a:pt x="1006" y="197"/>
                </a:lnTo>
                <a:lnTo>
                  <a:pt x="1009" y="197"/>
                </a:lnTo>
                <a:lnTo>
                  <a:pt x="1009" y="197"/>
                </a:lnTo>
                <a:lnTo>
                  <a:pt x="1016" y="194"/>
                </a:lnTo>
                <a:lnTo>
                  <a:pt x="1016" y="194"/>
                </a:lnTo>
                <a:lnTo>
                  <a:pt x="1021" y="197"/>
                </a:lnTo>
                <a:lnTo>
                  <a:pt x="1021" y="197"/>
                </a:lnTo>
                <a:lnTo>
                  <a:pt x="1023" y="194"/>
                </a:lnTo>
                <a:lnTo>
                  <a:pt x="1023" y="194"/>
                </a:lnTo>
                <a:lnTo>
                  <a:pt x="1026" y="194"/>
                </a:lnTo>
                <a:lnTo>
                  <a:pt x="1026" y="194"/>
                </a:lnTo>
                <a:lnTo>
                  <a:pt x="1028" y="192"/>
                </a:lnTo>
                <a:lnTo>
                  <a:pt x="1028" y="192"/>
                </a:lnTo>
                <a:lnTo>
                  <a:pt x="1031" y="192"/>
                </a:lnTo>
                <a:lnTo>
                  <a:pt x="1031" y="192"/>
                </a:lnTo>
                <a:lnTo>
                  <a:pt x="1031" y="194"/>
                </a:lnTo>
                <a:lnTo>
                  <a:pt x="1031" y="194"/>
                </a:lnTo>
                <a:lnTo>
                  <a:pt x="1036" y="197"/>
                </a:lnTo>
                <a:lnTo>
                  <a:pt x="1036" y="197"/>
                </a:lnTo>
                <a:lnTo>
                  <a:pt x="1036" y="197"/>
                </a:lnTo>
                <a:lnTo>
                  <a:pt x="1043" y="202"/>
                </a:lnTo>
                <a:lnTo>
                  <a:pt x="1043" y="202"/>
                </a:lnTo>
                <a:lnTo>
                  <a:pt x="1045" y="204"/>
                </a:lnTo>
                <a:lnTo>
                  <a:pt x="1045" y="204"/>
                </a:lnTo>
                <a:lnTo>
                  <a:pt x="1045" y="207"/>
                </a:lnTo>
                <a:lnTo>
                  <a:pt x="1045" y="207"/>
                </a:lnTo>
                <a:lnTo>
                  <a:pt x="1048" y="207"/>
                </a:lnTo>
                <a:lnTo>
                  <a:pt x="1048" y="207"/>
                </a:lnTo>
                <a:lnTo>
                  <a:pt x="1053" y="214"/>
                </a:lnTo>
                <a:lnTo>
                  <a:pt x="1053" y="214"/>
                </a:lnTo>
                <a:lnTo>
                  <a:pt x="1053" y="209"/>
                </a:lnTo>
                <a:lnTo>
                  <a:pt x="1053" y="209"/>
                </a:lnTo>
                <a:lnTo>
                  <a:pt x="1055" y="209"/>
                </a:lnTo>
                <a:lnTo>
                  <a:pt x="1055" y="209"/>
                </a:lnTo>
                <a:lnTo>
                  <a:pt x="1055" y="207"/>
                </a:lnTo>
                <a:lnTo>
                  <a:pt x="1055" y="207"/>
                </a:lnTo>
                <a:lnTo>
                  <a:pt x="1050" y="207"/>
                </a:lnTo>
                <a:lnTo>
                  <a:pt x="1050" y="207"/>
                </a:lnTo>
                <a:lnTo>
                  <a:pt x="1050" y="207"/>
                </a:lnTo>
                <a:lnTo>
                  <a:pt x="1050" y="204"/>
                </a:lnTo>
                <a:lnTo>
                  <a:pt x="1050" y="204"/>
                </a:lnTo>
                <a:lnTo>
                  <a:pt x="1053" y="202"/>
                </a:lnTo>
                <a:lnTo>
                  <a:pt x="1053" y="202"/>
                </a:lnTo>
                <a:lnTo>
                  <a:pt x="1058" y="202"/>
                </a:lnTo>
                <a:lnTo>
                  <a:pt x="1058" y="202"/>
                </a:lnTo>
                <a:lnTo>
                  <a:pt x="1063" y="204"/>
                </a:lnTo>
                <a:lnTo>
                  <a:pt x="1063" y="204"/>
                </a:lnTo>
                <a:lnTo>
                  <a:pt x="1063" y="202"/>
                </a:lnTo>
                <a:lnTo>
                  <a:pt x="1063" y="202"/>
                </a:lnTo>
                <a:lnTo>
                  <a:pt x="1063" y="199"/>
                </a:lnTo>
                <a:lnTo>
                  <a:pt x="1063" y="199"/>
                </a:lnTo>
                <a:lnTo>
                  <a:pt x="1065" y="197"/>
                </a:lnTo>
                <a:lnTo>
                  <a:pt x="1065" y="197"/>
                </a:lnTo>
                <a:lnTo>
                  <a:pt x="1065" y="194"/>
                </a:lnTo>
                <a:lnTo>
                  <a:pt x="1065" y="194"/>
                </a:lnTo>
                <a:lnTo>
                  <a:pt x="1063" y="194"/>
                </a:lnTo>
                <a:lnTo>
                  <a:pt x="1063" y="194"/>
                </a:lnTo>
                <a:lnTo>
                  <a:pt x="1063" y="197"/>
                </a:lnTo>
                <a:lnTo>
                  <a:pt x="1063" y="197"/>
                </a:lnTo>
                <a:lnTo>
                  <a:pt x="1058" y="199"/>
                </a:lnTo>
                <a:lnTo>
                  <a:pt x="1058" y="199"/>
                </a:lnTo>
                <a:lnTo>
                  <a:pt x="1058" y="202"/>
                </a:lnTo>
                <a:lnTo>
                  <a:pt x="1058" y="202"/>
                </a:lnTo>
                <a:lnTo>
                  <a:pt x="1050" y="199"/>
                </a:lnTo>
                <a:lnTo>
                  <a:pt x="1050" y="199"/>
                </a:lnTo>
                <a:lnTo>
                  <a:pt x="1045" y="199"/>
                </a:lnTo>
                <a:lnTo>
                  <a:pt x="1045" y="199"/>
                </a:lnTo>
                <a:lnTo>
                  <a:pt x="1045" y="197"/>
                </a:lnTo>
                <a:lnTo>
                  <a:pt x="1045" y="197"/>
                </a:lnTo>
                <a:lnTo>
                  <a:pt x="1043" y="197"/>
                </a:lnTo>
                <a:lnTo>
                  <a:pt x="1043" y="197"/>
                </a:lnTo>
                <a:lnTo>
                  <a:pt x="1038" y="197"/>
                </a:lnTo>
                <a:lnTo>
                  <a:pt x="1038" y="197"/>
                </a:lnTo>
                <a:lnTo>
                  <a:pt x="1033" y="189"/>
                </a:lnTo>
                <a:lnTo>
                  <a:pt x="1033" y="189"/>
                </a:lnTo>
                <a:lnTo>
                  <a:pt x="1033" y="184"/>
                </a:lnTo>
                <a:lnTo>
                  <a:pt x="1033" y="184"/>
                </a:lnTo>
                <a:lnTo>
                  <a:pt x="1036" y="182"/>
                </a:lnTo>
                <a:lnTo>
                  <a:pt x="1036" y="182"/>
                </a:lnTo>
                <a:lnTo>
                  <a:pt x="1038" y="184"/>
                </a:lnTo>
                <a:lnTo>
                  <a:pt x="1038" y="184"/>
                </a:lnTo>
                <a:lnTo>
                  <a:pt x="1038" y="187"/>
                </a:lnTo>
                <a:lnTo>
                  <a:pt x="1038" y="187"/>
                </a:lnTo>
                <a:lnTo>
                  <a:pt x="1041" y="189"/>
                </a:lnTo>
                <a:lnTo>
                  <a:pt x="1041" y="189"/>
                </a:lnTo>
                <a:lnTo>
                  <a:pt x="1043" y="184"/>
                </a:lnTo>
                <a:lnTo>
                  <a:pt x="1043" y="184"/>
                </a:lnTo>
                <a:lnTo>
                  <a:pt x="1043" y="182"/>
                </a:lnTo>
                <a:lnTo>
                  <a:pt x="1043" y="182"/>
                </a:lnTo>
                <a:lnTo>
                  <a:pt x="1041" y="182"/>
                </a:lnTo>
                <a:lnTo>
                  <a:pt x="1041" y="182"/>
                </a:lnTo>
                <a:lnTo>
                  <a:pt x="1041" y="182"/>
                </a:lnTo>
                <a:lnTo>
                  <a:pt x="1041" y="177"/>
                </a:lnTo>
                <a:lnTo>
                  <a:pt x="1041" y="177"/>
                </a:lnTo>
                <a:lnTo>
                  <a:pt x="1043" y="172"/>
                </a:lnTo>
                <a:lnTo>
                  <a:pt x="1043" y="172"/>
                </a:lnTo>
                <a:lnTo>
                  <a:pt x="1043" y="170"/>
                </a:lnTo>
                <a:lnTo>
                  <a:pt x="1043" y="170"/>
                </a:lnTo>
                <a:lnTo>
                  <a:pt x="1045" y="165"/>
                </a:lnTo>
                <a:lnTo>
                  <a:pt x="1045" y="165"/>
                </a:lnTo>
                <a:lnTo>
                  <a:pt x="1043" y="155"/>
                </a:lnTo>
                <a:lnTo>
                  <a:pt x="1043" y="155"/>
                </a:lnTo>
                <a:lnTo>
                  <a:pt x="1043" y="152"/>
                </a:lnTo>
                <a:lnTo>
                  <a:pt x="1043" y="152"/>
                </a:lnTo>
                <a:lnTo>
                  <a:pt x="1041" y="150"/>
                </a:lnTo>
                <a:lnTo>
                  <a:pt x="1041" y="150"/>
                </a:lnTo>
                <a:lnTo>
                  <a:pt x="1041" y="148"/>
                </a:lnTo>
                <a:lnTo>
                  <a:pt x="1041" y="148"/>
                </a:lnTo>
                <a:lnTo>
                  <a:pt x="1041" y="145"/>
                </a:lnTo>
                <a:lnTo>
                  <a:pt x="1041" y="145"/>
                </a:lnTo>
                <a:lnTo>
                  <a:pt x="1043" y="145"/>
                </a:lnTo>
                <a:lnTo>
                  <a:pt x="1043" y="145"/>
                </a:lnTo>
                <a:lnTo>
                  <a:pt x="1043" y="143"/>
                </a:lnTo>
                <a:lnTo>
                  <a:pt x="1043" y="143"/>
                </a:lnTo>
                <a:lnTo>
                  <a:pt x="1045" y="145"/>
                </a:lnTo>
                <a:lnTo>
                  <a:pt x="1045" y="145"/>
                </a:lnTo>
                <a:lnTo>
                  <a:pt x="1048" y="145"/>
                </a:lnTo>
                <a:lnTo>
                  <a:pt x="1048" y="145"/>
                </a:lnTo>
                <a:lnTo>
                  <a:pt x="1050" y="150"/>
                </a:lnTo>
                <a:lnTo>
                  <a:pt x="1050" y="150"/>
                </a:lnTo>
                <a:lnTo>
                  <a:pt x="1050" y="148"/>
                </a:lnTo>
                <a:lnTo>
                  <a:pt x="1050" y="148"/>
                </a:lnTo>
                <a:lnTo>
                  <a:pt x="1050" y="145"/>
                </a:lnTo>
                <a:lnTo>
                  <a:pt x="1050" y="145"/>
                </a:lnTo>
                <a:lnTo>
                  <a:pt x="1048" y="143"/>
                </a:lnTo>
                <a:lnTo>
                  <a:pt x="1048" y="143"/>
                </a:lnTo>
                <a:lnTo>
                  <a:pt x="1045" y="143"/>
                </a:lnTo>
                <a:lnTo>
                  <a:pt x="1045" y="143"/>
                </a:lnTo>
                <a:lnTo>
                  <a:pt x="1043" y="140"/>
                </a:lnTo>
                <a:lnTo>
                  <a:pt x="1043" y="140"/>
                </a:lnTo>
                <a:lnTo>
                  <a:pt x="1043" y="138"/>
                </a:lnTo>
                <a:lnTo>
                  <a:pt x="1043" y="138"/>
                </a:lnTo>
                <a:lnTo>
                  <a:pt x="1045" y="133"/>
                </a:lnTo>
                <a:lnTo>
                  <a:pt x="1045" y="133"/>
                </a:lnTo>
                <a:lnTo>
                  <a:pt x="1055" y="123"/>
                </a:lnTo>
                <a:lnTo>
                  <a:pt x="1055" y="123"/>
                </a:lnTo>
                <a:lnTo>
                  <a:pt x="1058" y="123"/>
                </a:lnTo>
                <a:lnTo>
                  <a:pt x="1058" y="123"/>
                </a:lnTo>
                <a:lnTo>
                  <a:pt x="1060" y="123"/>
                </a:lnTo>
                <a:lnTo>
                  <a:pt x="1060" y="123"/>
                </a:lnTo>
                <a:lnTo>
                  <a:pt x="1063" y="125"/>
                </a:lnTo>
                <a:lnTo>
                  <a:pt x="1063" y="125"/>
                </a:lnTo>
                <a:lnTo>
                  <a:pt x="1065" y="130"/>
                </a:lnTo>
                <a:lnTo>
                  <a:pt x="1065" y="130"/>
                </a:lnTo>
                <a:lnTo>
                  <a:pt x="1068" y="130"/>
                </a:lnTo>
                <a:lnTo>
                  <a:pt x="1068" y="130"/>
                </a:lnTo>
                <a:lnTo>
                  <a:pt x="1075" y="133"/>
                </a:lnTo>
                <a:lnTo>
                  <a:pt x="1075" y="133"/>
                </a:lnTo>
                <a:lnTo>
                  <a:pt x="1075" y="138"/>
                </a:lnTo>
                <a:lnTo>
                  <a:pt x="1075" y="138"/>
                </a:lnTo>
                <a:lnTo>
                  <a:pt x="1080" y="140"/>
                </a:lnTo>
                <a:lnTo>
                  <a:pt x="1080" y="140"/>
                </a:lnTo>
                <a:lnTo>
                  <a:pt x="1080" y="148"/>
                </a:lnTo>
                <a:lnTo>
                  <a:pt x="1080" y="148"/>
                </a:lnTo>
                <a:lnTo>
                  <a:pt x="1080" y="155"/>
                </a:lnTo>
                <a:lnTo>
                  <a:pt x="1080" y="155"/>
                </a:lnTo>
                <a:lnTo>
                  <a:pt x="1080" y="160"/>
                </a:lnTo>
                <a:lnTo>
                  <a:pt x="1080" y="160"/>
                </a:lnTo>
                <a:lnTo>
                  <a:pt x="1082" y="162"/>
                </a:lnTo>
                <a:lnTo>
                  <a:pt x="1082" y="162"/>
                </a:lnTo>
                <a:lnTo>
                  <a:pt x="1085" y="160"/>
                </a:lnTo>
                <a:lnTo>
                  <a:pt x="1085" y="160"/>
                </a:lnTo>
                <a:lnTo>
                  <a:pt x="1085" y="160"/>
                </a:lnTo>
                <a:lnTo>
                  <a:pt x="1087" y="162"/>
                </a:lnTo>
                <a:lnTo>
                  <a:pt x="1087" y="162"/>
                </a:lnTo>
                <a:lnTo>
                  <a:pt x="1090" y="165"/>
                </a:lnTo>
                <a:lnTo>
                  <a:pt x="1090" y="165"/>
                </a:lnTo>
                <a:lnTo>
                  <a:pt x="1090" y="165"/>
                </a:lnTo>
                <a:lnTo>
                  <a:pt x="1092" y="162"/>
                </a:lnTo>
                <a:lnTo>
                  <a:pt x="1092" y="162"/>
                </a:lnTo>
                <a:lnTo>
                  <a:pt x="1095" y="162"/>
                </a:lnTo>
                <a:lnTo>
                  <a:pt x="1095" y="162"/>
                </a:lnTo>
                <a:lnTo>
                  <a:pt x="1092" y="162"/>
                </a:lnTo>
                <a:lnTo>
                  <a:pt x="1092" y="162"/>
                </a:lnTo>
                <a:lnTo>
                  <a:pt x="1090" y="160"/>
                </a:lnTo>
                <a:lnTo>
                  <a:pt x="1090" y="160"/>
                </a:lnTo>
                <a:lnTo>
                  <a:pt x="1087" y="157"/>
                </a:lnTo>
                <a:lnTo>
                  <a:pt x="1087" y="157"/>
                </a:lnTo>
                <a:lnTo>
                  <a:pt x="1085" y="157"/>
                </a:lnTo>
                <a:lnTo>
                  <a:pt x="1085" y="157"/>
                </a:lnTo>
                <a:lnTo>
                  <a:pt x="1085" y="155"/>
                </a:lnTo>
                <a:lnTo>
                  <a:pt x="1085" y="155"/>
                </a:lnTo>
                <a:lnTo>
                  <a:pt x="1087" y="152"/>
                </a:lnTo>
                <a:lnTo>
                  <a:pt x="1087" y="152"/>
                </a:lnTo>
                <a:lnTo>
                  <a:pt x="1087" y="150"/>
                </a:lnTo>
                <a:lnTo>
                  <a:pt x="1087" y="150"/>
                </a:lnTo>
                <a:lnTo>
                  <a:pt x="1087" y="138"/>
                </a:lnTo>
                <a:lnTo>
                  <a:pt x="1087" y="138"/>
                </a:lnTo>
                <a:lnTo>
                  <a:pt x="1085" y="135"/>
                </a:lnTo>
                <a:lnTo>
                  <a:pt x="1085" y="135"/>
                </a:lnTo>
                <a:lnTo>
                  <a:pt x="1087" y="133"/>
                </a:lnTo>
                <a:lnTo>
                  <a:pt x="1087" y="133"/>
                </a:lnTo>
                <a:lnTo>
                  <a:pt x="1092" y="133"/>
                </a:lnTo>
                <a:lnTo>
                  <a:pt x="1092" y="133"/>
                </a:lnTo>
                <a:lnTo>
                  <a:pt x="1095" y="133"/>
                </a:lnTo>
                <a:lnTo>
                  <a:pt x="1095" y="133"/>
                </a:lnTo>
                <a:lnTo>
                  <a:pt x="1100" y="135"/>
                </a:lnTo>
                <a:lnTo>
                  <a:pt x="1100" y="135"/>
                </a:lnTo>
                <a:lnTo>
                  <a:pt x="1102" y="135"/>
                </a:lnTo>
                <a:lnTo>
                  <a:pt x="1102" y="135"/>
                </a:lnTo>
                <a:lnTo>
                  <a:pt x="1107" y="135"/>
                </a:lnTo>
                <a:lnTo>
                  <a:pt x="1107" y="135"/>
                </a:lnTo>
                <a:lnTo>
                  <a:pt x="1114" y="135"/>
                </a:lnTo>
                <a:lnTo>
                  <a:pt x="1114" y="135"/>
                </a:lnTo>
                <a:lnTo>
                  <a:pt x="1119" y="133"/>
                </a:lnTo>
                <a:lnTo>
                  <a:pt x="1119" y="133"/>
                </a:lnTo>
                <a:lnTo>
                  <a:pt x="1122" y="135"/>
                </a:lnTo>
                <a:lnTo>
                  <a:pt x="1122" y="135"/>
                </a:lnTo>
                <a:lnTo>
                  <a:pt x="1124" y="138"/>
                </a:lnTo>
                <a:lnTo>
                  <a:pt x="1124" y="138"/>
                </a:lnTo>
                <a:lnTo>
                  <a:pt x="1132" y="138"/>
                </a:lnTo>
                <a:lnTo>
                  <a:pt x="1132" y="138"/>
                </a:lnTo>
                <a:lnTo>
                  <a:pt x="1134" y="140"/>
                </a:lnTo>
                <a:lnTo>
                  <a:pt x="1134" y="140"/>
                </a:lnTo>
                <a:lnTo>
                  <a:pt x="1136" y="138"/>
                </a:lnTo>
                <a:lnTo>
                  <a:pt x="1136" y="138"/>
                </a:lnTo>
                <a:lnTo>
                  <a:pt x="1136" y="138"/>
                </a:lnTo>
                <a:lnTo>
                  <a:pt x="1134" y="135"/>
                </a:lnTo>
                <a:lnTo>
                  <a:pt x="1134" y="135"/>
                </a:lnTo>
                <a:lnTo>
                  <a:pt x="1129" y="135"/>
                </a:lnTo>
                <a:lnTo>
                  <a:pt x="1129" y="135"/>
                </a:lnTo>
                <a:lnTo>
                  <a:pt x="1124" y="133"/>
                </a:lnTo>
                <a:lnTo>
                  <a:pt x="1124" y="133"/>
                </a:lnTo>
                <a:lnTo>
                  <a:pt x="1124" y="133"/>
                </a:lnTo>
                <a:lnTo>
                  <a:pt x="1124" y="130"/>
                </a:lnTo>
                <a:lnTo>
                  <a:pt x="1124" y="130"/>
                </a:lnTo>
                <a:lnTo>
                  <a:pt x="1127" y="130"/>
                </a:lnTo>
                <a:lnTo>
                  <a:pt x="1127" y="130"/>
                </a:lnTo>
                <a:lnTo>
                  <a:pt x="1132" y="130"/>
                </a:lnTo>
                <a:lnTo>
                  <a:pt x="1132" y="130"/>
                </a:lnTo>
                <a:lnTo>
                  <a:pt x="1141" y="128"/>
                </a:lnTo>
                <a:lnTo>
                  <a:pt x="1141" y="128"/>
                </a:lnTo>
                <a:lnTo>
                  <a:pt x="1149" y="128"/>
                </a:lnTo>
                <a:lnTo>
                  <a:pt x="1149" y="128"/>
                </a:lnTo>
                <a:lnTo>
                  <a:pt x="1154" y="130"/>
                </a:lnTo>
                <a:lnTo>
                  <a:pt x="1154" y="130"/>
                </a:lnTo>
                <a:lnTo>
                  <a:pt x="1159" y="133"/>
                </a:lnTo>
                <a:lnTo>
                  <a:pt x="1159" y="133"/>
                </a:lnTo>
                <a:lnTo>
                  <a:pt x="1161" y="130"/>
                </a:lnTo>
                <a:lnTo>
                  <a:pt x="1161" y="130"/>
                </a:lnTo>
                <a:lnTo>
                  <a:pt x="1164" y="130"/>
                </a:lnTo>
                <a:lnTo>
                  <a:pt x="1164" y="130"/>
                </a:lnTo>
                <a:lnTo>
                  <a:pt x="1161" y="128"/>
                </a:lnTo>
                <a:lnTo>
                  <a:pt x="1161" y="128"/>
                </a:lnTo>
                <a:lnTo>
                  <a:pt x="1161" y="128"/>
                </a:lnTo>
                <a:lnTo>
                  <a:pt x="1159" y="128"/>
                </a:lnTo>
                <a:lnTo>
                  <a:pt x="1159" y="128"/>
                </a:lnTo>
                <a:lnTo>
                  <a:pt x="1159" y="125"/>
                </a:lnTo>
                <a:lnTo>
                  <a:pt x="1159" y="125"/>
                </a:lnTo>
                <a:lnTo>
                  <a:pt x="1156" y="123"/>
                </a:lnTo>
                <a:lnTo>
                  <a:pt x="1156" y="123"/>
                </a:lnTo>
                <a:lnTo>
                  <a:pt x="1151" y="123"/>
                </a:lnTo>
                <a:lnTo>
                  <a:pt x="1151" y="123"/>
                </a:lnTo>
                <a:lnTo>
                  <a:pt x="1149" y="123"/>
                </a:lnTo>
                <a:lnTo>
                  <a:pt x="1149" y="123"/>
                </a:lnTo>
                <a:lnTo>
                  <a:pt x="1141" y="123"/>
                </a:lnTo>
                <a:lnTo>
                  <a:pt x="1141" y="123"/>
                </a:lnTo>
                <a:lnTo>
                  <a:pt x="1141" y="123"/>
                </a:lnTo>
                <a:lnTo>
                  <a:pt x="1144" y="121"/>
                </a:lnTo>
                <a:lnTo>
                  <a:pt x="1144" y="121"/>
                </a:lnTo>
                <a:lnTo>
                  <a:pt x="1144" y="116"/>
                </a:lnTo>
                <a:lnTo>
                  <a:pt x="1144" y="116"/>
                </a:lnTo>
                <a:lnTo>
                  <a:pt x="1149" y="116"/>
                </a:lnTo>
                <a:lnTo>
                  <a:pt x="1149" y="116"/>
                </a:lnTo>
                <a:lnTo>
                  <a:pt x="1151" y="113"/>
                </a:lnTo>
                <a:lnTo>
                  <a:pt x="1151" y="113"/>
                </a:lnTo>
                <a:lnTo>
                  <a:pt x="1154" y="108"/>
                </a:lnTo>
                <a:lnTo>
                  <a:pt x="1154" y="108"/>
                </a:lnTo>
                <a:lnTo>
                  <a:pt x="1161" y="103"/>
                </a:lnTo>
                <a:lnTo>
                  <a:pt x="1161" y="103"/>
                </a:lnTo>
                <a:lnTo>
                  <a:pt x="1166" y="103"/>
                </a:lnTo>
                <a:lnTo>
                  <a:pt x="1166" y="103"/>
                </a:lnTo>
                <a:lnTo>
                  <a:pt x="1173" y="101"/>
                </a:lnTo>
                <a:lnTo>
                  <a:pt x="1173" y="101"/>
                </a:lnTo>
                <a:lnTo>
                  <a:pt x="1173" y="98"/>
                </a:lnTo>
                <a:lnTo>
                  <a:pt x="1173" y="98"/>
                </a:lnTo>
                <a:lnTo>
                  <a:pt x="1164" y="103"/>
                </a:lnTo>
                <a:lnTo>
                  <a:pt x="1164" y="103"/>
                </a:lnTo>
                <a:lnTo>
                  <a:pt x="1159" y="103"/>
                </a:lnTo>
                <a:lnTo>
                  <a:pt x="1159" y="103"/>
                </a:lnTo>
                <a:lnTo>
                  <a:pt x="1151" y="108"/>
                </a:lnTo>
                <a:lnTo>
                  <a:pt x="1151" y="108"/>
                </a:lnTo>
                <a:lnTo>
                  <a:pt x="1149" y="113"/>
                </a:lnTo>
                <a:lnTo>
                  <a:pt x="1149" y="113"/>
                </a:lnTo>
                <a:lnTo>
                  <a:pt x="1149" y="113"/>
                </a:lnTo>
                <a:lnTo>
                  <a:pt x="1146" y="108"/>
                </a:lnTo>
                <a:lnTo>
                  <a:pt x="1146" y="108"/>
                </a:lnTo>
                <a:lnTo>
                  <a:pt x="1146" y="108"/>
                </a:lnTo>
                <a:lnTo>
                  <a:pt x="1144" y="111"/>
                </a:lnTo>
                <a:lnTo>
                  <a:pt x="1144" y="111"/>
                </a:lnTo>
                <a:lnTo>
                  <a:pt x="1141" y="113"/>
                </a:lnTo>
                <a:lnTo>
                  <a:pt x="1141" y="113"/>
                </a:lnTo>
                <a:lnTo>
                  <a:pt x="1136" y="118"/>
                </a:lnTo>
                <a:lnTo>
                  <a:pt x="1136" y="118"/>
                </a:lnTo>
                <a:lnTo>
                  <a:pt x="1139" y="118"/>
                </a:lnTo>
                <a:lnTo>
                  <a:pt x="1139" y="118"/>
                </a:lnTo>
                <a:lnTo>
                  <a:pt x="1139" y="118"/>
                </a:lnTo>
                <a:lnTo>
                  <a:pt x="1134" y="123"/>
                </a:lnTo>
                <a:lnTo>
                  <a:pt x="1134" y="123"/>
                </a:lnTo>
                <a:lnTo>
                  <a:pt x="1132" y="123"/>
                </a:lnTo>
                <a:lnTo>
                  <a:pt x="1132" y="123"/>
                </a:lnTo>
                <a:lnTo>
                  <a:pt x="1119" y="128"/>
                </a:lnTo>
                <a:lnTo>
                  <a:pt x="1119" y="128"/>
                </a:lnTo>
                <a:lnTo>
                  <a:pt x="1117" y="128"/>
                </a:lnTo>
                <a:lnTo>
                  <a:pt x="1117" y="128"/>
                </a:lnTo>
                <a:lnTo>
                  <a:pt x="1114" y="128"/>
                </a:lnTo>
                <a:lnTo>
                  <a:pt x="1114" y="128"/>
                </a:lnTo>
                <a:lnTo>
                  <a:pt x="1104" y="128"/>
                </a:lnTo>
                <a:lnTo>
                  <a:pt x="1104" y="128"/>
                </a:lnTo>
                <a:lnTo>
                  <a:pt x="1100" y="123"/>
                </a:lnTo>
                <a:lnTo>
                  <a:pt x="1100" y="123"/>
                </a:lnTo>
                <a:lnTo>
                  <a:pt x="1097" y="125"/>
                </a:lnTo>
                <a:lnTo>
                  <a:pt x="1097" y="125"/>
                </a:lnTo>
                <a:lnTo>
                  <a:pt x="1095" y="125"/>
                </a:lnTo>
                <a:lnTo>
                  <a:pt x="1095" y="125"/>
                </a:lnTo>
                <a:lnTo>
                  <a:pt x="1092" y="121"/>
                </a:lnTo>
                <a:lnTo>
                  <a:pt x="1092" y="121"/>
                </a:lnTo>
                <a:lnTo>
                  <a:pt x="1097" y="118"/>
                </a:lnTo>
                <a:lnTo>
                  <a:pt x="1097" y="118"/>
                </a:lnTo>
                <a:lnTo>
                  <a:pt x="1102" y="118"/>
                </a:lnTo>
                <a:lnTo>
                  <a:pt x="1102" y="118"/>
                </a:lnTo>
                <a:lnTo>
                  <a:pt x="1104" y="116"/>
                </a:lnTo>
                <a:lnTo>
                  <a:pt x="1104" y="116"/>
                </a:lnTo>
                <a:lnTo>
                  <a:pt x="1109" y="116"/>
                </a:lnTo>
                <a:lnTo>
                  <a:pt x="1109" y="116"/>
                </a:lnTo>
                <a:lnTo>
                  <a:pt x="1112" y="113"/>
                </a:lnTo>
                <a:lnTo>
                  <a:pt x="1112" y="113"/>
                </a:lnTo>
                <a:lnTo>
                  <a:pt x="1109" y="113"/>
                </a:lnTo>
                <a:lnTo>
                  <a:pt x="1109" y="113"/>
                </a:lnTo>
                <a:lnTo>
                  <a:pt x="1107" y="116"/>
                </a:lnTo>
                <a:lnTo>
                  <a:pt x="1107" y="116"/>
                </a:lnTo>
                <a:lnTo>
                  <a:pt x="1102" y="113"/>
                </a:lnTo>
                <a:lnTo>
                  <a:pt x="1102" y="113"/>
                </a:lnTo>
                <a:lnTo>
                  <a:pt x="1100" y="116"/>
                </a:lnTo>
                <a:lnTo>
                  <a:pt x="1100" y="116"/>
                </a:lnTo>
                <a:lnTo>
                  <a:pt x="1097" y="116"/>
                </a:lnTo>
                <a:lnTo>
                  <a:pt x="1097" y="116"/>
                </a:lnTo>
                <a:lnTo>
                  <a:pt x="1097" y="113"/>
                </a:lnTo>
                <a:lnTo>
                  <a:pt x="1097" y="113"/>
                </a:lnTo>
                <a:lnTo>
                  <a:pt x="1100" y="111"/>
                </a:lnTo>
                <a:lnTo>
                  <a:pt x="1100" y="111"/>
                </a:lnTo>
                <a:lnTo>
                  <a:pt x="1097" y="111"/>
                </a:lnTo>
                <a:lnTo>
                  <a:pt x="1097" y="111"/>
                </a:lnTo>
                <a:lnTo>
                  <a:pt x="1092" y="111"/>
                </a:lnTo>
                <a:lnTo>
                  <a:pt x="1092" y="111"/>
                </a:lnTo>
                <a:lnTo>
                  <a:pt x="1092" y="116"/>
                </a:lnTo>
                <a:lnTo>
                  <a:pt x="1092" y="116"/>
                </a:lnTo>
                <a:lnTo>
                  <a:pt x="1087" y="121"/>
                </a:lnTo>
                <a:lnTo>
                  <a:pt x="1087" y="121"/>
                </a:lnTo>
                <a:lnTo>
                  <a:pt x="1082" y="121"/>
                </a:lnTo>
                <a:lnTo>
                  <a:pt x="1082" y="121"/>
                </a:lnTo>
                <a:lnTo>
                  <a:pt x="1075" y="118"/>
                </a:lnTo>
                <a:lnTo>
                  <a:pt x="1075" y="118"/>
                </a:lnTo>
                <a:lnTo>
                  <a:pt x="1070" y="118"/>
                </a:lnTo>
                <a:lnTo>
                  <a:pt x="1070" y="118"/>
                </a:lnTo>
                <a:lnTo>
                  <a:pt x="1068" y="116"/>
                </a:lnTo>
                <a:lnTo>
                  <a:pt x="1068" y="116"/>
                </a:lnTo>
                <a:lnTo>
                  <a:pt x="1068" y="113"/>
                </a:lnTo>
                <a:lnTo>
                  <a:pt x="1068" y="113"/>
                </a:lnTo>
                <a:lnTo>
                  <a:pt x="1063" y="113"/>
                </a:lnTo>
                <a:lnTo>
                  <a:pt x="1063" y="113"/>
                </a:lnTo>
                <a:lnTo>
                  <a:pt x="1060" y="111"/>
                </a:lnTo>
                <a:lnTo>
                  <a:pt x="1060" y="111"/>
                </a:lnTo>
                <a:lnTo>
                  <a:pt x="1060" y="108"/>
                </a:lnTo>
                <a:lnTo>
                  <a:pt x="1060" y="108"/>
                </a:lnTo>
                <a:lnTo>
                  <a:pt x="1063" y="106"/>
                </a:lnTo>
                <a:lnTo>
                  <a:pt x="1063" y="106"/>
                </a:lnTo>
                <a:lnTo>
                  <a:pt x="1065" y="103"/>
                </a:lnTo>
                <a:lnTo>
                  <a:pt x="1065" y="103"/>
                </a:lnTo>
                <a:lnTo>
                  <a:pt x="1070" y="101"/>
                </a:lnTo>
                <a:lnTo>
                  <a:pt x="1070" y="101"/>
                </a:lnTo>
                <a:lnTo>
                  <a:pt x="1072" y="96"/>
                </a:lnTo>
                <a:lnTo>
                  <a:pt x="1072" y="96"/>
                </a:lnTo>
                <a:lnTo>
                  <a:pt x="1077" y="93"/>
                </a:lnTo>
                <a:lnTo>
                  <a:pt x="1077" y="93"/>
                </a:lnTo>
                <a:lnTo>
                  <a:pt x="1077" y="93"/>
                </a:lnTo>
                <a:lnTo>
                  <a:pt x="1082" y="93"/>
                </a:lnTo>
                <a:lnTo>
                  <a:pt x="1082" y="93"/>
                </a:lnTo>
                <a:lnTo>
                  <a:pt x="1087" y="93"/>
                </a:lnTo>
                <a:lnTo>
                  <a:pt x="1087" y="93"/>
                </a:lnTo>
                <a:lnTo>
                  <a:pt x="1090" y="93"/>
                </a:lnTo>
                <a:lnTo>
                  <a:pt x="1090" y="93"/>
                </a:lnTo>
                <a:lnTo>
                  <a:pt x="1092" y="93"/>
                </a:lnTo>
                <a:lnTo>
                  <a:pt x="1092" y="93"/>
                </a:lnTo>
                <a:lnTo>
                  <a:pt x="1100" y="96"/>
                </a:lnTo>
                <a:lnTo>
                  <a:pt x="1100" y="96"/>
                </a:lnTo>
                <a:lnTo>
                  <a:pt x="1104" y="96"/>
                </a:lnTo>
                <a:lnTo>
                  <a:pt x="1104" y="96"/>
                </a:lnTo>
                <a:lnTo>
                  <a:pt x="1107" y="98"/>
                </a:lnTo>
                <a:lnTo>
                  <a:pt x="1107" y="98"/>
                </a:lnTo>
                <a:lnTo>
                  <a:pt x="1112" y="96"/>
                </a:lnTo>
                <a:lnTo>
                  <a:pt x="1112" y="96"/>
                </a:lnTo>
                <a:lnTo>
                  <a:pt x="1112" y="96"/>
                </a:lnTo>
                <a:lnTo>
                  <a:pt x="1109" y="93"/>
                </a:lnTo>
                <a:lnTo>
                  <a:pt x="1109" y="93"/>
                </a:lnTo>
                <a:lnTo>
                  <a:pt x="1104" y="96"/>
                </a:lnTo>
                <a:lnTo>
                  <a:pt x="1104" y="96"/>
                </a:lnTo>
                <a:lnTo>
                  <a:pt x="1097" y="93"/>
                </a:lnTo>
                <a:lnTo>
                  <a:pt x="1097" y="93"/>
                </a:lnTo>
                <a:lnTo>
                  <a:pt x="1095" y="91"/>
                </a:lnTo>
                <a:lnTo>
                  <a:pt x="1095" y="91"/>
                </a:lnTo>
                <a:lnTo>
                  <a:pt x="1090" y="91"/>
                </a:lnTo>
                <a:lnTo>
                  <a:pt x="1090" y="91"/>
                </a:lnTo>
                <a:lnTo>
                  <a:pt x="1085" y="91"/>
                </a:lnTo>
                <a:lnTo>
                  <a:pt x="1085" y="91"/>
                </a:lnTo>
                <a:lnTo>
                  <a:pt x="1077" y="91"/>
                </a:lnTo>
                <a:lnTo>
                  <a:pt x="1077" y="91"/>
                </a:lnTo>
                <a:lnTo>
                  <a:pt x="1075" y="91"/>
                </a:lnTo>
                <a:lnTo>
                  <a:pt x="1075" y="91"/>
                </a:lnTo>
                <a:lnTo>
                  <a:pt x="1075" y="91"/>
                </a:lnTo>
                <a:lnTo>
                  <a:pt x="1070" y="96"/>
                </a:lnTo>
                <a:lnTo>
                  <a:pt x="1070" y="96"/>
                </a:lnTo>
                <a:lnTo>
                  <a:pt x="1065" y="98"/>
                </a:lnTo>
                <a:lnTo>
                  <a:pt x="1065" y="98"/>
                </a:lnTo>
                <a:lnTo>
                  <a:pt x="1060" y="101"/>
                </a:lnTo>
                <a:lnTo>
                  <a:pt x="1060" y="101"/>
                </a:lnTo>
                <a:lnTo>
                  <a:pt x="1055" y="106"/>
                </a:lnTo>
                <a:lnTo>
                  <a:pt x="1055" y="106"/>
                </a:lnTo>
                <a:lnTo>
                  <a:pt x="1055" y="106"/>
                </a:lnTo>
                <a:lnTo>
                  <a:pt x="1053" y="106"/>
                </a:lnTo>
                <a:lnTo>
                  <a:pt x="1053" y="106"/>
                </a:lnTo>
                <a:lnTo>
                  <a:pt x="1048" y="101"/>
                </a:lnTo>
                <a:lnTo>
                  <a:pt x="1048" y="101"/>
                </a:lnTo>
                <a:lnTo>
                  <a:pt x="1045" y="101"/>
                </a:lnTo>
                <a:lnTo>
                  <a:pt x="1045" y="101"/>
                </a:lnTo>
                <a:lnTo>
                  <a:pt x="1045" y="98"/>
                </a:lnTo>
                <a:lnTo>
                  <a:pt x="1045" y="98"/>
                </a:lnTo>
                <a:lnTo>
                  <a:pt x="1043" y="93"/>
                </a:lnTo>
                <a:lnTo>
                  <a:pt x="1043" y="93"/>
                </a:lnTo>
                <a:lnTo>
                  <a:pt x="1043" y="91"/>
                </a:lnTo>
                <a:lnTo>
                  <a:pt x="1043" y="91"/>
                </a:lnTo>
                <a:lnTo>
                  <a:pt x="1041" y="89"/>
                </a:lnTo>
                <a:lnTo>
                  <a:pt x="1041" y="89"/>
                </a:lnTo>
                <a:lnTo>
                  <a:pt x="1041" y="84"/>
                </a:lnTo>
                <a:lnTo>
                  <a:pt x="1041" y="84"/>
                </a:lnTo>
                <a:lnTo>
                  <a:pt x="1043" y="84"/>
                </a:lnTo>
                <a:lnTo>
                  <a:pt x="1043" y="84"/>
                </a:lnTo>
                <a:lnTo>
                  <a:pt x="1045" y="84"/>
                </a:lnTo>
                <a:lnTo>
                  <a:pt x="1045" y="84"/>
                </a:lnTo>
                <a:lnTo>
                  <a:pt x="1048" y="84"/>
                </a:lnTo>
                <a:lnTo>
                  <a:pt x="1048" y="84"/>
                </a:lnTo>
                <a:lnTo>
                  <a:pt x="1050" y="84"/>
                </a:lnTo>
                <a:lnTo>
                  <a:pt x="1050" y="84"/>
                </a:lnTo>
                <a:lnTo>
                  <a:pt x="1060" y="84"/>
                </a:lnTo>
                <a:lnTo>
                  <a:pt x="1060" y="84"/>
                </a:lnTo>
                <a:lnTo>
                  <a:pt x="1065" y="86"/>
                </a:lnTo>
                <a:lnTo>
                  <a:pt x="1065" y="86"/>
                </a:lnTo>
                <a:lnTo>
                  <a:pt x="1068" y="86"/>
                </a:lnTo>
                <a:lnTo>
                  <a:pt x="1068" y="86"/>
                </a:lnTo>
                <a:lnTo>
                  <a:pt x="1068" y="89"/>
                </a:lnTo>
                <a:lnTo>
                  <a:pt x="1068" y="89"/>
                </a:lnTo>
                <a:lnTo>
                  <a:pt x="1072" y="89"/>
                </a:lnTo>
                <a:lnTo>
                  <a:pt x="1072" y="89"/>
                </a:lnTo>
                <a:lnTo>
                  <a:pt x="1075" y="86"/>
                </a:lnTo>
                <a:lnTo>
                  <a:pt x="1075" y="86"/>
                </a:lnTo>
                <a:lnTo>
                  <a:pt x="1080" y="89"/>
                </a:lnTo>
                <a:lnTo>
                  <a:pt x="1080" y="89"/>
                </a:lnTo>
                <a:lnTo>
                  <a:pt x="1080" y="86"/>
                </a:lnTo>
                <a:lnTo>
                  <a:pt x="1080" y="86"/>
                </a:lnTo>
                <a:lnTo>
                  <a:pt x="1082" y="86"/>
                </a:lnTo>
                <a:lnTo>
                  <a:pt x="1082" y="86"/>
                </a:lnTo>
                <a:lnTo>
                  <a:pt x="1085" y="84"/>
                </a:lnTo>
                <a:lnTo>
                  <a:pt x="1085" y="84"/>
                </a:lnTo>
                <a:lnTo>
                  <a:pt x="1090" y="84"/>
                </a:lnTo>
                <a:lnTo>
                  <a:pt x="1090" y="84"/>
                </a:lnTo>
                <a:lnTo>
                  <a:pt x="1097" y="84"/>
                </a:lnTo>
                <a:lnTo>
                  <a:pt x="1097" y="84"/>
                </a:lnTo>
                <a:lnTo>
                  <a:pt x="1097" y="81"/>
                </a:lnTo>
                <a:lnTo>
                  <a:pt x="1097" y="81"/>
                </a:lnTo>
                <a:lnTo>
                  <a:pt x="1097" y="79"/>
                </a:lnTo>
                <a:lnTo>
                  <a:pt x="1097" y="79"/>
                </a:lnTo>
                <a:lnTo>
                  <a:pt x="1095" y="79"/>
                </a:lnTo>
                <a:lnTo>
                  <a:pt x="1095" y="79"/>
                </a:lnTo>
                <a:lnTo>
                  <a:pt x="1095" y="81"/>
                </a:lnTo>
                <a:lnTo>
                  <a:pt x="1095" y="81"/>
                </a:lnTo>
                <a:lnTo>
                  <a:pt x="1092" y="81"/>
                </a:lnTo>
                <a:lnTo>
                  <a:pt x="1092" y="81"/>
                </a:lnTo>
                <a:lnTo>
                  <a:pt x="1087" y="81"/>
                </a:lnTo>
                <a:lnTo>
                  <a:pt x="1087" y="81"/>
                </a:lnTo>
                <a:lnTo>
                  <a:pt x="1082" y="81"/>
                </a:lnTo>
                <a:lnTo>
                  <a:pt x="1082" y="81"/>
                </a:lnTo>
                <a:lnTo>
                  <a:pt x="1077" y="84"/>
                </a:lnTo>
                <a:lnTo>
                  <a:pt x="1077" y="84"/>
                </a:lnTo>
                <a:lnTo>
                  <a:pt x="1075" y="86"/>
                </a:lnTo>
                <a:lnTo>
                  <a:pt x="1075" y="86"/>
                </a:lnTo>
                <a:lnTo>
                  <a:pt x="1070" y="84"/>
                </a:lnTo>
                <a:lnTo>
                  <a:pt x="1070" y="84"/>
                </a:lnTo>
                <a:lnTo>
                  <a:pt x="1068" y="86"/>
                </a:lnTo>
                <a:lnTo>
                  <a:pt x="1068" y="86"/>
                </a:lnTo>
                <a:lnTo>
                  <a:pt x="1065" y="86"/>
                </a:lnTo>
                <a:lnTo>
                  <a:pt x="1065" y="86"/>
                </a:lnTo>
                <a:lnTo>
                  <a:pt x="1063" y="81"/>
                </a:lnTo>
                <a:lnTo>
                  <a:pt x="1063" y="81"/>
                </a:lnTo>
                <a:lnTo>
                  <a:pt x="1060" y="81"/>
                </a:lnTo>
                <a:lnTo>
                  <a:pt x="1060" y="81"/>
                </a:lnTo>
                <a:lnTo>
                  <a:pt x="1060" y="81"/>
                </a:lnTo>
                <a:lnTo>
                  <a:pt x="1055" y="81"/>
                </a:lnTo>
                <a:lnTo>
                  <a:pt x="1055" y="81"/>
                </a:lnTo>
                <a:lnTo>
                  <a:pt x="1050" y="79"/>
                </a:lnTo>
                <a:lnTo>
                  <a:pt x="1050" y="79"/>
                </a:lnTo>
                <a:lnTo>
                  <a:pt x="1048" y="79"/>
                </a:lnTo>
                <a:lnTo>
                  <a:pt x="1048" y="79"/>
                </a:lnTo>
                <a:lnTo>
                  <a:pt x="1043" y="79"/>
                </a:lnTo>
                <a:lnTo>
                  <a:pt x="1043" y="79"/>
                </a:lnTo>
                <a:lnTo>
                  <a:pt x="1043" y="76"/>
                </a:lnTo>
                <a:lnTo>
                  <a:pt x="1043" y="76"/>
                </a:lnTo>
                <a:lnTo>
                  <a:pt x="1045" y="74"/>
                </a:lnTo>
                <a:lnTo>
                  <a:pt x="1045" y="74"/>
                </a:lnTo>
                <a:lnTo>
                  <a:pt x="1045" y="71"/>
                </a:lnTo>
                <a:lnTo>
                  <a:pt x="1045" y="71"/>
                </a:lnTo>
                <a:lnTo>
                  <a:pt x="1045" y="69"/>
                </a:lnTo>
                <a:lnTo>
                  <a:pt x="1045" y="69"/>
                </a:lnTo>
                <a:lnTo>
                  <a:pt x="1048" y="69"/>
                </a:lnTo>
                <a:lnTo>
                  <a:pt x="1048" y="69"/>
                </a:lnTo>
                <a:lnTo>
                  <a:pt x="1050" y="71"/>
                </a:lnTo>
                <a:lnTo>
                  <a:pt x="1050" y="71"/>
                </a:lnTo>
                <a:lnTo>
                  <a:pt x="1055" y="71"/>
                </a:lnTo>
                <a:lnTo>
                  <a:pt x="1055" y="71"/>
                </a:lnTo>
                <a:lnTo>
                  <a:pt x="1058" y="71"/>
                </a:lnTo>
                <a:lnTo>
                  <a:pt x="1058" y="71"/>
                </a:lnTo>
                <a:lnTo>
                  <a:pt x="1055" y="69"/>
                </a:lnTo>
                <a:lnTo>
                  <a:pt x="1055" y="69"/>
                </a:lnTo>
                <a:lnTo>
                  <a:pt x="1053" y="69"/>
                </a:lnTo>
                <a:lnTo>
                  <a:pt x="1053" y="69"/>
                </a:lnTo>
                <a:lnTo>
                  <a:pt x="1050" y="66"/>
                </a:lnTo>
                <a:lnTo>
                  <a:pt x="1050" y="66"/>
                </a:lnTo>
                <a:lnTo>
                  <a:pt x="1050" y="64"/>
                </a:lnTo>
                <a:lnTo>
                  <a:pt x="1050" y="64"/>
                </a:lnTo>
                <a:lnTo>
                  <a:pt x="1055" y="64"/>
                </a:lnTo>
                <a:lnTo>
                  <a:pt x="1055" y="64"/>
                </a:lnTo>
                <a:lnTo>
                  <a:pt x="1058" y="61"/>
                </a:lnTo>
                <a:lnTo>
                  <a:pt x="1058" y="61"/>
                </a:lnTo>
                <a:lnTo>
                  <a:pt x="1065" y="61"/>
                </a:lnTo>
                <a:lnTo>
                  <a:pt x="1065" y="61"/>
                </a:lnTo>
                <a:lnTo>
                  <a:pt x="1065" y="59"/>
                </a:lnTo>
                <a:lnTo>
                  <a:pt x="1065" y="59"/>
                </a:lnTo>
                <a:lnTo>
                  <a:pt x="1070" y="59"/>
                </a:lnTo>
                <a:lnTo>
                  <a:pt x="1070" y="59"/>
                </a:lnTo>
                <a:lnTo>
                  <a:pt x="1070" y="59"/>
                </a:lnTo>
                <a:lnTo>
                  <a:pt x="1072" y="59"/>
                </a:lnTo>
                <a:lnTo>
                  <a:pt x="1072" y="59"/>
                </a:lnTo>
                <a:lnTo>
                  <a:pt x="1072" y="57"/>
                </a:lnTo>
                <a:lnTo>
                  <a:pt x="1072" y="57"/>
                </a:lnTo>
                <a:lnTo>
                  <a:pt x="1072" y="57"/>
                </a:lnTo>
                <a:lnTo>
                  <a:pt x="1065" y="57"/>
                </a:lnTo>
                <a:lnTo>
                  <a:pt x="1065" y="57"/>
                </a:lnTo>
                <a:lnTo>
                  <a:pt x="1060" y="59"/>
                </a:lnTo>
                <a:lnTo>
                  <a:pt x="1060" y="59"/>
                </a:lnTo>
                <a:lnTo>
                  <a:pt x="1055" y="59"/>
                </a:lnTo>
                <a:lnTo>
                  <a:pt x="1055" y="59"/>
                </a:lnTo>
                <a:lnTo>
                  <a:pt x="1053" y="59"/>
                </a:lnTo>
                <a:lnTo>
                  <a:pt x="1053" y="59"/>
                </a:lnTo>
                <a:lnTo>
                  <a:pt x="1050" y="61"/>
                </a:lnTo>
                <a:lnTo>
                  <a:pt x="1050" y="61"/>
                </a:lnTo>
                <a:lnTo>
                  <a:pt x="1048" y="61"/>
                </a:lnTo>
                <a:lnTo>
                  <a:pt x="1048" y="61"/>
                </a:lnTo>
                <a:lnTo>
                  <a:pt x="1048" y="59"/>
                </a:lnTo>
                <a:lnTo>
                  <a:pt x="1048" y="59"/>
                </a:lnTo>
                <a:lnTo>
                  <a:pt x="1048" y="57"/>
                </a:lnTo>
                <a:lnTo>
                  <a:pt x="1048" y="57"/>
                </a:lnTo>
                <a:lnTo>
                  <a:pt x="1053" y="54"/>
                </a:lnTo>
                <a:lnTo>
                  <a:pt x="1053" y="54"/>
                </a:lnTo>
                <a:lnTo>
                  <a:pt x="1055" y="52"/>
                </a:lnTo>
                <a:lnTo>
                  <a:pt x="1055" y="52"/>
                </a:lnTo>
                <a:lnTo>
                  <a:pt x="1060" y="52"/>
                </a:lnTo>
                <a:lnTo>
                  <a:pt x="1060" y="52"/>
                </a:lnTo>
                <a:lnTo>
                  <a:pt x="1063" y="49"/>
                </a:lnTo>
                <a:lnTo>
                  <a:pt x="1063" y="49"/>
                </a:lnTo>
                <a:lnTo>
                  <a:pt x="1060" y="49"/>
                </a:lnTo>
                <a:lnTo>
                  <a:pt x="1060" y="49"/>
                </a:lnTo>
                <a:lnTo>
                  <a:pt x="1058" y="49"/>
                </a:lnTo>
                <a:lnTo>
                  <a:pt x="1058" y="49"/>
                </a:lnTo>
                <a:lnTo>
                  <a:pt x="1060" y="44"/>
                </a:lnTo>
                <a:lnTo>
                  <a:pt x="1060" y="44"/>
                </a:lnTo>
                <a:lnTo>
                  <a:pt x="1058" y="44"/>
                </a:lnTo>
                <a:lnTo>
                  <a:pt x="1058" y="44"/>
                </a:lnTo>
                <a:lnTo>
                  <a:pt x="1058" y="47"/>
                </a:lnTo>
                <a:lnTo>
                  <a:pt x="1058" y="47"/>
                </a:lnTo>
                <a:lnTo>
                  <a:pt x="1055" y="49"/>
                </a:lnTo>
                <a:lnTo>
                  <a:pt x="1055" y="49"/>
                </a:lnTo>
                <a:lnTo>
                  <a:pt x="1055" y="47"/>
                </a:lnTo>
                <a:lnTo>
                  <a:pt x="1055" y="47"/>
                </a:lnTo>
                <a:lnTo>
                  <a:pt x="1053" y="47"/>
                </a:lnTo>
                <a:lnTo>
                  <a:pt x="1053" y="47"/>
                </a:lnTo>
                <a:lnTo>
                  <a:pt x="1050" y="47"/>
                </a:lnTo>
                <a:lnTo>
                  <a:pt x="1050" y="47"/>
                </a:lnTo>
                <a:lnTo>
                  <a:pt x="1048" y="49"/>
                </a:lnTo>
                <a:lnTo>
                  <a:pt x="1048" y="49"/>
                </a:lnTo>
                <a:lnTo>
                  <a:pt x="1048" y="52"/>
                </a:lnTo>
                <a:lnTo>
                  <a:pt x="1048" y="52"/>
                </a:lnTo>
                <a:lnTo>
                  <a:pt x="1048" y="52"/>
                </a:lnTo>
                <a:lnTo>
                  <a:pt x="1043" y="54"/>
                </a:lnTo>
                <a:lnTo>
                  <a:pt x="1043" y="54"/>
                </a:lnTo>
                <a:lnTo>
                  <a:pt x="1043" y="52"/>
                </a:lnTo>
                <a:lnTo>
                  <a:pt x="1043" y="52"/>
                </a:lnTo>
                <a:lnTo>
                  <a:pt x="1043" y="47"/>
                </a:lnTo>
                <a:lnTo>
                  <a:pt x="1043" y="47"/>
                </a:lnTo>
                <a:lnTo>
                  <a:pt x="1043" y="47"/>
                </a:lnTo>
                <a:lnTo>
                  <a:pt x="1041" y="44"/>
                </a:lnTo>
                <a:lnTo>
                  <a:pt x="1041" y="44"/>
                </a:lnTo>
                <a:lnTo>
                  <a:pt x="1043" y="44"/>
                </a:lnTo>
                <a:lnTo>
                  <a:pt x="1043" y="44"/>
                </a:lnTo>
                <a:lnTo>
                  <a:pt x="1045" y="44"/>
                </a:lnTo>
                <a:lnTo>
                  <a:pt x="1045" y="44"/>
                </a:lnTo>
                <a:lnTo>
                  <a:pt x="1045" y="42"/>
                </a:lnTo>
                <a:lnTo>
                  <a:pt x="1045" y="42"/>
                </a:lnTo>
                <a:lnTo>
                  <a:pt x="1048" y="39"/>
                </a:lnTo>
                <a:lnTo>
                  <a:pt x="1048" y="39"/>
                </a:lnTo>
                <a:lnTo>
                  <a:pt x="1050" y="39"/>
                </a:lnTo>
                <a:lnTo>
                  <a:pt x="1050" y="39"/>
                </a:lnTo>
                <a:lnTo>
                  <a:pt x="1053" y="37"/>
                </a:lnTo>
                <a:lnTo>
                  <a:pt x="1053" y="37"/>
                </a:lnTo>
                <a:lnTo>
                  <a:pt x="1055" y="34"/>
                </a:lnTo>
                <a:lnTo>
                  <a:pt x="1055" y="34"/>
                </a:lnTo>
                <a:lnTo>
                  <a:pt x="1058" y="37"/>
                </a:lnTo>
                <a:lnTo>
                  <a:pt x="1058" y="37"/>
                </a:lnTo>
                <a:lnTo>
                  <a:pt x="1063" y="34"/>
                </a:lnTo>
                <a:lnTo>
                  <a:pt x="1063" y="34"/>
                </a:lnTo>
                <a:lnTo>
                  <a:pt x="1070" y="32"/>
                </a:lnTo>
                <a:lnTo>
                  <a:pt x="1070" y="32"/>
                </a:lnTo>
                <a:lnTo>
                  <a:pt x="1070" y="32"/>
                </a:lnTo>
                <a:lnTo>
                  <a:pt x="1072" y="32"/>
                </a:lnTo>
                <a:lnTo>
                  <a:pt x="1072" y="32"/>
                </a:lnTo>
                <a:lnTo>
                  <a:pt x="1072" y="34"/>
                </a:lnTo>
                <a:lnTo>
                  <a:pt x="1072" y="34"/>
                </a:lnTo>
                <a:lnTo>
                  <a:pt x="1072" y="37"/>
                </a:lnTo>
                <a:lnTo>
                  <a:pt x="1072" y="37"/>
                </a:lnTo>
                <a:lnTo>
                  <a:pt x="1072" y="44"/>
                </a:lnTo>
                <a:lnTo>
                  <a:pt x="1072" y="44"/>
                </a:lnTo>
                <a:lnTo>
                  <a:pt x="1075" y="42"/>
                </a:lnTo>
                <a:lnTo>
                  <a:pt x="1075" y="42"/>
                </a:lnTo>
                <a:lnTo>
                  <a:pt x="1075" y="39"/>
                </a:lnTo>
                <a:lnTo>
                  <a:pt x="1075" y="39"/>
                </a:lnTo>
                <a:lnTo>
                  <a:pt x="1077" y="37"/>
                </a:lnTo>
                <a:lnTo>
                  <a:pt x="1077" y="37"/>
                </a:lnTo>
                <a:lnTo>
                  <a:pt x="1080" y="37"/>
                </a:lnTo>
                <a:lnTo>
                  <a:pt x="1080" y="37"/>
                </a:lnTo>
                <a:lnTo>
                  <a:pt x="1077" y="39"/>
                </a:lnTo>
                <a:lnTo>
                  <a:pt x="1077" y="39"/>
                </a:lnTo>
                <a:lnTo>
                  <a:pt x="1077" y="42"/>
                </a:lnTo>
                <a:lnTo>
                  <a:pt x="1077" y="42"/>
                </a:lnTo>
                <a:lnTo>
                  <a:pt x="1080" y="39"/>
                </a:lnTo>
                <a:lnTo>
                  <a:pt x="1080" y="39"/>
                </a:lnTo>
                <a:lnTo>
                  <a:pt x="1080" y="37"/>
                </a:lnTo>
                <a:lnTo>
                  <a:pt x="1080" y="37"/>
                </a:lnTo>
                <a:lnTo>
                  <a:pt x="1082" y="37"/>
                </a:lnTo>
                <a:lnTo>
                  <a:pt x="1082" y="37"/>
                </a:lnTo>
                <a:lnTo>
                  <a:pt x="1080" y="34"/>
                </a:lnTo>
                <a:lnTo>
                  <a:pt x="1080" y="34"/>
                </a:lnTo>
                <a:lnTo>
                  <a:pt x="1082" y="30"/>
                </a:lnTo>
                <a:lnTo>
                  <a:pt x="1082" y="30"/>
                </a:lnTo>
                <a:lnTo>
                  <a:pt x="1082" y="30"/>
                </a:lnTo>
                <a:lnTo>
                  <a:pt x="1087" y="27"/>
                </a:lnTo>
                <a:lnTo>
                  <a:pt x="1087" y="27"/>
                </a:lnTo>
                <a:lnTo>
                  <a:pt x="1090" y="27"/>
                </a:lnTo>
                <a:lnTo>
                  <a:pt x="1090" y="27"/>
                </a:lnTo>
                <a:lnTo>
                  <a:pt x="1090" y="30"/>
                </a:lnTo>
                <a:lnTo>
                  <a:pt x="1090" y="30"/>
                </a:lnTo>
                <a:lnTo>
                  <a:pt x="1090" y="34"/>
                </a:lnTo>
                <a:lnTo>
                  <a:pt x="1090" y="34"/>
                </a:lnTo>
                <a:lnTo>
                  <a:pt x="1092" y="34"/>
                </a:lnTo>
                <a:lnTo>
                  <a:pt x="1092" y="34"/>
                </a:lnTo>
                <a:lnTo>
                  <a:pt x="1092" y="39"/>
                </a:lnTo>
                <a:lnTo>
                  <a:pt x="1092" y="39"/>
                </a:lnTo>
                <a:lnTo>
                  <a:pt x="1092" y="42"/>
                </a:lnTo>
                <a:lnTo>
                  <a:pt x="1092" y="42"/>
                </a:lnTo>
                <a:lnTo>
                  <a:pt x="1092" y="44"/>
                </a:lnTo>
                <a:lnTo>
                  <a:pt x="1092" y="44"/>
                </a:lnTo>
                <a:lnTo>
                  <a:pt x="1092" y="47"/>
                </a:lnTo>
                <a:lnTo>
                  <a:pt x="1092" y="47"/>
                </a:lnTo>
                <a:lnTo>
                  <a:pt x="1095" y="47"/>
                </a:lnTo>
                <a:lnTo>
                  <a:pt x="1095" y="47"/>
                </a:lnTo>
                <a:lnTo>
                  <a:pt x="1095" y="47"/>
                </a:lnTo>
                <a:lnTo>
                  <a:pt x="1095" y="44"/>
                </a:lnTo>
                <a:lnTo>
                  <a:pt x="1095" y="44"/>
                </a:lnTo>
                <a:lnTo>
                  <a:pt x="1095" y="42"/>
                </a:lnTo>
                <a:lnTo>
                  <a:pt x="1095" y="42"/>
                </a:lnTo>
                <a:lnTo>
                  <a:pt x="1097" y="39"/>
                </a:lnTo>
                <a:lnTo>
                  <a:pt x="1097" y="39"/>
                </a:lnTo>
                <a:lnTo>
                  <a:pt x="1100" y="34"/>
                </a:lnTo>
                <a:lnTo>
                  <a:pt x="1100" y="34"/>
                </a:lnTo>
                <a:lnTo>
                  <a:pt x="1102" y="34"/>
                </a:lnTo>
                <a:lnTo>
                  <a:pt x="1102" y="34"/>
                </a:lnTo>
                <a:lnTo>
                  <a:pt x="1104" y="39"/>
                </a:lnTo>
                <a:lnTo>
                  <a:pt x="1104" y="39"/>
                </a:lnTo>
                <a:lnTo>
                  <a:pt x="1104" y="42"/>
                </a:lnTo>
                <a:lnTo>
                  <a:pt x="1104" y="42"/>
                </a:lnTo>
                <a:lnTo>
                  <a:pt x="1102" y="47"/>
                </a:lnTo>
                <a:lnTo>
                  <a:pt x="1102" y="47"/>
                </a:lnTo>
                <a:lnTo>
                  <a:pt x="1104" y="47"/>
                </a:lnTo>
                <a:lnTo>
                  <a:pt x="1104" y="47"/>
                </a:lnTo>
                <a:lnTo>
                  <a:pt x="1104" y="49"/>
                </a:lnTo>
                <a:lnTo>
                  <a:pt x="1104" y="49"/>
                </a:lnTo>
                <a:lnTo>
                  <a:pt x="1107" y="47"/>
                </a:lnTo>
                <a:lnTo>
                  <a:pt x="1107" y="47"/>
                </a:lnTo>
                <a:lnTo>
                  <a:pt x="1107" y="44"/>
                </a:lnTo>
                <a:lnTo>
                  <a:pt x="1107" y="44"/>
                </a:lnTo>
                <a:lnTo>
                  <a:pt x="1109" y="44"/>
                </a:lnTo>
                <a:lnTo>
                  <a:pt x="1109" y="44"/>
                </a:lnTo>
                <a:lnTo>
                  <a:pt x="1109" y="42"/>
                </a:lnTo>
                <a:lnTo>
                  <a:pt x="1109" y="42"/>
                </a:lnTo>
                <a:lnTo>
                  <a:pt x="1112" y="44"/>
                </a:lnTo>
                <a:lnTo>
                  <a:pt x="1112" y="44"/>
                </a:lnTo>
                <a:lnTo>
                  <a:pt x="1109" y="44"/>
                </a:lnTo>
                <a:lnTo>
                  <a:pt x="1109" y="44"/>
                </a:lnTo>
                <a:lnTo>
                  <a:pt x="1109" y="47"/>
                </a:lnTo>
                <a:lnTo>
                  <a:pt x="1109" y="47"/>
                </a:lnTo>
                <a:lnTo>
                  <a:pt x="1112" y="49"/>
                </a:lnTo>
                <a:lnTo>
                  <a:pt x="1112" y="49"/>
                </a:lnTo>
                <a:lnTo>
                  <a:pt x="1114" y="47"/>
                </a:lnTo>
                <a:lnTo>
                  <a:pt x="1114" y="47"/>
                </a:lnTo>
                <a:lnTo>
                  <a:pt x="1114" y="47"/>
                </a:lnTo>
                <a:lnTo>
                  <a:pt x="1114" y="49"/>
                </a:lnTo>
                <a:lnTo>
                  <a:pt x="1114" y="49"/>
                </a:lnTo>
                <a:lnTo>
                  <a:pt x="1117" y="49"/>
                </a:lnTo>
                <a:lnTo>
                  <a:pt x="1117" y="49"/>
                </a:lnTo>
                <a:lnTo>
                  <a:pt x="1117" y="44"/>
                </a:lnTo>
                <a:lnTo>
                  <a:pt x="1117" y="44"/>
                </a:lnTo>
                <a:lnTo>
                  <a:pt x="1114" y="39"/>
                </a:lnTo>
                <a:lnTo>
                  <a:pt x="1114" y="39"/>
                </a:lnTo>
                <a:lnTo>
                  <a:pt x="1112" y="39"/>
                </a:lnTo>
                <a:lnTo>
                  <a:pt x="1112" y="39"/>
                </a:lnTo>
                <a:lnTo>
                  <a:pt x="1112" y="37"/>
                </a:lnTo>
                <a:lnTo>
                  <a:pt x="1112" y="37"/>
                </a:lnTo>
                <a:lnTo>
                  <a:pt x="1112" y="34"/>
                </a:lnTo>
                <a:lnTo>
                  <a:pt x="1112" y="34"/>
                </a:lnTo>
                <a:lnTo>
                  <a:pt x="1109" y="32"/>
                </a:lnTo>
                <a:lnTo>
                  <a:pt x="1109" y="32"/>
                </a:lnTo>
                <a:lnTo>
                  <a:pt x="1107" y="30"/>
                </a:lnTo>
                <a:lnTo>
                  <a:pt x="1107" y="30"/>
                </a:lnTo>
                <a:lnTo>
                  <a:pt x="1107" y="27"/>
                </a:lnTo>
                <a:lnTo>
                  <a:pt x="1107" y="27"/>
                </a:lnTo>
                <a:lnTo>
                  <a:pt x="1107" y="25"/>
                </a:lnTo>
                <a:lnTo>
                  <a:pt x="1107" y="25"/>
                </a:lnTo>
                <a:lnTo>
                  <a:pt x="1109" y="25"/>
                </a:lnTo>
                <a:lnTo>
                  <a:pt x="1109" y="25"/>
                </a:lnTo>
                <a:lnTo>
                  <a:pt x="1112" y="27"/>
                </a:lnTo>
                <a:lnTo>
                  <a:pt x="1112" y="27"/>
                </a:lnTo>
                <a:lnTo>
                  <a:pt x="1114" y="25"/>
                </a:lnTo>
                <a:lnTo>
                  <a:pt x="1114" y="25"/>
                </a:lnTo>
                <a:lnTo>
                  <a:pt x="1117" y="27"/>
                </a:lnTo>
                <a:lnTo>
                  <a:pt x="1117" y="27"/>
                </a:lnTo>
                <a:lnTo>
                  <a:pt x="1119" y="25"/>
                </a:lnTo>
                <a:lnTo>
                  <a:pt x="1119" y="25"/>
                </a:lnTo>
                <a:lnTo>
                  <a:pt x="1119" y="20"/>
                </a:lnTo>
                <a:lnTo>
                  <a:pt x="1119" y="20"/>
                </a:lnTo>
                <a:lnTo>
                  <a:pt x="1117" y="17"/>
                </a:lnTo>
                <a:lnTo>
                  <a:pt x="1117" y="17"/>
                </a:lnTo>
                <a:lnTo>
                  <a:pt x="1117" y="15"/>
                </a:lnTo>
                <a:lnTo>
                  <a:pt x="1117" y="15"/>
                </a:lnTo>
                <a:lnTo>
                  <a:pt x="1122" y="15"/>
                </a:lnTo>
                <a:lnTo>
                  <a:pt x="1122" y="15"/>
                </a:lnTo>
                <a:lnTo>
                  <a:pt x="1122" y="15"/>
                </a:lnTo>
                <a:lnTo>
                  <a:pt x="1129" y="15"/>
                </a:lnTo>
                <a:lnTo>
                  <a:pt x="1129" y="15"/>
                </a:lnTo>
                <a:lnTo>
                  <a:pt x="1132" y="17"/>
                </a:lnTo>
                <a:lnTo>
                  <a:pt x="1132" y="17"/>
                </a:lnTo>
                <a:lnTo>
                  <a:pt x="1132" y="20"/>
                </a:lnTo>
                <a:lnTo>
                  <a:pt x="1132" y="20"/>
                </a:lnTo>
                <a:lnTo>
                  <a:pt x="1129" y="22"/>
                </a:lnTo>
                <a:lnTo>
                  <a:pt x="1129" y="22"/>
                </a:lnTo>
                <a:lnTo>
                  <a:pt x="1129" y="22"/>
                </a:lnTo>
                <a:lnTo>
                  <a:pt x="1134" y="25"/>
                </a:lnTo>
                <a:lnTo>
                  <a:pt x="1134" y="25"/>
                </a:lnTo>
                <a:lnTo>
                  <a:pt x="1134" y="27"/>
                </a:lnTo>
                <a:lnTo>
                  <a:pt x="1134" y="27"/>
                </a:lnTo>
                <a:lnTo>
                  <a:pt x="1134" y="32"/>
                </a:lnTo>
                <a:lnTo>
                  <a:pt x="1134" y="32"/>
                </a:lnTo>
                <a:lnTo>
                  <a:pt x="1134" y="37"/>
                </a:lnTo>
                <a:lnTo>
                  <a:pt x="1134" y="37"/>
                </a:lnTo>
                <a:lnTo>
                  <a:pt x="1136" y="37"/>
                </a:lnTo>
                <a:lnTo>
                  <a:pt x="1136" y="37"/>
                </a:lnTo>
                <a:lnTo>
                  <a:pt x="1139" y="32"/>
                </a:lnTo>
                <a:lnTo>
                  <a:pt x="1139" y="32"/>
                </a:lnTo>
                <a:lnTo>
                  <a:pt x="1139" y="34"/>
                </a:lnTo>
                <a:lnTo>
                  <a:pt x="1139" y="34"/>
                </a:lnTo>
                <a:lnTo>
                  <a:pt x="1139" y="37"/>
                </a:lnTo>
                <a:lnTo>
                  <a:pt x="1139" y="37"/>
                </a:lnTo>
                <a:lnTo>
                  <a:pt x="1141" y="37"/>
                </a:lnTo>
                <a:lnTo>
                  <a:pt x="1141" y="37"/>
                </a:lnTo>
                <a:lnTo>
                  <a:pt x="1144" y="37"/>
                </a:lnTo>
                <a:lnTo>
                  <a:pt x="1144" y="37"/>
                </a:lnTo>
                <a:lnTo>
                  <a:pt x="1144" y="34"/>
                </a:lnTo>
                <a:lnTo>
                  <a:pt x="1144" y="34"/>
                </a:lnTo>
                <a:lnTo>
                  <a:pt x="1149" y="32"/>
                </a:lnTo>
                <a:lnTo>
                  <a:pt x="1149" y="32"/>
                </a:lnTo>
                <a:lnTo>
                  <a:pt x="1149" y="32"/>
                </a:lnTo>
                <a:lnTo>
                  <a:pt x="1146" y="25"/>
                </a:lnTo>
                <a:lnTo>
                  <a:pt x="1146" y="25"/>
                </a:lnTo>
                <a:lnTo>
                  <a:pt x="1149" y="22"/>
                </a:lnTo>
                <a:lnTo>
                  <a:pt x="1149" y="22"/>
                </a:lnTo>
                <a:lnTo>
                  <a:pt x="1151" y="22"/>
                </a:lnTo>
                <a:lnTo>
                  <a:pt x="1151" y="22"/>
                </a:lnTo>
                <a:lnTo>
                  <a:pt x="1154" y="25"/>
                </a:lnTo>
                <a:lnTo>
                  <a:pt x="1154" y="25"/>
                </a:lnTo>
                <a:lnTo>
                  <a:pt x="1159" y="25"/>
                </a:lnTo>
                <a:lnTo>
                  <a:pt x="1159" y="25"/>
                </a:lnTo>
                <a:lnTo>
                  <a:pt x="1159" y="22"/>
                </a:lnTo>
                <a:lnTo>
                  <a:pt x="1159" y="22"/>
                </a:lnTo>
                <a:lnTo>
                  <a:pt x="1154" y="20"/>
                </a:lnTo>
                <a:lnTo>
                  <a:pt x="1154" y="20"/>
                </a:lnTo>
                <a:lnTo>
                  <a:pt x="1151" y="15"/>
                </a:lnTo>
                <a:lnTo>
                  <a:pt x="1151" y="15"/>
                </a:lnTo>
                <a:lnTo>
                  <a:pt x="1154" y="12"/>
                </a:lnTo>
                <a:lnTo>
                  <a:pt x="1154" y="12"/>
                </a:lnTo>
                <a:lnTo>
                  <a:pt x="1154" y="10"/>
                </a:lnTo>
                <a:lnTo>
                  <a:pt x="1154" y="10"/>
                </a:lnTo>
                <a:lnTo>
                  <a:pt x="1156" y="10"/>
                </a:lnTo>
                <a:lnTo>
                  <a:pt x="1156" y="10"/>
                </a:lnTo>
                <a:lnTo>
                  <a:pt x="1161" y="12"/>
                </a:lnTo>
                <a:lnTo>
                  <a:pt x="1161" y="12"/>
                </a:lnTo>
                <a:lnTo>
                  <a:pt x="1161" y="17"/>
                </a:lnTo>
                <a:lnTo>
                  <a:pt x="1161" y="17"/>
                </a:lnTo>
                <a:lnTo>
                  <a:pt x="1164" y="20"/>
                </a:lnTo>
                <a:lnTo>
                  <a:pt x="1164" y="20"/>
                </a:lnTo>
                <a:lnTo>
                  <a:pt x="1164" y="25"/>
                </a:lnTo>
                <a:lnTo>
                  <a:pt x="1164" y="25"/>
                </a:lnTo>
                <a:lnTo>
                  <a:pt x="1164" y="27"/>
                </a:lnTo>
                <a:lnTo>
                  <a:pt x="1164" y="27"/>
                </a:lnTo>
                <a:lnTo>
                  <a:pt x="1164" y="32"/>
                </a:lnTo>
                <a:lnTo>
                  <a:pt x="1164" y="32"/>
                </a:lnTo>
                <a:lnTo>
                  <a:pt x="1166" y="34"/>
                </a:lnTo>
                <a:lnTo>
                  <a:pt x="1166" y="34"/>
                </a:lnTo>
                <a:lnTo>
                  <a:pt x="1168" y="32"/>
                </a:lnTo>
                <a:lnTo>
                  <a:pt x="1168" y="32"/>
                </a:lnTo>
                <a:lnTo>
                  <a:pt x="1168" y="30"/>
                </a:lnTo>
                <a:lnTo>
                  <a:pt x="1168" y="30"/>
                </a:lnTo>
                <a:lnTo>
                  <a:pt x="1166" y="27"/>
                </a:lnTo>
                <a:lnTo>
                  <a:pt x="1166" y="27"/>
                </a:lnTo>
                <a:lnTo>
                  <a:pt x="1166" y="22"/>
                </a:lnTo>
                <a:lnTo>
                  <a:pt x="1166" y="22"/>
                </a:lnTo>
                <a:lnTo>
                  <a:pt x="1166" y="17"/>
                </a:lnTo>
                <a:lnTo>
                  <a:pt x="1166" y="17"/>
                </a:lnTo>
                <a:lnTo>
                  <a:pt x="1166" y="12"/>
                </a:lnTo>
                <a:lnTo>
                  <a:pt x="1166" y="12"/>
                </a:lnTo>
                <a:lnTo>
                  <a:pt x="1166" y="7"/>
                </a:lnTo>
                <a:lnTo>
                  <a:pt x="1166" y="7"/>
                </a:lnTo>
                <a:lnTo>
                  <a:pt x="1166" y="5"/>
                </a:lnTo>
                <a:lnTo>
                  <a:pt x="1166" y="5"/>
                </a:lnTo>
                <a:lnTo>
                  <a:pt x="1168" y="5"/>
                </a:lnTo>
                <a:lnTo>
                  <a:pt x="1168" y="5"/>
                </a:lnTo>
                <a:lnTo>
                  <a:pt x="1171" y="7"/>
                </a:lnTo>
                <a:lnTo>
                  <a:pt x="1171" y="7"/>
                </a:lnTo>
                <a:lnTo>
                  <a:pt x="1173" y="7"/>
                </a:lnTo>
                <a:lnTo>
                  <a:pt x="1173" y="7"/>
                </a:lnTo>
                <a:lnTo>
                  <a:pt x="1173" y="7"/>
                </a:lnTo>
                <a:lnTo>
                  <a:pt x="1173" y="12"/>
                </a:lnTo>
                <a:lnTo>
                  <a:pt x="1173" y="12"/>
                </a:lnTo>
                <a:lnTo>
                  <a:pt x="1176" y="15"/>
                </a:lnTo>
                <a:lnTo>
                  <a:pt x="1176" y="15"/>
                </a:lnTo>
                <a:lnTo>
                  <a:pt x="1176" y="20"/>
                </a:lnTo>
                <a:lnTo>
                  <a:pt x="1176" y="20"/>
                </a:lnTo>
                <a:lnTo>
                  <a:pt x="1176" y="25"/>
                </a:lnTo>
                <a:lnTo>
                  <a:pt x="1176" y="25"/>
                </a:lnTo>
                <a:lnTo>
                  <a:pt x="1178" y="25"/>
                </a:lnTo>
                <a:lnTo>
                  <a:pt x="1178" y="25"/>
                </a:lnTo>
                <a:lnTo>
                  <a:pt x="1178" y="22"/>
                </a:lnTo>
                <a:lnTo>
                  <a:pt x="1178" y="22"/>
                </a:lnTo>
                <a:lnTo>
                  <a:pt x="1178" y="20"/>
                </a:lnTo>
                <a:lnTo>
                  <a:pt x="1178" y="20"/>
                </a:lnTo>
                <a:lnTo>
                  <a:pt x="1181" y="20"/>
                </a:lnTo>
                <a:lnTo>
                  <a:pt x="1181" y="20"/>
                </a:lnTo>
                <a:lnTo>
                  <a:pt x="1186" y="25"/>
                </a:lnTo>
                <a:lnTo>
                  <a:pt x="1186" y="25"/>
                </a:lnTo>
                <a:lnTo>
                  <a:pt x="1186" y="25"/>
                </a:lnTo>
                <a:lnTo>
                  <a:pt x="1188" y="25"/>
                </a:lnTo>
                <a:lnTo>
                  <a:pt x="1188" y="25"/>
                </a:lnTo>
                <a:lnTo>
                  <a:pt x="1188" y="22"/>
                </a:lnTo>
                <a:lnTo>
                  <a:pt x="1188" y="22"/>
                </a:lnTo>
                <a:lnTo>
                  <a:pt x="1186" y="22"/>
                </a:lnTo>
                <a:lnTo>
                  <a:pt x="1186" y="22"/>
                </a:lnTo>
                <a:lnTo>
                  <a:pt x="1183" y="20"/>
                </a:lnTo>
                <a:lnTo>
                  <a:pt x="1183" y="20"/>
                </a:lnTo>
                <a:lnTo>
                  <a:pt x="1186" y="17"/>
                </a:lnTo>
                <a:lnTo>
                  <a:pt x="1186" y="17"/>
                </a:lnTo>
                <a:lnTo>
                  <a:pt x="1186" y="15"/>
                </a:lnTo>
                <a:lnTo>
                  <a:pt x="1186" y="15"/>
                </a:lnTo>
                <a:lnTo>
                  <a:pt x="1181" y="12"/>
                </a:lnTo>
                <a:lnTo>
                  <a:pt x="1181" y="12"/>
                </a:lnTo>
                <a:lnTo>
                  <a:pt x="1181" y="10"/>
                </a:lnTo>
                <a:lnTo>
                  <a:pt x="1181" y="10"/>
                </a:lnTo>
                <a:lnTo>
                  <a:pt x="1181" y="10"/>
                </a:lnTo>
                <a:lnTo>
                  <a:pt x="1186" y="10"/>
                </a:lnTo>
                <a:lnTo>
                  <a:pt x="1186" y="10"/>
                </a:lnTo>
                <a:lnTo>
                  <a:pt x="1183" y="7"/>
                </a:lnTo>
                <a:lnTo>
                  <a:pt x="1183" y="7"/>
                </a:lnTo>
                <a:lnTo>
                  <a:pt x="1181" y="7"/>
                </a:lnTo>
                <a:lnTo>
                  <a:pt x="1181" y="7"/>
                </a:lnTo>
                <a:lnTo>
                  <a:pt x="1178" y="5"/>
                </a:lnTo>
                <a:lnTo>
                  <a:pt x="1178" y="5"/>
                </a:lnTo>
                <a:lnTo>
                  <a:pt x="1181" y="5"/>
                </a:lnTo>
                <a:lnTo>
                  <a:pt x="1181" y="5"/>
                </a:lnTo>
                <a:lnTo>
                  <a:pt x="1183" y="5"/>
                </a:lnTo>
                <a:lnTo>
                  <a:pt x="1183" y="5"/>
                </a:lnTo>
                <a:lnTo>
                  <a:pt x="1186" y="0"/>
                </a:lnTo>
                <a:lnTo>
                  <a:pt x="1186" y="0"/>
                </a:lnTo>
                <a:lnTo>
                  <a:pt x="1193" y="2"/>
                </a:lnTo>
                <a:lnTo>
                  <a:pt x="1193" y="2"/>
                </a:lnTo>
                <a:lnTo>
                  <a:pt x="1193" y="2"/>
                </a:lnTo>
                <a:lnTo>
                  <a:pt x="1193" y="7"/>
                </a:lnTo>
                <a:lnTo>
                  <a:pt x="1193" y="7"/>
                </a:lnTo>
                <a:lnTo>
                  <a:pt x="1193" y="10"/>
                </a:lnTo>
                <a:lnTo>
                  <a:pt x="1193" y="10"/>
                </a:lnTo>
                <a:lnTo>
                  <a:pt x="1193" y="12"/>
                </a:lnTo>
                <a:lnTo>
                  <a:pt x="1193" y="12"/>
                </a:lnTo>
                <a:lnTo>
                  <a:pt x="1195" y="10"/>
                </a:lnTo>
                <a:lnTo>
                  <a:pt x="1195" y="10"/>
                </a:lnTo>
                <a:lnTo>
                  <a:pt x="1198" y="7"/>
                </a:lnTo>
                <a:lnTo>
                  <a:pt x="1198" y="7"/>
                </a:lnTo>
                <a:lnTo>
                  <a:pt x="1198" y="5"/>
                </a:lnTo>
                <a:lnTo>
                  <a:pt x="1198" y="5"/>
                </a:lnTo>
                <a:lnTo>
                  <a:pt x="1200" y="7"/>
                </a:lnTo>
                <a:lnTo>
                  <a:pt x="1200" y="7"/>
                </a:lnTo>
                <a:lnTo>
                  <a:pt x="1198" y="12"/>
                </a:lnTo>
                <a:lnTo>
                  <a:pt x="1198" y="12"/>
                </a:lnTo>
                <a:lnTo>
                  <a:pt x="1200" y="12"/>
                </a:lnTo>
                <a:lnTo>
                  <a:pt x="1200" y="12"/>
                </a:lnTo>
                <a:lnTo>
                  <a:pt x="1203" y="12"/>
                </a:lnTo>
                <a:lnTo>
                  <a:pt x="1203" y="12"/>
                </a:lnTo>
                <a:lnTo>
                  <a:pt x="1203" y="12"/>
                </a:lnTo>
                <a:lnTo>
                  <a:pt x="1205" y="7"/>
                </a:lnTo>
                <a:lnTo>
                  <a:pt x="1205" y="7"/>
                </a:lnTo>
                <a:lnTo>
                  <a:pt x="1208" y="10"/>
                </a:lnTo>
                <a:lnTo>
                  <a:pt x="1208" y="10"/>
                </a:lnTo>
                <a:lnTo>
                  <a:pt x="1208" y="12"/>
                </a:lnTo>
                <a:lnTo>
                  <a:pt x="1208" y="12"/>
                </a:lnTo>
                <a:lnTo>
                  <a:pt x="1205" y="15"/>
                </a:lnTo>
                <a:lnTo>
                  <a:pt x="1205" y="15"/>
                </a:lnTo>
                <a:lnTo>
                  <a:pt x="1208" y="20"/>
                </a:lnTo>
                <a:lnTo>
                  <a:pt x="1208" y="20"/>
                </a:lnTo>
                <a:lnTo>
                  <a:pt x="1205" y="22"/>
                </a:lnTo>
                <a:lnTo>
                  <a:pt x="1205" y="22"/>
                </a:lnTo>
                <a:lnTo>
                  <a:pt x="1208" y="25"/>
                </a:lnTo>
                <a:lnTo>
                  <a:pt x="1208" y="25"/>
                </a:lnTo>
                <a:lnTo>
                  <a:pt x="1210" y="22"/>
                </a:lnTo>
                <a:lnTo>
                  <a:pt x="1210" y="22"/>
                </a:lnTo>
                <a:lnTo>
                  <a:pt x="1213" y="25"/>
                </a:lnTo>
                <a:lnTo>
                  <a:pt x="1213" y="25"/>
                </a:lnTo>
                <a:lnTo>
                  <a:pt x="1213" y="22"/>
                </a:lnTo>
                <a:lnTo>
                  <a:pt x="1213" y="22"/>
                </a:lnTo>
                <a:lnTo>
                  <a:pt x="1213" y="17"/>
                </a:lnTo>
                <a:lnTo>
                  <a:pt x="1213" y="17"/>
                </a:lnTo>
                <a:lnTo>
                  <a:pt x="1215" y="12"/>
                </a:lnTo>
                <a:lnTo>
                  <a:pt x="1215" y="12"/>
                </a:lnTo>
                <a:lnTo>
                  <a:pt x="1213" y="5"/>
                </a:lnTo>
                <a:lnTo>
                  <a:pt x="1213" y="5"/>
                </a:lnTo>
                <a:lnTo>
                  <a:pt x="1213" y="2"/>
                </a:lnTo>
                <a:lnTo>
                  <a:pt x="1213" y="2"/>
                </a:lnTo>
                <a:lnTo>
                  <a:pt x="1215" y="0"/>
                </a:lnTo>
                <a:lnTo>
                  <a:pt x="1215" y="0"/>
                </a:lnTo>
                <a:lnTo>
                  <a:pt x="1218" y="2"/>
                </a:lnTo>
                <a:lnTo>
                  <a:pt x="1218" y="2"/>
                </a:lnTo>
                <a:lnTo>
                  <a:pt x="1220" y="2"/>
                </a:lnTo>
                <a:lnTo>
                  <a:pt x="1220" y="2"/>
                </a:lnTo>
                <a:lnTo>
                  <a:pt x="1223" y="2"/>
                </a:lnTo>
                <a:lnTo>
                  <a:pt x="1223" y="2"/>
                </a:lnTo>
                <a:lnTo>
                  <a:pt x="1227" y="2"/>
                </a:lnTo>
                <a:lnTo>
                  <a:pt x="1227" y="2"/>
                </a:lnTo>
                <a:lnTo>
                  <a:pt x="1230" y="2"/>
                </a:lnTo>
                <a:lnTo>
                  <a:pt x="1230" y="2"/>
                </a:lnTo>
                <a:lnTo>
                  <a:pt x="1232" y="5"/>
                </a:lnTo>
                <a:lnTo>
                  <a:pt x="1232" y="5"/>
                </a:lnTo>
                <a:lnTo>
                  <a:pt x="1235" y="7"/>
                </a:lnTo>
                <a:lnTo>
                  <a:pt x="1235" y="7"/>
                </a:lnTo>
                <a:lnTo>
                  <a:pt x="1240" y="5"/>
                </a:lnTo>
                <a:lnTo>
                  <a:pt x="1240" y="5"/>
                </a:lnTo>
                <a:lnTo>
                  <a:pt x="1242" y="7"/>
                </a:lnTo>
                <a:lnTo>
                  <a:pt x="1242" y="7"/>
                </a:lnTo>
                <a:lnTo>
                  <a:pt x="1245" y="10"/>
                </a:lnTo>
                <a:lnTo>
                  <a:pt x="1245" y="10"/>
                </a:lnTo>
                <a:lnTo>
                  <a:pt x="1245" y="12"/>
                </a:lnTo>
                <a:lnTo>
                  <a:pt x="1245" y="12"/>
                </a:lnTo>
                <a:lnTo>
                  <a:pt x="1245" y="15"/>
                </a:lnTo>
                <a:lnTo>
                  <a:pt x="1245" y="15"/>
                </a:lnTo>
                <a:lnTo>
                  <a:pt x="1245" y="20"/>
                </a:lnTo>
                <a:lnTo>
                  <a:pt x="1245" y="20"/>
                </a:lnTo>
                <a:lnTo>
                  <a:pt x="1245" y="22"/>
                </a:lnTo>
                <a:lnTo>
                  <a:pt x="1245" y="22"/>
                </a:lnTo>
                <a:lnTo>
                  <a:pt x="1247" y="20"/>
                </a:lnTo>
                <a:lnTo>
                  <a:pt x="1247" y="20"/>
                </a:lnTo>
                <a:lnTo>
                  <a:pt x="1250" y="17"/>
                </a:lnTo>
                <a:lnTo>
                  <a:pt x="1250" y="17"/>
                </a:lnTo>
                <a:lnTo>
                  <a:pt x="1255" y="12"/>
                </a:lnTo>
                <a:lnTo>
                  <a:pt x="1255" y="12"/>
                </a:lnTo>
                <a:lnTo>
                  <a:pt x="1257" y="10"/>
                </a:lnTo>
                <a:lnTo>
                  <a:pt x="1257" y="10"/>
                </a:lnTo>
                <a:lnTo>
                  <a:pt x="1259" y="10"/>
                </a:lnTo>
                <a:lnTo>
                  <a:pt x="1259" y="10"/>
                </a:lnTo>
                <a:lnTo>
                  <a:pt x="1264" y="12"/>
                </a:lnTo>
                <a:lnTo>
                  <a:pt x="1264" y="12"/>
                </a:lnTo>
                <a:lnTo>
                  <a:pt x="1267" y="12"/>
                </a:lnTo>
                <a:lnTo>
                  <a:pt x="1267" y="12"/>
                </a:lnTo>
                <a:lnTo>
                  <a:pt x="1267" y="15"/>
                </a:lnTo>
                <a:lnTo>
                  <a:pt x="1267" y="15"/>
                </a:lnTo>
                <a:lnTo>
                  <a:pt x="1264" y="17"/>
                </a:lnTo>
                <a:lnTo>
                  <a:pt x="1264" y="17"/>
                </a:lnTo>
                <a:lnTo>
                  <a:pt x="1264" y="22"/>
                </a:lnTo>
                <a:lnTo>
                  <a:pt x="1264" y="22"/>
                </a:lnTo>
                <a:lnTo>
                  <a:pt x="1267" y="20"/>
                </a:lnTo>
                <a:lnTo>
                  <a:pt x="1267" y="20"/>
                </a:lnTo>
                <a:lnTo>
                  <a:pt x="1267" y="17"/>
                </a:lnTo>
                <a:lnTo>
                  <a:pt x="1267" y="17"/>
                </a:lnTo>
                <a:lnTo>
                  <a:pt x="1272" y="15"/>
                </a:lnTo>
                <a:lnTo>
                  <a:pt x="1272" y="15"/>
                </a:lnTo>
                <a:lnTo>
                  <a:pt x="1274" y="15"/>
                </a:lnTo>
                <a:lnTo>
                  <a:pt x="1274" y="15"/>
                </a:lnTo>
                <a:lnTo>
                  <a:pt x="1279" y="15"/>
                </a:lnTo>
                <a:lnTo>
                  <a:pt x="1279" y="15"/>
                </a:lnTo>
                <a:lnTo>
                  <a:pt x="1284" y="17"/>
                </a:lnTo>
                <a:lnTo>
                  <a:pt x="1284" y="17"/>
                </a:lnTo>
                <a:lnTo>
                  <a:pt x="1287" y="20"/>
                </a:lnTo>
                <a:lnTo>
                  <a:pt x="1287" y="20"/>
                </a:lnTo>
                <a:lnTo>
                  <a:pt x="1284" y="20"/>
                </a:lnTo>
                <a:lnTo>
                  <a:pt x="1284" y="20"/>
                </a:lnTo>
                <a:lnTo>
                  <a:pt x="1284" y="22"/>
                </a:lnTo>
                <a:lnTo>
                  <a:pt x="1284" y="22"/>
                </a:lnTo>
                <a:lnTo>
                  <a:pt x="1284" y="22"/>
                </a:lnTo>
                <a:lnTo>
                  <a:pt x="1282" y="25"/>
                </a:lnTo>
                <a:lnTo>
                  <a:pt x="1282" y="25"/>
                </a:lnTo>
                <a:lnTo>
                  <a:pt x="1284" y="27"/>
                </a:lnTo>
                <a:lnTo>
                  <a:pt x="1284" y="27"/>
                </a:lnTo>
                <a:lnTo>
                  <a:pt x="1287" y="25"/>
                </a:lnTo>
                <a:lnTo>
                  <a:pt x="1287" y="25"/>
                </a:lnTo>
                <a:lnTo>
                  <a:pt x="1289" y="25"/>
                </a:lnTo>
                <a:lnTo>
                  <a:pt x="1289" y="25"/>
                </a:lnTo>
                <a:lnTo>
                  <a:pt x="1289" y="27"/>
                </a:lnTo>
                <a:lnTo>
                  <a:pt x="1289" y="27"/>
                </a:lnTo>
                <a:lnTo>
                  <a:pt x="1291" y="30"/>
                </a:lnTo>
                <a:lnTo>
                  <a:pt x="1291" y="30"/>
                </a:lnTo>
                <a:lnTo>
                  <a:pt x="1291" y="27"/>
                </a:lnTo>
                <a:lnTo>
                  <a:pt x="1291" y="27"/>
                </a:lnTo>
                <a:lnTo>
                  <a:pt x="1296" y="25"/>
                </a:lnTo>
                <a:lnTo>
                  <a:pt x="1296" y="25"/>
                </a:lnTo>
                <a:lnTo>
                  <a:pt x="1296" y="27"/>
                </a:lnTo>
                <a:lnTo>
                  <a:pt x="1296" y="27"/>
                </a:lnTo>
                <a:lnTo>
                  <a:pt x="1296" y="30"/>
                </a:lnTo>
                <a:lnTo>
                  <a:pt x="1296" y="30"/>
                </a:lnTo>
                <a:lnTo>
                  <a:pt x="1296" y="32"/>
                </a:lnTo>
                <a:lnTo>
                  <a:pt x="1296" y="32"/>
                </a:lnTo>
                <a:lnTo>
                  <a:pt x="1299" y="32"/>
                </a:lnTo>
                <a:lnTo>
                  <a:pt x="1299" y="32"/>
                </a:lnTo>
                <a:lnTo>
                  <a:pt x="1299" y="32"/>
                </a:lnTo>
                <a:lnTo>
                  <a:pt x="1301" y="30"/>
                </a:lnTo>
                <a:lnTo>
                  <a:pt x="1301" y="30"/>
                </a:lnTo>
                <a:lnTo>
                  <a:pt x="1304" y="30"/>
                </a:lnTo>
                <a:lnTo>
                  <a:pt x="1304" y="30"/>
                </a:lnTo>
                <a:lnTo>
                  <a:pt x="1304" y="32"/>
                </a:lnTo>
                <a:lnTo>
                  <a:pt x="1304" y="32"/>
                </a:lnTo>
                <a:lnTo>
                  <a:pt x="1311" y="34"/>
                </a:lnTo>
                <a:lnTo>
                  <a:pt x="1311" y="34"/>
                </a:lnTo>
                <a:lnTo>
                  <a:pt x="1314" y="34"/>
                </a:lnTo>
                <a:lnTo>
                  <a:pt x="1314" y="34"/>
                </a:lnTo>
                <a:lnTo>
                  <a:pt x="1314" y="37"/>
                </a:lnTo>
                <a:lnTo>
                  <a:pt x="1314" y="37"/>
                </a:lnTo>
                <a:lnTo>
                  <a:pt x="1314" y="37"/>
                </a:lnTo>
                <a:lnTo>
                  <a:pt x="1306" y="39"/>
                </a:lnTo>
                <a:lnTo>
                  <a:pt x="1306" y="39"/>
                </a:lnTo>
                <a:lnTo>
                  <a:pt x="1304" y="44"/>
                </a:lnTo>
                <a:lnTo>
                  <a:pt x="1304" y="44"/>
                </a:lnTo>
                <a:lnTo>
                  <a:pt x="1301" y="44"/>
                </a:lnTo>
                <a:lnTo>
                  <a:pt x="1301" y="44"/>
                </a:lnTo>
                <a:lnTo>
                  <a:pt x="1296" y="47"/>
                </a:lnTo>
                <a:lnTo>
                  <a:pt x="1296" y="47"/>
                </a:lnTo>
                <a:lnTo>
                  <a:pt x="1294" y="47"/>
                </a:lnTo>
                <a:lnTo>
                  <a:pt x="1294" y="47"/>
                </a:lnTo>
                <a:lnTo>
                  <a:pt x="1291" y="47"/>
                </a:lnTo>
                <a:lnTo>
                  <a:pt x="1291" y="47"/>
                </a:lnTo>
                <a:lnTo>
                  <a:pt x="1289" y="47"/>
                </a:lnTo>
                <a:lnTo>
                  <a:pt x="1289" y="47"/>
                </a:lnTo>
                <a:lnTo>
                  <a:pt x="1287" y="49"/>
                </a:lnTo>
                <a:lnTo>
                  <a:pt x="1287" y="49"/>
                </a:lnTo>
                <a:lnTo>
                  <a:pt x="1291" y="49"/>
                </a:lnTo>
                <a:lnTo>
                  <a:pt x="1291" y="49"/>
                </a:lnTo>
                <a:lnTo>
                  <a:pt x="1299" y="49"/>
                </a:lnTo>
                <a:lnTo>
                  <a:pt x="1299" y="49"/>
                </a:lnTo>
                <a:lnTo>
                  <a:pt x="1301" y="52"/>
                </a:lnTo>
                <a:lnTo>
                  <a:pt x="1301" y="52"/>
                </a:lnTo>
                <a:lnTo>
                  <a:pt x="1301" y="52"/>
                </a:lnTo>
                <a:lnTo>
                  <a:pt x="1304" y="49"/>
                </a:lnTo>
                <a:lnTo>
                  <a:pt x="1304" y="49"/>
                </a:lnTo>
                <a:lnTo>
                  <a:pt x="1306" y="47"/>
                </a:lnTo>
                <a:lnTo>
                  <a:pt x="1306" y="47"/>
                </a:lnTo>
                <a:lnTo>
                  <a:pt x="1309" y="47"/>
                </a:lnTo>
                <a:lnTo>
                  <a:pt x="1309" y="47"/>
                </a:lnTo>
                <a:lnTo>
                  <a:pt x="1311" y="44"/>
                </a:lnTo>
                <a:lnTo>
                  <a:pt x="1311" y="44"/>
                </a:lnTo>
                <a:lnTo>
                  <a:pt x="1314" y="42"/>
                </a:lnTo>
                <a:lnTo>
                  <a:pt x="1314" y="42"/>
                </a:lnTo>
                <a:lnTo>
                  <a:pt x="1318" y="42"/>
                </a:lnTo>
                <a:lnTo>
                  <a:pt x="1318" y="42"/>
                </a:lnTo>
                <a:lnTo>
                  <a:pt x="1318" y="44"/>
                </a:lnTo>
                <a:lnTo>
                  <a:pt x="1318" y="44"/>
                </a:lnTo>
                <a:lnTo>
                  <a:pt x="1318" y="47"/>
                </a:lnTo>
                <a:lnTo>
                  <a:pt x="1318" y="47"/>
                </a:lnTo>
                <a:lnTo>
                  <a:pt x="1318" y="49"/>
                </a:lnTo>
                <a:lnTo>
                  <a:pt x="1318" y="49"/>
                </a:lnTo>
                <a:lnTo>
                  <a:pt x="1321" y="49"/>
                </a:lnTo>
                <a:lnTo>
                  <a:pt x="1321" y="49"/>
                </a:lnTo>
                <a:lnTo>
                  <a:pt x="1321" y="44"/>
                </a:lnTo>
                <a:lnTo>
                  <a:pt x="1321" y="44"/>
                </a:lnTo>
                <a:lnTo>
                  <a:pt x="1326" y="42"/>
                </a:lnTo>
                <a:lnTo>
                  <a:pt x="1326" y="42"/>
                </a:lnTo>
                <a:lnTo>
                  <a:pt x="1326" y="44"/>
                </a:lnTo>
                <a:lnTo>
                  <a:pt x="1326" y="44"/>
                </a:lnTo>
                <a:lnTo>
                  <a:pt x="1323" y="47"/>
                </a:lnTo>
                <a:lnTo>
                  <a:pt x="1323" y="47"/>
                </a:lnTo>
                <a:lnTo>
                  <a:pt x="1323" y="49"/>
                </a:lnTo>
                <a:lnTo>
                  <a:pt x="1323" y="49"/>
                </a:lnTo>
                <a:lnTo>
                  <a:pt x="1323" y="49"/>
                </a:lnTo>
                <a:lnTo>
                  <a:pt x="1323" y="52"/>
                </a:lnTo>
                <a:lnTo>
                  <a:pt x="1323" y="52"/>
                </a:lnTo>
                <a:lnTo>
                  <a:pt x="1326" y="52"/>
                </a:lnTo>
                <a:lnTo>
                  <a:pt x="1326" y="52"/>
                </a:lnTo>
                <a:lnTo>
                  <a:pt x="1328" y="49"/>
                </a:lnTo>
                <a:lnTo>
                  <a:pt x="1328" y="49"/>
                </a:lnTo>
                <a:lnTo>
                  <a:pt x="1328" y="47"/>
                </a:lnTo>
                <a:lnTo>
                  <a:pt x="1328" y="47"/>
                </a:lnTo>
                <a:lnTo>
                  <a:pt x="1331" y="47"/>
                </a:lnTo>
                <a:lnTo>
                  <a:pt x="1331" y="47"/>
                </a:lnTo>
                <a:lnTo>
                  <a:pt x="1336" y="47"/>
                </a:lnTo>
                <a:lnTo>
                  <a:pt x="1336" y="47"/>
                </a:lnTo>
                <a:lnTo>
                  <a:pt x="1333" y="54"/>
                </a:lnTo>
                <a:lnTo>
                  <a:pt x="1333" y="54"/>
                </a:lnTo>
                <a:lnTo>
                  <a:pt x="1331" y="54"/>
                </a:lnTo>
                <a:lnTo>
                  <a:pt x="1331" y="54"/>
                </a:lnTo>
                <a:lnTo>
                  <a:pt x="1333" y="54"/>
                </a:lnTo>
                <a:lnTo>
                  <a:pt x="1333" y="54"/>
                </a:lnTo>
                <a:lnTo>
                  <a:pt x="1333" y="59"/>
                </a:lnTo>
                <a:lnTo>
                  <a:pt x="1333" y="59"/>
                </a:lnTo>
                <a:lnTo>
                  <a:pt x="1333" y="61"/>
                </a:lnTo>
                <a:lnTo>
                  <a:pt x="1333" y="61"/>
                </a:lnTo>
                <a:lnTo>
                  <a:pt x="1331" y="64"/>
                </a:lnTo>
                <a:lnTo>
                  <a:pt x="1331" y="64"/>
                </a:lnTo>
                <a:lnTo>
                  <a:pt x="1328" y="66"/>
                </a:lnTo>
                <a:lnTo>
                  <a:pt x="1328" y="66"/>
                </a:lnTo>
                <a:lnTo>
                  <a:pt x="1326" y="71"/>
                </a:lnTo>
                <a:lnTo>
                  <a:pt x="1326" y="71"/>
                </a:lnTo>
                <a:lnTo>
                  <a:pt x="1326" y="74"/>
                </a:lnTo>
                <a:lnTo>
                  <a:pt x="1326" y="74"/>
                </a:lnTo>
                <a:lnTo>
                  <a:pt x="1328" y="71"/>
                </a:lnTo>
                <a:lnTo>
                  <a:pt x="1328" y="71"/>
                </a:lnTo>
                <a:lnTo>
                  <a:pt x="1331" y="69"/>
                </a:lnTo>
                <a:lnTo>
                  <a:pt x="1331" y="69"/>
                </a:lnTo>
                <a:lnTo>
                  <a:pt x="1333" y="69"/>
                </a:lnTo>
                <a:lnTo>
                  <a:pt x="1333" y="69"/>
                </a:lnTo>
                <a:lnTo>
                  <a:pt x="1333" y="69"/>
                </a:lnTo>
                <a:lnTo>
                  <a:pt x="1336" y="69"/>
                </a:lnTo>
                <a:lnTo>
                  <a:pt x="1336" y="69"/>
                </a:lnTo>
                <a:lnTo>
                  <a:pt x="1341" y="71"/>
                </a:lnTo>
                <a:lnTo>
                  <a:pt x="1341" y="71"/>
                </a:lnTo>
                <a:lnTo>
                  <a:pt x="1341" y="74"/>
                </a:lnTo>
                <a:lnTo>
                  <a:pt x="1341" y="74"/>
                </a:lnTo>
                <a:lnTo>
                  <a:pt x="1343" y="79"/>
                </a:lnTo>
                <a:lnTo>
                  <a:pt x="1343" y="79"/>
                </a:lnTo>
                <a:lnTo>
                  <a:pt x="1341" y="86"/>
                </a:lnTo>
                <a:lnTo>
                  <a:pt x="1341" y="86"/>
                </a:lnTo>
                <a:lnTo>
                  <a:pt x="1338" y="93"/>
                </a:lnTo>
                <a:lnTo>
                  <a:pt x="1338" y="93"/>
                </a:lnTo>
                <a:lnTo>
                  <a:pt x="1331" y="96"/>
                </a:lnTo>
                <a:lnTo>
                  <a:pt x="1331" y="96"/>
                </a:lnTo>
                <a:lnTo>
                  <a:pt x="1331" y="98"/>
                </a:lnTo>
                <a:lnTo>
                  <a:pt x="1331" y="98"/>
                </a:lnTo>
                <a:lnTo>
                  <a:pt x="1328" y="96"/>
                </a:lnTo>
                <a:lnTo>
                  <a:pt x="1328" y="96"/>
                </a:lnTo>
                <a:lnTo>
                  <a:pt x="1323" y="98"/>
                </a:lnTo>
                <a:lnTo>
                  <a:pt x="1323" y="98"/>
                </a:lnTo>
                <a:lnTo>
                  <a:pt x="1323" y="98"/>
                </a:lnTo>
                <a:lnTo>
                  <a:pt x="1323" y="101"/>
                </a:lnTo>
                <a:lnTo>
                  <a:pt x="1323" y="101"/>
                </a:lnTo>
                <a:lnTo>
                  <a:pt x="1314" y="106"/>
                </a:lnTo>
                <a:lnTo>
                  <a:pt x="1314" y="106"/>
                </a:lnTo>
                <a:lnTo>
                  <a:pt x="1309" y="108"/>
                </a:lnTo>
                <a:lnTo>
                  <a:pt x="1309" y="108"/>
                </a:lnTo>
                <a:lnTo>
                  <a:pt x="1306" y="108"/>
                </a:lnTo>
                <a:lnTo>
                  <a:pt x="1306" y="108"/>
                </a:lnTo>
                <a:lnTo>
                  <a:pt x="1304" y="111"/>
                </a:lnTo>
                <a:lnTo>
                  <a:pt x="1304" y="111"/>
                </a:lnTo>
                <a:lnTo>
                  <a:pt x="1299" y="111"/>
                </a:lnTo>
                <a:lnTo>
                  <a:pt x="1299" y="111"/>
                </a:lnTo>
                <a:lnTo>
                  <a:pt x="1296" y="108"/>
                </a:lnTo>
                <a:lnTo>
                  <a:pt x="1296" y="108"/>
                </a:lnTo>
                <a:lnTo>
                  <a:pt x="1294" y="111"/>
                </a:lnTo>
                <a:lnTo>
                  <a:pt x="1294" y="111"/>
                </a:lnTo>
                <a:lnTo>
                  <a:pt x="1294" y="113"/>
                </a:lnTo>
                <a:lnTo>
                  <a:pt x="1294" y="113"/>
                </a:lnTo>
                <a:lnTo>
                  <a:pt x="1289" y="111"/>
                </a:lnTo>
                <a:lnTo>
                  <a:pt x="1289" y="111"/>
                </a:lnTo>
                <a:lnTo>
                  <a:pt x="1287" y="108"/>
                </a:lnTo>
                <a:lnTo>
                  <a:pt x="1287" y="108"/>
                </a:lnTo>
                <a:lnTo>
                  <a:pt x="1282" y="108"/>
                </a:lnTo>
                <a:lnTo>
                  <a:pt x="1282" y="108"/>
                </a:lnTo>
                <a:lnTo>
                  <a:pt x="1282" y="108"/>
                </a:lnTo>
                <a:lnTo>
                  <a:pt x="1284" y="111"/>
                </a:lnTo>
                <a:lnTo>
                  <a:pt x="1284" y="111"/>
                </a:lnTo>
                <a:lnTo>
                  <a:pt x="1287" y="111"/>
                </a:lnTo>
                <a:lnTo>
                  <a:pt x="1287" y="111"/>
                </a:lnTo>
                <a:lnTo>
                  <a:pt x="1284" y="113"/>
                </a:lnTo>
                <a:lnTo>
                  <a:pt x="1284" y="113"/>
                </a:lnTo>
                <a:lnTo>
                  <a:pt x="1279" y="111"/>
                </a:lnTo>
                <a:lnTo>
                  <a:pt x="1279" y="111"/>
                </a:lnTo>
                <a:lnTo>
                  <a:pt x="1279" y="111"/>
                </a:lnTo>
                <a:lnTo>
                  <a:pt x="1277" y="111"/>
                </a:lnTo>
                <a:lnTo>
                  <a:pt x="1277" y="111"/>
                </a:lnTo>
                <a:lnTo>
                  <a:pt x="1272" y="111"/>
                </a:lnTo>
                <a:lnTo>
                  <a:pt x="1272" y="111"/>
                </a:lnTo>
                <a:lnTo>
                  <a:pt x="1269" y="108"/>
                </a:lnTo>
                <a:lnTo>
                  <a:pt x="1269" y="108"/>
                </a:lnTo>
                <a:lnTo>
                  <a:pt x="1267" y="108"/>
                </a:lnTo>
                <a:lnTo>
                  <a:pt x="1267" y="108"/>
                </a:lnTo>
                <a:lnTo>
                  <a:pt x="1264" y="108"/>
                </a:lnTo>
                <a:lnTo>
                  <a:pt x="1264" y="108"/>
                </a:lnTo>
                <a:lnTo>
                  <a:pt x="1262" y="103"/>
                </a:lnTo>
                <a:lnTo>
                  <a:pt x="1262" y="103"/>
                </a:lnTo>
                <a:lnTo>
                  <a:pt x="1257" y="101"/>
                </a:lnTo>
                <a:lnTo>
                  <a:pt x="1257" y="101"/>
                </a:lnTo>
                <a:lnTo>
                  <a:pt x="1259" y="103"/>
                </a:lnTo>
                <a:lnTo>
                  <a:pt x="1259" y="103"/>
                </a:lnTo>
                <a:lnTo>
                  <a:pt x="1262" y="108"/>
                </a:lnTo>
                <a:lnTo>
                  <a:pt x="1262" y="108"/>
                </a:lnTo>
                <a:lnTo>
                  <a:pt x="1262" y="108"/>
                </a:lnTo>
                <a:lnTo>
                  <a:pt x="1259" y="108"/>
                </a:lnTo>
                <a:lnTo>
                  <a:pt x="1259" y="108"/>
                </a:lnTo>
                <a:lnTo>
                  <a:pt x="1255" y="108"/>
                </a:lnTo>
                <a:lnTo>
                  <a:pt x="1255" y="108"/>
                </a:lnTo>
                <a:lnTo>
                  <a:pt x="1257" y="111"/>
                </a:lnTo>
                <a:lnTo>
                  <a:pt x="1257" y="111"/>
                </a:lnTo>
                <a:lnTo>
                  <a:pt x="1267" y="111"/>
                </a:lnTo>
                <a:lnTo>
                  <a:pt x="1267" y="111"/>
                </a:lnTo>
                <a:lnTo>
                  <a:pt x="1272" y="113"/>
                </a:lnTo>
                <a:lnTo>
                  <a:pt x="1272" y="113"/>
                </a:lnTo>
                <a:lnTo>
                  <a:pt x="1274" y="116"/>
                </a:lnTo>
                <a:lnTo>
                  <a:pt x="1274" y="116"/>
                </a:lnTo>
                <a:lnTo>
                  <a:pt x="1272" y="116"/>
                </a:lnTo>
                <a:lnTo>
                  <a:pt x="1272" y="116"/>
                </a:lnTo>
                <a:lnTo>
                  <a:pt x="1259" y="123"/>
                </a:lnTo>
                <a:lnTo>
                  <a:pt x="1259" y="123"/>
                </a:lnTo>
                <a:lnTo>
                  <a:pt x="1250" y="123"/>
                </a:lnTo>
                <a:lnTo>
                  <a:pt x="1250" y="123"/>
                </a:lnTo>
                <a:lnTo>
                  <a:pt x="1247" y="123"/>
                </a:lnTo>
                <a:lnTo>
                  <a:pt x="1247" y="123"/>
                </a:lnTo>
                <a:lnTo>
                  <a:pt x="1242" y="125"/>
                </a:lnTo>
                <a:lnTo>
                  <a:pt x="1242" y="125"/>
                </a:lnTo>
                <a:lnTo>
                  <a:pt x="1237" y="123"/>
                </a:lnTo>
                <a:lnTo>
                  <a:pt x="1237" y="123"/>
                </a:lnTo>
                <a:lnTo>
                  <a:pt x="1237" y="123"/>
                </a:lnTo>
                <a:lnTo>
                  <a:pt x="1235" y="123"/>
                </a:lnTo>
                <a:lnTo>
                  <a:pt x="1235" y="123"/>
                </a:lnTo>
                <a:lnTo>
                  <a:pt x="1232" y="123"/>
                </a:lnTo>
                <a:lnTo>
                  <a:pt x="1232" y="123"/>
                </a:lnTo>
                <a:lnTo>
                  <a:pt x="1230" y="123"/>
                </a:lnTo>
                <a:lnTo>
                  <a:pt x="1230" y="123"/>
                </a:lnTo>
                <a:lnTo>
                  <a:pt x="1227" y="125"/>
                </a:lnTo>
                <a:lnTo>
                  <a:pt x="1227" y="125"/>
                </a:lnTo>
                <a:lnTo>
                  <a:pt x="1230" y="125"/>
                </a:lnTo>
                <a:lnTo>
                  <a:pt x="1230" y="125"/>
                </a:lnTo>
                <a:lnTo>
                  <a:pt x="1232" y="128"/>
                </a:lnTo>
                <a:lnTo>
                  <a:pt x="1232" y="128"/>
                </a:lnTo>
                <a:lnTo>
                  <a:pt x="1235" y="125"/>
                </a:lnTo>
                <a:lnTo>
                  <a:pt x="1235" y="125"/>
                </a:lnTo>
                <a:lnTo>
                  <a:pt x="1245" y="125"/>
                </a:lnTo>
                <a:lnTo>
                  <a:pt x="1245" y="125"/>
                </a:lnTo>
                <a:lnTo>
                  <a:pt x="1247" y="125"/>
                </a:lnTo>
                <a:lnTo>
                  <a:pt x="1247" y="125"/>
                </a:lnTo>
                <a:lnTo>
                  <a:pt x="1259" y="125"/>
                </a:lnTo>
                <a:lnTo>
                  <a:pt x="1259" y="125"/>
                </a:lnTo>
                <a:lnTo>
                  <a:pt x="1267" y="125"/>
                </a:lnTo>
                <a:lnTo>
                  <a:pt x="1267" y="125"/>
                </a:lnTo>
                <a:lnTo>
                  <a:pt x="1272" y="121"/>
                </a:lnTo>
                <a:lnTo>
                  <a:pt x="1272" y="121"/>
                </a:lnTo>
                <a:lnTo>
                  <a:pt x="1277" y="121"/>
                </a:lnTo>
                <a:lnTo>
                  <a:pt x="1277" y="121"/>
                </a:lnTo>
                <a:lnTo>
                  <a:pt x="1279" y="121"/>
                </a:lnTo>
                <a:lnTo>
                  <a:pt x="1279" y="121"/>
                </a:lnTo>
                <a:lnTo>
                  <a:pt x="1282" y="121"/>
                </a:lnTo>
                <a:lnTo>
                  <a:pt x="1282" y="121"/>
                </a:lnTo>
                <a:lnTo>
                  <a:pt x="1287" y="121"/>
                </a:lnTo>
                <a:lnTo>
                  <a:pt x="1287" y="121"/>
                </a:lnTo>
                <a:lnTo>
                  <a:pt x="1284" y="123"/>
                </a:lnTo>
                <a:lnTo>
                  <a:pt x="1284" y="123"/>
                </a:lnTo>
                <a:lnTo>
                  <a:pt x="1282" y="128"/>
                </a:lnTo>
                <a:lnTo>
                  <a:pt x="1282" y="128"/>
                </a:lnTo>
                <a:lnTo>
                  <a:pt x="1277" y="130"/>
                </a:lnTo>
                <a:lnTo>
                  <a:pt x="1277" y="130"/>
                </a:lnTo>
                <a:lnTo>
                  <a:pt x="1277" y="133"/>
                </a:lnTo>
                <a:lnTo>
                  <a:pt x="1277" y="133"/>
                </a:lnTo>
                <a:lnTo>
                  <a:pt x="1269" y="133"/>
                </a:lnTo>
                <a:lnTo>
                  <a:pt x="1269" y="133"/>
                </a:lnTo>
                <a:lnTo>
                  <a:pt x="1267" y="138"/>
                </a:lnTo>
                <a:lnTo>
                  <a:pt x="1267" y="138"/>
                </a:lnTo>
                <a:lnTo>
                  <a:pt x="1264" y="138"/>
                </a:lnTo>
                <a:lnTo>
                  <a:pt x="1264" y="138"/>
                </a:lnTo>
                <a:lnTo>
                  <a:pt x="1262" y="140"/>
                </a:lnTo>
                <a:lnTo>
                  <a:pt x="1262" y="140"/>
                </a:lnTo>
                <a:lnTo>
                  <a:pt x="1257" y="143"/>
                </a:lnTo>
                <a:lnTo>
                  <a:pt x="1257" y="143"/>
                </a:lnTo>
                <a:lnTo>
                  <a:pt x="1255" y="143"/>
                </a:lnTo>
                <a:lnTo>
                  <a:pt x="1255" y="143"/>
                </a:lnTo>
                <a:lnTo>
                  <a:pt x="1252" y="143"/>
                </a:lnTo>
                <a:lnTo>
                  <a:pt x="1252" y="143"/>
                </a:lnTo>
                <a:lnTo>
                  <a:pt x="1247" y="143"/>
                </a:lnTo>
                <a:lnTo>
                  <a:pt x="1247" y="143"/>
                </a:lnTo>
                <a:lnTo>
                  <a:pt x="1245" y="145"/>
                </a:lnTo>
                <a:lnTo>
                  <a:pt x="1245" y="145"/>
                </a:lnTo>
                <a:lnTo>
                  <a:pt x="1240" y="148"/>
                </a:lnTo>
                <a:lnTo>
                  <a:pt x="1240" y="148"/>
                </a:lnTo>
                <a:lnTo>
                  <a:pt x="1237" y="150"/>
                </a:lnTo>
                <a:lnTo>
                  <a:pt x="1237" y="150"/>
                </a:lnTo>
                <a:lnTo>
                  <a:pt x="1232" y="152"/>
                </a:lnTo>
                <a:lnTo>
                  <a:pt x="1232" y="152"/>
                </a:lnTo>
                <a:lnTo>
                  <a:pt x="1230" y="152"/>
                </a:lnTo>
                <a:lnTo>
                  <a:pt x="1230" y="152"/>
                </a:lnTo>
                <a:lnTo>
                  <a:pt x="1227" y="152"/>
                </a:lnTo>
                <a:lnTo>
                  <a:pt x="1227" y="152"/>
                </a:lnTo>
                <a:lnTo>
                  <a:pt x="1225" y="155"/>
                </a:lnTo>
                <a:lnTo>
                  <a:pt x="1225" y="155"/>
                </a:lnTo>
                <a:lnTo>
                  <a:pt x="1220" y="155"/>
                </a:lnTo>
                <a:lnTo>
                  <a:pt x="1220" y="155"/>
                </a:lnTo>
                <a:lnTo>
                  <a:pt x="1220" y="155"/>
                </a:lnTo>
                <a:lnTo>
                  <a:pt x="1220" y="160"/>
                </a:lnTo>
                <a:lnTo>
                  <a:pt x="1220" y="160"/>
                </a:lnTo>
                <a:lnTo>
                  <a:pt x="1218" y="162"/>
                </a:lnTo>
                <a:lnTo>
                  <a:pt x="1218" y="162"/>
                </a:lnTo>
                <a:lnTo>
                  <a:pt x="1215" y="165"/>
                </a:lnTo>
                <a:lnTo>
                  <a:pt x="1215" y="165"/>
                </a:lnTo>
                <a:lnTo>
                  <a:pt x="1208" y="165"/>
                </a:lnTo>
                <a:lnTo>
                  <a:pt x="1208" y="165"/>
                </a:lnTo>
                <a:lnTo>
                  <a:pt x="1205" y="165"/>
                </a:lnTo>
                <a:lnTo>
                  <a:pt x="1205" y="165"/>
                </a:lnTo>
                <a:lnTo>
                  <a:pt x="1203" y="165"/>
                </a:lnTo>
                <a:lnTo>
                  <a:pt x="1203" y="165"/>
                </a:lnTo>
                <a:lnTo>
                  <a:pt x="1203" y="162"/>
                </a:lnTo>
                <a:lnTo>
                  <a:pt x="1203" y="162"/>
                </a:lnTo>
                <a:lnTo>
                  <a:pt x="1205" y="162"/>
                </a:lnTo>
                <a:lnTo>
                  <a:pt x="1205" y="162"/>
                </a:lnTo>
                <a:lnTo>
                  <a:pt x="1205" y="160"/>
                </a:lnTo>
                <a:lnTo>
                  <a:pt x="1205" y="160"/>
                </a:lnTo>
                <a:lnTo>
                  <a:pt x="1203" y="157"/>
                </a:lnTo>
                <a:lnTo>
                  <a:pt x="1203" y="157"/>
                </a:lnTo>
                <a:lnTo>
                  <a:pt x="1203" y="162"/>
                </a:lnTo>
                <a:lnTo>
                  <a:pt x="1203" y="162"/>
                </a:lnTo>
                <a:lnTo>
                  <a:pt x="1200" y="162"/>
                </a:lnTo>
                <a:lnTo>
                  <a:pt x="1200" y="162"/>
                </a:lnTo>
                <a:lnTo>
                  <a:pt x="1200" y="165"/>
                </a:lnTo>
                <a:lnTo>
                  <a:pt x="1200" y="165"/>
                </a:lnTo>
                <a:lnTo>
                  <a:pt x="1203" y="167"/>
                </a:lnTo>
                <a:lnTo>
                  <a:pt x="1203" y="167"/>
                </a:lnTo>
                <a:lnTo>
                  <a:pt x="1205" y="170"/>
                </a:lnTo>
                <a:lnTo>
                  <a:pt x="1205" y="170"/>
                </a:lnTo>
                <a:lnTo>
                  <a:pt x="1203" y="172"/>
                </a:lnTo>
                <a:lnTo>
                  <a:pt x="1203" y="172"/>
                </a:lnTo>
                <a:lnTo>
                  <a:pt x="1200" y="172"/>
                </a:lnTo>
                <a:lnTo>
                  <a:pt x="1200" y="172"/>
                </a:lnTo>
                <a:lnTo>
                  <a:pt x="1198" y="170"/>
                </a:lnTo>
                <a:lnTo>
                  <a:pt x="1198" y="170"/>
                </a:lnTo>
                <a:lnTo>
                  <a:pt x="1195" y="172"/>
                </a:lnTo>
                <a:lnTo>
                  <a:pt x="1195" y="172"/>
                </a:lnTo>
                <a:lnTo>
                  <a:pt x="1191" y="170"/>
                </a:lnTo>
                <a:lnTo>
                  <a:pt x="1191" y="170"/>
                </a:lnTo>
                <a:lnTo>
                  <a:pt x="1188" y="172"/>
                </a:lnTo>
                <a:lnTo>
                  <a:pt x="1188" y="172"/>
                </a:lnTo>
                <a:lnTo>
                  <a:pt x="1186" y="172"/>
                </a:lnTo>
                <a:lnTo>
                  <a:pt x="1186" y="172"/>
                </a:lnTo>
                <a:lnTo>
                  <a:pt x="1186" y="170"/>
                </a:lnTo>
                <a:lnTo>
                  <a:pt x="1186" y="170"/>
                </a:lnTo>
                <a:lnTo>
                  <a:pt x="1186" y="167"/>
                </a:lnTo>
                <a:lnTo>
                  <a:pt x="1186" y="167"/>
                </a:lnTo>
                <a:lnTo>
                  <a:pt x="1183" y="170"/>
                </a:lnTo>
                <a:lnTo>
                  <a:pt x="1183" y="170"/>
                </a:lnTo>
                <a:lnTo>
                  <a:pt x="1181" y="172"/>
                </a:lnTo>
                <a:lnTo>
                  <a:pt x="1181" y="172"/>
                </a:lnTo>
                <a:lnTo>
                  <a:pt x="1181" y="172"/>
                </a:lnTo>
                <a:lnTo>
                  <a:pt x="1186" y="175"/>
                </a:lnTo>
                <a:lnTo>
                  <a:pt x="1186" y="175"/>
                </a:lnTo>
                <a:lnTo>
                  <a:pt x="1193" y="175"/>
                </a:lnTo>
                <a:lnTo>
                  <a:pt x="1193" y="175"/>
                </a:lnTo>
                <a:lnTo>
                  <a:pt x="1195" y="177"/>
                </a:lnTo>
                <a:lnTo>
                  <a:pt x="1195" y="177"/>
                </a:lnTo>
                <a:lnTo>
                  <a:pt x="1195" y="180"/>
                </a:lnTo>
                <a:lnTo>
                  <a:pt x="1195" y="180"/>
                </a:lnTo>
                <a:lnTo>
                  <a:pt x="1193" y="182"/>
                </a:lnTo>
                <a:lnTo>
                  <a:pt x="1193" y="182"/>
                </a:lnTo>
                <a:lnTo>
                  <a:pt x="1188" y="180"/>
                </a:lnTo>
                <a:lnTo>
                  <a:pt x="1188" y="180"/>
                </a:lnTo>
                <a:lnTo>
                  <a:pt x="1183" y="182"/>
                </a:lnTo>
                <a:lnTo>
                  <a:pt x="1183" y="182"/>
                </a:lnTo>
                <a:lnTo>
                  <a:pt x="1183" y="182"/>
                </a:lnTo>
                <a:lnTo>
                  <a:pt x="1186" y="184"/>
                </a:lnTo>
                <a:lnTo>
                  <a:pt x="1186" y="184"/>
                </a:lnTo>
                <a:lnTo>
                  <a:pt x="1186" y="182"/>
                </a:lnTo>
                <a:lnTo>
                  <a:pt x="1186" y="182"/>
                </a:lnTo>
                <a:lnTo>
                  <a:pt x="1188" y="184"/>
                </a:lnTo>
                <a:lnTo>
                  <a:pt x="1188" y="184"/>
                </a:lnTo>
                <a:lnTo>
                  <a:pt x="1188" y="187"/>
                </a:lnTo>
                <a:lnTo>
                  <a:pt x="1188" y="187"/>
                </a:lnTo>
                <a:lnTo>
                  <a:pt x="1183" y="192"/>
                </a:lnTo>
                <a:lnTo>
                  <a:pt x="1183" y="192"/>
                </a:lnTo>
                <a:lnTo>
                  <a:pt x="1178" y="192"/>
                </a:lnTo>
                <a:lnTo>
                  <a:pt x="1178" y="192"/>
                </a:lnTo>
                <a:lnTo>
                  <a:pt x="1171" y="192"/>
                </a:lnTo>
                <a:lnTo>
                  <a:pt x="1171" y="192"/>
                </a:lnTo>
                <a:lnTo>
                  <a:pt x="1171" y="189"/>
                </a:lnTo>
                <a:lnTo>
                  <a:pt x="1171" y="189"/>
                </a:lnTo>
                <a:lnTo>
                  <a:pt x="1166" y="189"/>
                </a:lnTo>
                <a:lnTo>
                  <a:pt x="1166" y="189"/>
                </a:lnTo>
                <a:lnTo>
                  <a:pt x="1166" y="187"/>
                </a:lnTo>
                <a:lnTo>
                  <a:pt x="1166" y="187"/>
                </a:lnTo>
                <a:lnTo>
                  <a:pt x="1166" y="182"/>
                </a:lnTo>
                <a:lnTo>
                  <a:pt x="1166" y="182"/>
                </a:lnTo>
                <a:lnTo>
                  <a:pt x="1161" y="182"/>
                </a:lnTo>
                <a:lnTo>
                  <a:pt x="1161" y="182"/>
                </a:lnTo>
                <a:lnTo>
                  <a:pt x="1159" y="180"/>
                </a:lnTo>
                <a:lnTo>
                  <a:pt x="1159" y="180"/>
                </a:lnTo>
                <a:lnTo>
                  <a:pt x="1159" y="177"/>
                </a:lnTo>
                <a:lnTo>
                  <a:pt x="1159" y="177"/>
                </a:lnTo>
                <a:lnTo>
                  <a:pt x="1159" y="175"/>
                </a:lnTo>
                <a:lnTo>
                  <a:pt x="1159" y="175"/>
                </a:lnTo>
                <a:lnTo>
                  <a:pt x="1156" y="177"/>
                </a:lnTo>
                <a:lnTo>
                  <a:pt x="1156" y="177"/>
                </a:lnTo>
                <a:lnTo>
                  <a:pt x="1154" y="175"/>
                </a:lnTo>
                <a:lnTo>
                  <a:pt x="1154" y="175"/>
                </a:lnTo>
                <a:lnTo>
                  <a:pt x="1149" y="177"/>
                </a:lnTo>
                <a:lnTo>
                  <a:pt x="1149" y="177"/>
                </a:lnTo>
                <a:lnTo>
                  <a:pt x="1149" y="177"/>
                </a:lnTo>
                <a:lnTo>
                  <a:pt x="1151" y="180"/>
                </a:lnTo>
                <a:lnTo>
                  <a:pt x="1151" y="180"/>
                </a:lnTo>
                <a:lnTo>
                  <a:pt x="1151" y="177"/>
                </a:lnTo>
                <a:lnTo>
                  <a:pt x="1151" y="177"/>
                </a:lnTo>
                <a:lnTo>
                  <a:pt x="1154" y="177"/>
                </a:lnTo>
                <a:lnTo>
                  <a:pt x="1154" y="177"/>
                </a:lnTo>
                <a:lnTo>
                  <a:pt x="1161" y="184"/>
                </a:lnTo>
                <a:lnTo>
                  <a:pt x="1161" y="184"/>
                </a:lnTo>
                <a:lnTo>
                  <a:pt x="1161" y="194"/>
                </a:lnTo>
                <a:lnTo>
                  <a:pt x="1161" y="194"/>
                </a:lnTo>
                <a:lnTo>
                  <a:pt x="1159" y="194"/>
                </a:lnTo>
                <a:lnTo>
                  <a:pt x="1159" y="194"/>
                </a:lnTo>
                <a:lnTo>
                  <a:pt x="1156" y="194"/>
                </a:lnTo>
                <a:lnTo>
                  <a:pt x="1156" y="194"/>
                </a:lnTo>
                <a:lnTo>
                  <a:pt x="1154" y="192"/>
                </a:lnTo>
                <a:lnTo>
                  <a:pt x="1154" y="192"/>
                </a:lnTo>
                <a:lnTo>
                  <a:pt x="1151" y="192"/>
                </a:lnTo>
                <a:lnTo>
                  <a:pt x="1151" y="192"/>
                </a:lnTo>
                <a:lnTo>
                  <a:pt x="1151" y="194"/>
                </a:lnTo>
                <a:lnTo>
                  <a:pt x="1151" y="194"/>
                </a:lnTo>
                <a:lnTo>
                  <a:pt x="1151" y="197"/>
                </a:lnTo>
                <a:lnTo>
                  <a:pt x="1151" y="197"/>
                </a:lnTo>
                <a:lnTo>
                  <a:pt x="1149" y="192"/>
                </a:lnTo>
                <a:lnTo>
                  <a:pt x="1149" y="192"/>
                </a:lnTo>
                <a:lnTo>
                  <a:pt x="1146" y="192"/>
                </a:lnTo>
                <a:lnTo>
                  <a:pt x="1146" y="192"/>
                </a:lnTo>
                <a:lnTo>
                  <a:pt x="1144" y="194"/>
                </a:lnTo>
                <a:lnTo>
                  <a:pt x="1144" y="194"/>
                </a:lnTo>
                <a:lnTo>
                  <a:pt x="1141" y="194"/>
                </a:lnTo>
                <a:lnTo>
                  <a:pt x="1141" y="194"/>
                </a:lnTo>
                <a:lnTo>
                  <a:pt x="1141" y="194"/>
                </a:lnTo>
                <a:lnTo>
                  <a:pt x="1136" y="192"/>
                </a:lnTo>
                <a:lnTo>
                  <a:pt x="1136" y="192"/>
                </a:lnTo>
                <a:lnTo>
                  <a:pt x="1134" y="189"/>
                </a:lnTo>
                <a:lnTo>
                  <a:pt x="1134" y="189"/>
                </a:lnTo>
                <a:lnTo>
                  <a:pt x="1134" y="189"/>
                </a:lnTo>
                <a:lnTo>
                  <a:pt x="1132" y="187"/>
                </a:lnTo>
                <a:lnTo>
                  <a:pt x="1132" y="187"/>
                </a:lnTo>
                <a:lnTo>
                  <a:pt x="1132" y="187"/>
                </a:lnTo>
                <a:lnTo>
                  <a:pt x="1127" y="184"/>
                </a:lnTo>
                <a:lnTo>
                  <a:pt x="1127" y="184"/>
                </a:lnTo>
                <a:lnTo>
                  <a:pt x="1124" y="182"/>
                </a:lnTo>
                <a:lnTo>
                  <a:pt x="1124" y="182"/>
                </a:lnTo>
                <a:lnTo>
                  <a:pt x="1124" y="184"/>
                </a:lnTo>
                <a:lnTo>
                  <a:pt x="1124" y="184"/>
                </a:lnTo>
                <a:lnTo>
                  <a:pt x="1124" y="187"/>
                </a:lnTo>
                <a:lnTo>
                  <a:pt x="1124" y="187"/>
                </a:lnTo>
                <a:lnTo>
                  <a:pt x="1127" y="187"/>
                </a:lnTo>
                <a:lnTo>
                  <a:pt x="1127" y="187"/>
                </a:lnTo>
                <a:lnTo>
                  <a:pt x="1132" y="189"/>
                </a:lnTo>
                <a:lnTo>
                  <a:pt x="1132" y="189"/>
                </a:lnTo>
                <a:lnTo>
                  <a:pt x="1134" y="194"/>
                </a:lnTo>
                <a:lnTo>
                  <a:pt x="1134" y="194"/>
                </a:lnTo>
                <a:lnTo>
                  <a:pt x="1132" y="197"/>
                </a:lnTo>
                <a:lnTo>
                  <a:pt x="1132" y="197"/>
                </a:lnTo>
                <a:lnTo>
                  <a:pt x="1124" y="194"/>
                </a:lnTo>
                <a:lnTo>
                  <a:pt x="1124" y="194"/>
                </a:lnTo>
                <a:lnTo>
                  <a:pt x="1122" y="192"/>
                </a:lnTo>
                <a:lnTo>
                  <a:pt x="1122" y="192"/>
                </a:lnTo>
                <a:lnTo>
                  <a:pt x="1122" y="189"/>
                </a:lnTo>
                <a:lnTo>
                  <a:pt x="1122" y="189"/>
                </a:lnTo>
                <a:lnTo>
                  <a:pt x="1119" y="187"/>
                </a:lnTo>
                <a:lnTo>
                  <a:pt x="1119" y="187"/>
                </a:lnTo>
                <a:lnTo>
                  <a:pt x="1119" y="189"/>
                </a:lnTo>
                <a:lnTo>
                  <a:pt x="1119" y="189"/>
                </a:lnTo>
                <a:lnTo>
                  <a:pt x="1119" y="189"/>
                </a:lnTo>
                <a:lnTo>
                  <a:pt x="1119" y="192"/>
                </a:lnTo>
                <a:lnTo>
                  <a:pt x="1119" y="192"/>
                </a:lnTo>
                <a:lnTo>
                  <a:pt x="1117" y="192"/>
                </a:lnTo>
                <a:lnTo>
                  <a:pt x="1117" y="192"/>
                </a:lnTo>
                <a:lnTo>
                  <a:pt x="1114" y="189"/>
                </a:lnTo>
                <a:lnTo>
                  <a:pt x="1114" y="189"/>
                </a:lnTo>
                <a:lnTo>
                  <a:pt x="1112" y="189"/>
                </a:lnTo>
                <a:lnTo>
                  <a:pt x="1112" y="189"/>
                </a:lnTo>
                <a:lnTo>
                  <a:pt x="1112" y="192"/>
                </a:lnTo>
                <a:lnTo>
                  <a:pt x="1112" y="192"/>
                </a:lnTo>
                <a:lnTo>
                  <a:pt x="1117" y="194"/>
                </a:lnTo>
                <a:lnTo>
                  <a:pt x="1117" y="194"/>
                </a:lnTo>
                <a:lnTo>
                  <a:pt x="1117" y="197"/>
                </a:lnTo>
                <a:lnTo>
                  <a:pt x="1117" y="197"/>
                </a:lnTo>
                <a:lnTo>
                  <a:pt x="1117" y="197"/>
                </a:lnTo>
                <a:lnTo>
                  <a:pt x="1119" y="197"/>
                </a:lnTo>
                <a:lnTo>
                  <a:pt x="1119" y="197"/>
                </a:lnTo>
                <a:lnTo>
                  <a:pt x="1122" y="197"/>
                </a:lnTo>
                <a:lnTo>
                  <a:pt x="1122" y="197"/>
                </a:lnTo>
                <a:lnTo>
                  <a:pt x="1124" y="197"/>
                </a:lnTo>
                <a:lnTo>
                  <a:pt x="1124" y="197"/>
                </a:lnTo>
                <a:lnTo>
                  <a:pt x="1127" y="199"/>
                </a:lnTo>
                <a:lnTo>
                  <a:pt x="1127" y="199"/>
                </a:lnTo>
                <a:lnTo>
                  <a:pt x="1129" y="202"/>
                </a:lnTo>
                <a:lnTo>
                  <a:pt x="1129" y="202"/>
                </a:lnTo>
                <a:lnTo>
                  <a:pt x="1132" y="202"/>
                </a:lnTo>
                <a:lnTo>
                  <a:pt x="1132" y="202"/>
                </a:lnTo>
                <a:lnTo>
                  <a:pt x="1134" y="202"/>
                </a:lnTo>
                <a:lnTo>
                  <a:pt x="1134" y="202"/>
                </a:lnTo>
                <a:lnTo>
                  <a:pt x="1141" y="202"/>
                </a:lnTo>
                <a:lnTo>
                  <a:pt x="1141" y="202"/>
                </a:lnTo>
                <a:lnTo>
                  <a:pt x="1144" y="204"/>
                </a:lnTo>
                <a:lnTo>
                  <a:pt x="1144" y="204"/>
                </a:lnTo>
                <a:lnTo>
                  <a:pt x="1141" y="207"/>
                </a:lnTo>
                <a:lnTo>
                  <a:pt x="1141" y="207"/>
                </a:lnTo>
                <a:lnTo>
                  <a:pt x="1141" y="209"/>
                </a:lnTo>
                <a:lnTo>
                  <a:pt x="1141" y="209"/>
                </a:lnTo>
                <a:lnTo>
                  <a:pt x="1141" y="212"/>
                </a:lnTo>
                <a:lnTo>
                  <a:pt x="1141" y="212"/>
                </a:lnTo>
                <a:lnTo>
                  <a:pt x="1141" y="214"/>
                </a:lnTo>
                <a:lnTo>
                  <a:pt x="1141" y="214"/>
                </a:lnTo>
                <a:lnTo>
                  <a:pt x="1141" y="216"/>
                </a:lnTo>
                <a:lnTo>
                  <a:pt x="1141" y="216"/>
                </a:lnTo>
                <a:lnTo>
                  <a:pt x="1139" y="216"/>
                </a:lnTo>
                <a:lnTo>
                  <a:pt x="1139" y="216"/>
                </a:lnTo>
                <a:lnTo>
                  <a:pt x="1136" y="214"/>
                </a:lnTo>
                <a:lnTo>
                  <a:pt x="1136" y="214"/>
                </a:lnTo>
                <a:lnTo>
                  <a:pt x="1134" y="212"/>
                </a:lnTo>
                <a:lnTo>
                  <a:pt x="1134" y="212"/>
                </a:lnTo>
                <a:lnTo>
                  <a:pt x="1129" y="209"/>
                </a:lnTo>
                <a:lnTo>
                  <a:pt x="1129" y="209"/>
                </a:lnTo>
                <a:lnTo>
                  <a:pt x="1127" y="207"/>
                </a:lnTo>
                <a:lnTo>
                  <a:pt x="1127" y="207"/>
                </a:lnTo>
                <a:lnTo>
                  <a:pt x="1129" y="204"/>
                </a:lnTo>
                <a:lnTo>
                  <a:pt x="1129" y="204"/>
                </a:lnTo>
                <a:lnTo>
                  <a:pt x="1127" y="202"/>
                </a:lnTo>
                <a:lnTo>
                  <a:pt x="1127" y="202"/>
                </a:lnTo>
                <a:lnTo>
                  <a:pt x="1122" y="202"/>
                </a:lnTo>
                <a:lnTo>
                  <a:pt x="1122" y="202"/>
                </a:lnTo>
                <a:lnTo>
                  <a:pt x="1114" y="199"/>
                </a:lnTo>
                <a:lnTo>
                  <a:pt x="1114" y="199"/>
                </a:lnTo>
                <a:lnTo>
                  <a:pt x="1112" y="197"/>
                </a:lnTo>
                <a:lnTo>
                  <a:pt x="1112" y="197"/>
                </a:lnTo>
                <a:lnTo>
                  <a:pt x="1109" y="199"/>
                </a:lnTo>
                <a:lnTo>
                  <a:pt x="1109" y="199"/>
                </a:lnTo>
                <a:lnTo>
                  <a:pt x="1109" y="199"/>
                </a:lnTo>
                <a:lnTo>
                  <a:pt x="1114" y="202"/>
                </a:lnTo>
                <a:lnTo>
                  <a:pt x="1114" y="202"/>
                </a:lnTo>
                <a:lnTo>
                  <a:pt x="1119" y="202"/>
                </a:lnTo>
                <a:lnTo>
                  <a:pt x="1119" y="202"/>
                </a:lnTo>
                <a:lnTo>
                  <a:pt x="1127" y="204"/>
                </a:lnTo>
                <a:lnTo>
                  <a:pt x="1127" y="204"/>
                </a:lnTo>
                <a:lnTo>
                  <a:pt x="1127" y="207"/>
                </a:lnTo>
                <a:lnTo>
                  <a:pt x="1127" y="207"/>
                </a:lnTo>
                <a:lnTo>
                  <a:pt x="1124" y="207"/>
                </a:lnTo>
                <a:lnTo>
                  <a:pt x="1124" y="207"/>
                </a:lnTo>
                <a:lnTo>
                  <a:pt x="1122" y="207"/>
                </a:lnTo>
                <a:lnTo>
                  <a:pt x="1122" y="207"/>
                </a:lnTo>
                <a:lnTo>
                  <a:pt x="1114" y="204"/>
                </a:lnTo>
                <a:lnTo>
                  <a:pt x="1114" y="204"/>
                </a:lnTo>
                <a:lnTo>
                  <a:pt x="1112" y="207"/>
                </a:lnTo>
                <a:lnTo>
                  <a:pt x="1112" y="207"/>
                </a:lnTo>
                <a:lnTo>
                  <a:pt x="1112" y="204"/>
                </a:lnTo>
                <a:lnTo>
                  <a:pt x="1112" y="204"/>
                </a:lnTo>
                <a:lnTo>
                  <a:pt x="1109" y="204"/>
                </a:lnTo>
                <a:lnTo>
                  <a:pt x="1109" y="204"/>
                </a:lnTo>
                <a:lnTo>
                  <a:pt x="1104" y="202"/>
                </a:lnTo>
                <a:lnTo>
                  <a:pt x="1104" y="202"/>
                </a:lnTo>
                <a:lnTo>
                  <a:pt x="1102" y="202"/>
                </a:lnTo>
                <a:lnTo>
                  <a:pt x="1102" y="202"/>
                </a:lnTo>
                <a:lnTo>
                  <a:pt x="1102" y="202"/>
                </a:lnTo>
                <a:lnTo>
                  <a:pt x="1107" y="204"/>
                </a:lnTo>
                <a:lnTo>
                  <a:pt x="1107" y="204"/>
                </a:lnTo>
                <a:lnTo>
                  <a:pt x="1107" y="207"/>
                </a:lnTo>
                <a:lnTo>
                  <a:pt x="1107" y="207"/>
                </a:lnTo>
                <a:lnTo>
                  <a:pt x="1107" y="209"/>
                </a:lnTo>
                <a:lnTo>
                  <a:pt x="1107" y="209"/>
                </a:lnTo>
                <a:lnTo>
                  <a:pt x="1109" y="209"/>
                </a:lnTo>
                <a:lnTo>
                  <a:pt x="1109" y="209"/>
                </a:lnTo>
                <a:lnTo>
                  <a:pt x="1109" y="209"/>
                </a:lnTo>
                <a:lnTo>
                  <a:pt x="1112" y="209"/>
                </a:lnTo>
                <a:lnTo>
                  <a:pt x="1112" y="209"/>
                </a:lnTo>
                <a:lnTo>
                  <a:pt x="1114" y="209"/>
                </a:lnTo>
                <a:lnTo>
                  <a:pt x="1114" y="209"/>
                </a:lnTo>
                <a:lnTo>
                  <a:pt x="1114" y="207"/>
                </a:lnTo>
                <a:lnTo>
                  <a:pt x="1114" y="207"/>
                </a:lnTo>
                <a:lnTo>
                  <a:pt x="1117" y="209"/>
                </a:lnTo>
                <a:lnTo>
                  <a:pt x="1117" y="209"/>
                </a:lnTo>
                <a:lnTo>
                  <a:pt x="1119" y="209"/>
                </a:lnTo>
                <a:lnTo>
                  <a:pt x="1119" y="209"/>
                </a:lnTo>
                <a:lnTo>
                  <a:pt x="1122" y="209"/>
                </a:lnTo>
                <a:lnTo>
                  <a:pt x="1122" y="209"/>
                </a:lnTo>
                <a:lnTo>
                  <a:pt x="1127" y="214"/>
                </a:lnTo>
                <a:lnTo>
                  <a:pt x="1127" y="214"/>
                </a:lnTo>
                <a:lnTo>
                  <a:pt x="1127" y="214"/>
                </a:lnTo>
                <a:lnTo>
                  <a:pt x="1122" y="214"/>
                </a:lnTo>
                <a:lnTo>
                  <a:pt x="1122" y="214"/>
                </a:lnTo>
                <a:lnTo>
                  <a:pt x="1119" y="216"/>
                </a:lnTo>
                <a:lnTo>
                  <a:pt x="1119" y="216"/>
                </a:lnTo>
                <a:lnTo>
                  <a:pt x="1119" y="216"/>
                </a:lnTo>
                <a:lnTo>
                  <a:pt x="1122" y="216"/>
                </a:lnTo>
                <a:lnTo>
                  <a:pt x="1122" y="216"/>
                </a:lnTo>
                <a:lnTo>
                  <a:pt x="1124" y="216"/>
                </a:lnTo>
                <a:lnTo>
                  <a:pt x="1124" y="216"/>
                </a:lnTo>
                <a:lnTo>
                  <a:pt x="1127" y="216"/>
                </a:lnTo>
                <a:lnTo>
                  <a:pt x="1127" y="216"/>
                </a:lnTo>
                <a:lnTo>
                  <a:pt x="1129" y="219"/>
                </a:lnTo>
                <a:lnTo>
                  <a:pt x="1129" y="219"/>
                </a:lnTo>
                <a:lnTo>
                  <a:pt x="1132" y="221"/>
                </a:lnTo>
                <a:lnTo>
                  <a:pt x="1132" y="221"/>
                </a:lnTo>
                <a:lnTo>
                  <a:pt x="1132" y="224"/>
                </a:lnTo>
                <a:lnTo>
                  <a:pt x="1132" y="224"/>
                </a:lnTo>
                <a:lnTo>
                  <a:pt x="1129" y="229"/>
                </a:lnTo>
                <a:lnTo>
                  <a:pt x="1129" y="229"/>
                </a:lnTo>
                <a:lnTo>
                  <a:pt x="1127" y="234"/>
                </a:lnTo>
                <a:lnTo>
                  <a:pt x="1127" y="234"/>
                </a:lnTo>
                <a:lnTo>
                  <a:pt x="1127" y="234"/>
                </a:lnTo>
                <a:lnTo>
                  <a:pt x="1122" y="239"/>
                </a:lnTo>
                <a:lnTo>
                  <a:pt x="1122" y="239"/>
                </a:lnTo>
                <a:lnTo>
                  <a:pt x="1119" y="236"/>
                </a:lnTo>
                <a:lnTo>
                  <a:pt x="1119" y="236"/>
                </a:lnTo>
                <a:lnTo>
                  <a:pt x="1117" y="236"/>
                </a:lnTo>
                <a:lnTo>
                  <a:pt x="1117" y="236"/>
                </a:lnTo>
                <a:lnTo>
                  <a:pt x="1114" y="236"/>
                </a:lnTo>
                <a:lnTo>
                  <a:pt x="1114" y="236"/>
                </a:lnTo>
                <a:lnTo>
                  <a:pt x="1114" y="234"/>
                </a:lnTo>
                <a:lnTo>
                  <a:pt x="1114" y="234"/>
                </a:lnTo>
                <a:lnTo>
                  <a:pt x="1112" y="231"/>
                </a:lnTo>
                <a:lnTo>
                  <a:pt x="1112" y="231"/>
                </a:lnTo>
                <a:lnTo>
                  <a:pt x="1107" y="231"/>
                </a:lnTo>
                <a:lnTo>
                  <a:pt x="1107" y="231"/>
                </a:lnTo>
                <a:lnTo>
                  <a:pt x="1109" y="234"/>
                </a:lnTo>
                <a:lnTo>
                  <a:pt x="1109" y="234"/>
                </a:lnTo>
                <a:lnTo>
                  <a:pt x="1112" y="236"/>
                </a:lnTo>
                <a:lnTo>
                  <a:pt x="1112" y="236"/>
                </a:lnTo>
                <a:lnTo>
                  <a:pt x="1112" y="236"/>
                </a:lnTo>
                <a:lnTo>
                  <a:pt x="1114" y="236"/>
                </a:lnTo>
                <a:lnTo>
                  <a:pt x="1114" y="236"/>
                </a:lnTo>
                <a:lnTo>
                  <a:pt x="1119" y="239"/>
                </a:lnTo>
                <a:lnTo>
                  <a:pt x="1119" y="239"/>
                </a:lnTo>
                <a:lnTo>
                  <a:pt x="1119" y="243"/>
                </a:lnTo>
                <a:lnTo>
                  <a:pt x="1119" y="243"/>
                </a:lnTo>
                <a:lnTo>
                  <a:pt x="1117" y="246"/>
                </a:lnTo>
                <a:lnTo>
                  <a:pt x="1117" y="246"/>
                </a:lnTo>
                <a:lnTo>
                  <a:pt x="1114" y="246"/>
                </a:lnTo>
                <a:lnTo>
                  <a:pt x="1114" y="246"/>
                </a:lnTo>
                <a:lnTo>
                  <a:pt x="1112" y="248"/>
                </a:lnTo>
                <a:lnTo>
                  <a:pt x="1112" y="248"/>
                </a:lnTo>
                <a:lnTo>
                  <a:pt x="1109" y="248"/>
                </a:lnTo>
                <a:lnTo>
                  <a:pt x="1109" y="248"/>
                </a:lnTo>
                <a:lnTo>
                  <a:pt x="1104" y="246"/>
                </a:lnTo>
                <a:lnTo>
                  <a:pt x="1104" y="246"/>
                </a:lnTo>
                <a:lnTo>
                  <a:pt x="1102" y="246"/>
                </a:lnTo>
                <a:lnTo>
                  <a:pt x="1102" y="246"/>
                </a:lnTo>
                <a:lnTo>
                  <a:pt x="1102" y="243"/>
                </a:lnTo>
                <a:lnTo>
                  <a:pt x="1102" y="243"/>
                </a:lnTo>
                <a:lnTo>
                  <a:pt x="1097" y="243"/>
                </a:lnTo>
                <a:lnTo>
                  <a:pt x="1097" y="243"/>
                </a:lnTo>
                <a:lnTo>
                  <a:pt x="1097" y="246"/>
                </a:lnTo>
                <a:lnTo>
                  <a:pt x="1097" y="246"/>
                </a:lnTo>
                <a:lnTo>
                  <a:pt x="1097" y="248"/>
                </a:lnTo>
                <a:lnTo>
                  <a:pt x="1097" y="248"/>
                </a:lnTo>
                <a:lnTo>
                  <a:pt x="1107" y="253"/>
                </a:lnTo>
                <a:lnTo>
                  <a:pt x="1107" y="253"/>
                </a:lnTo>
                <a:lnTo>
                  <a:pt x="1109" y="253"/>
                </a:lnTo>
                <a:lnTo>
                  <a:pt x="1109" y="253"/>
                </a:lnTo>
                <a:lnTo>
                  <a:pt x="1109" y="253"/>
                </a:lnTo>
                <a:lnTo>
                  <a:pt x="1107" y="256"/>
                </a:lnTo>
                <a:lnTo>
                  <a:pt x="1107" y="256"/>
                </a:lnTo>
                <a:lnTo>
                  <a:pt x="1104" y="258"/>
                </a:lnTo>
                <a:lnTo>
                  <a:pt x="1104" y="258"/>
                </a:lnTo>
                <a:lnTo>
                  <a:pt x="1102" y="258"/>
                </a:lnTo>
                <a:lnTo>
                  <a:pt x="1102" y="258"/>
                </a:lnTo>
                <a:lnTo>
                  <a:pt x="1100" y="256"/>
                </a:lnTo>
                <a:lnTo>
                  <a:pt x="1100" y="256"/>
                </a:lnTo>
                <a:lnTo>
                  <a:pt x="1097" y="256"/>
                </a:lnTo>
                <a:lnTo>
                  <a:pt x="1097" y="256"/>
                </a:lnTo>
                <a:lnTo>
                  <a:pt x="1095" y="258"/>
                </a:lnTo>
                <a:lnTo>
                  <a:pt x="1095" y="258"/>
                </a:lnTo>
                <a:lnTo>
                  <a:pt x="1090" y="258"/>
                </a:lnTo>
                <a:lnTo>
                  <a:pt x="1090" y="258"/>
                </a:lnTo>
                <a:lnTo>
                  <a:pt x="1087" y="256"/>
                </a:lnTo>
                <a:lnTo>
                  <a:pt x="1087" y="256"/>
                </a:lnTo>
                <a:lnTo>
                  <a:pt x="1080" y="256"/>
                </a:lnTo>
                <a:lnTo>
                  <a:pt x="1080" y="256"/>
                </a:lnTo>
                <a:lnTo>
                  <a:pt x="1077" y="256"/>
                </a:lnTo>
                <a:lnTo>
                  <a:pt x="1077" y="256"/>
                </a:lnTo>
                <a:lnTo>
                  <a:pt x="1077" y="261"/>
                </a:lnTo>
                <a:lnTo>
                  <a:pt x="1077" y="261"/>
                </a:lnTo>
                <a:lnTo>
                  <a:pt x="1072" y="263"/>
                </a:lnTo>
                <a:lnTo>
                  <a:pt x="1072" y="263"/>
                </a:lnTo>
                <a:lnTo>
                  <a:pt x="1075" y="263"/>
                </a:lnTo>
                <a:lnTo>
                  <a:pt x="1075" y="263"/>
                </a:lnTo>
                <a:lnTo>
                  <a:pt x="1077" y="266"/>
                </a:lnTo>
                <a:lnTo>
                  <a:pt x="1077" y="266"/>
                </a:lnTo>
                <a:lnTo>
                  <a:pt x="1077" y="268"/>
                </a:lnTo>
                <a:lnTo>
                  <a:pt x="1077" y="268"/>
                </a:lnTo>
                <a:lnTo>
                  <a:pt x="1072" y="271"/>
                </a:lnTo>
                <a:lnTo>
                  <a:pt x="1072" y="271"/>
                </a:lnTo>
                <a:lnTo>
                  <a:pt x="1072" y="273"/>
                </a:lnTo>
                <a:lnTo>
                  <a:pt x="1072" y="273"/>
                </a:lnTo>
                <a:lnTo>
                  <a:pt x="1070" y="275"/>
                </a:lnTo>
                <a:lnTo>
                  <a:pt x="1070" y="275"/>
                </a:lnTo>
                <a:lnTo>
                  <a:pt x="1068" y="275"/>
                </a:lnTo>
                <a:lnTo>
                  <a:pt x="1068" y="275"/>
                </a:lnTo>
                <a:lnTo>
                  <a:pt x="1068" y="275"/>
                </a:lnTo>
                <a:lnTo>
                  <a:pt x="1068" y="278"/>
                </a:lnTo>
                <a:lnTo>
                  <a:pt x="1068" y="278"/>
                </a:lnTo>
                <a:lnTo>
                  <a:pt x="1063" y="278"/>
                </a:lnTo>
                <a:lnTo>
                  <a:pt x="1063" y="278"/>
                </a:lnTo>
                <a:lnTo>
                  <a:pt x="1060" y="278"/>
                </a:lnTo>
                <a:lnTo>
                  <a:pt x="1060" y="278"/>
                </a:lnTo>
                <a:lnTo>
                  <a:pt x="1063" y="275"/>
                </a:lnTo>
                <a:lnTo>
                  <a:pt x="1063" y="275"/>
                </a:lnTo>
                <a:lnTo>
                  <a:pt x="1060" y="275"/>
                </a:lnTo>
                <a:lnTo>
                  <a:pt x="1060" y="275"/>
                </a:lnTo>
                <a:lnTo>
                  <a:pt x="1060" y="278"/>
                </a:lnTo>
                <a:lnTo>
                  <a:pt x="1060" y="278"/>
                </a:lnTo>
                <a:lnTo>
                  <a:pt x="1058" y="283"/>
                </a:lnTo>
                <a:lnTo>
                  <a:pt x="1058" y="283"/>
                </a:lnTo>
                <a:lnTo>
                  <a:pt x="1055" y="283"/>
                </a:lnTo>
                <a:lnTo>
                  <a:pt x="1055" y="283"/>
                </a:lnTo>
                <a:lnTo>
                  <a:pt x="1048" y="280"/>
                </a:lnTo>
                <a:lnTo>
                  <a:pt x="1048" y="280"/>
                </a:lnTo>
                <a:lnTo>
                  <a:pt x="1045" y="280"/>
                </a:lnTo>
                <a:lnTo>
                  <a:pt x="1045" y="280"/>
                </a:lnTo>
                <a:lnTo>
                  <a:pt x="1043" y="280"/>
                </a:lnTo>
                <a:lnTo>
                  <a:pt x="1043" y="280"/>
                </a:lnTo>
                <a:lnTo>
                  <a:pt x="1041" y="280"/>
                </a:lnTo>
                <a:lnTo>
                  <a:pt x="1041" y="280"/>
                </a:lnTo>
                <a:lnTo>
                  <a:pt x="1033" y="273"/>
                </a:lnTo>
                <a:lnTo>
                  <a:pt x="1033" y="273"/>
                </a:lnTo>
                <a:lnTo>
                  <a:pt x="1033" y="266"/>
                </a:lnTo>
                <a:lnTo>
                  <a:pt x="1033" y="266"/>
                </a:lnTo>
                <a:lnTo>
                  <a:pt x="1033" y="263"/>
                </a:lnTo>
                <a:lnTo>
                  <a:pt x="1033" y="263"/>
                </a:lnTo>
                <a:lnTo>
                  <a:pt x="1033" y="261"/>
                </a:lnTo>
                <a:lnTo>
                  <a:pt x="1033" y="261"/>
                </a:lnTo>
                <a:lnTo>
                  <a:pt x="1033" y="261"/>
                </a:lnTo>
                <a:lnTo>
                  <a:pt x="1033" y="258"/>
                </a:lnTo>
                <a:lnTo>
                  <a:pt x="1033" y="258"/>
                </a:lnTo>
                <a:lnTo>
                  <a:pt x="1031" y="261"/>
                </a:lnTo>
                <a:lnTo>
                  <a:pt x="1031" y="261"/>
                </a:lnTo>
                <a:lnTo>
                  <a:pt x="1031" y="263"/>
                </a:lnTo>
                <a:lnTo>
                  <a:pt x="1031" y="263"/>
                </a:lnTo>
                <a:lnTo>
                  <a:pt x="1031" y="268"/>
                </a:lnTo>
                <a:lnTo>
                  <a:pt x="1031" y="268"/>
                </a:lnTo>
                <a:lnTo>
                  <a:pt x="1028" y="271"/>
                </a:lnTo>
                <a:lnTo>
                  <a:pt x="1028" y="271"/>
                </a:lnTo>
                <a:lnTo>
                  <a:pt x="1031" y="273"/>
                </a:lnTo>
                <a:lnTo>
                  <a:pt x="1031" y="273"/>
                </a:lnTo>
                <a:lnTo>
                  <a:pt x="1031" y="275"/>
                </a:lnTo>
                <a:lnTo>
                  <a:pt x="1031" y="275"/>
                </a:lnTo>
                <a:lnTo>
                  <a:pt x="1028" y="275"/>
                </a:lnTo>
                <a:lnTo>
                  <a:pt x="1028" y="275"/>
                </a:lnTo>
                <a:lnTo>
                  <a:pt x="1023" y="275"/>
                </a:lnTo>
                <a:lnTo>
                  <a:pt x="1023" y="275"/>
                </a:lnTo>
                <a:lnTo>
                  <a:pt x="1023" y="275"/>
                </a:lnTo>
                <a:lnTo>
                  <a:pt x="1021" y="275"/>
                </a:lnTo>
                <a:lnTo>
                  <a:pt x="1021" y="275"/>
                </a:lnTo>
                <a:lnTo>
                  <a:pt x="1023" y="278"/>
                </a:lnTo>
                <a:lnTo>
                  <a:pt x="1023" y="278"/>
                </a:lnTo>
                <a:lnTo>
                  <a:pt x="1021" y="283"/>
                </a:lnTo>
                <a:lnTo>
                  <a:pt x="1021" y="283"/>
                </a:lnTo>
                <a:lnTo>
                  <a:pt x="1023" y="283"/>
                </a:lnTo>
                <a:lnTo>
                  <a:pt x="1023" y="283"/>
                </a:lnTo>
                <a:lnTo>
                  <a:pt x="1028" y="278"/>
                </a:lnTo>
                <a:lnTo>
                  <a:pt x="1028" y="278"/>
                </a:lnTo>
                <a:lnTo>
                  <a:pt x="1028" y="278"/>
                </a:lnTo>
                <a:lnTo>
                  <a:pt x="1031" y="278"/>
                </a:lnTo>
                <a:lnTo>
                  <a:pt x="1031" y="278"/>
                </a:lnTo>
                <a:lnTo>
                  <a:pt x="1033" y="275"/>
                </a:lnTo>
                <a:lnTo>
                  <a:pt x="1033" y="275"/>
                </a:lnTo>
                <a:lnTo>
                  <a:pt x="1036" y="278"/>
                </a:lnTo>
                <a:lnTo>
                  <a:pt x="1036" y="278"/>
                </a:lnTo>
                <a:lnTo>
                  <a:pt x="1038" y="283"/>
                </a:lnTo>
                <a:lnTo>
                  <a:pt x="1038" y="283"/>
                </a:lnTo>
                <a:lnTo>
                  <a:pt x="1038" y="285"/>
                </a:lnTo>
                <a:lnTo>
                  <a:pt x="1038" y="285"/>
                </a:lnTo>
                <a:lnTo>
                  <a:pt x="1041" y="283"/>
                </a:lnTo>
                <a:lnTo>
                  <a:pt x="1041" y="283"/>
                </a:lnTo>
                <a:lnTo>
                  <a:pt x="1045" y="280"/>
                </a:lnTo>
                <a:lnTo>
                  <a:pt x="1045" y="280"/>
                </a:lnTo>
                <a:lnTo>
                  <a:pt x="1050" y="283"/>
                </a:lnTo>
                <a:lnTo>
                  <a:pt x="1050" y="283"/>
                </a:lnTo>
                <a:lnTo>
                  <a:pt x="1050" y="285"/>
                </a:lnTo>
                <a:lnTo>
                  <a:pt x="1050" y="285"/>
                </a:lnTo>
                <a:lnTo>
                  <a:pt x="1048" y="288"/>
                </a:lnTo>
                <a:lnTo>
                  <a:pt x="1048" y="288"/>
                </a:lnTo>
                <a:lnTo>
                  <a:pt x="1048" y="293"/>
                </a:lnTo>
                <a:lnTo>
                  <a:pt x="1048" y="293"/>
                </a:lnTo>
                <a:lnTo>
                  <a:pt x="1045" y="293"/>
                </a:lnTo>
                <a:lnTo>
                  <a:pt x="1045" y="293"/>
                </a:lnTo>
                <a:lnTo>
                  <a:pt x="1045" y="295"/>
                </a:lnTo>
                <a:lnTo>
                  <a:pt x="1045" y="295"/>
                </a:lnTo>
                <a:lnTo>
                  <a:pt x="1045" y="295"/>
                </a:lnTo>
                <a:lnTo>
                  <a:pt x="1048" y="295"/>
                </a:lnTo>
                <a:lnTo>
                  <a:pt x="1048" y="295"/>
                </a:lnTo>
                <a:lnTo>
                  <a:pt x="1048" y="298"/>
                </a:lnTo>
                <a:lnTo>
                  <a:pt x="1048" y="298"/>
                </a:lnTo>
                <a:lnTo>
                  <a:pt x="1045" y="300"/>
                </a:lnTo>
                <a:lnTo>
                  <a:pt x="1045" y="300"/>
                </a:lnTo>
                <a:lnTo>
                  <a:pt x="1048" y="300"/>
                </a:lnTo>
                <a:lnTo>
                  <a:pt x="1048" y="300"/>
                </a:lnTo>
                <a:lnTo>
                  <a:pt x="1050" y="298"/>
                </a:lnTo>
                <a:lnTo>
                  <a:pt x="1050" y="298"/>
                </a:lnTo>
                <a:lnTo>
                  <a:pt x="1053" y="298"/>
                </a:lnTo>
                <a:lnTo>
                  <a:pt x="1053" y="298"/>
                </a:lnTo>
                <a:lnTo>
                  <a:pt x="1055" y="295"/>
                </a:lnTo>
                <a:lnTo>
                  <a:pt x="1055" y="295"/>
                </a:lnTo>
                <a:lnTo>
                  <a:pt x="1058" y="295"/>
                </a:lnTo>
                <a:lnTo>
                  <a:pt x="1058" y="295"/>
                </a:lnTo>
                <a:lnTo>
                  <a:pt x="1058" y="298"/>
                </a:lnTo>
                <a:lnTo>
                  <a:pt x="1058" y="298"/>
                </a:lnTo>
                <a:lnTo>
                  <a:pt x="1058" y="300"/>
                </a:lnTo>
                <a:lnTo>
                  <a:pt x="1058" y="300"/>
                </a:lnTo>
                <a:lnTo>
                  <a:pt x="1058" y="303"/>
                </a:lnTo>
                <a:lnTo>
                  <a:pt x="1058" y="303"/>
                </a:lnTo>
                <a:lnTo>
                  <a:pt x="1058" y="307"/>
                </a:lnTo>
                <a:lnTo>
                  <a:pt x="1058" y="307"/>
                </a:lnTo>
                <a:lnTo>
                  <a:pt x="1055" y="312"/>
                </a:lnTo>
                <a:lnTo>
                  <a:pt x="1055" y="312"/>
                </a:lnTo>
                <a:lnTo>
                  <a:pt x="1050" y="312"/>
                </a:lnTo>
                <a:lnTo>
                  <a:pt x="1050" y="312"/>
                </a:lnTo>
                <a:lnTo>
                  <a:pt x="1048" y="315"/>
                </a:lnTo>
                <a:lnTo>
                  <a:pt x="1048" y="315"/>
                </a:lnTo>
                <a:lnTo>
                  <a:pt x="1045" y="317"/>
                </a:lnTo>
                <a:lnTo>
                  <a:pt x="1045" y="317"/>
                </a:lnTo>
                <a:lnTo>
                  <a:pt x="1043" y="320"/>
                </a:lnTo>
                <a:lnTo>
                  <a:pt x="1043" y="320"/>
                </a:lnTo>
                <a:lnTo>
                  <a:pt x="1043" y="320"/>
                </a:lnTo>
                <a:lnTo>
                  <a:pt x="1043" y="315"/>
                </a:lnTo>
                <a:lnTo>
                  <a:pt x="1043" y="315"/>
                </a:lnTo>
                <a:lnTo>
                  <a:pt x="1043" y="312"/>
                </a:lnTo>
                <a:lnTo>
                  <a:pt x="1043" y="312"/>
                </a:lnTo>
                <a:lnTo>
                  <a:pt x="1043" y="312"/>
                </a:lnTo>
                <a:lnTo>
                  <a:pt x="1041" y="312"/>
                </a:lnTo>
                <a:lnTo>
                  <a:pt x="1041" y="312"/>
                </a:lnTo>
                <a:lnTo>
                  <a:pt x="1038" y="317"/>
                </a:lnTo>
                <a:lnTo>
                  <a:pt x="1038" y="317"/>
                </a:lnTo>
                <a:lnTo>
                  <a:pt x="1036" y="317"/>
                </a:lnTo>
                <a:lnTo>
                  <a:pt x="1036" y="317"/>
                </a:lnTo>
                <a:lnTo>
                  <a:pt x="1031" y="322"/>
                </a:lnTo>
                <a:lnTo>
                  <a:pt x="1031" y="322"/>
                </a:lnTo>
                <a:lnTo>
                  <a:pt x="1031" y="320"/>
                </a:lnTo>
                <a:lnTo>
                  <a:pt x="1031" y="320"/>
                </a:lnTo>
                <a:lnTo>
                  <a:pt x="1028" y="320"/>
                </a:lnTo>
                <a:lnTo>
                  <a:pt x="1028" y="320"/>
                </a:lnTo>
                <a:lnTo>
                  <a:pt x="1023" y="325"/>
                </a:lnTo>
                <a:lnTo>
                  <a:pt x="1023" y="325"/>
                </a:lnTo>
                <a:lnTo>
                  <a:pt x="1021" y="325"/>
                </a:lnTo>
                <a:lnTo>
                  <a:pt x="1021" y="325"/>
                </a:lnTo>
                <a:lnTo>
                  <a:pt x="1018" y="325"/>
                </a:lnTo>
                <a:lnTo>
                  <a:pt x="1018" y="325"/>
                </a:lnTo>
                <a:lnTo>
                  <a:pt x="1016" y="325"/>
                </a:lnTo>
                <a:lnTo>
                  <a:pt x="1016" y="325"/>
                </a:lnTo>
                <a:lnTo>
                  <a:pt x="1016" y="322"/>
                </a:lnTo>
                <a:lnTo>
                  <a:pt x="1016" y="322"/>
                </a:lnTo>
                <a:lnTo>
                  <a:pt x="1013" y="322"/>
                </a:lnTo>
                <a:lnTo>
                  <a:pt x="1013" y="322"/>
                </a:lnTo>
                <a:lnTo>
                  <a:pt x="1016" y="320"/>
                </a:lnTo>
                <a:lnTo>
                  <a:pt x="1016" y="320"/>
                </a:lnTo>
                <a:lnTo>
                  <a:pt x="1018" y="317"/>
                </a:lnTo>
                <a:lnTo>
                  <a:pt x="1018" y="317"/>
                </a:lnTo>
                <a:lnTo>
                  <a:pt x="1018" y="315"/>
                </a:lnTo>
                <a:lnTo>
                  <a:pt x="1018" y="315"/>
                </a:lnTo>
                <a:lnTo>
                  <a:pt x="1016" y="310"/>
                </a:lnTo>
                <a:lnTo>
                  <a:pt x="1016" y="310"/>
                </a:lnTo>
                <a:lnTo>
                  <a:pt x="1013" y="312"/>
                </a:lnTo>
                <a:lnTo>
                  <a:pt x="1013" y="312"/>
                </a:lnTo>
                <a:lnTo>
                  <a:pt x="1009" y="310"/>
                </a:lnTo>
                <a:lnTo>
                  <a:pt x="1009" y="310"/>
                </a:lnTo>
                <a:lnTo>
                  <a:pt x="1009" y="307"/>
                </a:lnTo>
                <a:lnTo>
                  <a:pt x="1009" y="307"/>
                </a:lnTo>
                <a:lnTo>
                  <a:pt x="1009" y="305"/>
                </a:lnTo>
                <a:lnTo>
                  <a:pt x="1009" y="305"/>
                </a:lnTo>
                <a:lnTo>
                  <a:pt x="1011" y="303"/>
                </a:lnTo>
                <a:lnTo>
                  <a:pt x="1011" y="303"/>
                </a:lnTo>
                <a:lnTo>
                  <a:pt x="1011" y="303"/>
                </a:lnTo>
                <a:lnTo>
                  <a:pt x="1009" y="303"/>
                </a:lnTo>
                <a:lnTo>
                  <a:pt x="1009" y="303"/>
                </a:lnTo>
                <a:lnTo>
                  <a:pt x="1006" y="298"/>
                </a:lnTo>
                <a:lnTo>
                  <a:pt x="1006" y="298"/>
                </a:lnTo>
                <a:lnTo>
                  <a:pt x="1006" y="295"/>
                </a:lnTo>
                <a:lnTo>
                  <a:pt x="1006" y="295"/>
                </a:lnTo>
                <a:lnTo>
                  <a:pt x="1006" y="293"/>
                </a:lnTo>
                <a:lnTo>
                  <a:pt x="1006" y="293"/>
                </a:lnTo>
                <a:lnTo>
                  <a:pt x="1006" y="290"/>
                </a:lnTo>
                <a:lnTo>
                  <a:pt x="1006" y="290"/>
                </a:lnTo>
                <a:lnTo>
                  <a:pt x="1006" y="293"/>
                </a:lnTo>
                <a:lnTo>
                  <a:pt x="1006" y="293"/>
                </a:lnTo>
                <a:lnTo>
                  <a:pt x="1004" y="298"/>
                </a:lnTo>
                <a:lnTo>
                  <a:pt x="1004" y="298"/>
                </a:lnTo>
                <a:lnTo>
                  <a:pt x="1006" y="303"/>
                </a:lnTo>
                <a:lnTo>
                  <a:pt x="1006" y="303"/>
                </a:lnTo>
                <a:lnTo>
                  <a:pt x="1006" y="305"/>
                </a:lnTo>
                <a:lnTo>
                  <a:pt x="1006" y="305"/>
                </a:lnTo>
                <a:lnTo>
                  <a:pt x="1006" y="307"/>
                </a:lnTo>
                <a:lnTo>
                  <a:pt x="1006" y="307"/>
                </a:lnTo>
                <a:lnTo>
                  <a:pt x="1006" y="310"/>
                </a:lnTo>
                <a:lnTo>
                  <a:pt x="1006" y="310"/>
                </a:lnTo>
                <a:lnTo>
                  <a:pt x="1004" y="312"/>
                </a:lnTo>
                <a:lnTo>
                  <a:pt x="1004" y="312"/>
                </a:lnTo>
                <a:lnTo>
                  <a:pt x="1001" y="310"/>
                </a:lnTo>
                <a:lnTo>
                  <a:pt x="1001" y="310"/>
                </a:lnTo>
                <a:lnTo>
                  <a:pt x="999" y="312"/>
                </a:lnTo>
                <a:lnTo>
                  <a:pt x="999" y="312"/>
                </a:lnTo>
                <a:lnTo>
                  <a:pt x="996" y="310"/>
                </a:lnTo>
                <a:lnTo>
                  <a:pt x="996" y="310"/>
                </a:lnTo>
                <a:lnTo>
                  <a:pt x="996" y="307"/>
                </a:lnTo>
                <a:lnTo>
                  <a:pt x="996" y="307"/>
                </a:lnTo>
                <a:lnTo>
                  <a:pt x="996" y="303"/>
                </a:lnTo>
                <a:lnTo>
                  <a:pt x="996" y="303"/>
                </a:lnTo>
                <a:lnTo>
                  <a:pt x="996" y="298"/>
                </a:lnTo>
                <a:lnTo>
                  <a:pt x="996" y="298"/>
                </a:lnTo>
                <a:lnTo>
                  <a:pt x="996" y="295"/>
                </a:lnTo>
                <a:lnTo>
                  <a:pt x="996" y="295"/>
                </a:lnTo>
                <a:lnTo>
                  <a:pt x="999" y="293"/>
                </a:lnTo>
                <a:lnTo>
                  <a:pt x="999" y="293"/>
                </a:lnTo>
                <a:lnTo>
                  <a:pt x="996" y="293"/>
                </a:lnTo>
                <a:lnTo>
                  <a:pt x="996" y="293"/>
                </a:lnTo>
                <a:lnTo>
                  <a:pt x="994" y="295"/>
                </a:lnTo>
                <a:lnTo>
                  <a:pt x="994" y="295"/>
                </a:lnTo>
                <a:lnTo>
                  <a:pt x="994" y="300"/>
                </a:lnTo>
                <a:lnTo>
                  <a:pt x="994" y="300"/>
                </a:lnTo>
                <a:lnTo>
                  <a:pt x="994" y="303"/>
                </a:lnTo>
                <a:lnTo>
                  <a:pt x="994" y="303"/>
                </a:lnTo>
                <a:lnTo>
                  <a:pt x="991" y="307"/>
                </a:lnTo>
                <a:lnTo>
                  <a:pt x="991" y="307"/>
                </a:lnTo>
                <a:lnTo>
                  <a:pt x="989" y="307"/>
                </a:lnTo>
                <a:lnTo>
                  <a:pt x="989" y="307"/>
                </a:lnTo>
                <a:lnTo>
                  <a:pt x="986" y="307"/>
                </a:lnTo>
                <a:lnTo>
                  <a:pt x="986" y="307"/>
                </a:lnTo>
                <a:lnTo>
                  <a:pt x="986" y="305"/>
                </a:lnTo>
                <a:lnTo>
                  <a:pt x="986" y="305"/>
                </a:lnTo>
                <a:lnTo>
                  <a:pt x="986" y="303"/>
                </a:lnTo>
                <a:lnTo>
                  <a:pt x="986" y="303"/>
                </a:lnTo>
                <a:lnTo>
                  <a:pt x="986" y="300"/>
                </a:lnTo>
                <a:lnTo>
                  <a:pt x="986" y="300"/>
                </a:lnTo>
                <a:lnTo>
                  <a:pt x="989" y="298"/>
                </a:lnTo>
                <a:lnTo>
                  <a:pt x="989" y="298"/>
                </a:lnTo>
                <a:lnTo>
                  <a:pt x="989" y="298"/>
                </a:lnTo>
                <a:lnTo>
                  <a:pt x="986" y="293"/>
                </a:lnTo>
                <a:lnTo>
                  <a:pt x="986" y="293"/>
                </a:lnTo>
                <a:lnTo>
                  <a:pt x="986" y="293"/>
                </a:lnTo>
                <a:lnTo>
                  <a:pt x="986" y="295"/>
                </a:lnTo>
                <a:lnTo>
                  <a:pt x="986" y="295"/>
                </a:lnTo>
                <a:lnTo>
                  <a:pt x="986" y="298"/>
                </a:lnTo>
                <a:lnTo>
                  <a:pt x="986" y="298"/>
                </a:lnTo>
                <a:lnTo>
                  <a:pt x="984" y="300"/>
                </a:lnTo>
                <a:lnTo>
                  <a:pt x="984" y="300"/>
                </a:lnTo>
                <a:lnTo>
                  <a:pt x="984" y="303"/>
                </a:lnTo>
                <a:lnTo>
                  <a:pt x="984" y="303"/>
                </a:lnTo>
                <a:lnTo>
                  <a:pt x="981" y="303"/>
                </a:lnTo>
                <a:lnTo>
                  <a:pt x="981" y="303"/>
                </a:lnTo>
                <a:lnTo>
                  <a:pt x="979" y="303"/>
                </a:lnTo>
                <a:lnTo>
                  <a:pt x="979" y="303"/>
                </a:lnTo>
                <a:lnTo>
                  <a:pt x="979" y="305"/>
                </a:lnTo>
                <a:lnTo>
                  <a:pt x="979" y="305"/>
                </a:lnTo>
                <a:lnTo>
                  <a:pt x="977" y="305"/>
                </a:lnTo>
                <a:lnTo>
                  <a:pt x="977" y="305"/>
                </a:lnTo>
                <a:close/>
                <a:moveTo>
                  <a:pt x="1060" y="762"/>
                </a:moveTo>
                <a:lnTo>
                  <a:pt x="1060" y="762"/>
                </a:lnTo>
                <a:lnTo>
                  <a:pt x="1060" y="767"/>
                </a:lnTo>
                <a:lnTo>
                  <a:pt x="1060" y="767"/>
                </a:lnTo>
                <a:lnTo>
                  <a:pt x="1060" y="770"/>
                </a:lnTo>
                <a:lnTo>
                  <a:pt x="1060" y="770"/>
                </a:lnTo>
                <a:lnTo>
                  <a:pt x="1060" y="772"/>
                </a:lnTo>
                <a:lnTo>
                  <a:pt x="1060" y="772"/>
                </a:lnTo>
                <a:lnTo>
                  <a:pt x="1063" y="772"/>
                </a:lnTo>
                <a:lnTo>
                  <a:pt x="1063" y="772"/>
                </a:lnTo>
                <a:lnTo>
                  <a:pt x="1060" y="770"/>
                </a:lnTo>
                <a:lnTo>
                  <a:pt x="1060" y="770"/>
                </a:lnTo>
                <a:lnTo>
                  <a:pt x="1063" y="767"/>
                </a:lnTo>
                <a:lnTo>
                  <a:pt x="1063" y="767"/>
                </a:lnTo>
                <a:lnTo>
                  <a:pt x="1063" y="762"/>
                </a:lnTo>
                <a:lnTo>
                  <a:pt x="1063" y="762"/>
                </a:lnTo>
                <a:lnTo>
                  <a:pt x="1060" y="762"/>
                </a:lnTo>
                <a:lnTo>
                  <a:pt x="1060" y="762"/>
                </a:lnTo>
                <a:close/>
                <a:moveTo>
                  <a:pt x="1058" y="745"/>
                </a:moveTo>
                <a:lnTo>
                  <a:pt x="1058" y="745"/>
                </a:lnTo>
                <a:lnTo>
                  <a:pt x="1058" y="745"/>
                </a:lnTo>
                <a:lnTo>
                  <a:pt x="1058" y="743"/>
                </a:lnTo>
                <a:lnTo>
                  <a:pt x="1058" y="743"/>
                </a:lnTo>
                <a:lnTo>
                  <a:pt x="1060" y="745"/>
                </a:lnTo>
                <a:lnTo>
                  <a:pt x="1060" y="745"/>
                </a:lnTo>
                <a:lnTo>
                  <a:pt x="1060" y="745"/>
                </a:lnTo>
                <a:lnTo>
                  <a:pt x="1058" y="745"/>
                </a:lnTo>
                <a:lnTo>
                  <a:pt x="1058" y="745"/>
                </a:lnTo>
                <a:close/>
                <a:moveTo>
                  <a:pt x="1053" y="735"/>
                </a:moveTo>
                <a:lnTo>
                  <a:pt x="1053" y="735"/>
                </a:lnTo>
                <a:lnTo>
                  <a:pt x="1055" y="733"/>
                </a:lnTo>
                <a:lnTo>
                  <a:pt x="1055" y="733"/>
                </a:lnTo>
                <a:lnTo>
                  <a:pt x="1058" y="733"/>
                </a:lnTo>
                <a:lnTo>
                  <a:pt x="1058" y="733"/>
                </a:lnTo>
                <a:lnTo>
                  <a:pt x="1058" y="733"/>
                </a:lnTo>
                <a:lnTo>
                  <a:pt x="1055" y="735"/>
                </a:lnTo>
                <a:lnTo>
                  <a:pt x="1055" y="735"/>
                </a:lnTo>
                <a:lnTo>
                  <a:pt x="1055" y="735"/>
                </a:lnTo>
                <a:lnTo>
                  <a:pt x="1053" y="735"/>
                </a:lnTo>
                <a:lnTo>
                  <a:pt x="1053" y="735"/>
                </a:lnTo>
                <a:close/>
                <a:moveTo>
                  <a:pt x="1028" y="507"/>
                </a:moveTo>
                <a:lnTo>
                  <a:pt x="1028" y="507"/>
                </a:lnTo>
                <a:lnTo>
                  <a:pt x="1028" y="504"/>
                </a:lnTo>
                <a:lnTo>
                  <a:pt x="1028" y="504"/>
                </a:lnTo>
                <a:lnTo>
                  <a:pt x="1031" y="502"/>
                </a:lnTo>
                <a:lnTo>
                  <a:pt x="1031" y="502"/>
                </a:lnTo>
                <a:lnTo>
                  <a:pt x="1031" y="504"/>
                </a:lnTo>
                <a:lnTo>
                  <a:pt x="1031" y="504"/>
                </a:lnTo>
                <a:lnTo>
                  <a:pt x="1028" y="507"/>
                </a:lnTo>
                <a:lnTo>
                  <a:pt x="1028" y="507"/>
                </a:lnTo>
                <a:close/>
                <a:moveTo>
                  <a:pt x="1033" y="509"/>
                </a:moveTo>
                <a:lnTo>
                  <a:pt x="1033" y="509"/>
                </a:lnTo>
                <a:lnTo>
                  <a:pt x="1033" y="507"/>
                </a:lnTo>
                <a:lnTo>
                  <a:pt x="1033" y="507"/>
                </a:lnTo>
                <a:lnTo>
                  <a:pt x="1033" y="504"/>
                </a:lnTo>
                <a:lnTo>
                  <a:pt x="1033" y="504"/>
                </a:lnTo>
                <a:lnTo>
                  <a:pt x="1033" y="504"/>
                </a:lnTo>
                <a:lnTo>
                  <a:pt x="1036" y="507"/>
                </a:lnTo>
                <a:lnTo>
                  <a:pt x="1036" y="507"/>
                </a:lnTo>
                <a:lnTo>
                  <a:pt x="1036" y="509"/>
                </a:lnTo>
                <a:lnTo>
                  <a:pt x="1036" y="509"/>
                </a:lnTo>
                <a:lnTo>
                  <a:pt x="1033" y="509"/>
                </a:lnTo>
                <a:lnTo>
                  <a:pt x="1033" y="509"/>
                </a:lnTo>
                <a:close/>
                <a:moveTo>
                  <a:pt x="1028" y="516"/>
                </a:moveTo>
                <a:lnTo>
                  <a:pt x="1028" y="516"/>
                </a:lnTo>
                <a:lnTo>
                  <a:pt x="1026" y="514"/>
                </a:lnTo>
                <a:lnTo>
                  <a:pt x="1026" y="514"/>
                </a:lnTo>
                <a:lnTo>
                  <a:pt x="1028" y="512"/>
                </a:lnTo>
                <a:lnTo>
                  <a:pt x="1028" y="512"/>
                </a:lnTo>
                <a:lnTo>
                  <a:pt x="1028" y="509"/>
                </a:lnTo>
                <a:lnTo>
                  <a:pt x="1028" y="509"/>
                </a:lnTo>
                <a:lnTo>
                  <a:pt x="1028" y="509"/>
                </a:lnTo>
                <a:lnTo>
                  <a:pt x="1031" y="512"/>
                </a:lnTo>
                <a:lnTo>
                  <a:pt x="1031" y="512"/>
                </a:lnTo>
                <a:lnTo>
                  <a:pt x="1031" y="509"/>
                </a:lnTo>
                <a:lnTo>
                  <a:pt x="1031" y="509"/>
                </a:lnTo>
                <a:lnTo>
                  <a:pt x="1033" y="512"/>
                </a:lnTo>
                <a:lnTo>
                  <a:pt x="1033" y="512"/>
                </a:lnTo>
                <a:lnTo>
                  <a:pt x="1031" y="514"/>
                </a:lnTo>
                <a:lnTo>
                  <a:pt x="1031" y="514"/>
                </a:lnTo>
                <a:lnTo>
                  <a:pt x="1028" y="516"/>
                </a:lnTo>
                <a:lnTo>
                  <a:pt x="1028" y="516"/>
                </a:lnTo>
                <a:lnTo>
                  <a:pt x="1028" y="516"/>
                </a:lnTo>
                <a:close/>
                <a:moveTo>
                  <a:pt x="1075" y="585"/>
                </a:moveTo>
                <a:lnTo>
                  <a:pt x="1075" y="585"/>
                </a:lnTo>
                <a:lnTo>
                  <a:pt x="1075" y="583"/>
                </a:lnTo>
                <a:lnTo>
                  <a:pt x="1075" y="583"/>
                </a:lnTo>
                <a:lnTo>
                  <a:pt x="1077" y="583"/>
                </a:lnTo>
                <a:lnTo>
                  <a:pt x="1077" y="583"/>
                </a:lnTo>
                <a:lnTo>
                  <a:pt x="1077" y="585"/>
                </a:lnTo>
                <a:lnTo>
                  <a:pt x="1077" y="585"/>
                </a:lnTo>
                <a:lnTo>
                  <a:pt x="1075" y="585"/>
                </a:lnTo>
                <a:lnTo>
                  <a:pt x="1075" y="585"/>
                </a:lnTo>
                <a:lnTo>
                  <a:pt x="1075" y="585"/>
                </a:lnTo>
                <a:close/>
                <a:moveTo>
                  <a:pt x="1070" y="583"/>
                </a:moveTo>
                <a:lnTo>
                  <a:pt x="1070" y="583"/>
                </a:lnTo>
                <a:lnTo>
                  <a:pt x="1070" y="583"/>
                </a:lnTo>
                <a:lnTo>
                  <a:pt x="1072" y="580"/>
                </a:lnTo>
                <a:lnTo>
                  <a:pt x="1072" y="580"/>
                </a:lnTo>
                <a:lnTo>
                  <a:pt x="1072" y="580"/>
                </a:lnTo>
                <a:lnTo>
                  <a:pt x="1075" y="583"/>
                </a:lnTo>
                <a:lnTo>
                  <a:pt x="1075" y="583"/>
                </a:lnTo>
                <a:lnTo>
                  <a:pt x="1072" y="585"/>
                </a:lnTo>
                <a:lnTo>
                  <a:pt x="1072" y="585"/>
                </a:lnTo>
                <a:lnTo>
                  <a:pt x="1070" y="585"/>
                </a:lnTo>
                <a:lnTo>
                  <a:pt x="1070" y="585"/>
                </a:lnTo>
                <a:lnTo>
                  <a:pt x="1070" y="583"/>
                </a:lnTo>
                <a:lnTo>
                  <a:pt x="1070" y="583"/>
                </a:lnTo>
                <a:close/>
                <a:moveTo>
                  <a:pt x="1060" y="615"/>
                </a:moveTo>
                <a:lnTo>
                  <a:pt x="1060" y="615"/>
                </a:lnTo>
                <a:lnTo>
                  <a:pt x="1063" y="617"/>
                </a:lnTo>
                <a:lnTo>
                  <a:pt x="1063" y="617"/>
                </a:lnTo>
                <a:lnTo>
                  <a:pt x="1063" y="617"/>
                </a:lnTo>
                <a:lnTo>
                  <a:pt x="1063" y="615"/>
                </a:lnTo>
                <a:lnTo>
                  <a:pt x="1063" y="615"/>
                </a:lnTo>
                <a:lnTo>
                  <a:pt x="1060" y="615"/>
                </a:lnTo>
                <a:lnTo>
                  <a:pt x="1060" y="615"/>
                </a:lnTo>
                <a:close/>
                <a:moveTo>
                  <a:pt x="1072" y="630"/>
                </a:moveTo>
                <a:lnTo>
                  <a:pt x="1072" y="630"/>
                </a:lnTo>
                <a:lnTo>
                  <a:pt x="1075" y="632"/>
                </a:lnTo>
                <a:lnTo>
                  <a:pt x="1075" y="632"/>
                </a:lnTo>
                <a:lnTo>
                  <a:pt x="1077" y="630"/>
                </a:lnTo>
                <a:lnTo>
                  <a:pt x="1077" y="630"/>
                </a:lnTo>
                <a:lnTo>
                  <a:pt x="1075" y="630"/>
                </a:lnTo>
                <a:lnTo>
                  <a:pt x="1075" y="630"/>
                </a:lnTo>
                <a:lnTo>
                  <a:pt x="1072" y="630"/>
                </a:lnTo>
                <a:lnTo>
                  <a:pt x="1072" y="630"/>
                </a:lnTo>
                <a:close/>
                <a:moveTo>
                  <a:pt x="1097" y="654"/>
                </a:moveTo>
                <a:lnTo>
                  <a:pt x="1097" y="654"/>
                </a:lnTo>
                <a:lnTo>
                  <a:pt x="1095" y="649"/>
                </a:lnTo>
                <a:lnTo>
                  <a:pt x="1095" y="649"/>
                </a:lnTo>
                <a:lnTo>
                  <a:pt x="1097" y="647"/>
                </a:lnTo>
                <a:lnTo>
                  <a:pt x="1097" y="647"/>
                </a:lnTo>
                <a:lnTo>
                  <a:pt x="1100" y="649"/>
                </a:lnTo>
                <a:lnTo>
                  <a:pt x="1100" y="649"/>
                </a:lnTo>
                <a:lnTo>
                  <a:pt x="1100" y="652"/>
                </a:lnTo>
                <a:lnTo>
                  <a:pt x="1100" y="652"/>
                </a:lnTo>
                <a:lnTo>
                  <a:pt x="1097" y="654"/>
                </a:lnTo>
                <a:lnTo>
                  <a:pt x="1097" y="654"/>
                </a:lnTo>
                <a:lnTo>
                  <a:pt x="1097" y="654"/>
                </a:lnTo>
                <a:close/>
                <a:moveTo>
                  <a:pt x="1109" y="669"/>
                </a:moveTo>
                <a:lnTo>
                  <a:pt x="1109" y="669"/>
                </a:lnTo>
                <a:lnTo>
                  <a:pt x="1109" y="664"/>
                </a:lnTo>
                <a:lnTo>
                  <a:pt x="1109" y="664"/>
                </a:lnTo>
                <a:lnTo>
                  <a:pt x="1112" y="664"/>
                </a:lnTo>
                <a:lnTo>
                  <a:pt x="1112" y="664"/>
                </a:lnTo>
                <a:lnTo>
                  <a:pt x="1112" y="664"/>
                </a:lnTo>
                <a:lnTo>
                  <a:pt x="1114" y="664"/>
                </a:lnTo>
                <a:lnTo>
                  <a:pt x="1114" y="664"/>
                </a:lnTo>
                <a:lnTo>
                  <a:pt x="1112" y="667"/>
                </a:lnTo>
                <a:lnTo>
                  <a:pt x="1112" y="667"/>
                </a:lnTo>
                <a:lnTo>
                  <a:pt x="1109" y="667"/>
                </a:lnTo>
                <a:lnTo>
                  <a:pt x="1109" y="669"/>
                </a:lnTo>
                <a:lnTo>
                  <a:pt x="1109" y="669"/>
                </a:lnTo>
                <a:close/>
                <a:moveTo>
                  <a:pt x="1023" y="339"/>
                </a:moveTo>
                <a:lnTo>
                  <a:pt x="1023" y="339"/>
                </a:lnTo>
                <a:lnTo>
                  <a:pt x="1023" y="334"/>
                </a:lnTo>
                <a:lnTo>
                  <a:pt x="1023" y="334"/>
                </a:lnTo>
                <a:lnTo>
                  <a:pt x="1023" y="334"/>
                </a:lnTo>
                <a:lnTo>
                  <a:pt x="1026" y="332"/>
                </a:lnTo>
                <a:lnTo>
                  <a:pt x="1026" y="332"/>
                </a:lnTo>
                <a:lnTo>
                  <a:pt x="1033" y="327"/>
                </a:lnTo>
                <a:lnTo>
                  <a:pt x="1033" y="327"/>
                </a:lnTo>
                <a:lnTo>
                  <a:pt x="1036" y="327"/>
                </a:lnTo>
                <a:lnTo>
                  <a:pt x="1036" y="327"/>
                </a:lnTo>
                <a:lnTo>
                  <a:pt x="1033" y="330"/>
                </a:lnTo>
                <a:lnTo>
                  <a:pt x="1033" y="330"/>
                </a:lnTo>
                <a:lnTo>
                  <a:pt x="1031" y="332"/>
                </a:lnTo>
                <a:lnTo>
                  <a:pt x="1031" y="332"/>
                </a:lnTo>
                <a:lnTo>
                  <a:pt x="1028" y="334"/>
                </a:lnTo>
                <a:lnTo>
                  <a:pt x="1028" y="334"/>
                </a:lnTo>
                <a:lnTo>
                  <a:pt x="1031" y="337"/>
                </a:lnTo>
                <a:lnTo>
                  <a:pt x="1031" y="337"/>
                </a:lnTo>
                <a:lnTo>
                  <a:pt x="1031" y="339"/>
                </a:lnTo>
                <a:lnTo>
                  <a:pt x="1031" y="339"/>
                </a:lnTo>
                <a:lnTo>
                  <a:pt x="1028" y="337"/>
                </a:lnTo>
                <a:lnTo>
                  <a:pt x="1028" y="337"/>
                </a:lnTo>
                <a:lnTo>
                  <a:pt x="1026" y="337"/>
                </a:lnTo>
                <a:lnTo>
                  <a:pt x="1026" y="337"/>
                </a:lnTo>
                <a:lnTo>
                  <a:pt x="1026" y="337"/>
                </a:lnTo>
                <a:lnTo>
                  <a:pt x="1023" y="339"/>
                </a:lnTo>
                <a:lnTo>
                  <a:pt x="1023" y="339"/>
                </a:lnTo>
                <a:lnTo>
                  <a:pt x="1023" y="339"/>
                </a:lnTo>
                <a:close/>
                <a:moveTo>
                  <a:pt x="1009" y="325"/>
                </a:moveTo>
                <a:lnTo>
                  <a:pt x="1009" y="325"/>
                </a:lnTo>
                <a:lnTo>
                  <a:pt x="1009" y="325"/>
                </a:lnTo>
                <a:lnTo>
                  <a:pt x="1011" y="325"/>
                </a:lnTo>
                <a:lnTo>
                  <a:pt x="1011" y="325"/>
                </a:lnTo>
                <a:lnTo>
                  <a:pt x="1011" y="325"/>
                </a:lnTo>
                <a:lnTo>
                  <a:pt x="1011" y="322"/>
                </a:lnTo>
                <a:lnTo>
                  <a:pt x="1011" y="322"/>
                </a:lnTo>
                <a:lnTo>
                  <a:pt x="1009" y="325"/>
                </a:lnTo>
                <a:lnTo>
                  <a:pt x="1009" y="325"/>
                </a:lnTo>
                <a:close/>
                <a:moveTo>
                  <a:pt x="925" y="288"/>
                </a:moveTo>
                <a:lnTo>
                  <a:pt x="925" y="288"/>
                </a:lnTo>
                <a:lnTo>
                  <a:pt x="920" y="285"/>
                </a:lnTo>
                <a:lnTo>
                  <a:pt x="920" y="285"/>
                </a:lnTo>
                <a:lnTo>
                  <a:pt x="920" y="283"/>
                </a:lnTo>
                <a:lnTo>
                  <a:pt x="920" y="283"/>
                </a:lnTo>
                <a:lnTo>
                  <a:pt x="920" y="278"/>
                </a:lnTo>
                <a:lnTo>
                  <a:pt x="920" y="278"/>
                </a:lnTo>
                <a:lnTo>
                  <a:pt x="920" y="275"/>
                </a:lnTo>
                <a:lnTo>
                  <a:pt x="920" y="275"/>
                </a:lnTo>
                <a:lnTo>
                  <a:pt x="920" y="273"/>
                </a:lnTo>
                <a:lnTo>
                  <a:pt x="920" y="273"/>
                </a:lnTo>
                <a:lnTo>
                  <a:pt x="920" y="271"/>
                </a:lnTo>
                <a:lnTo>
                  <a:pt x="920" y="271"/>
                </a:lnTo>
                <a:lnTo>
                  <a:pt x="922" y="271"/>
                </a:lnTo>
                <a:lnTo>
                  <a:pt x="922" y="271"/>
                </a:lnTo>
                <a:lnTo>
                  <a:pt x="927" y="271"/>
                </a:lnTo>
                <a:lnTo>
                  <a:pt x="927" y="271"/>
                </a:lnTo>
                <a:lnTo>
                  <a:pt x="927" y="275"/>
                </a:lnTo>
                <a:lnTo>
                  <a:pt x="927" y="275"/>
                </a:lnTo>
                <a:lnTo>
                  <a:pt x="925" y="280"/>
                </a:lnTo>
                <a:lnTo>
                  <a:pt x="925" y="280"/>
                </a:lnTo>
                <a:lnTo>
                  <a:pt x="925" y="283"/>
                </a:lnTo>
                <a:lnTo>
                  <a:pt x="925" y="283"/>
                </a:lnTo>
                <a:lnTo>
                  <a:pt x="925" y="285"/>
                </a:lnTo>
                <a:lnTo>
                  <a:pt x="925" y="285"/>
                </a:lnTo>
                <a:lnTo>
                  <a:pt x="925" y="288"/>
                </a:lnTo>
                <a:lnTo>
                  <a:pt x="925" y="288"/>
                </a:lnTo>
                <a:lnTo>
                  <a:pt x="925" y="288"/>
                </a:lnTo>
                <a:close/>
                <a:moveTo>
                  <a:pt x="922" y="116"/>
                </a:moveTo>
                <a:lnTo>
                  <a:pt x="922" y="116"/>
                </a:lnTo>
                <a:lnTo>
                  <a:pt x="927" y="113"/>
                </a:lnTo>
                <a:lnTo>
                  <a:pt x="927" y="113"/>
                </a:lnTo>
                <a:lnTo>
                  <a:pt x="930" y="108"/>
                </a:lnTo>
                <a:lnTo>
                  <a:pt x="930" y="108"/>
                </a:lnTo>
                <a:lnTo>
                  <a:pt x="930" y="106"/>
                </a:lnTo>
                <a:lnTo>
                  <a:pt x="930" y="106"/>
                </a:lnTo>
                <a:lnTo>
                  <a:pt x="932" y="103"/>
                </a:lnTo>
                <a:lnTo>
                  <a:pt x="932" y="103"/>
                </a:lnTo>
                <a:lnTo>
                  <a:pt x="935" y="98"/>
                </a:lnTo>
                <a:lnTo>
                  <a:pt x="935" y="98"/>
                </a:lnTo>
                <a:lnTo>
                  <a:pt x="935" y="96"/>
                </a:lnTo>
                <a:lnTo>
                  <a:pt x="935" y="96"/>
                </a:lnTo>
                <a:lnTo>
                  <a:pt x="930" y="96"/>
                </a:lnTo>
                <a:lnTo>
                  <a:pt x="930" y="96"/>
                </a:lnTo>
                <a:lnTo>
                  <a:pt x="927" y="96"/>
                </a:lnTo>
                <a:lnTo>
                  <a:pt x="927" y="96"/>
                </a:lnTo>
                <a:lnTo>
                  <a:pt x="930" y="93"/>
                </a:lnTo>
                <a:lnTo>
                  <a:pt x="930" y="93"/>
                </a:lnTo>
                <a:lnTo>
                  <a:pt x="927" y="93"/>
                </a:lnTo>
                <a:lnTo>
                  <a:pt x="927" y="93"/>
                </a:lnTo>
                <a:lnTo>
                  <a:pt x="925" y="96"/>
                </a:lnTo>
                <a:lnTo>
                  <a:pt x="925" y="96"/>
                </a:lnTo>
                <a:lnTo>
                  <a:pt x="920" y="98"/>
                </a:lnTo>
                <a:lnTo>
                  <a:pt x="920" y="98"/>
                </a:lnTo>
                <a:lnTo>
                  <a:pt x="920" y="101"/>
                </a:lnTo>
                <a:lnTo>
                  <a:pt x="920" y="101"/>
                </a:lnTo>
                <a:lnTo>
                  <a:pt x="918" y="101"/>
                </a:lnTo>
                <a:lnTo>
                  <a:pt x="918" y="101"/>
                </a:lnTo>
                <a:lnTo>
                  <a:pt x="918" y="103"/>
                </a:lnTo>
                <a:lnTo>
                  <a:pt x="918" y="103"/>
                </a:lnTo>
                <a:lnTo>
                  <a:pt x="922" y="106"/>
                </a:lnTo>
                <a:lnTo>
                  <a:pt x="922" y="106"/>
                </a:lnTo>
                <a:lnTo>
                  <a:pt x="925" y="103"/>
                </a:lnTo>
                <a:lnTo>
                  <a:pt x="925" y="103"/>
                </a:lnTo>
                <a:lnTo>
                  <a:pt x="925" y="108"/>
                </a:lnTo>
                <a:lnTo>
                  <a:pt x="925" y="108"/>
                </a:lnTo>
                <a:lnTo>
                  <a:pt x="922" y="111"/>
                </a:lnTo>
                <a:lnTo>
                  <a:pt x="922" y="111"/>
                </a:lnTo>
                <a:lnTo>
                  <a:pt x="922" y="113"/>
                </a:lnTo>
                <a:lnTo>
                  <a:pt x="922" y="113"/>
                </a:lnTo>
                <a:lnTo>
                  <a:pt x="922" y="113"/>
                </a:lnTo>
                <a:lnTo>
                  <a:pt x="922" y="116"/>
                </a:lnTo>
                <a:lnTo>
                  <a:pt x="922" y="116"/>
                </a:lnTo>
                <a:close/>
                <a:moveTo>
                  <a:pt x="883" y="209"/>
                </a:moveTo>
                <a:lnTo>
                  <a:pt x="883" y="209"/>
                </a:lnTo>
                <a:lnTo>
                  <a:pt x="883" y="204"/>
                </a:lnTo>
                <a:lnTo>
                  <a:pt x="883" y="204"/>
                </a:lnTo>
                <a:lnTo>
                  <a:pt x="886" y="202"/>
                </a:lnTo>
                <a:lnTo>
                  <a:pt x="886" y="202"/>
                </a:lnTo>
                <a:lnTo>
                  <a:pt x="883" y="202"/>
                </a:lnTo>
                <a:lnTo>
                  <a:pt x="883" y="202"/>
                </a:lnTo>
                <a:lnTo>
                  <a:pt x="883" y="197"/>
                </a:lnTo>
                <a:lnTo>
                  <a:pt x="883" y="197"/>
                </a:lnTo>
                <a:lnTo>
                  <a:pt x="881" y="197"/>
                </a:lnTo>
                <a:lnTo>
                  <a:pt x="881" y="197"/>
                </a:lnTo>
                <a:lnTo>
                  <a:pt x="883" y="194"/>
                </a:lnTo>
                <a:lnTo>
                  <a:pt x="883" y="194"/>
                </a:lnTo>
                <a:lnTo>
                  <a:pt x="883" y="192"/>
                </a:lnTo>
                <a:lnTo>
                  <a:pt x="883" y="192"/>
                </a:lnTo>
                <a:lnTo>
                  <a:pt x="886" y="192"/>
                </a:lnTo>
                <a:lnTo>
                  <a:pt x="886" y="192"/>
                </a:lnTo>
                <a:lnTo>
                  <a:pt x="890" y="194"/>
                </a:lnTo>
                <a:lnTo>
                  <a:pt x="890" y="194"/>
                </a:lnTo>
                <a:lnTo>
                  <a:pt x="890" y="194"/>
                </a:lnTo>
                <a:lnTo>
                  <a:pt x="890" y="192"/>
                </a:lnTo>
                <a:lnTo>
                  <a:pt x="890" y="192"/>
                </a:lnTo>
                <a:lnTo>
                  <a:pt x="888" y="187"/>
                </a:lnTo>
                <a:lnTo>
                  <a:pt x="888" y="187"/>
                </a:lnTo>
                <a:lnTo>
                  <a:pt x="886" y="187"/>
                </a:lnTo>
                <a:lnTo>
                  <a:pt x="886" y="187"/>
                </a:lnTo>
                <a:lnTo>
                  <a:pt x="886" y="184"/>
                </a:lnTo>
                <a:lnTo>
                  <a:pt x="886" y="184"/>
                </a:lnTo>
                <a:lnTo>
                  <a:pt x="888" y="184"/>
                </a:lnTo>
                <a:lnTo>
                  <a:pt x="888" y="184"/>
                </a:lnTo>
                <a:lnTo>
                  <a:pt x="886" y="182"/>
                </a:lnTo>
                <a:lnTo>
                  <a:pt x="886" y="182"/>
                </a:lnTo>
                <a:lnTo>
                  <a:pt x="888" y="177"/>
                </a:lnTo>
                <a:lnTo>
                  <a:pt x="888" y="177"/>
                </a:lnTo>
                <a:lnTo>
                  <a:pt x="888" y="172"/>
                </a:lnTo>
                <a:lnTo>
                  <a:pt x="888" y="172"/>
                </a:lnTo>
                <a:lnTo>
                  <a:pt x="890" y="170"/>
                </a:lnTo>
                <a:lnTo>
                  <a:pt x="890" y="170"/>
                </a:lnTo>
                <a:lnTo>
                  <a:pt x="890" y="170"/>
                </a:lnTo>
                <a:lnTo>
                  <a:pt x="893" y="167"/>
                </a:lnTo>
                <a:lnTo>
                  <a:pt x="893" y="167"/>
                </a:lnTo>
                <a:lnTo>
                  <a:pt x="893" y="162"/>
                </a:lnTo>
                <a:lnTo>
                  <a:pt x="893" y="162"/>
                </a:lnTo>
                <a:lnTo>
                  <a:pt x="895" y="162"/>
                </a:lnTo>
                <a:lnTo>
                  <a:pt x="895" y="162"/>
                </a:lnTo>
                <a:lnTo>
                  <a:pt x="900" y="157"/>
                </a:lnTo>
                <a:lnTo>
                  <a:pt x="900" y="157"/>
                </a:lnTo>
                <a:lnTo>
                  <a:pt x="903" y="157"/>
                </a:lnTo>
                <a:lnTo>
                  <a:pt x="903" y="157"/>
                </a:lnTo>
                <a:lnTo>
                  <a:pt x="908" y="162"/>
                </a:lnTo>
                <a:lnTo>
                  <a:pt x="908" y="162"/>
                </a:lnTo>
                <a:lnTo>
                  <a:pt x="908" y="167"/>
                </a:lnTo>
                <a:lnTo>
                  <a:pt x="908" y="167"/>
                </a:lnTo>
                <a:lnTo>
                  <a:pt x="908" y="170"/>
                </a:lnTo>
                <a:lnTo>
                  <a:pt x="908" y="170"/>
                </a:lnTo>
                <a:lnTo>
                  <a:pt x="908" y="170"/>
                </a:lnTo>
                <a:lnTo>
                  <a:pt x="910" y="172"/>
                </a:lnTo>
                <a:lnTo>
                  <a:pt x="910" y="172"/>
                </a:lnTo>
                <a:lnTo>
                  <a:pt x="910" y="175"/>
                </a:lnTo>
                <a:lnTo>
                  <a:pt x="910" y="175"/>
                </a:lnTo>
                <a:lnTo>
                  <a:pt x="913" y="175"/>
                </a:lnTo>
                <a:lnTo>
                  <a:pt x="913" y="175"/>
                </a:lnTo>
                <a:lnTo>
                  <a:pt x="913" y="177"/>
                </a:lnTo>
                <a:lnTo>
                  <a:pt x="913" y="177"/>
                </a:lnTo>
                <a:lnTo>
                  <a:pt x="915" y="180"/>
                </a:lnTo>
                <a:lnTo>
                  <a:pt x="915" y="180"/>
                </a:lnTo>
                <a:lnTo>
                  <a:pt x="918" y="182"/>
                </a:lnTo>
                <a:lnTo>
                  <a:pt x="918" y="182"/>
                </a:lnTo>
                <a:lnTo>
                  <a:pt x="918" y="182"/>
                </a:lnTo>
                <a:lnTo>
                  <a:pt x="918" y="184"/>
                </a:lnTo>
                <a:lnTo>
                  <a:pt x="918" y="184"/>
                </a:lnTo>
                <a:lnTo>
                  <a:pt x="920" y="192"/>
                </a:lnTo>
                <a:lnTo>
                  <a:pt x="920" y="192"/>
                </a:lnTo>
                <a:lnTo>
                  <a:pt x="918" y="194"/>
                </a:lnTo>
                <a:lnTo>
                  <a:pt x="918" y="194"/>
                </a:lnTo>
                <a:lnTo>
                  <a:pt x="915" y="194"/>
                </a:lnTo>
                <a:lnTo>
                  <a:pt x="915" y="194"/>
                </a:lnTo>
                <a:lnTo>
                  <a:pt x="913" y="194"/>
                </a:lnTo>
                <a:lnTo>
                  <a:pt x="913" y="194"/>
                </a:lnTo>
                <a:lnTo>
                  <a:pt x="910" y="197"/>
                </a:lnTo>
                <a:lnTo>
                  <a:pt x="910" y="197"/>
                </a:lnTo>
                <a:lnTo>
                  <a:pt x="913" y="197"/>
                </a:lnTo>
                <a:lnTo>
                  <a:pt x="913" y="197"/>
                </a:lnTo>
                <a:lnTo>
                  <a:pt x="913" y="197"/>
                </a:lnTo>
                <a:lnTo>
                  <a:pt x="915" y="202"/>
                </a:lnTo>
                <a:lnTo>
                  <a:pt x="915" y="202"/>
                </a:lnTo>
                <a:lnTo>
                  <a:pt x="913" y="204"/>
                </a:lnTo>
                <a:lnTo>
                  <a:pt x="913" y="204"/>
                </a:lnTo>
                <a:lnTo>
                  <a:pt x="908" y="209"/>
                </a:lnTo>
                <a:lnTo>
                  <a:pt x="908" y="209"/>
                </a:lnTo>
                <a:lnTo>
                  <a:pt x="908" y="209"/>
                </a:lnTo>
                <a:lnTo>
                  <a:pt x="905" y="209"/>
                </a:lnTo>
                <a:lnTo>
                  <a:pt x="905" y="209"/>
                </a:lnTo>
                <a:lnTo>
                  <a:pt x="905" y="207"/>
                </a:lnTo>
                <a:lnTo>
                  <a:pt x="905" y="207"/>
                </a:lnTo>
                <a:lnTo>
                  <a:pt x="903" y="207"/>
                </a:lnTo>
                <a:lnTo>
                  <a:pt x="903" y="207"/>
                </a:lnTo>
                <a:lnTo>
                  <a:pt x="900" y="209"/>
                </a:lnTo>
                <a:lnTo>
                  <a:pt x="900" y="209"/>
                </a:lnTo>
                <a:lnTo>
                  <a:pt x="898" y="207"/>
                </a:lnTo>
                <a:lnTo>
                  <a:pt x="898" y="207"/>
                </a:lnTo>
                <a:lnTo>
                  <a:pt x="893" y="209"/>
                </a:lnTo>
                <a:lnTo>
                  <a:pt x="893" y="209"/>
                </a:lnTo>
                <a:lnTo>
                  <a:pt x="890" y="209"/>
                </a:lnTo>
                <a:lnTo>
                  <a:pt x="890" y="209"/>
                </a:lnTo>
                <a:lnTo>
                  <a:pt x="890" y="207"/>
                </a:lnTo>
                <a:lnTo>
                  <a:pt x="890" y="207"/>
                </a:lnTo>
                <a:lnTo>
                  <a:pt x="888" y="204"/>
                </a:lnTo>
                <a:lnTo>
                  <a:pt x="888" y="204"/>
                </a:lnTo>
                <a:lnTo>
                  <a:pt x="888" y="207"/>
                </a:lnTo>
                <a:lnTo>
                  <a:pt x="888" y="207"/>
                </a:lnTo>
                <a:lnTo>
                  <a:pt x="883" y="209"/>
                </a:lnTo>
                <a:lnTo>
                  <a:pt x="883" y="209"/>
                </a:lnTo>
                <a:close/>
                <a:moveTo>
                  <a:pt x="920" y="204"/>
                </a:moveTo>
                <a:lnTo>
                  <a:pt x="920" y="204"/>
                </a:lnTo>
                <a:lnTo>
                  <a:pt x="920" y="204"/>
                </a:lnTo>
                <a:lnTo>
                  <a:pt x="922" y="202"/>
                </a:lnTo>
                <a:lnTo>
                  <a:pt x="922" y="202"/>
                </a:lnTo>
                <a:lnTo>
                  <a:pt x="920" y="197"/>
                </a:lnTo>
                <a:lnTo>
                  <a:pt x="920" y="197"/>
                </a:lnTo>
                <a:lnTo>
                  <a:pt x="920" y="197"/>
                </a:lnTo>
                <a:lnTo>
                  <a:pt x="918" y="197"/>
                </a:lnTo>
                <a:lnTo>
                  <a:pt x="918" y="197"/>
                </a:lnTo>
                <a:lnTo>
                  <a:pt x="918" y="202"/>
                </a:lnTo>
                <a:lnTo>
                  <a:pt x="918" y="202"/>
                </a:lnTo>
                <a:lnTo>
                  <a:pt x="920" y="204"/>
                </a:lnTo>
                <a:lnTo>
                  <a:pt x="920" y="204"/>
                </a:lnTo>
                <a:close/>
                <a:moveTo>
                  <a:pt x="930" y="251"/>
                </a:moveTo>
                <a:lnTo>
                  <a:pt x="930" y="251"/>
                </a:lnTo>
                <a:lnTo>
                  <a:pt x="930" y="253"/>
                </a:lnTo>
                <a:lnTo>
                  <a:pt x="930" y="253"/>
                </a:lnTo>
                <a:lnTo>
                  <a:pt x="932" y="256"/>
                </a:lnTo>
                <a:lnTo>
                  <a:pt x="932" y="256"/>
                </a:lnTo>
                <a:lnTo>
                  <a:pt x="937" y="256"/>
                </a:lnTo>
                <a:lnTo>
                  <a:pt x="937" y="256"/>
                </a:lnTo>
                <a:lnTo>
                  <a:pt x="940" y="253"/>
                </a:lnTo>
                <a:lnTo>
                  <a:pt x="940" y="253"/>
                </a:lnTo>
                <a:lnTo>
                  <a:pt x="942" y="248"/>
                </a:lnTo>
                <a:lnTo>
                  <a:pt x="942" y="248"/>
                </a:lnTo>
                <a:lnTo>
                  <a:pt x="942" y="246"/>
                </a:lnTo>
                <a:lnTo>
                  <a:pt x="942" y="246"/>
                </a:lnTo>
                <a:lnTo>
                  <a:pt x="942" y="246"/>
                </a:lnTo>
                <a:lnTo>
                  <a:pt x="942" y="243"/>
                </a:lnTo>
                <a:lnTo>
                  <a:pt x="942" y="243"/>
                </a:lnTo>
                <a:lnTo>
                  <a:pt x="940" y="241"/>
                </a:lnTo>
                <a:lnTo>
                  <a:pt x="940" y="241"/>
                </a:lnTo>
                <a:lnTo>
                  <a:pt x="937" y="241"/>
                </a:lnTo>
                <a:lnTo>
                  <a:pt x="937" y="241"/>
                </a:lnTo>
                <a:lnTo>
                  <a:pt x="937" y="239"/>
                </a:lnTo>
                <a:lnTo>
                  <a:pt x="937" y="239"/>
                </a:lnTo>
                <a:lnTo>
                  <a:pt x="935" y="239"/>
                </a:lnTo>
                <a:lnTo>
                  <a:pt x="935" y="239"/>
                </a:lnTo>
                <a:lnTo>
                  <a:pt x="932" y="241"/>
                </a:lnTo>
                <a:lnTo>
                  <a:pt x="932" y="241"/>
                </a:lnTo>
                <a:lnTo>
                  <a:pt x="930" y="243"/>
                </a:lnTo>
                <a:lnTo>
                  <a:pt x="930" y="243"/>
                </a:lnTo>
                <a:lnTo>
                  <a:pt x="930" y="248"/>
                </a:lnTo>
                <a:lnTo>
                  <a:pt x="930" y="248"/>
                </a:lnTo>
                <a:lnTo>
                  <a:pt x="930" y="251"/>
                </a:lnTo>
                <a:lnTo>
                  <a:pt x="930" y="251"/>
                </a:lnTo>
                <a:close/>
                <a:moveTo>
                  <a:pt x="927" y="251"/>
                </a:moveTo>
                <a:lnTo>
                  <a:pt x="927" y="251"/>
                </a:lnTo>
                <a:lnTo>
                  <a:pt x="927" y="253"/>
                </a:lnTo>
                <a:lnTo>
                  <a:pt x="927" y="253"/>
                </a:lnTo>
                <a:lnTo>
                  <a:pt x="927" y="256"/>
                </a:lnTo>
                <a:lnTo>
                  <a:pt x="927" y="256"/>
                </a:lnTo>
                <a:lnTo>
                  <a:pt x="927" y="258"/>
                </a:lnTo>
                <a:lnTo>
                  <a:pt x="927" y="258"/>
                </a:lnTo>
                <a:lnTo>
                  <a:pt x="930" y="256"/>
                </a:lnTo>
                <a:lnTo>
                  <a:pt x="930" y="256"/>
                </a:lnTo>
                <a:lnTo>
                  <a:pt x="930" y="253"/>
                </a:lnTo>
                <a:lnTo>
                  <a:pt x="930" y="253"/>
                </a:lnTo>
                <a:lnTo>
                  <a:pt x="927" y="253"/>
                </a:lnTo>
                <a:lnTo>
                  <a:pt x="927" y="253"/>
                </a:lnTo>
                <a:lnTo>
                  <a:pt x="927" y="251"/>
                </a:lnTo>
                <a:lnTo>
                  <a:pt x="927" y="251"/>
                </a:lnTo>
                <a:lnTo>
                  <a:pt x="927" y="251"/>
                </a:lnTo>
                <a:close/>
                <a:moveTo>
                  <a:pt x="881" y="229"/>
                </a:moveTo>
                <a:lnTo>
                  <a:pt x="881" y="229"/>
                </a:lnTo>
                <a:lnTo>
                  <a:pt x="881" y="224"/>
                </a:lnTo>
                <a:lnTo>
                  <a:pt x="881" y="224"/>
                </a:lnTo>
                <a:lnTo>
                  <a:pt x="883" y="219"/>
                </a:lnTo>
                <a:lnTo>
                  <a:pt x="883" y="219"/>
                </a:lnTo>
                <a:lnTo>
                  <a:pt x="886" y="216"/>
                </a:lnTo>
                <a:lnTo>
                  <a:pt x="886" y="216"/>
                </a:lnTo>
                <a:lnTo>
                  <a:pt x="888" y="216"/>
                </a:lnTo>
                <a:lnTo>
                  <a:pt x="888" y="216"/>
                </a:lnTo>
                <a:lnTo>
                  <a:pt x="890" y="216"/>
                </a:lnTo>
                <a:lnTo>
                  <a:pt x="890" y="216"/>
                </a:lnTo>
                <a:lnTo>
                  <a:pt x="893" y="216"/>
                </a:lnTo>
                <a:lnTo>
                  <a:pt x="893" y="216"/>
                </a:lnTo>
                <a:lnTo>
                  <a:pt x="895" y="216"/>
                </a:lnTo>
                <a:lnTo>
                  <a:pt x="895" y="216"/>
                </a:lnTo>
                <a:lnTo>
                  <a:pt x="895" y="216"/>
                </a:lnTo>
                <a:lnTo>
                  <a:pt x="898" y="219"/>
                </a:lnTo>
                <a:lnTo>
                  <a:pt x="898" y="219"/>
                </a:lnTo>
                <a:lnTo>
                  <a:pt x="900" y="219"/>
                </a:lnTo>
                <a:lnTo>
                  <a:pt x="900" y="219"/>
                </a:lnTo>
                <a:lnTo>
                  <a:pt x="900" y="216"/>
                </a:lnTo>
                <a:lnTo>
                  <a:pt x="900" y="216"/>
                </a:lnTo>
                <a:lnTo>
                  <a:pt x="903" y="219"/>
                </a:lnTo>
                <a:lnTo>
                  <a:pt x="903" y="219"/>
                </a:lnTo>
                <a:lnTo>
                  <a:pt x="905" y="219"/>
                </a:lnTo>
                <a:lnTo>
                  <a:pt x="905" y="219"/>
                </a:lnTo>
                <a:lnTo>
                  <a:pt x="908" y="224"/>
                </a:lnTo>
                <a:lnTo>
                  <a:pt x="908" y="224"/>
                </a:lnTo>
                <a:lnTo>
                  <a:pt x="910" y="224"/>
                </a:lnTo>
                <a:lnTo>
                  <a:pt x="910" y="224"/>
                </a:lnTo>
                <a:lnTo>
                  <a:pt x="910" y="226"/>
                </a:lnTo>
                <a:lnTo>
                  <a:pt x="910" y="226"/>
                </a:lnTo>
                <a:lnTo>
                  <a:pt x="910" y="226"/>
                </a:lnTo>
                <a:lnTo>
                  <a:pt x="913" y="226"/>
                </a:lnTo>
                <a:lnTo>
                  <a:pt x="913" y="226"/>
                </a:lnTo>
                <a:lnTo>
                  <a:pt x="915" y="226"/>
                </a:lnTo>
                <a:lnTo>
                  <a:pt x="915" y="226"/>
                </a:lnTo>
                <a:lnTo>
                  <a:pt x="918" y="229"/>
                </a:lnTo>
                <a:lnTo>
                  <a:pt x="918" y="229"/>
                </a:lnTo>
                <a:lnTo>
                  <a:pt x="918" y="229"/>
                </a:lnTo>
                <a:lnTo>
                  <a:pt x="918" y="231"/>
                </a:lnTo>
                <a:lnTo>
                  <a:pt x="918" y="231"/>
                </a:lnTo>
                <a:lnTo>
                  <a:pt x="918" y="234"/>
                </a:lnTo>
                <a:lnTo>
                  <a:pt x="918" y="234"/>
                </a:lnTo>
                <a:lnTo>
                  <a:pt x="918" y="234"/>
                </a:lnTo>
                <a:lnTo>
                  <a:pt x="915" y="234"/>
                </a:lnTo>
                <a:lnTo>
                  <a:pt x="915" y="234"/>
                </a:lnTo>
                <a:lnTo>
                  <a:pt x="910" y="236"/>
                </a:lnTo>
                <a:lnTo>
                  <a:pt x="910" y="236"/>
                </a:lnTo>
                <a:lnTo>
                  <a:pt x="908" y="239"/>
                </a:lnTo>
                <a:lnTo>
                  <a:pt x="908" y="239"/>
                </a:lnTo>
                <a:lnTo>
                  <a:pt x="903" y="236"/>
                </a:lnTo>
                <a:lnTo>
                  <a:pt x="903" y="236"/>
                </a:lnTo>
                <a:lnTo>
                  <a:pt x="898" y="236"/>
                </a:lnTo>
                <a:lnTo>
                  <a:pt x="898" y="236"/>
                </a:lnTo>
                <a:lnTo>
                  <a:pt x="895" y="231"/>
                </a:lnTo>
                <a:lnTo>
                  <a:pt x="895" y="231"/>
                </a:lnTo>
                <a:lnTo>
                  <a:pt x="890" y="231"/>
                </a:lnTo>
                <a:lnTo>
                  <a:pt x="890" y="231"/>
                </a:lnTo>
                <a:lnTo>
                  <a:pt x="888" y="231"/>
                </a:lnTo>
                <a:lnTo>
                  <a:pt x="888" y="231"/>
                </a:lnTo>
                <a:lnTo>
                  <a:pt x="886" y="229"/>
                </a:lnTo>
                <a:lnTo>
                  <a:pt x="886" y="229"/>
                </a:lnTo>
                <a:lnTo>
                  <a:pt x="883" y="229"/>
                </a:lnTo>
                <a:lnTo>
                  <a:pt x="883" y="229"/>
                </a:lnTo>
                <a:lnTo>
                  <a:pt x="881" y="229"/>
                </a:lnTo>
                <a:lnTo>
                  <a:pt x="881" y="229"/>
                </a:lnTo>
                <a:close/>
                <a:moveTo>
                  <a:pt x="844" y="177"/>
                </a:moveTo>
                <a:lnTo>
                  <a:pt x="844" y="177"/>
                </a:lnTo>
                <a:lnTo>
                  <a:pt x="844" y="175"/>
                </a:lnTo>
                <a:lnTo>
                  <a:pt x="844" y="175"/>
                </a:lnTo>
                <a:lnTo>
                  <a:pt x="846" y="175"/>
                </a:lnTo>
                <a:lnTo>
                  <a:pt x="846" y="175"/>
                </a:lnTo>
                <a:lnTo>
                  <a:pt x="846" y="175"/>
                </a:lnTo>
                <a:lnTo>
                  <a:pt x="846" y="177"/>
                </a:lnTo>
                <a:lnTo>
                  <a:pt x="846" y="177"/>
                </a:lnTo>
                <a:lnTo>
                  <a:pt x="844" y="177"/>
                </a:lnTo>
                <a:lnTo>
                  <a:pt x="844" y="177"/>
                </a:lnTo>
                <a:lnTo>
                  <a:pt x="844" y="177"/>
                </a:lnTo>
                <a:close/>
                <a:moveTo>
                  <a:pt x="846" y="194"/>
                </a:moveTo>
                <a:lnTo>
                  <a:pt x="846" y="194"/>
                </a:lnTo>
                <a:lnTo>
                  <a:pt x="849" y="199"/>
                </a:lnTo>
                <a:lnTo>
                  <a:pt x="849" y="199"/>
                </a:lnTo>
                <a:lnTo>
                  <a:pt x="849" y="202"/>
                </a:lnTo>
                <a:lnTo>
                  <a:pt x="849" y="202"/>
                </a:lnTo>
                <a:lnTo>
                  <a:pt x="851" y="202"/>
                </a:lnTo>
                <a:lnTo>
                  <a:pt x="851" y="202"/>
                </a:lnTo>
                <a:lnTo>
                  <a:pt x="854" y="202"/>
                </a:lnTo>
                <a:lnTo>
                  <a:pt x="854" y="202"/>
                </a:lnTo>
                <a:lnTo>
                  <a:pt x="856" y="202"/>
                </a:lnTo>
                <a:lnTo>
                  <a:pt x="856" y="202"/>
                </a:lnTo>
                <a:lnTo>
                  <a:pt x="858" y="202"/>
                </a:lnTo>
                <a:lnTo>
                  <a:pt x="858" y="202"/>
                </a:lnTo>
                <a:lnTo>
                  <a:pt x="861" y="199"/>
                </a:lnTo>
                <a:lnTo>
                  <a:pt x="861" y="199"/>
                </a:lnTo>
                <a:lnTo>
                  <a:pt x="861" y="197"/>
                </a:lnTo>
                <a:lnTo>
                  <a:pt x="861" y="197"/>
                </a:lnTo>
                <a:lnTo>
                  <a:pt x="863" y="197"/>
                </a:lnTo>
                <a:lnTo>
                  <a:pt x="863" y="197"/>
                </a:lnTo>
                <a:lnTo>
                  <a:pt x="866" y="192"/>
                </a:lnTo>
                <a:lnTo>
                  <a:pt x="866" y="192"/>
                </a:lnTo>
                <a:lnTo>
                  <a:pt x="866" y="189"/>
                </a:lnTo>
                <a:lnTo>
                  <a:pt x="866" y="189"/>
                </a:lnTo>
                <a:lnTo>
                  <a:pt x="868" y="184"/>
                </a:lnTo>
                <a:lnTo>
                  <a:pt x="868" y="184"/>
                </a:lnTo>
                <a:lnTo>
                  <a:pt x="871" y="180"/>
                </a:lnTo>
                <a:lnTo>
                  <a:pt x="871" y="180"/>
                </a:lnTo>
                <a:lnTo>
                  <a:pt x="868" y="180"/>
                </a:lnTo>
                <a:lnTo>
                  <a:pt x="868" y="180"/>
                </a:lnTo>
                <a:lnTo>
                  <a:pt x="868" y="177"/>
                </a:lnTo>
                <a:lnTo>
                  <a:pt x="868" y="177"/>
                </a:lnTo>
                <a:lnTo>
                  <a:pt x="871" y="177"/>
                </a:lnTo>
                <a:lnTo>
                  <a:pt x="871" y="177"/>
                </a:lnTo>
                <a:lnTo>
                  <a:pt x="873" y="172"/>
                </a:lnTo>
                <a:lnTo>
                  <a:pt x="873" y="172"/>
                </a:lnTo>
                <a:lnTo>
                  <a:pt x="876" y="172"/>
                </a:lnTo>
                <a:lnTo>
                  <a:pt x="876" y="172"/>
                </a:lnTo>
                <a:lnTo>
                  <a:pt x="878" y="170"/>
                </a:lnTo>
                <a:lnTo>
                  <a:pt x="878" y="170"/>
                </a:lnTo>
                <a:lnTo>
                  <a:pt x="881" y="167"/>
                </a:lnTo>
                <a:lnTo>
                  <a:pt x="881" y="167"/>
                </a:lnTo>
                <a:lnTo>
                  <a:pt x="881" y="162"/>
                </a:lnTo>
                <a:lnTo>
                  <a:pt x="881" y="162"/>
                </a:lnTo>
                <a:lnTo>
                  <a:pt x="881" y="160"/>
                </a:lnTo>
                <a:lnTo>
                  <a:pt x="881" y="160"/>
                </a:lnTo>
                <a:lnTo>
                  <a:pt x="883" y="157"/>
                </a:lnTo>
                <a:lnTo>
                  <a:pt x="883" y="157"/>
                </a:lnTo>
                <a:lnTo>
                  <a:pt x="883" y="155"/>
                </a:lnTo>
                <a:lnTo>
                  <a:pt x="883" y="155"/>
                </a:lnTo>
                <a:lnTo>
                  <a:pt x="883" y="152"/>
                </a:lnTo>
                <a:lnTo>
                  <a:pt x="883" y="152"/>
                </a:lnTo>
                <a:lnTo>
                  <a:pt x="883" y="150"/>
                </a:lnTo>
                <a:lnTo>
                  <a:pt x="883" y="150"/>
                </a:lnTo>
                <a:lnTo>
                  <a:pt x="881" y="150"/>
                </a:lnTo>
                <a:lnTo>
                  <a:pt x="881" y="150"/>
                </a:lnTo>
                <a:lnTo>
                  <a:pt x="878" y="148"/>
                </a:lnTo>
                <a:lnTo>
                  <a:pt x="878" y="148"/>
                </a:lnTo>
                <a:lnTo>
                  <a:pt x="873" y="148"/>
                </a:lnTo>
                <a:lnTo>
                  <a:pt x="873" y="148"/>
                </a:lnTo>
                <a:lnTo>
                  <a:pt x="873" y="148"/>
                </a:lnTo>
                <a:lnTo>
                  <a:pt x="876" y="145"/>
                </a:lnTo>
                <a:lnTo>
                  <a:pt x="876" y="145"/>
                </a:lnTo>
                <a:lnTo>
                  <a:pt x="878" y="143"/>
                </a:lnTo>
                <a:lnTo>
                  <a:pt x="878" y="143"/>
                </a:lnTo>
                <a:lnTo>
                  <a:pt x="878" y="140"/>
                </a:lnTo>
                <a:lnTo>
                  <a:pt x="878" y="140"/>
                </a:lnTo>
                <a:lnTo>
                  <a:pt x="878" y="138"/>
                </a:lnTo>
                <a:lnTo>
                  <a:pt x="878" y="138"/>
                </a:lnTo>
                <a:lnTo>
                  <a:pt x="878" y="135"/>
                </a:lnTo>
                <a:lnTo>
                  <a:pt x="878" y="135"/>
                </a:lnTo>
                <a:lnTo>
                  <a:pt x="878" y="133"/>
                </a:lnTo>
                <a:lnTo>
                  <a:pt x="878" y="133"/>
                </a:lnTo>
                <a:lnTo>
                  <a:pt x="876" y="128"/>
                </a:lnTo>
                <a:lnTo>
                  <a:pt x="876" y="128"/>
                </a:lnTo>
                <a:lnTo>
                  <a:pt x="873" y="128"/>
                </a:lnTo>
                <a:lnTo>
                  <a:pt x="873" y="128"/>
                </a:lnTo>
                <a:lnTo>
                  <a:pt x="871" y="130"/>
                </a:lnTo>
                <a:lnTo>
                  <a:pt x="871" y="130"/>
                </a:lnTo>
                <a:lnTo>
                  <a:pt x="866" y="133"/>
                </a:lnTo>
                <a:lnTo>
                  <a:pt x="866" y="133"/>
                </a:lnTo>
                <a:lnTo>
                  <a:pt x="866" y="135"/>
                </a:lnTo>
                <a:lnTo>
                  <a:pt x="866" y="135"/>
                </a:lnTo>
                <a:lnTo>
                  <a:pt x="863" y="138"/>
                </a:lnTo>
                <a:lnTo>
                  <a:pt x="863" y="138"/>
                </a:lnTo>
                <a:lnTo>
                  <a:pt x="861" y="138"/>
                </a:lnTo>
                <a:lnTo>
                  <a:pt x="861" y="138"/>
                </a:lnTo>
                <a:lnTo>
                  <a:pt x="861" y="133"/>
                </a:lnTo>
                <a:lnTo>
                  <a:pt x="861" y="133"/>
                </a:lnTo>
                <a:lnTo>
                  <a:pt x="863" y="133"/>
                </a:lnTo>
                <a:lnTo>
                  <a:pt x="863" y="133"/>
                </a:lnTo>
                <a:lnTo>
                  <a:pt x="863" y="130"/>
                </a:lnTo>
                <a:lnTo>
                  <a:pt x="863" y="130"/>
                </a:lnTo>
                <a:lnTo>
                  <a:pt x="863" y="125"/>
                </a:lnTo>
                <a:lnTo>
                  <a:pt x="863" y="125"/>
                </a:lnTo>
                <a:lnTo>
                  <a:pt x="866" y="121"/>
                </a:lnTo>
                <a:lnTo>
                  <a:pt x="866" y="121"/>
                </a:lnTo>
                <a:lnTo>
                  <a:pt x="866" y="118"/>
                </a:lnTo>
                <a:lnTo>
                  <a:pt x="866" y="118"/>
                </a:lnTo>
                <a:lnTo>
                  <a:pt x="863" y="116"/>
                </a:lnTo>
                <a:lnTo>
                  <a:pt x="863" y="116"/>
                </a:lnTo>
                <a:lnTo>
                  <a:pt x="861" y="113"/>
                </a:lnTo>
                <a:lnTo>
                  <a:pt x="861" y="113"/>
                </a:lnTo>
                <a:lnTo>
                  <a:pt x="858" y="111"/>
                </a:lnTo>
                <a:lnTo>
                  <a:pt x="858" y="111"/>
                </a:lnTo>
                <a:lnTo>
                  <a:pt x="856" y="111"/>
                </a:lnTo>
                <a:lnTo>
                  <a:pt x="856" y="111"/>
                </a:lnTo>
                <a:lnTo>
                  <a:pt x="851" y="111"/>
                </a:lnTo>
                <a:lnTo>
                  <a:pt x="851" y="111"/>
                </a:lnTo>
                <a:lnTo>
                  <a:pt x="849" y="113"/>
                </a:lnTo>
                <a:lnTo>
                  <a:pt x="849" y="113"/>
                </a:lnTo>
                <a:lnTo>
                  <a:pt x="846" y="113"/>
                </a:lnTo>
                <a:lnTo>
                  <a:pt x="846" y="113"/>
                </a:lnTo>
                <a:lnTo>
                  <a:pt x="846" y="108"/>
                </a:lnTo>
                <a:lnTo>
                  <a:pt x="846" y="108"/>
                </a:lnTo>
                <a:lnTo>
                  <a:pt x="844" y="108"/>
                </a:lnTo>
                <a:lnTo>
                  <a:pt x="844" y="108"/>
                </a:lnTo>
                <a:lnTo>
                  <a:pt x="841" y="111"/>
                </a:lnTo>
                <a:lnTo>
                  <a:pt x="841" y="111"/>
                </a:lnTo>
                <a:lnTo>
                  <a:pt x="841" y="113"/>
                </a:lnTo>
                <a:lnTo>
                  <a:pt x="841" y="113"/>
                </a:lnTo>
                <a:lnTo>
                  <a:pt x="839" y="113"/>
                </a:lnTo>
                <a:lnTo>
                  <a:pt x="839" y="113"/>
                </a:lnTo>
                <a:lnTo>
                  <a:pt x="836" y="118"/>
                </a:lnTo>
                <a:lnTo>
                  <a:pt x="836" y="118"/>
                </a:lnTo>
                <a:lnTo>
                  <a:pt x="834" y="121"/>
                </a:lnTo>
                <a:lnTo>
                  <a:pt x="834" y="121"/>
                </a:lnTo>
                <a:lnTo>
                  <a:pt x="834" y="123"/>
                </a:lnTo>
                <a:lnTo>
                  <a:pt x="834" y="123"/>
                </a:lnTo>
                <a:lnTo>
                  <a:pt x="836" y="125"/>
                </a:lnTo>
                <a:lnTo>
                  <a:pt x="836" y="125"/>
                </a:lnTo>
                <a:lnTo>
                  <a:pt x="839" y="125"/>
                </a:lnTo>
                <a:lnTo>
                  <a:pt x="839" y="125"/>
                </a:lnTo>
                <a:lnTo>
                  <a:pt x="841" y="123"/>
                </a:lnTo>
                <a:lnTo>
                  <a:pt x="841" y="123"/>
                </a:lnTo>
                <a:lnTo>
                  <a:pt x="841" y="125"/>
                </a:lnTo>
                <a:lnTo>
                  <a:pt x="841" y="125"/>
                </a:lnTo>
                <a:lnTo>
                  <a:pt x="839" y="128"/>
                </a:lnTo>
                <a:lnTo>
                  <a:pt x="839" y="128"/>
                </a:lnTo>
                <a:lnTo>
                  <a:pt x="834" y="130"/>
                </a:lnTo>
                <a:lnTo>
                  <a:pt x="834" y="130"/>
                </a:lnTo>
                <a:lnTo>
                  <a:pt x="831" y="135"/>
                </a:lnTo>
                <a:lnTo>
                  <a:pt x="831" y="135"/>
                </a:lnTo>
                <a:lnTo>
                  <a:pt x="831" y="135"/>
                </a:lnTo>
                <a:lnTo>
                  <a:pt x="836" y="133"/>
                </a:lnTo>
                <a:lnTo>
                  <a:pt x="836" y="133"/>
                </a:lnTo>
                <a:lnTo>
                  <a:pt x="841" y="130"/>
                </a:lnTo>
                <a:lnTo>
                  <a:pt x="841" y="130"/>
                </a:lnTo>
                <a:lnTo>
                  <a:pt x="841" y="130"/>
                </a:lnTo>
                <a:lnTo>
                  <a:pt x="844" y="128"/>
                </a:lnTo>
                <a:lnTo>
                  <a:pt x="844" y="128"/>
                </a:lnTo>
                <a:lnTo>
                  <a:pt x="846" y="130"/>
                </a:lnTo>
                <a:lnTo>
                  <a:pt x="846" y="130"/>
                </a:lnTo>
                <a:lnTo>
                  <a:pt x="846" y="135"/>
                </a:lnTo>
                <a:lnTo>
                  <a:pt x="846" y="135"/>
                </a:lnTo>
                <a:lnTo>
                  <a:pt x="844" y="135"/>
                </a:lnTo>
                <a:lnTo>
                  <a:pt x="844" y="135"/>
                </a:lnTo>
                <a:lnTo>
                  <a:pt x="839" y="138"/>
                </a:lnTo>
                <a:lnTo>
                  <a:pt x="839" y="138"/>
                </a:lnTo>
                <a:lnTo>
                  <a:pt x="839" y="140"/>
                </a:lnTo>
                <a:lnTo>
                  <a:pt x="839" y="140"/>
                </a:lnTo>
                <a:lnTo>
                  <a:pt x="841" y="143"/>
                </a:lnTo>
                <a:lnTo>
                  <a:pt x="841" y="143"/>
                </a:lnTo>
                <a:lnTo>
                  <a:pt x="844" y="143"/>
                </a:lnTo>
                <a:lnTo>
                  <a:pt x="844" y="143"/>
                </a:lnTo>
                <a:lnTo>
                  <a:pt x="846" y="143"/>
                </a:lnTo>
                <a:lnTo>
                  <a:pt x="846" y="143"/>
                </a:lnTo>
                <a:lnTo>
                  <a:pt x="844" y="145"/>
                </a:lnTo>
                <a:lnTo>
                  <a:pt x="844" y="145"/>
                </a:lnTo>
                <a:lnTo>
                  <a:pt x="839" y="148"/>
                </a:lnTo>
                <a:lnTo>
                  <a:pt x="839" y="148"/>
                </a:lnTo>
                <a:lnTo>
                  <a:pt x="836" y="145"/>
                </a:lnTo>
                <a:lnTo>
                  <a:pt x="836" y="145"/>
                </a:lnTo>
                <a:lnTo>
                  <a:pt x="836" y="148"/>
                </a:lnTo>
                <a:lnTo>
                  <a:pt x="836" y="148"/>
                </a:lnTo>
                <a:lnTo>
                  <a:pt x="839" y="150"/>
                </a:lnTo>
                <a:lnTo>
                  <a:pt x="839" y="150"/>
                </a:lnTo>
                <a:lnTo>
                  <a:pt x="839" y="150"/>
                </a:lnTo>
                <a:lnTo>
                  <a:pt x="834" y="155"/>
                </a:lnTo>
                <a:lnTo>
                  <a:pt x="834" y="155"/>
                </a:lnTo>
                <a:lnTo>
                  <a:pt x="834" y="155"/>
                </a:lnTo>
                <a:lnTo>
                  <a:pt x="831" y="150"/>
                </a:lnTo>
                <a:lnTo>
                  <a:pt x="831" y="150"/>
                </a:lnTo>
                <a:lnTo>
                  <a:pt x="829" y="150"/>
                </a:lnTo>
                <a:lnTo>
                  <a:pt x="829" y="150"/>
                </a:lnTo>
                <a:lnTo>
                  <a:pt x="826" y="145"/>
                </a:lnTo>
                <a:lnTo>
                  <a:pt x="826" y="145"/>
                </a:lnTo>
                <a:lnTo>
                  <a:pt x="822" y="150"/>
                </a:lnTo>
                <a:lnTo>
                  <a:pt x="822" y="150"/>
                </a:lnTo>
                <a:lnTo>
                  <a:pt x="822" y="150"/>
                </a:lnTo>
                <a:lnTo>
                  <a:pt x="817" y="155"/>
                </a:lnTo>
                <a:lnTo>
                  <a:pt x="817" y="155"/>
                </a:lnTo>
                <a:lnTo>
                  <a:pt x="822" y="160"/>
                </a:lnTo>
                <a:lnTo>
                  <a:pt x="822" y="160"/>
                </a:lnTo>
                <a:lnTo>
                  <a:pt x="822" y="162"/>
                </a:lnTo>
                <a:lnTo>
                  <a:pt x="822" y="162"/>
                </a:lnTo>
                <a:lnTo>
                  <a:pt x="822" y="165"/>
                </a:lnTo>
                <a:lnTo>
                  <a:pt x="822" y="165"/>
                </a:lnTo>
                <a:lnTo>
                  <a:pt x="824" y="162"/>
                </a:lnTo>
                <a:lnTo>
                  <a:pt x="824" y="162"/>
                </a:lnTo>
                <a:lnTo>
                  <a:pt x="826" y="162"/>
                </a:lnTo>
                <a:lnTo>
                  <a:pt x="826" y="162"/>
                </a:lnTo>
                <a:lnTo>
                  <a:pt x="831" y="162"/>
                </a:lnTo>
                <a:lnTo>
                  <a:pt x="831" y="162"/>
                </a:lnTo>
                <a:lnTo>
                  <a:pt x="836" y="162"/>
                </a:lnTo>
                <a:lnTo>
                  <a:pt x="836" y="162"/>
                </a:lnTo>
                <a:lnTo>
                  <a:pt x="839" y="165"/>
                </a:lnTo>
                <a:lnTo>
                  <a:pt x="839" y="165"/>
                </a:lnTo>
                <a:lnTo>
                  <a:pt x="844" y="162"/>
                </a:lnTo>
                <a:lnTo>
                  <a:pt x="844" y="162"/>
                </a:lnTo>
                <a:lnTo>
                  <a:pt x="844" y="165"/>
                </a:lnTo>
                <a:lnTo>
                  <a:pt x="844" y="165"/>
                </a:lnTo>
                <a:lnTo>
                  <a:pt x="839" y="167"/>
                </a:lnTo>
                <a:lnTo>
                  <a:pt x="839" y="167"/>
                </a:lnTo>
                <a:lnTo>
                  <a:pt x="839" y="167"/>
                </a:lnTo>
                <a:lnTo>
                  <a:pt x="839" y="172"/>
                </a:lnTo>
                <a:lnTo>
                  <a:pt x="839" y="172"/>
                </a:lnTo>
                <a:lnTo>
                  <a:pt x="844" y="170"/>
                </a:lnTo>
                <a:lnTo>
                  <a:pt x="844" y="170"/>
                </a:lnTo>
                <a:lnTo>
                  <a:pt x="846" y="172"/>
                </a:lnTo>
                <a:lnTo>
                  <a:pt x="846" y="172"/>
                </a:lnTo>
                <a:lnTo>
                  <a:pt x="849" y="177"/>
                </a:lnTo>
                <a:lnTo>
                  <a:pt x="849" y="177"/>
                </a:lnTo>
                <a:lnTo>
                  <a:pt x="851" y="177"/>
                </a:lnTo>
                <a:lnTo>
                  <a:pt x="851" y="177"/>
                </a:lnTo>
                <a:lnTo>
                  <a:pt x="854" y="180"/>
                </a:lnTo>
                <a:lnTo>
                  <a:pt x="854" y="180"/>
                </a:lnTo>
                <a:lnTo>
                  <a:pt x="851" y="182"/>
                </a:lnTo>
                <a:lnTo>
                  <a:pt x="851" y="182"/>
                </a:lnTo>
                <a:lnTo>
                  <a:pt x="851" y="184"/>
                </a:lnTo>
                <a:lnTo>
                  <a:pt x="851" y="184"/>
                </a:lnTo>
                <a:lnTo>
                  <a:pt x="846" y="194"/>
                </a:lnTo>
                <a:lnTo>
                  <a:pt x="846" y="194"/>
                </a:lnTo>
                <a:close/>
                <a:moveTo>
                  <a:pt x="829" y="172"/>
                </a:moveTo>
                <a:lnTo>
                  <a:pt x="829" y="172"/>
                </a:lnTo>
                <a:lnTo>
                  <a:pt x="831" y="170"/>
                </a:lnTo>
                <a:lnTo>
                  <a:pt x="831" y="170"/>
                </a:lnTo>
                <a:lnTo>
                  <a:pt x="834" y="167"/>
                </a:lnTo>
                <a:lnTo>
                  <a:pt x="834" y="167"/>
                </a:lnTo>
                <a:lnTo>
                  <a:pt x="836" y="167"/>
                </a:lnTo>
                <a:lnTo>
                  <a:pt x="836" y="167"/>
                </a:lnTo>
                <a:lnTo>
                  <a:pt x="836" y="167"/>
                </a:lnTo>
                <a:lnTo>
                  <a:pt x="834" y="170"/>
                </a:lnTo>
                <a:lnTo>
                  <a:pt x="834" y="170"/>
                </a:lnTo>
                <a:lnTo>
                  <a:pt x="831" y="172"/>
                </a:lnTo>
                <a:lnTo>
                  <a:pt x="831" y="172"/>
                </a:lnTo>
                <a:lnTo>
                  <a:pt x="829" y="172"/>
                </a:lnTo>
                <a:lnTo>
                  <a:pt x="829" y="172"/>
                </a:lnTo>
                <a:close/>
                <a:moveTo>
                  <a:pt x="824" y="189"/>
                </a:moveTo>
                <a:lnTo>
                  <a:pt x="824" y="189"/>
                </a:lnTo>
                <a:lnTo>
                  <a:pt x="824" y="184"/>
                </a:lnTo>
                <a:lnTo>
                  <a:pt x="824" y="184"/>
                </a:lnTo>
                <a:lnTo>
                  <a:pt x="829" y="184"/>
                </a:lnTo>
                <a:lnTo>
                  <a:pt x="829" y="184"/>
                </a:lnTo>
                <a:lnTo>
                  <a:pt x="834" y="187"/>
                </a:lnTo>
                <a:lnTo>
                  <a:pt x="834" y="187"/>
                </a:lnTo>
                <a:lnTo>
                  <a:pt x="839" y="192"/>
                </a:lnTo>
                <a:lnTo>
                  <a:pt x="839" y="192"/>
                </a:lnTo>
                <a:lnTo>
                  <a:pt x="839" y="194"/>
                </a:lnTo>
                <a:lnTo>
                  <a:pt x="839" y="194"/>
                </a:lnTo>
                <a:lnTo>
                  <a:pt x="839" y="199"/>
                </a:lnTo>
                <a:lnTo>
                  <a:pt x="839" y="199"/>
                </a:lnTo>
                <a:lnTo>
                  <a:pt x="836" y="199"/>
                </a:lnTo>
                <a:lnTo>
                  <a:pt x="836" y="199"/>
                </a:lnTo>
                <a:lnTo>
                  <a:pt x="834" y="199"/>
                </a:lnTo>
                <a:lnTo>
                  <a:pt x="834" y="199"/>
                </a:lnTo>
                <a:lnTo>
                  <a:pt x="831" y="199"/>
                </a:lnTo>
                <a:lnTo>
                  <a:pt x="831" y="199"/>
                </a:lnTo>
                <a:lnTo>
                  <a:pt x="829" y="199"/>
                </a:lnTo>
                <a:lnTo>
                  <a:pt x="829" y="199"/>
                </a:lnTo>
                <a:lnTo>
                  <a:pt x="826" y="197"/>
                </a:lnTo>
                <a:lnTo>
                  <a:pt x="826" y="197"/>
                </a:lnTo>
                <a:lnTo>
                  <a:pt x="824" y="192"/>
                </a:lnTo>
                <a:lnTo>
                  <a:pt x="824" y="192"/>
                </a:lnTo>
                <a:lnTo>
                  <a:pt x="824" y="189"/>
                </a:lnTo>
                <a:lnTo>
                  <a:pt x="824" y="189"/>
                </a:lnTo>
                <a:close/>
                <a:moveTo>
                  <a:pt x="785" y="214"/>
                </a:moveTo>
                <a:lnTo>
                  <a:pt x="785" y="214"/>
                </a:lnTo>
                <a:lnTo>
                  <a:pt x="787" y="214"/>
                </a:lnTo>
                <a:lnTo>
                  <a:pt x="787" y="214"/>
                </a:lnTo>
                <a:lnTo>
                  <a:pt x="792" y="214"/>
                </a:lnTo>
                <a:lnTo>
                  <a:pt x="792" y="214"/>
                </a:lnTo>
                <a:lnTo>
                  <a:pt x="790" y="216"/>
                </a:lnTo>
                <a:lnTo>
                  <a:pt x="790" y="216"/>
                </a:lnTo>
                <a:lnTo>
                  <a:pt x="787" y="216"/>
                </a:lnTo>
                <a:lnTo>
                  <a:pt x="787" y="216"/>
                </a:lnTo>
                <a:lnTo>
                  <a:pt x="785" y="214"/>
                </a:lnTo>
                <a:lnTo>
                  <a:pt x="785" y="214"/>
                </a:lnTo>
                <a:close/>
                <a:moveTo>
                  <a:pt x="782" y="212"/>
                </a:moveTo>
                <a:lnTo>
                  <a:pt x="782" y="212"/>
                </a:lnTo>
                <a:lnTo>
                  <a:pt x="780" y="207"/>
                </a:lnTo>
                <a:lnTo>
                  <a:pt x="780" y="207"/>
                </a:lnTo>
                <a:lnTo>
                  <a:pt x="782" y="204"/>
                </a:lnTo>
                <a:lnTo>
                  <a:pt x="782" y="204"/>
                </a:lnTo>
                <a:lnTo>
                  <a:pt x="782" y="199"/>
                </a:lnTo>
                <a:lnTo>
                  <a:pt x="782" y="199"/>
                </a:lnTo>
                <a:lnTo>
                  <a:pt x="782" y="197"/>
                </a:lnTo>
                <a:lnTo>
                  <a:pt x="782" y="197"/>
                </a:lnTo>
                <a:lnTo>
                  <a:pt x="787" y="194"/>
                </a:lnTo>
                <a:lnTo>
                  <a:pt x="787" y="194"/>
                </a:lnTo>
                <a:lnTo>
                  <a:pt x="787" y="192"/>
                </a:lnTo>
                <a:lnTo>
                  <a:pt x="787" y="192"/>
                </a:lnTo>
                <a:lnTo>
                  <a:pt x="787" y="192"/>
                </a:lnTo>
                <a:lnTo>
                  <a:pt x="787" y="189"/>
                </a:lnTo>
                <a:lnTo>
                  <a:pt x="787" y="189"/>
                </a:lnTo>
                <a:lnTo>
                  <a:pt x="790" y="184"/>
                </a:lnTo>
                <a:lnTo>
                  <a:pt x="790" y="184"/>
                </a:lnTo>
                <a:lnTo>
                  <a:pt x="790" y="182"/>
                </a:lnTo>
                <a:lnTo>
                  <a:pt x="790" y="182"/>
                </a:lnTo>
                <a:lnTo>
                  <a:pt x="792" y="180"/>
                </a:lnTo>
                <a:lnTo>
                  <a:pt x="792" y="180"/>
                </a:lnTo>
                <a:lnTo>
                  <a:pt x="792" y="182"/>
                </a:lnTo>
                <a:lnTo>
                  <a:pt x="792" y="182"/>
                </a:lnTo>
                <a:lnTo>
                  <a:pt x="795" y="187"/>
                </a:lnTo>
                <a:lnTo>
                  <a:pt x="795" y="187"/>
                </a:lnTo>
                <a:lnTo>
                  <a:pt x="795" y="187"/>
                </a:lnTo>
                <a:lnTo>
                  <a:pt x="792" y="194"/>
                </a:lnTo>
                <a:lnTo>
                  <a:pt x="792" y="194"/>
                </a:lnTo>
                <a:lnTo>
                  <a:pt x="792" y="197"/>
                </a:lnTo>
                <a:lnTo>
                  <a:pt x="792" y="197"/>
                </a:lnTo>
                <a:lnTo>
                  <a:pt x="790" y="199"/>
                </a:lnTo>
                <a:lnTo>
                  <a:pt x="790" y="199"/>
                </a:lnTo>
                <a:lnTo>
                  <a:pt x="792" y="202"/>
                </a:lnTo>
                <a:lnTo>
                  <a:pt x="792" y="202"/>
                </a:lnTo>
                <a:lnTo>
                  <a:pt x="790" y="209"/>
                </a:lnTo>
                <a:lnTo>
                  <a:pt x="790" y="209"/>
                </a:lnTo>
                <a:lnTo>
                  <a:pt x="787" y="212"/>
                </a:lnTo>
                <a:lnTo>
                  <a:pt x="787" y="212"/>
                </a:lnTo>
                <a:lnTo>
                  <a:pt x="782" y="212"/>
                </a:lnTo>
                <a:lnTo>
                  <a:pt x="782" y="212"/>
                </a:lnTo>
                <a:close/>
                <a:moveTo>
                  <a:pt x="748" y="140"/>
                </a:moveTo>
                <a:lnTo>
                  <a:pt x="748" y="140"/>
                </a:lnTo>
                <a:lnTo>
                  <a:pt x="745" y="138"/>
                </a:lnTo>
                <a:lnTo>
                  <a:pt x="745" y="138"/>
                </a:lnTo>
                <a:lnTo>
                  <a:pt x="745" y="133"/>
                </a:lnTo>
                <a:lnTo>
                  <a:pt x="745" y="133"/>
                </a:lnTo>
                <a:lnTo>
                  <a:pt x="745" y="133"/>
                </a:lnTo>
                <a:lnTo>
                  <a:pt x="743" y="130"/>
                </a:lnTo>
                <a:lnTo>
                  <a:pt x="743" y="130"/>
                </a:lnTo>
                <a:lnTo>
                  <a:pt x="740" y="130"/>
                </a:lnTo>
                <a:lnTo>
                  <a:pt x="740" y="130"/>
                </a:lnTo>
                <a:lnTo>
                  <a:pt x="738" y="130"/>
                </a:lnTo>
                <a:lnTo>
                  <a:pt x="738" y="130"/>
                </a:lnTo>
                <a:lnTo>
                  <a:pt x="738" y="130"/>
                </a:lnTo>
                <a:lnTo>
                  <a:pt x="733" y="130"/>
                </a:lnTo>
                <a:lnTo>
                  <a:pt x="733" y="130"/>
                </a:lnTo>
                <a:lnTo>
                  <a:pt x="731" y="130"/>
                </a:lnTo>
                <a:lnTo>
                  <a:pt x="731" y="130"/>
                </a:lnTo>
                <a:lnTo>
                  <a:pt x="731" y="128"/>
                </a:lnTo>
                <a:lnTo>
                  <a:pt x="731" y="128"/>
                </a:lnTo>
                <a:lnTo>
                  <a:pt x="733" y="125"/>
                </a:lnTo>
                <a:lnTo>
                  <a:pt x="733" y="125"/>
                </a:lnTo>
                <a:lnTo>
                  <a:pt x="733" y="123"/>
                </a:lnTo>
                <a:lnTo>
                  <a:pt x="733" y="123"/>
                </a:lnTo>
                <a:lnTo>
                  <a:pt x="738" y="123"/>
                </a:lnTo>
                <a:lnTo>
                  <a:pt x="738" y="123"/>
                </a:lnTo>
                <a:lnTo>
                  <a:pt x="740" y="123"/>
                </a:lnTo>
                <a:lnTo>
                  <a:pt x="740" y="123"/>
                </a:lnTo>
                <a:lnTo>
                  <a:pt x="750" y="121"/>
                </a:lnTo>
                <a:lnTo>
                  <a:pt x="750" y="121"/>
                </a:lnTo>
                <a:lnTo>
                  <a:pt x="753" y="121"/>
                </a:lnTo>
                <a:lnTo>
                  <a:pt x="753" y="121"/>
                </a:lnTo>
                <a:lnTo>
                  <a:pt x="755" y="123"/>
                </a:lnTo>
                <a:lnTo>
                  <a:pt x="755" y="123"/>
                </a:lnTo>
                <a:lnTo>
                  <a:pt x="758" y="123"/>
                </a:lnTo>
                <a:lnTo>
                  <a:pt x="758" y="123"/>
                </a:lnTo>
                <a:lnTo>
                  <a:pt x="760" y="123"/>
                </a:lnTo>
                <a:lnTo>
                  <a:pt x="760" y="123"/>
                </a:lnTo>
                <a:lnTo>
                  <a:pt x="765" y="121"/>
                </a:lnTo>
                <a:lnTo>
                  <a:pt x="765" y="121"/>
                </a:lnTo>
                <a:lnTo>
                  <a:pt x="770" y="121"/>
                </a:lnTo>
                <a:lnTo>
                  <a:pt x="770" y="121"/>
                </a:lnTo>
                <a:lnTo>
                  <a:pt x="770" y="121"/>
                </a:lnTo>
                <a:lnTo>
                  <a:pt x="772" y="118"/>
                </a:lnTo>
                <a:lnTo>
                  <a:pt x="772" y="118"/>
                </a:lnTo>
                <a:lnTo>
                  <a:pt x="775" y="121"/>
                </a:lnTo>
                <a:lnTo>
                  <a:pt x="775" y="121"/>
                </a:lnTo>
                <a:lnTo>
                  <a:pt x="775" y="121"/>
                </a:lnTo>
                <a:lnTo>
                  <a:pt x="777" y="125"/>
                </a:lnTo>
                <a:lnTo>
                  <a:pt x="777" y="125"/>
                </a:lnTo>
                <a:lnTo>
                  <a:pt x="777" y="128"/>
                </a:lnTo>
                <a:lnTo>
                  <a:pt x="777" y="128"/>
                </a:lnTo>
                <a:lnTo>
                  <a:pt x="772" y="133"/>
                </a:lnTo>
                <a:lnTo>
                  <a:pt x="772" y="133"/>
                </a:lnTo>
                <a:lnTo>
                  <a:pt x="775" y="135"/>
                </a:lnTo>
                <a:lnTo>
                  <a:pt x="775" y="135"/>
                </a:lnTo>
                <a:lnTo>
                  <a:pt x="772" y="143"/>
                </a:lnTo>
                <a:lnTo>
                  <a:pt x="772" y="143"/>
                </a:lnTo>
                <a:lnTo>
                  <a:pt x="770" y="143"/>
                </a:lnTo>
                <a:lnTo>
                  <a:pt x="770" y="143"/>
                </a:lnTo>
                <a:lnTo>
                  <a:pt x="767" y="148"/>
                </a:lnTo>
                <a:lnTo>
                  <a:pt x="767" y="148"/>
                </a:lnTo>
                <a:lnTo>
                  <a:pt x="765" y="145"/>
                </a:lnTo>
                <a:lnTo>
                  <a:pt x="765" y="145"/>
                </a:lnTo>
                <a:lnTo>
                  <a:pt x="763" y="145"/>
                </a:lnTo>
                <a:lnTo>
                  <a:pt x="763" y="145"/>
                </a:lnTo>
                <a:lnTo>
                  <a:pt x="760" y="145"/>
                </a:lnTo>
                <a:lnTo>
                  <a:pt x="760" y="145"/>
                </a:lnTo>
                <a:lnTo>
                  <a:pt x="758" y="145"/>
                </a:lnTo>
                <a:lnTo>
                  <a:pt x="758" y="145"/>
                </a:lnTo>
                <a:lnTo>
                  <a:pt x="753" y="140"/>
                </a:lnTo>
                <a:lnTo>
                  <a:pt x="753" y="140"/>
                </a:lnTo>
                <a:lnTo>
                  <a:pt x="753" y="138"/>
                </a:lnTo>
                <a:lnTo>
                  <a:pt x="753" y="138"/>
                </a:lnTo>
                <a:lnTo>
                  <a:pt x="750" y="133"/>
                </a:lnTo>
                <a:lnTo>
                  <a:pt x="750" y="133"/>
                </a:lnTo>
                <a:lnTo>
                  <a:pt x="750" y="135"/>
                </a:lnTo>
                <a:lnTo>
                  <a:pt x="750" y="135"/>
                </a:lnTo>
                <a:lnTo>
                  <a:pt x="750" y="138"/>
                </a:lnTo>
                <a:lnTo>
                  <a:pt x="750" y="138"/>
                </a:lnTo>
                <a:lnTo>
                  <a:pt x="748" y="140"/>
                </a:lnTo>
                <a:lnTo>
                  <a:pt x="748" y="140"/>
                </a:lnTo>
                <a:close/>
                <a:moveTo>
                  <a:pt x="703" y="165"/>
                </a:moveTo>
                <a:lnTo>
                  <a:pt x="703" y="165"/>
                </a:lnTo>
                <a:lnTo>
                  <a:pt x="706" y="160"/>
                </a:lnTo>
                <a:lnTo>
                  <a:pt x="706" y="160"/>
                </a:lnTo>
                <a:lnTo>
                  <a:pt x="706" y="157"/>
                </a:lnTo>
                <a:lnTo>
                  <a:pt x="706" y="157"/>
                </a:lnTo>
                <a:lnTo>
                  <a:pt x="711" y="155"/>
                </a:lnTo>
                <a:lnTo>
                  <a:pt x="711" y="155"/>
                </a:lnTo>
                <a:lnTo>
                  <a:pt x="711" y="152"/>
                </a:lnTo>
                <a:lnTo>
                  <a:pt x="711" y="152"/>
                </a:lnTo>
                <a:lnTo>
                  <a:pt x="713" y="150"/>
                </a:lnTo>
                <a:lnTo>
                  <a:pt x="713" y="150"/>
                </a:lnTo>
                <a:lnTo>
                  <a:pt x="716" y="148"/>
                </a:lnTo>
                <a:lnTo>
                  <a:pt x="716" y="148"/>
                </a:lnTo>
                <a:lnTo>
                  <a:pt x="718" y="148"/>
                </a:lnTo>
                <a:lnTo>
                  <a:pt x="718" y="148"/>
                </a:lnTo>
                <a:lnTo>
                  <a:pt x="726" y="148"/>
                </a:lnTo>
                <a:lnTo>
                  <a:pt x="726" y="148"/>
                </a:lnTo>
                <a:lnTo>
                  <a:pt x="728" y="148"/>
                </a:lnTo>
                <a:lnTo>
                  <a:pt x="728" y="148"/>
                </a:lnTo>
                <a:lnTo>
                  <a:pt x="731" y="148"/>
                </a:lnTo>
                <a:lnTo>
                  <a:pt x="731" y="148"/>
                </a:lnTo>
                <a:lnTo>
                  <a:pt x="733" y="150"/>
                </a:lnTo>
                <a:lnTo>
                  <a:pt x="733" y="150"/>
                </a:lnTo>
                <a:lnTo>
                  <a:pt x="735" y="150"/>
                </a:lnTo>
                <a:lnTo>
                  <a:pt x="735" y="150"/>
                </a:lnTo>
                <a:lnTo>
                  <a:pt x="738" y="148"/>
                </a:lnTo>
                <a:lnTo>
                  <a:pt x="738" y="148"/>
                </a:lnTo>
                <a:lnTo>
                  <a:pt x="743" y="150"/>
                </a:lnTo>
                <a:lnTo>
                  <a:pt x="743" y="150"/>
                </a:lnTo>
                <a:lnTo>
                  <a:pt x="743" y="150"/>
                </a:lnTo>
                <a:lnTo>
                  <a:pt x="748" y="150"/>
                </a:lnTo>
                <a:lnTo>
                  <a:pt x="748" y="150"/>
                </a:lnTo>
                <a:lnTo>
                  <a:pt x="750" y="152"/>
                </a:lnTo>
                <a:lnTo>
                  <a:pt x="750" y="152"/>
                </a:lnTo>
                <a:lnTo>
                  <a:pt x="753" y="152"/>
                </a:lnTo>
                <a:lnTo>
                  <a:pt x="753" y="152"/>
                </a:lnTo>
                <a:lnTo>
                  <a:pt x="755" y="152"/>
                </a:lnTo>
                <a:lnTo>
                  <a:pt x="755" y="152"/>
                </a:lnTo>
                <a:lnTo>
                  <a:pt x="758" y="155"/>
                </a:lnTo>
                <a:lnTo>
                  <a:pt x="758" y="155"/>
                </a:lnTo>
                <a:lnTo>
                  <a:pt x="753" y="160"/>
                </a:lnTo>
                <a:lnTo>
                  <a:pt x="753" y="160"/>
                </a:lnTo>
                <a:lnTo>
                  <a:pt x="750" y="160"/>
                </a:lnTo>
                <a:lnTo>
                  <a:pt x="750" y="160"/>
                </a:lnTo>
                <a:lnTo>
                  <a:pt x="743" y="162"/>
                </a:lnTo>
                <a:lnTo>
                  <a:pt x="743" y="162"/>
                </a:lnTo>
                <a:lnTo>
                  <a:pt x="740" y="162"/>
                </a:lnTo>
                <a:lnTo>
                  <a:pt x="740" y="162"/>
                </a:lnTo>
                <a:lnTo>
                  <a:pt x="738" y="165"/>
                </a:lnTo>
                <a:lnTo>
                  <a:pt x="738" y="165"/>
                </a:lnTo>
                <a:lnTo>
                  <a:pt x="738" y="167"/>
                </a:lnTo>
                <a:lnTo>
                  <a:pt x="738" y="167"/>
                </a:lnTo>
                <a:lnTo>
                  <a:pt x="740" y="167"/>
                </a:lnTo>
                <a:lnTo>
                  <a:pt x="740" y="167"/>
                </a:lnTo>
                <a:lnTo>
                  <a:pt x="743" y="167"/>
                </a:lnTo>
                <a:lnTo>
                  <a:pt x="743" y="167"/>
                </a:lnTo>
                <a:lnTo>
                  <a:pt x="743" y="170"/>
                </a:lnTo>
                <a:lnTo>
                  <a:pt x="743" y="170"/>
                </a:lnTo>
                <a:lnTo>
                  <a:pt x="738" y="175"/>
                </a:lnTo>
                <a:lnTo>
                  <a:pt x="738" y="175"/>
                </a:lnTo>
                <a:lnTo>
                  <a:pt x="738" y="175"/>
                </a:lnTo>
                <a:lnTo>
                  <a:pt x="735" y="177"/>
                </a:lnTo>
                <a:lnTo>
                  <a:pt x="735" y="177"/>
                </a:lnTo>
                <a:lnTo>
                  <a:pt x="735" y="177"/>
                </a:lnTo>
                <a:lnTo>
                  <a:pt x="733" y="180"/>
                </a:lnTo>
                <a:lnTo>
                  <a:pt x="733" y="180"/>
                </a:lnTo>
                <a:lnTo>
                  <a:pt x="731" y="180"/>
                </a:lnTo>
                <a:lnTo>
                  <a:pt x="731" y="180"/>
                </a:lnTo>
                <a:lnTo>
                  <a:pt x="726" y="182"/>
                </a:lnTo>
                <a:lnTo>
                  <a:pt x="726" y="182"/>
                </a:lnTo>
                <a:lnTo>
                  <a:pt x="723" y="182"/>
                </a:lnTo>
                <a:lnTo>
                  <a:pt x="723" y="182"/>
                </a:lnTo>
                <a:lnTo>
                  <a:pt x="721" y="180"/>
                </a:lnTo>
                <a:lnTo>
                  <a:pt x="721" y="180"/>
                </a:lnTo>
                <a:lnTo>
                  <a:pt x="718" y="180"/>
                </a:lnTo>
                <a:lnTo>
                  <a:pt x="718" y="180"/>
                </a:lnTo>
                <a:lnTo>
                  <a:pt x="716" y="180"/>
                </a:lnTo>
                <a:lnTo>
                  <a:pt x="716" y="180"/>
                </a:lnTo>
                <a:lnTo>
                  <a:pt x="711" y="180"/>
                </a:lnTo>
                <a:lnTo>
                  <a:pt x="711" y="180"/>
                </a:lnTo>
                <a:lnTo>
                  <a:pt x="711" y="180"/>
                </a:lnTo>
                <a:lnTo>
                  <a:pt x="713" y="177"/>
                </a:lnTo>
                <a:lnTo>
                  <a:pt x="713" y="177"/>
                </a:lnTo>
                <a:lnTo>
                  <a:pt x="711" y="175"/>
                </a:lnTo>
                <a:lnTo>
                  <a:pt x="711" y="175"/>
                </a:lnTo>
                <a:lnTo>
                  <a:pt x="708" y="172"/>
                </a:lnTo>
                <a:lnTo>
                  <a:pt x="708" y="172"/>
                </a:lnTo>
                <a:lnTo>
                  <a:pt x="706" y="172"/>
                </a:lnTo>
                <a:lnTo>
                  <a:pt x="706" y="172"/>
                </a:lnTo>
                <a:lnTo>
                  <a:pt x="706" y="167"/>
                </a:lnTo>
                <a:lnTo>
                  <a:pt x="706" y="167"/>
                </a:lnTo>
                <a:lnTo>
                  <a:pt x="703" y="165"/>
                </a:lnTo>
                <a:lnTo>
                  <a:pt x="703" y="165"/>
                </a:lnTo>
                <a:close/>
                <a:moveTo>
                  <a:pt x="701" y="152"/>
                </a:moveTo>
                <a:lnTo>
                  <a:pt x="701" y="152"/>
                </a:lnTo>
                <a:lnTo>
                  <a:pt x="703" y="155"/>
                </a:lnTo>
                <a:lnTo>
                  <a:pt x="703" y="155"/>
                </a:lnTo>
                <a:lnTo>
                  <a:pt x="706" y="152"/>
                </a:lnTo>
                <a:lnTo>
                  <a:pt x="706" y="152"/>
                </a:lnTo>
                <a:lnTo>
                  <a:pt x="708" y="150"/>
                </a:lnTo>
                <a:lnTo>
                  <a:pt x="708" y="150"/>
                </a:lnTo>
                <a:lnTo>
                  <a:pt x="708" y="145"/>
                </a:lnTo>
                <a:lnTo>
                  <a:pt x="708" y="145"/>
                </a:lnTo>
                <a:lnTo>
                  <a:pt x="711" y="143"/>
                </a:lnTo>
                <a:lnTo>
                  <a:pt x="711" y="143"/>
                </a:lnTo>
                <a:lnTo>
                  <a:pt x="708" y="140"/>
                </a:lnTo>
                <a:lnTo>
                  <a:pt x="708" y="140"/>
                </a:lnTo>
                <a:lnTo>
                  <a:pt x="711" y="138"/>
                </a:lnTo>
                <a:lnTo>
                  <a:pt x="711" y="138"/>
                </a:lnTo>
                <a:lnTo>
                  <a:pt x="708" y="138"/>
                </a:lnTo>
                <a:lnTo>
                  <a:pt x="708" y="138"/>
                </a:lnTo>
                <a:lnTo>
                  <a:pt x="706" y="138"/>
                </a:lnTo>
                <a:lnTo>
                  <a:pt x="706" y="138"/>
                </a:lnTo>
                <a:lnTo>
                  <a:pt x="703" y="138"/>
                </a:lnTo>
                <a:lnTo>
                  <a:pt x="703" y="138"/>
                </a:lnTo>
                <a:lnTo>
                  <a:pt x="701" y="138"/>
                </a:lnTo>
                <a:lnTo>
                  <a:pt x="701" y="138"/>
                </a:lnTo>
                <a:lnTo>
                  <a:pt x="701" y="138"/>
                </a:lnTo>
                <a:lnTo>
                  <a:pt x="699" y="143"/>
                </a:lnTo>
                <a:lnTo>
                  <a:pt x="699" y="143"/>
                </a:lnTo>
                <a:lnTo>
                  <a:pt x="699" y="145"/>
                </a:lnTo>
                <a:lnTo>
                  <a:pt x="699" y="145"/>
                </a:lnTo>
                <a:lnTo>
                  <a:pt x="699" y="148"/>
                </a:lnTo>
                <a:lnTo>
                  <a:pt x="699" y="148"/>
                </a:lnTo>
                <a:lnTo>
                  <a:pt x="701" y="152"/>
                </a:lnTo>
                <a:lnTo>
                  <a:pt x="701" y="152"/>
                </a:lnTo>
                <a:close/>
                <a:moveTo>
                  <a:pt x="962" y="381"/>
                </a:moveTo>
                <a:lnTo>
                  <a:pt x="964" y="381"/>
                </a:lnTo>
                <a:lnTo>
                  <a:pt x="964" y="381"/>
                </a:lnTo>
                <a:lnTo>
                  <a:pt x="967" y="381"/>
                </a:lnTo>
                <a:lnTo>
                  <a:pt x="967" y="381"/>
                </a:lnTo>
                <a:lnTo>
                  <a:pt x="967" y="384"/>
                </a:lnTo>
                <a:lnTo>
                  <a:pt x="967" y="384"/>
                </a:lnTo>
                <a:lnTo>
                  <a:pt x="972" y="384"/>
                </a:lnTo>
                <a:lnTo>
                  <a:pt x="972" y="384"/>
                </a:lnTo>
                <a:lnTo>
                  <a:pt x="972" y="384"/>
                </a:lnTo>
                <a:lnTo>
                  <a:pt x="974" y="384"/>
                </a:lnTo>
                <a:lnTo>
                  <a:pt x="974" y="384"/>
                </a:lnTo>
                <a:lnTo>
                  <a:pt x="979" y="381"/>
                </a:lnTo>
                <a:lnTo>
                  <a:pt x="979" y="381"/>
                </a:lnTo>
                <a:lnTo>
                  <a:pt x="981" y="381"/>
                </a:lnTo>
                <a:lnTo>
                  <a:pt x="981" y="381"/>
                </a:lnTo>
                <a:lnTo>
                  <a:pt x="986" y="384"/>
                </a:lnTo>
                <a:lnTo>
                  <a:pt x="986" y="384"/>
                </a:lnTo>
                <a:lnTo>
                  <a:pt x="989" y="384"/>
                </a:lnTo>
                <a:lnTo>
                  <a:pt x="989" y="384"/>
                </a:lnTo>
                <a:lnTo>
                  <a:pt x="991" y="384"/>
                </a:lnTo>
                <a:lnTo>
                  <a:pt x="991" y="384"/>
                </a:lnTo>
                <a:lnTo>
                  <a:pt x="994" y="381"/>
                </a:lnTo>
                <a:lnTo>
                  <a:pt x="994" y="381"/>
                </a:lnTo>
                <a:lnTo>
                  <a:pt x="994" y="381"/>
                </a:lnTo>
                <a:lnTo>
                  <a:pt x="994" y="376"/>
                </a:lnTo>
                <a:lnTo>
                  <a:pt x="994" y="376"/>
                </a:lnTo>
                <a:lnTo>
                  <a:pt x="996" y="376"/>
                </a:lnTo>
                <a:lnTo>
                  <a:pt x="996" y="376"/>
                </a:lnTo>
                <a:lnTo>
                  <a:pt x="996" y="374"/>
                </a:lnTo>
                <a:lnTo>
                  <a:pt x="996" y="374"/>
                </a:lnTo>
                <a:lnTo>
                  <a:pt x="996" y="371"/>
                </a:lnTo>
                <a:lnTo>
                  <a:pt x="996" y="371"/>
                </a:lnTo>
                <a:lnTo>
                  <a:pt x="996" y="369"/>
                </a:lnTo>
                <a:lnTo>
                  <a:pt x="996" y="369"/>
                </a:lnTo>
                <a:lnTo>
                  <a:pt x="996" y="369"/>
                </a:lnTo>
                <a:lnTo>
                  <a:pt x="996" y="371"/>
                </a:lnTo>
                <a:lnTo>
                  <a:pt x="996" y="371"/>
                </a:lnTo>
                <a:lnTo>
                  <a:pt x="999" y="376"/>
                </a:lnTo>
                <a:lnTo>
                  <a:pt x="999" y="376"/>
                </a:lnTo>
                <a:lnTo>
                  <a:pt x="1001" y="374"/>
                </a:lnTo>
                <a:lnTo>
                  <a:pt x="1001" y="374"/>
                </a:lnTo>
                <a:lnTo>
                  <a:pt x="1004" y="374"/>
                </a:lnTo>
                <a:lnTo>
                  <a:pt x="1004" y="374"/>
                </a:lnTo>
                <a:lnTo>
                  <a:pt x="1004" y="374"/>
                </a:lnTo>
                <a:lnTo>
                  <a:pt x="1006" y="374"/>
                </a:lnTo>
                <a:lnTo>
                  <a:pt x="1006" y="374"/>
                </a:lnTo>
                <a:lnTo>
                  <a:pt x="1006" y="371"/>
                </a:lnTo>
                <a:lnTo>
                  <a:pt x="1006" y="371"/>
                </a:lnTo>
                <a:lnTo>
                  <a:pt x="1006" y="369"/>
                </a:lnTo>
                <a:lnTo>
                  <a:pt x="1006" y="369"/>
                </a:lnTo>
                <a:lnTo>
                  <a:pt x="1006" y="366"/>
                </a:lnTo>
                <a:lnTo>
                  <a:pt x="1006" y="366"/>
                </a:lnTo>
                <a:lnTo>
                  <a:pt x="1004" y="366"/>
                </a:lnTo>
                <a:lnTo>
                  <a:pt x="1004" y="366"/>
                </a:lnTo>
                <a:lnTo>
                  <a:pt x="1001" y="366"/>
                </a:lnTo>
                <a:lnTo>
                  <a:pt x="1001" y="366"/>
                </a:lnTo>
                <a:lnTo>
                  <a:pt x="999" y="366"/>
                </a:lnTo>
                <a:lnTo>
                  <a:pt x="999" y="366"/>
                </a:lnTo>
                <a:lnTo>
                  <a:pt x="996" y="364"/>
                </a:lnTo>
                <a:lnTo>
                  <a:pt x="996" y="364"/>
                </a:lnTo>
                <a:lnTo>
                  <a:pt x="999" y="364"/>
                </a:lnTo>
                <a:lnTo>
                  <a:pt x="999" y="364"/>
                </a:lnTo>
                <a:lnTo>
                  <a:pt x="1001" y="364"/>
                </a:lnTo>
                <a:lnTo>
                  <a:pt x="1001" y="364"/>
                </a:lnTo>
                <a:lnTo>
                  <a:pt x="1004" y="364"/>
                </a:lnTo>
                <a:lnTo>
                  <a:pt x="1004" y="364"/>
                </a:lnTo>
                <a:lnTo>
                  <a:pt x="1006" y="362"/>
                </a:lnTo>
                <a:lnTo>
                  <a:pt x="1006" y="362"/>
                </a:lnTo>
                <a:lnTo>
                  <a:pt x="1006" y="362"/>
                </a:lnTo>
                <a:lnTo>
                  <a:pt x="1009" y="362"/>
                </a:lnTo>
                <a:lnTo>
                  <a:pt x="1009" y="362"/>
                </a:lnTo>
                <a:lnTo>
                  <a:pt x="1011" y="359"/>
                </a:lnTo>
                <a:lnTo>
                  <a:pt x="1011" y="359"/>
                </a:lnTo>
                <a:lnTo>
                  <a:pt x="1011" y="357"/>
                </a:lnTo>
                <a:lnTo>
                  <a:pt x="1011" y="357"/>
                </a:lnTo>
                <a:lnTo>
                  <a:pt x="1011" y="354"/>
                </a:lnTo>
                <a:lnTo>
                  <a:pt x="1011" y="354"/>
                </a:lnTo>
                <a:lnTo>
                  <a:pt x="1011" y="352"/>
                </a:lnTo>
                <a:lnTo>
                  <a:pt x="1011" y="352"/>
                </a:lnTo>
                <a:lnTo>
                  <a:pt x="1013" y="352"/>
                </a:lnTo>
                <a:lnTo>
                  <a:pt x="1013" y="352"/>
                </a:lnTo>
                <a:lnTo>
                  <a:pt x="1013" y="349"/>
                </a:lnTo>
                <a:lnTo>
                  <a:pt x="1013" y="349"/>
                </a:lnTo>
                <a:lnTo>
                  <a:pt x="1009" y="349"/>
                </a:lnTo>
                <a:lnTo>
                  <a:pt x="1009" y="349"/>
                </a:lnTo>
                <a:lnTo>
                  <a:pt x="1006" y="349"/>
                </a:lnTo>
                <a:lnTo>
                  <a:pt x="1006" y="349"/>
                </a:lnTo>
                <a:lnTo>
                  <a:pt x="1009" y="347"/>
                </a:lnTo>
                <a:lnTo>
                  <a:pt x="1009" y="347"/>
                </a:lnTo>
                <a:lnTo>
                  <a:pt x="1009" y="347"/>
                </a:lnTo>
                <a:lnTo>
                  <a:pt x="1009" y="344"/>
                </a:lnTo>
                <a:lnTo>
                  <a:pt x="1009" y="344"/>
                </a:lnTo>
                <a:lnTo>
                  <a:pt x="1006" y="342"/>
                </a:lnTo>
                <a:lnTo>
                  <a:pt x="1006" y="342"/>
                </a:lnTo>
                <a:lnTo>
                  <a:pt x="1001" y="342"/>
                </a:lnTo>
                <a:lnTo>
                  <a:pt x="1001" y="342"/>
                </a:lnTo>
                <a:lnTo>
                  <a:pt x="999" y="339"/>
                </a:lnTo>
                <a:lnTo>
                  <a:pt x="999" y="339"/>
                </a:lnTo>
                <a:lnTo>
                  <a:pt x="1001" y="339"/>
                </a:lnTo>
                <a:lnTo>
                  <a:pt x="1001" y="339"/>
                </a:lnTo>
                <a:lnTo>
                  <a:pt x="1001" y="337"/>
                </a:lnTo>
                <a:lnTo>
                  <a:pt x="1001" y="337"/>
                </a:lnTo>
                <a:lnTo>
                  <a:pt x="1001" y="334"/>
                </a:lnTo>
                <a:lnTo>
                  <a:pt x="1001" y="334"/>
                </a:lnTo>
                <a:lnTo>
                  <a:pt x="996" y="332"/>
                </a:lnTo>
                <a:lnTo>
                  <a:pt x="996" y="332"/>
                </a:lnTo>
                <a:lnTo>
                  <a:pt x="994" y="332"/>
                </a:lnTo>
                <a:lnTo>
                  <a:pt x="994" y="332"/>
                </a:lnTo>
                <a:lnTo>
                  <a:pt x="991" y="332"/>
                </a:lnTo>
                <a:lnTo>
                  <a:pt x="991" y="332"/>
                </a:lnTo>
                <a:lnTo>
                  <a:pt x="986" y="332"/>
                </a:lnTo>
                <a:lnTo>
                  <a:pt x="986" y="332"/>
                </a:lnTo>
                <a:lnTo>
                  <a:pt x="981" y="334"/>
                </a:lnTo>
                <a:lnTo>
                  <a:pt x="981" y="334"/>
                </a:lnTo>
                <a:lnTo>
                  <a:pt x="977" y="330"/>
                </a:lnTo>
                <a:lnTo>
                  <a:pt x="977" y="330"/>
                </a:lnTo>
                <a:lnTo>
                  <a:pt x="977" y="327"/>
                </a:lnTo>
                <a:lnTo>
                  <a:pt x="977" y="327"/>
                </a:lnTo>
                <a:lnTo>
                  <a:pt x="974" y="327"/>
                </a:lnTo>
                <a:lnTo>
                  <a:pt x="974" y="327"/>
                </a:lnTo>
                <a:lnTo>
                  <a:pt x="972" y="330"/>
                </a:lnTo>
                <a:lnTo>
                  <a:pt x="972" y="330"/>
                </a:lnTo>
                <a:lnTo>
                  <a:pt x="969" y="330"/>
                </a:lnTo>
                <a:lnTo>
                  <a:pt x="969" y="330"/>
                </a:lnTo>
                <a:lnTo>
                  <a:pt x="967" y="330"/>
                </a:lnTo>
                <a:lnTo>
                  <a:pt x="967" y="330"/>
                </a:lnTo>
                <a:lnTo>
                  <a:pt x="964" y="330"/>
                </a:lnTo>
                <a:lnTo>
                  <a:pt x="964" y="330"/>
                </a:lnTo>
                <a:lnTo>
                  <a:pt x="964" y="332"/>
                </a:lnTo>
                <a:lnTo>
                  <a:pt x="964" y="332"/>
                </a:lnTo>
                <a:lnTo>
                  <a:pt x="962" y="330"/>
                </a:lnTo>
                <a:lnTo>
                  <a:pt x="962" y="330"/>
                </a:lnTo>
                <a:lnTo>
                  <a:pt x="959" y="330"/>
                </a:lnTo>
                <a:lnTo>
                  <a:pt x="959" y="330"/>
                </a:lnTo>
                <a:lnTo>
                  <a:pt x="957" y="330"/>
                </a:lnTo>
                <a:lnTo>
                  <a:pt x="957" y="330"/>
                </a:lnTo>
                <a:lnTo>
                  <a:pt x="952" y="330"/>
                </a:lnTo>
                <a:lnTo>
                  <a:pt x="952" y="330"/>
                </a:lnTo>
                <a:lnTo>
                  <a:pt x="952" y="332"/>
                </a:lnTo>
                <a:lnTo>
                  <a:pt x="952" y="332"/>
                </a:lnTo>
                <a:lnTo>
                  <a:pt x="952" y="334"/>
                </a:lnTo>
                <a:lnTo>
                  <a:pt x="952" y="334"/>
                </a:lnTo>
                <a:lnTo>
                  <a:pt x="952" y="332"/>
                </a:lnTo>
                <a:lnTo>
                  <a:pt x="952" y="332"/>
                </a:lnTo>
                <a:lnTo>
                  <a:pt x="949" y="330"/>
                </a:lnTo>
                <a:lnTo>
                  <a:pt x="949" y="330"/>
                </a:lnTo>
                <a:lnTo>
                  <a:pt x="947" y="332"/>
                </a:lnTo>
                <a:lnTo>
                  <a:pt x="947" y="332"/>
                </a:lnTo>
                <a:lnTo>
                  <a:pt x="940" y="330"/>
                </a:lnTo>
                <a:lnTo>
                  <a:pt x="940" y="330"/>
                </a:lnTo>
                <a:lnTo>
                  <a:pt x="940" y="332"/>
                </a:lnTo>
                <a:lnTo>
                  <a:pt x="940" y="332"/>
                </a:lnTo>
                <a:lnTo>
                  <a:pt x="942" y="332"/>
                </a:lnTo>
                <a:lnTo>
                  <a:pt x="942" y="332"/>
                </a:lnTo>
                <a:lnTo>
                  <a:pt x="942" y="334"/>
                </a:lnTo>
                <a:lnTo>
                  <a:pt x="942" y="334"/>
                </a:lnTo>
                <a:lnTo>
                  <a:pt x="945" y="337"/>
                </a:lnTo>
                <a:lnTo>
                  <a:pt x="945" y="337"/>
                </a:lnTo>
                <a:lnTo>
                  <a:pt x="942" y="337"/>
                </a:lnTo>
                <a:lnTo>
                  <a:pt x="942" y="337"/>
                </a:lnTo>
                <a:lnTo>
                  <a:pt x="940" y="334"/>
                </a:lnTo>
                <a:lnTo>
                  <a:pt x="940" y="334"/>
                </a:lnTo>
                <a:lnTo>
                  <a:pt x="937" y="334"/>
                </a:lnTo>
                <a:lnTo>
                  <a:pt x="937" y="334"/>
                </a:lnTo>
                <a:lnTo>
                  <a:pt x="935" y="334"/>
                </a:lnTo>
                <a:lnTo>
                  <a:pt x="935" y="334"/>
                </a:lnTo>
                <a:lnTo>
                  <a:pt x="932" y="334"/>
                </a:lnTo>
                <a:lnTo>
                  <a:pt x="932" y="334"/>
                </a:lnTo>
                <a:lnTo>
                  <a:pt x="935" y="332"/>
                </a:lnTo>
                <a:lnTo>
                  <a:pt x="935" y="332"/>
                </a:lnTo>
                <a:lnTo>
                  <a:pt x="935" y="330"/>
                </a:lnTo>
                <a:lnTo>
                  <a:pt x="935" y="330"/>
                </a:lnTo>
                <a:lnTo>
                  <a:pt x="932" y="327"/>
                </a:lnTo>
                <a:lnTo>
                  <a:pt x="932" y="327"/>
                </a:lnTo>
                <a:lnTo>
                  <a:pt x="932" y="325"/>
                </a:lnTo>
                <a:lnTo>
                  <a:pt x="932" y="325"/>
                </a:lnTo>
                <a:lnTo>
                  <a:pt x="932" y="325"/>
                </a:lnTo>
                <a:lnTo>
                  <a:pt x="927" y="325"/>
                </a:lnTo>
                <a:lnTo>
                  <a:pt x="927" y="325"/>
                </a:lnTo>
                <a:lnTo>
                  <a:pt x="927" y="327"/>
                </a:lnTo>
                <a:lnTo>
                  <a:pt x="927" y="327"/>
                </a:lnTo>
                <a:lnTo>
                  <a:pt x="927" y="330"/>
                </a:lnTo>
                <a:lnTo>
                  <a:pt x="927" y="330"/>
                </a:lnTo>
                <a:lnTo>
                  <a:pt x="925" y="330"/>
                </a:lnTo>
                <a:lnTo>
                  <a:pt x="925" y="330"/>
                </a:lnTo>
                <a:lnTo>
                  <a:pt x="927" y="327"/>
                </a:lnTo>
                <a:lnTo>
                  <a:pt x="927" y="327"/>
                </a:lnTo>
                <a:lnTo>
                  <a:pt x="925" y="325"/>
                </a:lnTo>
                <a:lnTo>
                  <a:pt x="925" y="325"/>
                </a:lnTo>
                <a:lnTo>
                  <a:pt x="922" y="325"/>
                </a:lnTo>
                <a:lnTo>
                  <a:pt x="922" y="325"/>
                </a:lnTo>
                <a:lnTo>
                  <a:pt x="920" y="325"/>
                </a:lnTo>
                <a:lnTo>
                  <a:pt x="920" y="325"/>
                </a:lnTo>
                <a:lnTo>
                  <a:pt x="920" y="325"/>
                </a:lnTo>
                <a:lnTo>
                  <a:pt x="920" y="322"/>
                </a:lnTo>
                <a:lnTo>
                  <a:pt x="920" y="322"/>
                </a:lnTo>
                <a:lnTo>
                  <a:pt x="920" y="322"/>
                </a:lnTo>
                <a:lnTo>
                  <a:pt x="920" y="317"/>
                </a:lnTo>
                <a:lnTo>
                  <a:pt x="920" y="317"/>
                </a:lnTo>
                <a:lnTo>
                  <a:pt x="915" y="320"/>
                </a:lnTo>
                <a:lnTo>
                  <a:pt x="915" y="320"/>
                </a:lnTo>
                <a:lnTo>
                  <a:pt x="913" y="322"/>
                </a:lnTo>
                <a:lnTo>
                  <a:pt x="913" y="322"/>
                </a:lnTo>
                <a:lnTo>
                  <a:pt x="913" y="327"/>
                </a:lnTo>
                <a:lnTo>
                  <a:pt x="913" y="327"/>
                </a:lnTo>
                <a:lnTo>
                  <a:pt x="910" y="327"/>
                </a:lnTo>
                <a:lnTo>
                  <a:pt x="910" y="327"/>
                </a:lnTo>
                <a:lnTo>
                  <a:pt x="910" y="322"/>
                </a:lnTo>
                <a:lnTo>
                  <a:pt x="910" y="322"/>
                </a:lnTo>
                <a:lnTo>
                  <a:pt x="910" y="320"/>
                </a:lnTo>
                <a:lnTo>
                  <a:pt x="910" y="320"/>
                </a:lnTo>
                <a:lnTo>
                  <a:pt x="910" y="320"/>
                </a:lnTo>
                <a:lnTo>
                  <a:pt x="913" y="315"/>
                </a:lnTo>
                <a:lnTo>
                  <a:pt x="913" y="315"/>
                </a:lnTo>
                <a:lnTo>
                  <a:pt x="910" y="312"/>
                </a:lnTo>
                <a:lnTo>
                  <a:pt x="910" y="312"/>
                </a:lnTo>
                <a:lnTo>
                  <a:pt x="908" y="312"/>
                </a:lnTo>
                <a:lnTo>
                  <a:pt x="908" y="312"/>
                </a:lnTo>
                <a:lnTo>
                  <a:pt x="908" y="312"/>
                </a:lnTo>
                <a:lnTo>
                  <a:pt x="910" y="310"/>
                </a:lnTo>
                <a:lnTo>
                  <a:pt x="910" y="310"/>
                </a:lnTo>
                <a:lnTo>
                  <a:pt x="910" y="307"/>
                </a:lnTo>
                <a:lnTo>
                  <a:pt x="910" y="307"/>
                </a:lnTo>
                <a:lnTo>
                  <a:pt x="910" y="305"/>
                </a:lnTo>
                <a:lnTo>
                  <a:pt x="910" y="305"/>
                </a:lnTo>
                <a:lnTo>
                  <a:pt x="908" y="305"/>
                </a:lnTo>
                <a:lnTo>
                  <a:pt x="908" y="305"/>
                </a:lnTo>
                <a:lnTo>
                  <a:pt x="905" y="305"/>
                </a:lnTo>
                <a:lnTo>
                  <a:pt x="905" y="305"/>
                </a:lnTo>
                <a:lnTo>
                  <a:pt x="905" y="305"/>
                </a:lnTo>
                <a:lnTo>
                  <a:pt x="903" y="305"/>
                </a:lnTo>
                <a:lnTo>
                  <a:pt x="903" y="305"/>
                </a:lnTo>
                <a:lnTo>
                  <a:pt x="905" y="305"/>
                </a:lnTo>
                <a:lnTo>
                  <a:pt x="905" y="305"/>
                </a:lnTo>
                <a:lnTo>
                  <a:pt x="903" y="303"/>
                </a:lnTo>
                <a:lnTo>
                  <a:pt x="903" y="303"/>
                </a:lnTo>
                <a:lnTo>
                  <a:pt x="900" y="303"/>
                </a:lnTo>
                <a:lnTo>
                  <a:pt x="900" y="303"/>
                </a:lnTo>
                <a:lnTo>
                  <a:pt x="900" y="305"/>
                </a:lnTo>
                <a:lnTo>
                  <a:pt x="900" y="305"/>
                </a:lnTo>
                <a:lnTo>
                  <a:pt x="895" y="305"/>
                </a:lnTo>
                <a:lnTo>
                  <a:pt x="895" y="305"/>
                </a:lnTo>
                <a:lnTo>
                  <a:pt x="895" y="305"/>
                </a:lnTo>
                <a:lnTo>
                  <a:pt x="898" y="303"/>
                </a:lnTo>
                <a:lnTo>
                  <a:pt x="898" y="303"/>
                </a:lnTo>
                <a:lnTo>
                  <a:pt x="898" y="300"/>
                </a:lnTo>
                <a:lnTo>
                  <a:pt x="898" y="300"/>
                </a:lnTo>
                <a:lnTo>
                  <a:pt x="900" y="298"/>
                </a:lnTo>
                <a:lnTo>
                  <a:pt x="900" y="298"/>
                </a:lnTo>
                <a:lnTo>
                  <a:pt x="903" y="298"/>
                </a:lnTo>
                <a:lnTo>
                  <a:pt x="903" y="298"/>
                </a:lnTo>
                <a:lnTo>
                  <a:pt x="905" y="303"/>
                </a:lnTo>
                <a:lnTo>
                  <a:pt x="905" y="303"/>
                </a:lnTo>
                <a:lnTo>
                  <a:pt x="908" y="303"/>
                </a:lnTo>
                <a:lnTo>
                  <a:pt x="908" y="303"/>
                </a:lnTo>
                <a:lnTo>
                  <a:pt x="908" y="300"/>
                </a:lnTo>
                <a:lnTo>
                  <a:pt x="908" y="300"/>
                </a:lnTo>
                <a:lnTo>
                  <a:pt x="905" y="298"/>
                </a:lnTo>
                <a:lnTo>
                  <a:pt x="905" y="298"/>
                </a:lnTo>
                <a:lnTo>
                  <a:pt x="903" y="295"/>
                </a:lnTo>
                <a:lnTo>
                  <a:pt x="903" y="295"/>
                </a:lnTo>
                <a:lnTo>
                  <a:pt x="905" y="295"/>
                </a:lnTo>
                <a:lnTo>
                  <a:pt x="905" y="295"/>
                </a:lnTo>
                <a:lnTo>
                  <a:pt x="900" y="293"/>
                </a:lnTo>
                <a:lnTo>
                  <a:pt x="900" y="293"/>
                </a:lnTo>
                <a:lnTo>
                  <a:pt x="898" y="290"/>
                </a:lnTo>
                <a:lnTo>
                  <a:pt x="898" y="290"/>
                </a:lnTo>
                <a:lnTo>
                  <a:pt x="900" y="290"/>
                </a:lnTo>
                <a:lnTo>
                  <a:pt x="900" y="290"/>
                </a:lnTo>
                <a:lnTo>
                  <a:pt x="900" y="288"/>
                </a:lnTo>
                <a:lnTo>
                  <a:pt x="900" y="288"/>
                </a:lnTo>
                <a:lnTo>
                  <a:pt x="900" y="288"/>
                </a:lnTo>
                <a:lnTo>
                  <a:pt x="903" y="290"/>
                </a:lnTo>
                <a:lnTo>
                  <a:pt x="903" y="290"/>
                </a:lnTo>
                <a:lnTo>
                  <a:pt x="905" y="293"/>
                </a:lnTo>
                <a:lnTo>
                  <a:pt x="905" y="293"/>
                </a:lnTo>
                <a:lnTo>
                  <a:pt x="910" y="295"/>
                </a:lnTo>
                <a:lnTo>
                  <a:pt x="910" y="295"/>
                </a:lnTo>
                <a:lnTo>
                  <a:pt x="913" y="298"/>
                </a:lnTo>
                <a:lnTo>
                  <a:pt x="913" y="298"/>
                </a:lnTo>
                <a:lnTo>
                  <a:pt x="913" y="295"/>
                </a:lnTo>
                <a:lnTo>
                  <a:pt x="913" y="295"/>
                </a:lnTo>
                <a:lnTo>
                  <a:pt x="915" y="298"/>
                </a:lnTo>
                <a:lnTo>
                  <a:pt x="915" y="298"/>
                </a:lnTo>
                <a:lnTo>
                  <a:pt x="920" y="298"/>
                </a:lnTo>
                <a:lnTo>
                  <a:pt x="920" y="298"/>
                </a:lnTo>
                <a:lnTo>
                  <a:pt x="922" y="298"/>
                </a:lnTo>
                <a:lnTo>
                  <a:pt x="922" y="298"/>
                </a:lnTo>
                <a:lnTo>
                  <a:pt x="925" y="295"/>
                </a:lnTo>
                <a:lnTo>
                  <a:pt x="925" y="295"/>
                </a:lnTo>
                <a:lnTo>
                  <a:pt x="922" y="293"/>
                </a:lnTo>
                <a:lnTo>
                  <a:pt x="922" y="293"/>
                </a:lnTo>
                <a:lnTo>
                  <a:pt x="918" y="288"/>
                </a:lnTo>
                <a:lnTo>
                  <a:pt x="918" y="288"/>
                </a:lnTo>
                <a:lnTo>
                  <a:pt x="915" y="285"/>
                </a:lnTo>
                <a:lnTo>
                  <a:pt x="915" y="285"/>
                </a:lnTo>
                <a:lnTo>
                  <a:pt x="913" y="285"/>
                </a:lnTo>
                <a:lnTo>
                  <a:pt x="913" y="285"/>
                </a:lnTo>
                <a:lnTo>
                  <a:pt x="913" y="283"/>
                </a:lnTo>
                <a:lnTo>
                  <a:pt x="913" y="283"/>
                </a:lnTo>
                <a:lnTo>
                  <a:pt x="908" y="280"/>
                </a:lnTo>
                <a:lnTo>
                  <a:pt x="908" y="280"/>
                </a:lnTo>
                <a:lnTo>
                  <a:pt x="908" y="280"/>
                </a:lnTo>
                <a:lnTo>
                  <a:pt x="905" y="278"/>
                </a:lnTo>
                <a:lnTo>
                  <a:pt x="905" y="278"/>
                </a:lnTo>
                <a:lnTo>
                  <a:pt x="908" y="275"/>
                </a:lnTo>
                <a:lnTo>
                  <a:pt x="908" y="275"/>
                </a:lnTo>
                <a:lnTo>
                  <a:pt x="910" y="278"/>
                </a:lnTo>
                <a:lnTo>
                  <a:pt x="910" y="278"/>
                </a:lnTo>
                <a:lnTo>
                  <a:pt x="913" y="280"/>
                </a:lnTo>
                <a:lnTo>
                  <a:pt x="913" y="280"/>
                </a:lnTo>
                <a:lnTo>
                  <a:pt x="913" y="280"/>
                </a:lnTo>
                <a:lnTo>
                  <a:pt x="915" y="283"/>
                </a:lnTo>
                <a:lnTo>
                  <a:pt x="915" y="283"/>
                </a:lnTo>
                <a:lnTo>
                  <a:pt x="915" y="283"/>
                </a:lnTo>
                <a:lnTo>
                  <a:pt x="918" y="280"/>
                </a:lnTo>
                <a:lnTo>
                  <a:pt x="918" y="280"/>
                </a:lnTo>
                <a:lnTo>
                  <a:pt x="915" y="275"/>
                </a:lnTo>
                <a:lnTo>
                  <a:pt x="915" y="275"/>
                </a:lnTo>
                <a:lnTo>
                  <a:pt x="913" y="271"/>
                </a:lnTo>
                <a:lnTo>
                  <a:pt x="913" y="271"/>
                </a:lnTo>
                <a:lnTo>
                  <a:pt x="910" y="271"/>
                </a:lnTo>
                <a:lnTo>
                  <a:pt x="910" y="271"/>
                </a:lnTo>
                <a:lnTo>
                  <a:pt x="910" y="271"/>
                </a:lnTo>
                <a:lnTo>
                  <a:pt x="905" y="271"/>
                </a:lnTo>
                <a:lnTo>
                  <a:pt x="905" y="271"/>
                </a:lnTo>
                <a:lnTo>
                  <a:pt x="903" y="273"/>
                </a:lnTo>
                <a:lnTo>
                  <a:pt x="903" y="273"/>
                </a:lnTo>
                <a:lnTo>
                  <a:pt x="900" y="273"/>
                </a:lnTo>
                <a:lnTo>
                  <a:pt x="900" y="273"/>
                </a:lnTo>
                <a:lnTo>
                  <a:pt x="898" y="271"/>
                </a:lnTo>
                <a:lnTo>
                  <a:pt x="898" y="271"/>
                </a:lnTo>
                <a:lnTo>
                  <a:pt x="895" y="271"/>
                </a:lnTo>
                <a:lnTo>
                  <a:pt x="895" y="271"/>
                </a:lnTo>
                <a:lnTo>
                  <a:pt x="893" y="268"/>
                </a:lnTo>
                <a:lnTo>
                  <a:pt x="893" y="268"/>
                </a:lnTo>
                <a:lnTo>
                  <a:pt x="890" y="273"/>
                </a:lnTo>
                <a:lnTo>
                  <a:pt x="890" y="273"/>
                </a:lnTo>
                <a:lnTo>
                  <a:pt x="886" y="275"/>
                </a:lnTo>
                <a:lnTo>
                  <a:pt x="886" y="275"/>
                </a:lnTo>
                <a:lnTo>
                  <a:pt x="886" y="278"/>
                </a:lnTo>
                <a:lnTo>
                  <a:pt x="886" y="278"/>
                </a:lnTo>
                <a:lnTo>
                  <a:pt x="883" y="280"/>
                </a:lnTo>
                <a:lnTo>
                  <a:pt x="883" y="280"/>
                </a:lnTo>
                <a:lnTo>
                  <a:pt x="883" y="278"/>
                </a:lnTo>
                <a:lnTo>
                  <a:pt x="883" y="278"/>
                </a:lnTo>
                <a:lnTo>
                  <a:pt x="886" y="275"/>
                </a:lnTo>
                <a:lnTo>
                  <a:pt x="886" y="275"/>
                </a:lnTo>
                <a:lnTo>
                  <a:pt x="886" y="273"/>
                </a:lnTo>
                <a:lnTo>
                  <a:pt x="886" y="273"/>
                </a:lnTo>
                <a:lnTo>
                  <a:pt x="893" y="268"/>
                </a:lnTo>
                <a:lnTo>
                  <a:pt x="893" y="268"/>
                </a:lnTo>
                <a:lnTo>
                  <a:pt x="893" y="266"/>
                </a:lnTo>
                <a:lnTo>
                  <a:pt x="893" y="266"/>
                </a:lnTo>
                <a:lnTo>
                  <a:pt x="893" y="263"/>
                </a:lnTo>
                <a:lnTo>
                  <a:pt x="893" y="263"/>
                </a:lnTo>
                <a:lnTo>
                  <a:pt x="893" y="256"/>
                </a:lnTo>
                <a:lnTo>
                  <a:pt x="893" y="256"/>
                </a:lnTo>
                <a:lnTo>
                  <a:pt x="893" y="256"/>
                </a:lnTo>
                <a:lnTo>
                  <a:pt x="890" y="253"/>
                </a:lnTo>
                <a:lnTo>
                  <a:pt x="890" y="253"/>
                </a:lnTo>
                <a:lnTo>
                  <a:pt x="890" y="253"/>
                </a:lnTo>
                <a:lnTo>
                  <a:pt x="886" y="253"/>
                </a:lnTo>
                <a:lnTo>
                  <a:pt x="886" y="253"/>
                </a:lnTo>
                <a:lnTo>
                  <a:pt x="886" y="253"/>
                </a:lnTo>
                <a:lnTo>
                  <a:pt x="886" y="248"/>
                </a:lnTo>
                <a:lnTo>
                  <a:pt x="886" y="248"/>
                </a:lnTo>
                <a:lnTo>
                  <a:pt x="883" y="248"/>
                </a:lnTo>
                <a:lnTo>
                  <a:pt x="883" y="248"/>
                </a:lnTo>
                <a:lnTo>
                  <a:pt x="878" y="246"/>
                </a:lnTo>
                <a:lnTo>
                  <a:pt x="878" y="246"/>
                </a:lnTo>
                <a:lnTo>
                  <a:pt x="876" y="243"/>
                </a:lnTo>
                <a:lnTo>
                  <a:pt x="876" y="243"/>
                </a:lnTo>
                <a:lnTo>
                  <a:pt x="873" y="243"/>
                </a:lnTo>
                <a:lnTo>
                  <a:pt x="873" y="243"/>
                </a:lnTo>
                <a:lnTo>
                  <a:pt x="871" y="241"/>
                </a:lnTo>
                <a:lnTo>
                  <a:pt x="871" y="241"/>
                </a:lnTo>
                <a:lnTo>
                  <a:pt x="868" y="243"/>
                </a:lnTo>
                <a:lnTo>
                  <a:pt x="868" y="243"/>
                </a:lnTo>
                <a:lnTo>
                  <a:pt x="863" y="243"/>
                </a:lnTo>
                <a:lnTo>
                  <a:pt x="863" y="243"/>
                </a:lnTo>
                <a:lnTo>
                  <a:pt x="863" y="243"/>
                </a:lnTo>
                <a:lnTo>
                  <a:pt x="861" y="246"/>
                </a:lnTo>
                <a:lnTo>
                  <a:pt x="861" y="246"/>
                </a:lnTo>
                <a:lnTo>
                  <a:pt x="858" y="248"/>
                </a:lnTo>
                <a:lnTo>
                  <a:pt x="858" y="248"/>
                </a:lnTo>
                <a:lnTo>
                  <a:pt x="861" y="251"/>
                </a:lnTo>
                <a:lnTo>
                  <a:pt x="861" y="251"/>
                </a:lnTo>
                <a:lnTo>
                  <a:pt x="863" y="253"/>
                </a:lnTo>
                <a:lnTo>
                  <a:pt x="863" y="253"/>
                </a:lnTo>
                <a:lnTo>
                  <a:pt x="861" y="253"/>
                </a:lnTo>
                <a:lnTo>
                  <a:pt x="861" y="253"/>
                </a:lnTo>
                <a:lnTo>
                  <a:pt x="858" y="248"/>
                </a:lnTo>
                <a:lnTo>
                  <a:pt x="858" y="248"/>
                </a:lnTo>
                <a:lnTo>
                  <a:pt x="856" y="251"/>
                </a:lnTo>
                <a:lnTo>
                  <a:pt x="856" y="251"/>
                </a:lnTo>
                <a:lnTo>
                  <a:pt x="858" y="253"/>
                </a:lnTo>
                <a:lnTo>
                  <a:pt x="858" y="253"/>
                </a:lnTo>
                <a:lnTo>
                  <a:pt x="861" y="256"/>
                </a:lnTo>
                <a:lnTo>
                  <a:pt x="861" y="256"/>
                </a:lnTo>
                <a:lnTo>
                  <a:pt x="863" y="261"/>
                </a:lnTo>
                <a:lnTo>
                  <a:pt x="863" y="261"/>
                </a:lnTo>
                <a:lnTo>
                  <a:pt x="866" y="261"/>
                </a:lnTo>
                <a:lnTo>
                  <a:pt x="866" y="261"/>
                </a:lnTo>
                <a:lnTo>
                  <a:pt x="866" y="263"/>
                </a:lnTo>
                <a:lnTo>
                  <a:pt x="866" y="263"/>
                </a:lnTo>
                <a:lnTo>
                  <a:pt x="861" y="263"/>
                </a:lnTo>
                <a:lnTo>
                  <a:pt x="861" y="263"/>
                </a:lnTo>
                <a:lnTo>
                  <a:pt x="861" y="266"/>
                </a:lnTo>
                <a:lnTo>
                  <a:pt x="861" y="266"/>
                </a:lnTo>
                <a:lnTo>
                  <a:pt x="866" y="271"/>
                </a:lnTo>
                <a:lnTo>
                  <a:pt x="866" y="271"/>
                </a:lnTo>
                <a:lnTo>
                  <a:pt x="868" y="271"/>
                </a:lnTo>
                <a:lnTo>
                  <a:pt x="868" y="271"/>
                </a:lnTo>
                <a:lnTo>
                  <a:pt x="868" y="273"/>
                </a:lnTo>
                <a:lnTo>
                  <a:pt x="868" y="273"/>
                </a:lnTo>
                <a:lnTo>
                  <a:pt x="868" y="273"/>
                </a:lnTo>
                <a:lnTo>
                  <a:pt x="863" y="273"/>
                </a:lnTo>
                <a:lnTo>
                  <a:pt x="863" y="273"/>
                </a:lnTo>
                <a:lnTo>
                  <a:pt x="863" y="273"/>
                </a:lnTo>
                <a:lnTo>
                  <a:pt x="861" y="275"/>
                </a:lnTo>
                <a:lnTo>
                  <a:pt x="861" y="275"/>
                </a:lnTo>
                <a:lnTo>
                  <a:pt x="861" y="278"/>
                </a:lnTo>
                <a:lnTo>
                  <a:pt x="861" y="278"/>
                </a:lnTo>
                <a:lnTo>
                  <a:pt x="863" y="275"/>
                </a:lnTo>
                <a:lnTo>
                  <a:pt x="863" y="275"/>
                </a:lnTo>
                <a:lnTo>
                  <a:pt x="866" y="278"/>
                </a:lnTo>
                <a:lnTo>
                  <a:pt x="866" y="278"/>
                </a:lnTo>
                <a:lnTo>
                  <a:pt x="871" y="275"/>
                </a:lnTo>
                <a:lnTo>
                  <a:pt x="871" y="275"/>
                </a:lnTo>
                <a:lnTo>
                  <a:pt x="871" y="278"/>
                </a:lnTo>
                <a:lnTo>
                  <a:pt x="871" y="278"/>
                </a:lnTo>
                <a:lnTo>
                  <a:pt x="876" y="278"/>
                </a:lnTo>
                <a:lnTo>
                  <a:pt x="876" y="278"/>
                </a:lnTo>
                <a:lnTo>
                  <a:pt x="876" y="280"/>
                </a:lnTo>
                <a:lnTo>
                  <a:pt x="876" y="280"/>
                </a:lnTo>
                <a:lnTo>
                  <a:pt x="878" y="283"/>
                </a:lnTo>
                <a:lnTo>
                  <a:pt x="878" y="283"/>
                </a:lnTo>
                <a:lnTo>
                  <a:pt x="881" y="283"/>
                </a:lnTo>
                <a:lnTo>
                  <a:pt x="881" y="283"/>
                </a:lnTo>
                <a:lnTo>
                  <a:pt x="881" y="280"/>
                </a:lnTo>
                <a:lnTo>
                  <a:pt x="881" y="280"/>
                </a:lnTo>
                <a:lnTo>
                  <a:pt x="883" y="283"/>
                </a:lnTo>
                <a:lnTo>
                  <a:pt x="883" y="283"/>
                </a:lnTo>
                <a:lnTo>
                  <a:pt x="886" y="280"/>
                </a:lnTo>
                <a:lnTo>
                  <a:pt x="886" y="280"/>
                </a:lnTo>
                <a:lnTo>
                  <a:pt x="888" y="280"/>
                </a:lnTo>
                <a:lnTo>
                  <a:pt x="888" y="280"/>
                </a:lnTo>
                <a:lnTo>
                  <a:pt x="888" y="283"/>
                </a:lnTo>
                <a:lnTo>
                  <a:pt x="888" y="283"/>
                </a:lnTo>
                <a:lnTo>
                  <a:pt x="886" y="285"/>
                </a:lnTo>
                <a:lnTo>
                  <a:pt x="886" y="285"/>
                </a:lnTo>
                <a:lnTo>
                  <a:pt x="886" y="293"/>
                </a:lnTo>
                <a:lnTo>
                  <a:pt x="886" y="293"/>
                </a:lnTo>
                <a:lnTo>
                  <a:pt x="886" y="295"/>
                </a:lnTo>
                <a:lnTo>
                  <a:pt x="886" y="295"/>
                </a:lnTo>
                <a:lnTo>
                  <a:pt x="886" y="298"/>
                </a:lnTo>
                <a:lnTo>
                  <a:pt x="886" y="298"/>
                </a:lnTo>
                <a:lnTo>
                  <a:pt x="888" y="300"/>
                </a:lnTo>
                <a:lnTo>
                  <a:pt x="888" y="300"/>
                </a:lnTo>
                <a:lnTo>
                  <a:pt x="886" y="305"/>
                </a:lnTo>
                <a:lnTo>
                  <a:pt x="886" y="305"/>
                </a:lnTo>
                <a:lnTo>
                  <a:pt x="886" y="307"/>
                </a:lnTo>
                <a:lnTo>
                  <a:pt x="886" y="307"/>
                </a:lnTo>
                <a:lnTo>
                  <a:pt x="886" y="310"/>
                </a:lnTo>
                <a:lnTo>
                  <a:pt x="886" y="310"/>
                </a:lnTo>
                <a:lnTo>
                  <a:pt x="881" y="312"/>
                </a:lnTo>
                <a:lnTo>
                  <a:pt x="881" y="312"/>
                </a:lnTo>
                <a:lnTo>
                  <a:pt x="878" y="315"/>
                </a:lnTo>
                <a:lnTo>
                  <a:pt x="878" y="315"/>
                </a:lnTo>
                <a:lnTo>
                  <a:pt x="876" y="317"/>
                </a:lnTo>
                <a:lnTo>
                  <a:pt x="876" y="317"/>
                </a:lnTo>
                <a:lnTo>
                  <a:pt x="873" y="320"/>
                </a:lnTo>
                <a:lnTo>
                  <a:pt x="873" y="320"/>
                </a:lnTo>
                <a:lnTo>
                  <a:pt x="873" y="322"/>
                </a:lnTo>
                <a:lnTo>
                  <a:pt x="873" y="322"/>
                </a:lnTo>
                <a:lnTo>
                  <a:pt x="871" y="325"/>
                </a:lnTo>
                <a:lnTo>
                  <a:pt x="871" y="325"/>
                </a:lnTo>
                <a:lnTo>
                  <a:pt x="868" y="327"/>
                </a:lnTo>
                <a:lnTo>
                  <a:pt x="868" y="327"/>
                </a:lnTo>
                <a:lnTo>
                  <a:pt x="868" y="330"/>
                </a:lnTo>
                <a:lnTo>
                  <a:pt x="868" y="330"/>
                </a:lnTo>
                <a:lnTo>
                  <a:pt x="871" y="332"/>
                </a:lnTo>
                <a:lnTo>
                  <a:pt x="871" y="332"/>
                </a:lnTo>
                <a:lnTo>
                  <a:pt x="871" y="334"/>
                </a:lnTo>
                <a:lnTo>
                  <a:pt x="871" y="334"/>
                </a:lnTo>
                <a:lnTo>
                  <a:pt x="868" y="334"/>
                </a:lnTo>
                <a:lnTo>
                  <a:pt x="868" y="334"/>
                </a:lnTo>
                <a:lnTo>
                  <a:pt x="868" y="337"/>
                </a:lnTo>
                <a:lnTo>
                  <a:pt x="868" y="337"/>
                </a:lnTo>
                <a:lnTo>
                  <a:pt x="871" y="339"/>
                </a:lnTo>
                <a:lnTo>
                  <a:pt x="871" y="339"/>
                </a:lnTo>
                <a:lnTo>
                  <a:pt x="868" y="342"/>
                </a:lnTo>
                <a:lnTo>
                  <a:pt x="868" y="342"/>
                </a:lnTo>
                <a:lnTo>
                  <a:pt x="866" y="344"/>
                </a:lnTo>
                <a:lnTo>
                  <a:pt x="866" y="344"/>
                </a:lnTo>
                <a:lnTo>
                  <a:pt x="868" y="347"/>
                </a:lnTo>
                <a:lnTo>
                  <a:pt x="868" y="347"/>
                </a:lnTo>
                <a:lnTo>
                  <a:pt x="871" y="347"/>
                </a:lnTo>
                <a:lnTo>
                  <a:pt x="871" y="347"/>
                </a:lnTo>
                <a:lnTo>
                  <a:pt x="871" y="349"/>
                </a:lnTo>
                <a:lnTo>
                  <a:pt x="871" y="349"/>
                </a:lnTo>
                <a:lnTo>
                  <a:pt x="873" y="352"/>
                </a:lnTo>
                <a:lnTo>
                  <a:pt x="873" y="352"/>
                </a:lnTo>
                <a:lnTo>
                  <a:pt x="873" y="352"/>
                </a:lnTo>
                <a:lnTo>
                  <a:pt x="873" y="349"/>
                </a:lnTo>
                <a:lnTo>
                  <a:pt x="873" y="349"/>
                </a:lnTo>
                <a:lnTo>
                  <a:pt x="876" y="347"/>
                </a:lnTo>
                <a:lnTo>
                  <a:pt x="876" y="347"/>
                </a:lnTo>
                <a:lnTo>
                  <a:pt x="876" y="349"/>
                </a:lnTo>
                <a:lnTo>
                  <a:pt x="876" y="349"/>
                </a:lnTo>
                <a:lnTo>
                  <a:pt x="878" y="349"/>
                </a:lnTo>
                <a:lnTo>
                  <a:pt x="878" y="349"/>
                </a:lnTo>
                <a:lnTo>
                  <a:pt x="881" y="344"/>
                </a:lnTo>
                <a:lnTo>
                  <a:pt x="881" y="344"/>
                </a:lnTo>
                <a:lnTo>
                  <a:pt x="883" y="347"/>
                </a:lnTo>
                <a:lnTo>
                  <a:pt x="883" y="347"/>
                </a:lnTo>
                <a:lnTo>
                  <a:pt x="881" y="349"/>
                </a:lnTo>
                <a:lnTo>
                  <a:pt x="881" y="349"/>
                </a:lnTo>
                <a:lnTo>
                  <a:pt x="878" y="349"/>
                </a:lnTo>
                <a:lnTo>
                  <a:pt x="878" y="349"/>
                </a:lnTo>
                <a:lnTo>
                  <a:pt x="878" y="352"/>
                </a:lnTo>
                <a:lnTo>
                  <a:pt x="878" y="352"/>
                </a:lnTo>
                <a:lnTo>
                  <a:pt x="878" y="354"/>
                </a:lnTo>
                <a:lnTo>
                  <a:pt x="878" y="354"/>
                </a:lnTo>
                <a:lnTo>
                  <a:pt x="878" y="354"/>
                </a:lnTo>
                <a:lnTo>
                  <a:pt x="881" y="359"/>
                </a:lnTo>
                <a:lnTo>
                  <a:pt x="881" y="359"/>
                </a:lnTo>
                <a:lnTo>
                  <a:pt x="886" y="357"/>
                </a:lnTo>
                <a:lnTo>
                  <a:pt x="886" y="357"/>
                </a:lnTo>
                <a:lnTo>
                  <a:pt x="886" y="359"/>
                </a:lnTo>
                <a:lnTo>
                  <a:pt x="886" y="359"/>
                </a:lnTo>
                <a:lnTo>
                  <a:pt x="888" y="359"/>
                </a:lnTo>
                <a:lnTo>
                  <a:pt x="888" y="359"/>
                </a:lnTo>
                <a:lnTo>
                  <a:pt x="890" y="357"/>
                </a:lnTo>
                <a:lnTo>
                  <a:pt x="890" y="357"/>
                </a:lnTo>
                <a:lnTo>
                  <a:pt x="895" y="357"/>
                </a:lnTo>
                <a:lnTo>
                  <a:pt x="895" y="357"/>
                </a:lnTo>
                <a:lnTo>
                  <a:pt x="893" y="352"/>
                </a:lnTo>
                <a:lnTo>
                  <a:pt x="893" y="352"/>
                </a:lnTo>
                <a:lnTo>
                  <a:pt x="895" y="352"/>
                </a:lnTo>
                <a:lnTo>
                  <a:pt x="895" y="352"/>
                </a:lnTo>
                <a:lnTo>
                  <a:pt x="898" y="352"/>
                </a:lnTo>
                <a:lnTo>
                  <a:pt x="898" y="352"/>
                </a:lnTo>
                <a:lnTo>
                  <a:pt x="898" y="354"/>
                </a:lnTo>
                <a:lnTo>
                  <a:pt x="898" y="354"/>
                </a:lnTo>
                <a:lnTo>
                  <a:pt x="898" y="354"/>
                </a:lnTo>
                <a:lnTo>
                  <a:pt x="898" y="357"/>
                </a:lnTo>
                <a:lnTo>
                  <a:pt x="898" y="357"/>
                </a:lnTo>
                <a:lnTo>
                  <a:pt x="898" y="357"/>
                </a:lnTo>
                <a:lnTo>
                  <a:pt x="900" y="352"/>
                </a:lnTo>
                <a:lnTo>
                  <a:pt x="900" y="352"/>
                </a:lnTo>
                <a:lnTo>
                  <a:pt x="903" y="352"/>
                </a:lnTo>
                <a:lnTo>
                  <a:pt x="903" y="352"/>
                </a:lnTo>
                <a:lnTo>
                  <a:pt x="903" y="352"/>
                </a:lnTo>
                <a:lnTo>
                  <a:pt x="903" y="357"/>
                </a:lnTo>
                <a:lnTo>
                  <a:pt x="903" y="357"/>
                </a:lnTo>
                <a:lnTo>
                  <a:pt x="898" y="362"/>
                </a:lnTo>
                <a:lnTo>
                  <a:pt x="898" y="362"/>
                </a:lnTo>
                <a:lnTo>
                  <a:pt x="898" y="362"/>
                </a:lnTo>
                <a:lnTo>
                  <a:pt x="898" y="364"/>
                </a:lnTo>
                <a:lnTo>
                  <a:pt x="898" y="364"/>
                </a:lnTo>
                <a:lnTo>
                  <a:pt x="900" y="366"/>
                </a:lnTo>
                <a:lnTo>
                  <a:pt x="900" y="366"/>
                </a:lnTo>
                <a:lnTo>
                  <a:pt x="903" y="369"/>
                </a:lnTo>
                <a:lnTo>
                  <a:pt x="903" y="369"/>
                </a:lnTo>
                <a:lnTo>
                  <a:pt x="905" y="369"/>
                </a:lnTo>
                <a:lnTo>
                  <a:pt x="905" y="369"/>
                </a:lnTo>
                <a:lnTo>
                  <a:pt x="905" y="369"/>
                </a:lnTo>
                <a:lnTo>
                  <a:pt x="910" y="369"/>
                </a:lnTo>
                <a:lnTo>
                  <a:pt x="910" y="369"/>
                </a:lnTo>
                <a:lnTo>
                  <a:pt x="910" y="366"/>
                </a:lnTo>
                <a:lnTo>
                  <a:pt x="910" y="366"/>
                </a:lnTo>
                <a:lnTo>
                  <a:pt x="913" y="366"/>
                </a:lnTo>
                <a:lnTo>
                  <a:pt x="913" y="366"/>
                </a:lnTo>
                <a:lnTo>
                  <a:pt x="913" y="369"/>
                </a:lnTo>
                <a:lnTo>
                  <a:pt x="913" y="369"/>
                </a:lnTo>
                <a:lnTo>
                  <a:pt x="913" y="371"/>
                </a:lnTo>
                <a:lnTo>
                  <a:pt x="913" y="371"/>
                </a:lnTo>
                <a:lnTo>
                  <a:pt x="915" y="371"/>
                </a:lnTo>
                <a:lnTo>
                  <a:pt x="915" y="371"/>
                </a:lnTo>
                <a:lnTo>
                  <a:pt x="918" y="371"/>
                </a:lnTo>
                <a:lnTo>
                  <a:pt x="918" y="371"/>
                </a:lnTo>
                <a:lnTo>
                  <a:pt x="920" y="371"/>
                </a:lnTo>
                <a:lnTo>
                  <a:pt x="920" y="371"/>
                </a:lnTo>
                <a:lnTo>
                  <a:pt x="918" y="369"/>
                </a:lnTo>
                <a:lnTo>
                  <a:pt x="918" y="369"/>
                </a:lnTo>
                <a:lnTo>
                  <a:pt x="918" y="366"/>
                </a:lnTo>
                <a:lnTo>
                  <a:pt x="918" y="366"/>
                </a:lnTo>
                <a:lnTo>
                  <a:pt x="920" y="364"/>
                </a:lnTo>
                <a:lnTo>
                  <a:pt x="920" y="364"/>
                </a:lnTo>
                <a:lnTo>
                  <a:pt x="920" y="366"/>
                </a:lnTo>
                <a:lnTo>
                  <a:pt x="920" y="366"/>
                </a:lnTo>
                <a:lnTo>
                  <a:pt x="920" y="369"/>
                </a:lnTo>
                <a:lnTo>
                  <a:pt x="920" y="369"/>
                </a:lnTo>
                <a:lnTo>
                  <a:pt x="920" y="371"/>
                </a:lnTo>
                <a:lnTo>
                  <a:pt x="920" y="371"/>
                </a:lnTo>
                <a:lnTo>
                  <a:pt x="922" y="371"/>
                </a:lnTo>
                <a:lnTo>
                  <a:pt x="922" y="371"/>
                </a:lnTo>
                <a:lnTo>
                  <a:pt x="922" y="369"/>
                </a:lnTo>
                <a:lnTo>
                  <a:pt x="922" y="369"/>
                </a:lnTo>
                <a:lnTo>
                  <a:pt x="925" y="369"/>
                </a:lnTo>
                <a:lnTo>
                  <a:pt x="925" y="369"/>
                </a:lnTo>
                <a:lnTo>
                  <a:pt x="927" y="366"/>
                </a:lnTo>
                <a:lnTo>
                  <a:pt x="927" y="366"/>
                </a:lnTo>
                <a:lnTo>
                  <a:pt x="927" y="369"/>
                </a:lnTo>
                <a:lnTo>
                  <a:pt x="927" y="369"/>
                </a:lnTo>
                <a:lnTo>
                  <a:pt x="925" y="371"/>
                </a:lnTo>
                <a:lnTo>
                  <a:pt x="925" y="371"/>
                </a:lnTo>
                <a:lnTo>
                  <a:pt x="925" y="374"/>
                </a:lnTo>
                <a:lnTo>
                  <a:pt x="925" y="374"/>
                </a:lnTo>
                <a:lnTo>
                  <a:pt x="930" y="374"/>
                </a:lnTo>
                <a:lnTo>
                  <a:pt x="930" y="374"/>
                </a:lnTo>
                <a:lnTo>
                  <a:pt x="932" y="371"/>
                </a:lnTo>
                <a:lnTo>
                  <a:pt x="932" y="371"/>
                </a:lnTo>
                <a:lnTo>
                  <a:pt x="935" y="366"/>
                </a:lnTo>
                <a:lnTo>
                  <a:pt x="935" y="366"/>
                </a:lnTo>
                <a:lnTo>
                  <a:pt x="935" y="369"/>
                </a:lnTo>
                <a:lnTo>
                  <a:pt x="935" y="369"/>
                </a:lnTo>
                <a:lnTo>
                  <a:pt x="932" y="371"/>
                </a:lnTo>
                <a:lnTo>
                  <a:pt x="932" y="371"/>
                </a:lnTo>
                <a:lnTo>
                  <a:pt x="932" y="374"/>
                </a:lnTo>
                <a:lnTo>
                  <a:pt x="932" y="374"/>
                </a:lnTo>
                <a:lnTo>
                  <a:pt x="937" y="371"/>
                </a:lnTo>
                <a:lnTo>
                  <a:pt x="937" y="371"/>
                </a:lnTo>
                <a:lnTo>
                  <a:pt x="937" y="369"/>
                </a:lnTo>
                <a:lnTo>
                  <a:pt x="937" y="369"/>
                </a:lnTo>
                <a:lnTo>
                  <a:pt x="940" y="366"/>
                </a:lnTo>
                <a:lnTo>
                  <a:pt x="940" y="366"/>
                </a:lnTo>
                <a:lnTo>
                  <a:pt x="937" y="374"/>
                </a:lnTo>
                <a:lnTo>
                  <a:pt x="937" y="374"/>
                </a:lnTo>
                <a:lnTo>
                  <a:pt x="940" y="374"/>
                </a:lnTo>
                <a:lnTo>
                  <a:pt x="940" y="374"/>
                </a:lnTo>
                <a:lnTo>
                  <a:pt x="942" y="376"/>
                </a:lnTo>
                <a:lnTo>
                  <a:pt x="942" y="376"/>
                </a:lnTo>
                <a:lnTo>
                  <a:pt x="947" y="379"/>
                </a:lnTo>
                <a:lnTo>
                  <a:pt x="947" y="379"/>
                </a:lnTo>
                <a:lnTo>
                  <a:pt x="949" y="376"/>
                </a:lnTo>
                <a:lnTo>
                  <a:pt x="949" y="376"/>
                </a:lnTo>
                <a:lnTo>
                  <a:pt x="949" y="376"/>
                </a:lnTo>
                <a:lnTo>
                  <a:pt x="952" y="379"/>
                </a:lnTo>
                <a:lnTo>
                  <a:pt x="952" y="379"/>
                </a:lnTo>
                <a:lnTo>
                  <a:pt x="954" y="376"/>
                </a:lnTo>
                <a:lnTo>
                  <a:pt x="954" y="376"/>
                </a:lnTo>
                <a:lnTo>
                  <a:pt x="957" y="376"/>
                </a:lnTo>
                <a:lnTo>
                  <a:pt x="957" y="376"/>
                </a:lnTo>
                <a:lnTo>
                  <a:pt x="957" y="371"/>
                </a:lnTo>
                <a:lnTo>
                  <a:pt x="957" y="371"/>
                </a:lnTo>
                <a:lnTo>
                  <a:pt x="959" y="369"/>
                </a:lnTo>
                <a:lnTo>
                  <a:pt x="959" y="369"/>
                </a:lnTo>
                <a:lnTo>
                  <a:pt x="962" y="366"/>
                </a:lnTo>
                <a:lnTo>
                  <a:pt x="962" y="366"/>
                </a:lnTo>
                <a:lnTo>
                  <a:pt x="959" y="364"/>
                </a:lnTo>
                <a:lnTo>
                  <a:pt x="959" y="364"/>
                </a:lnTo>
                <a:lnTo>
                  <a:pt x="962" y="362"/>
                </a:lnTo>
                <a:lnTo>
                  <a:pt x="962" y="362"/>
                </a:lnTo>
                <a:lnTo>
                  <a:pt x="962" y="362"/>
                </a:lnTo>
                <a:lnTo>
                  <a:pt x="962" y="366"/>
                </a:lnTo>
                <a:lnTo>
                  <a:pt x="962" y="366"/>
                </a:lnTo>
                <a:lnTo>
                  <a:pt x="964" y="366"/>
                </a:lnTo>
                <a:lnTo>
                  <a:pt x="964" y="366"/>
                </a:lnTo>
                <a:lnTo>
                  <a:pt x="964" y="369"/>
                </a:lnTo>
                <a:lnTo>
                  <a:pt x="964" y="369"/>
                </a:lnTo>
                <a:lnTo>
                  <a:pt x="962" y="369"/>
                </a:lnTo>
                <a:lnTo>
                  <a:pt x="962" y="369"/>
                </a:lnTo>
                <a:lnTo>
                  <a:pt x="959" y="374"/>
                </a:lnTo>
                <a:lnTo>
                  <a:pt x="959" y="374"/>
                </a:lnTo>
                <a:lnTo>
                  <a:pt x="962" y="381"/>
                </a:lnTo>
                <a:lnTo>
                  <a:pt x="962" y="381"/>
                </a:lnTo>
                <a:close/>
                <a:moveTo>
                  <a:pt x="856" y="241"/>
                </a:moveTo>
                <a:lnTo>
                  <a:pt x="856" y="241"/>
                </a:lnTo>
                <a:lnTo>
                  <a:pt x="858" y="241"/>
                </a:lnTo>
                <a:lnTo>
                  <a:pt x="858" y="241"/>
                </a:lnTo>
                <a:lnTo>
                  <a:pt x="858" y="239"/>
                </a:lnTo>
                <a:lnTo>
                  <a:pt x="858" y="239"/>
                </a:lnTo>
                <a:lnTo>
                  <a:pt x="856" y="239"/>
                </a:lnTo>
                <a:lnTo>
                  <a:pt x="856" y="239"/>
                </a:lnTo>
                <a:lnTo>
                  <a:pt x="854" y="239"/>
                </a:lnTo>
                <a:lnTo>
                  <a:pt x="854" y="239"/>
                </a:lnTo>
                <a:lnTo>
                  <a:pt x="856" y="241"/>
                </a:lnTo>
                <a:lnTo>
                  <a:pt x="856" y="241"/>
                </a:lnTo>
                <a:close/>
                <a:moveTo>
                  <a:pt x="849" y="261"/>
                </a:moveTo>
                <a:lnTo>
                  <a:pt x="849" y="261"/>
                </a:lnTo>
                <a:lnTo>
                  <a:pt x="851" y="258"/>
                </a:lnTo>
                <a:lnTo>
                  <a:pt x="851" y="258"/>
                </a:lnTo>
                <a:lnTo>
                  <a:pt x="854" y="256"/>
                </a:lnTo>
                <a:lnTo>
                  <a:pt x="854" y="256"/>
                </a:lnTo>
                <a:lnTo>
                  <a:pt x="854" y="258"/>
                </a:lnTo>
                <a:lnTo>
                  <a:pt x="854" y="258"/>
                </a:lnTo>
                <a:lnTo>
                  <a:pt x="851" y="258"/>
                </a:lnTo>
                <a:lnTo>
                  <a:pt x="851" y="258"/>
                </a:lnTo>
                <a:lnTo>
                  <a:pt x="849" y="261"/>
                </a:lnTo>
                <a:lnTo>
                  <a:pt x="849" y="261"/>
                </a:lnTo>
                <a:close/>
                <a:moveTo>
                  <a:pt x="775" y="285"/>
                </a:moveTo>
                <a:lnTo>
                  <a:pt x="775" y="285"/>
                </a:lnTo>
                <a:lnTo>
                  <a:pt x="775" y="288"/>
                </a:lnTo>
                <a:lnTo>
                  <a:pt x="775" y="288"/>
                </a:lnTo>
                <a:lnTo>
                  <a:pt x="775" y="290"/>
                </a:lnTo>
                <a:lnTo>
                  <a:pt x="775" y="290"/>
                </a:lnTo>
                <a:lnTo>
                  <a:pt x="777" y="288"/>
                </a:lnTo>
                <a:lnTo>
                  <a:pt x="777" y="288"/>
                </a:lnTo>
                <a:lnTo>
                  <a:pt x="775" y="285"/>
                </a:lnTo>
                <a:lnTo>
                  <a:pt x="775" y="285"/>
                </a:lnTo>
                <a:close/>
                <a:moveTo>
                  <a:pt x="824" y="239"/>
                </a:moveTo>
                <a:lnTo>
                  <a:pt x="824" y="239"/>
                </a:lnTo>
                <a:lnTo>
                  <a:pt x="824" y="241"/>
                </a:lnTo>
                <a:lnTo>
                  <a:pt x="824" y="241"/>
                </a:lnTo>
                <a:lnTo>
                  <a:pt x="826" y="243"/>
                </a:lnTo>
                <a:lnTo>
                  <a:pt x="826" y="243"/>
                </a:lnTo>
                <a:lnTo>
                  <a:pt x="826" y="246"/>
                </a:lnTo>
                <a:lnTo>
                  <a:pt x="826" y="246"/>
                </a:lnTo>
                <a:lnTo>
                  <a:pt x="826" y="243"/>
                </a:lnTo>
                <a:lnTo>
                  <a:pt x="826" y="243"/>
                </a:lnTo>
                <a:lnTo>
                  <a:pt x="826" y="241"/>
                </a:lnTo>
                <a:lnTo>
                  <a:pt x="826" y="241"/>
                </a:lnTo>
                <a:lnTo>
                  <a:pt x="824" y="239"/>
                </a:lnTo>
                <a:lnTo>
                  <a:pt x="824" y="239"/>
                </a:lnTo>
                <a:lnTo>
                  <a:pt x="824" y="239"/>
                </a:lnTo>
                <a:close/>
                <a:moveTo>
                  <a:pt x="799" y="241"/>
                </a:moveTo>
                <a:lnTo>
                  <a:pt x="799" y="241"/>
                </a:lnTo>
                <a:lnTo>
                  <a:pt x="799" y="243"/>
                </a:lnTo>
                <a:lnTo>
                  <a:pt x="799" y="243"/>
                </a:lnTo>
                <a:lnTo>
                  <a:pt x="802" y="243"/>
                </a:lnTo>
                <a:lnTo>
                  <a:pt x="802" y="243"/>
                </a:lnTo>
                <a:lnTo>
                  <a:pt x="804" y="243"/>
                </a:lnTo>
                <a:lnTo>
                  <a:pt x="804" y="243"/>
                </a:lnTo>
                <a:lnTo>
                  <a:pt x="807" y="241"/>
                </a:lnTo>
                <a:lnTo>
                  <a:pt x="807" y="241"/>
                </a:lnTo>
                <a:lnTo>
                  <a:pt x="809" y="243"/>
                </a:lnTo>
                <a:lnTo>
                  <a:pt x="809" y="243"/>
                </a:lnTo>
                <a:lnTo>
                  <a:pt x="814" y="239"/>
                </a:lnTo>
                <a:lnTo>
                  <a:pt x="814" y="239"/>
                </a:lnTo>
                <a:lnTo>
                  <a:pt x="817" y="239"/>
                </a:lnTo>
                <a:lnTo>
                  <a:pt x="817" y="239"/>
                </a:lnTo>
                <a:lnTo>
                  <a:pt x="819" y="239"/>
                </a:lnTo>
                <a:lnTo>
                  <a:pt x="819" y="239"/>
                </a:lnTo>
                <a:lnTo>
                  <a:pt x="819" y="239"/>
                </a:lnTo>
                <a:lnTo>
                  <a:pt x="814" y="236"/>
                </a:lnTo>
                <a:lnTo>
                  <a:pt x="814" y="236"/>
                </a:lnTo>
                <a:lnTo>
                  <a:pt x="809" y="239"/>
                </a:lnTo>
                <a:lnTo>
                  <a:pt x="807" y="239"/>
                </a:lnTo>
                <a:lnTo>
                  <a:pt x="804" y="239"/>
                </a:lnTo>
                <a:lnTo>
                  <a:pt x="804" y="239"/>
                </a:lnTo>
                <a:lnTo>
                  <a:pt x="802" y="239"/>
                </a:lnTo>
                <a:lnTo>
                  <a:pt x="802" y="239"/>
                </a:lnTo>
                <a:lnTo>
                  <a:pt x="799" y="241"/>
                </a:lnTo>
                <a:lnTo>
                  <a:pt x="799" y="241"/>
                </a:lnTo>
                <a:close/>
                <a:moveTo>
                  <a:pt x="777" y="248"/>
                </a:moveTo>
                <a:lnTo>
                  <a:pt x="777" y="248"/>
                </a:lnTo>
                <a:lnTo>
                  <a:pt x="775" y="246"/>
                </a:lnTo>
                <a:lnTo>
                  <a:pt x="775" y="246"/>
                </a:lnTo>
                <a:lnTo>
                  <a:pt x="770" y="246"/>
                </a:lnTo>
                <a:lnTo>
                  <a:pt x="770" y="246"/>
                </a:lnTo>
                <a:lnTo>
                  <a:pt x="767" y="246"/>
                </a:lnTo>
                <a:lnTo>
                  <a:pt x="767" y="246"/>
                </a:lnTo>
                <a:lnTo>
                  <a:pt x="767" y="241"/>
                </a:lnTo>
                <a:lnTo>
                  <a:pt x="767" y="241"/>
                </a:lnTo>
                <a:lnTo>
                  <a:pt x="770" y="239"/>
                </a:lnTo>
                <a:lnTo>
                  <a:pt x="770" y="239"/>
                </a:lnTo>
                <a:lnTo>
                  <a:pt x="770" y="236"/>
                </a:lnTo>
                <a:lnTo>
                  <a:pt x="770" y="236"/>
                </a:lnTo>
                <a:lnTo>
                  <a:pt x="770" y="236"/>
                </a:lnTo>
                <a:lnTo>
                  <a:pt x="770" y="234"/>
                </a:lnTo>
                <a:lnTo>
                  <a:pt x="770" y="234"/>
                </a:lnTo>
                <a:lnTo>
                  <a:pt x="772" y="231"/>
                </a:lnTo>
                <a:lnTo>
                  <a:pt x="772" y="231"/>
                </a:lnTo>
                <a:lnTo>
                  <a:pt x="775" y="231"/>
                </a:lnTo>
                <a:lnTo>
                  <a:pt x="775" y="231"/>
                </a:lnTo>
                <a:lnTo>
                  <a:pt x="777" y="231"/>
                </a:lnTo>
                <a:lnTo>
                  <a:pt x="777" y="231"/>
                </a:lnTo>
                <a:lnTo>
                  <a:pt x="777" y="234"/>
                </a:lnTo>
                <a:lnTo>
                  <a:pt x="777" y="234"/>
                </a:lnTo>
                <a:lnTo>
                  <a:pt x="777" y="234"/>
                </a:lnTo>
                <a:lnTo>
                  <a:pt x="777" y="236"/>
                </a:lnTo>
                <a:lnTo>
                  <a:pt x="777" y="236"/>
                </a:lnTo>
                <a:lnTo>
                  <a:pt x="775" y="236"/>
                </a:lnTo>
                <a:lnTo>
                  <a:pt x="775" y="236"/>
                </a:lnTo>
                <a:lnTo>
                  <a:pt x="777" y="236"/>
                </a:lnTo>
                <a:lnTo>
                  <a:pt x="777" y="236"/>
                </a:lnTo>
                <a:lnTo>
                  <a:pt x="780" y="236"/>
                </a:lnTo>
                <a:lnTo>
                  <a:pt x="780" y="236"/>
                </a:lnTo>
                <a:lnTo>
                  <a:pt x="780" y="239"/>
                </a:lnTo>
                <a:lnTo>
                  <a:pt x="780" y="239"/>
                </a:lnTo>
                <a:lnTo>
                  <a:pt x="780" y="241"/>
                </a:lnTo>
                <a:lnTo>
                  <a:pt x="780" y="241"/>
                </a:lnTo>
                <a:lnTo>
                  <a:pt x="780" y="243"/>
                </a:lnTo>
                <a:lnTo>
                  <a:pt x="780" y="243"/>
                </a:lnTo>
                <a:lnTo>
                  <a:pt x="780" y="246"/>
                </a:lnTo>
                <a:lnTo>
                  <a:pt x="780" y="246"/>
                </a:lnTo>
                <a:lnTo>
                  <a:pt x="780" y="248"/>
                </a:lnTo>
                <a:lnTo>
                  <a:pt x="780" y="248"/>
                </a:lnTo>
                <a:lnTo>
                  <a:pt x="777" y="248"/>
                </a:lnTo>
                <a:lnTo>
                  <a:pt x="777" y="248"/>
                </a:lnTo>
                <a:close/>
                <a:moveTo>
                  <a:pt x="772" y="261"/>
                </a:moveTo>
                <a:lnTo>
                  <a:pt x="772" y="261"/>
                </a:lnTo>
                <a:lnTo>
                  <a:pt x="780" y="261"/>
                </a:lnTo>
                <a:lnTo>
                  <a:pt x="780" y="261"/>
                </a:lnTo>
                <a:lnTo>
                  <a:pt x="780" y="258"/>
                </a:lnTo>
                <a:lnTo>
                  <a:pt x="780" y="258"/>
                </a:lnTo>
                <a:lnTo>
                  <a:pt x="782" y="253"/>
                </a:lnTo>
                <a:lnTo>
                  <a:pt x="782" y="253"/>
                </a:lnTo>
                <a:lnTo>
                  <a:pt x="780" y="251"/>
                </a:lnTo>
                <a:lnTo>
                  <a:pt x="780" y="251"/>
                </a:lnTo>
                <a:lnTo>
                  <a:pt x="777" y="253"/>
                </a:lnTo>
                <a:lnTo>
                  <a:pt x="777" y="253"/>
                </a:lnTo>
                <a:lnTo>
                  <a:pt x="775" y="251"/>
                </a:lnTo>
                <a:lnTo>
                  <a:pt x="775" y="251"/>
                </a:lnTo>
                <a:lnTo>
                  <a:pt x="770" y="251"/>
                </a:lnTo>
                <a:lnTo>
                  <a:pt x="770" y="251"/>
                </a:lnTo>
                <a:lnTo>
                  <a:pt x="767" y="251"/>
                </a:lnTo>
                <a:lnTo>
                  <a:pt x="767" y="251"/>
                </a:lnTo>
                <a:lnTo>
                  <a:pt x="765" y="251"/>
                </a:lnTo>
                <a:lnTo>
                  <a:pt x="765" y="251"/>
                </a:lnTo>
                <a:lnTo>
                  <a:pt x="765" y="251"/>
                </a:lnTo>
                <a:lnTo>
                  <a:pt x="763" y="253"/>
                </a:lnTo>
                <a:lnTo>
                  <a:pt x="763" y="253"/>
                </a:lnTo>
                <a:lnTo>
                  <a:pt x="763" y="253"/>
                </a:lnTo>
                <a:lnTo>
                  <a:pt x="763" y="256"/>
                </a:lnTo>
                <a:lnTo>
                  <a:pt x="763" y="256"/>
                </a:lnTo>
                <a:lnTo>
                  <a:pt x="763" y="256"/>
                </a:lnTo>
                <a:lnTo>
                  <a:pt x="765" y="258"/>
                </a:lnTo>
                <a:lnTo>
                  <a:pt x="765" y="258"/>
                </a:lnTo>
                <a:lnTo>
                  <a:pt x="767" y="258"/>
                </a:lnTo>
                <a:lnTo>
                  <a:pt x="767" y="258"/>
                </a:lnTo>
                <a:lnTo>
                  <a:pt x="770" y="261"/>
                </a:lnTo>
                <a:lnTo>
                  <a:pt x="770" y="261"/>
                </a:lnTo>
                <a:lnTo>
                  <a:pt x="772" y="261"/>
                </a:lnTo>
                <a:lnTo>
                  <a:pt x="772" y="261"/>
                </a:lnTo>
                <a:close/>
                <a:moveTo>
                  <a:pt x="763" y="266"/>
                </a:moveTo>
                <a:lnTo>
                  <a:pt x="763" y="266"/>
                </a:lnTo>
                <a:lnTo>
                  <a:pt x="767" y="266"/>
                </a:lnTo>
                <a:lnTo>
                  <a:pt x="767" y="266"/>
                </a:lnTo>
                <a:lnTo>
                  <a:pt x="772" y="266"/>
                </a:lnTo>
                <a:lnTo>
                  <a:pt x="772" y="266"/>
                </a:lnTo>
                <a:lnTo>
                  <a:pt x="775" y="266"/>
                </a:lnTo>
                <a:lnTo>
                  <a:pt x="775" y="266"/>
                </a:lnTo>
                <a:lnTo>
                  <a:pt x="775" y="266"/>
                </a:lnTo>
                <a:lnTo>
                  <a:pt x="777" y="266"/>
                </a:lnTo>
                <a:lnTo>
                  <a:pt x="777" y="266"/>
                </a:lnTo>
                <a:lnTo>
                  <a:pt x="780" y="266"/>
                </a:lnTo>
                <a:lnTo>
                  <a:pt x="780" y="266"/>
                </a:lnTo>
                <a:lnTo>
                  <a:pt x="780" y="263"/>
                </a:lnTo>
                <a:lnTo>
                  <a:pt x="780" y="263"/>
                </a:lnTo>
                <a:lnTo>
                  <a:pt x="777" y="263"/>
                </a:lnTo>
                <a:lnTo>
                  <a:pt x="777" y="263"/>
                </a:lnTo>
                <a:lnTo>
                  <a:pt x="770" y="263"/>
                </a:lnTo>
                <a:lnTo>
                  <a:pt x="770" y="263"/>
                </a:lnTo>
                <a:lnTo>
                  <a:pt x="767" y="263"/>
                </a:lnTo>
                <a:lnTo>
                  <a:pt x="767" y="263"/>
                </a:lnTo>
                <a:lnTo>
                  <a:pt x="767" y="263"/>
                </a:lnTo>
                <a:lnTo>
                  <a:pt x="763" y="263"/>
                </a:lnTo>
                <a:lnTo>
                  <a:pt x="763" y="263"/>
                </a:lnTo>
                <a:lnTo>
                  <a:pt x="760" y="263"/>
                </a:lnTo>
                <a:lnTo>
                  <a:pt x="760" y="263"/>
                </a:lnTo>
                <a:lnTo>
                  <a:pt x="763" y="266"/>
                </a:lnTo>
                <a:lnTo>
                  <a:pt x="763" y="266"/>
                </a:lnTo>
                <a:close/>
                <a:moveTo>
                  <a:pt x="760" y="273"/>
                </a:moveTo>
                <a:lnTo>
                  <a:pt x="760" y="273"/>
                </a:lnTo>
                <a:lnTo>
                  <a:pt x="763" y="271"/>
                </a:lnTo>
                <a:lnTo>
                  <a:pt x="763" y="271"/>
                </a:lnTo>
                <a:lnTo>
                  <a:pt x="765" y="271"/>
                </a:lnTo>
                <a:lnTo>
                  <a:pt x="765" y="271"/>
                </a:lnTo>
                <a:lnTo>
                  <a:pt x="767" y="268"/>
                </a:lnTo>
                <a:lnTo>
                  <a:pt x="767" y="268"/>
                </a:lnTo>
                <a:lnTo>
                  <a:pt x="775" y="268"/>
                </a:lnTo>
                <a:lnTo>
                  <a:pt x="775" y="268"/>
                </a:lnTo>
                <a:lnTo>
                  <a:pt x="777" y="268"/>
                </a:lnTo>
                <a:lnTo>
                  <a:pt x="777" y="268"/>
                </a:lnTo>
                <a:lnTo>
                  <a:pt x="777" y="268"/>
                </a:lnTo>
                <a:lnTo>
                  <a:pt x="780" y="268"/>
                </a:lnTo>
                <a:lnTo>
                  <a:pt x="780" y="268"/>
                </a:lnTo>
                <a:lnTo>
                  <a:pt x="780" y="268"/>
                </a:lnTo>
                <a:lnTo>
                  <a:pt x="777" y="271"/>
                </a:lnTo>
                <a:lnTo>
                  <a:pt x="777" y="271"/>
                </a:lnTo>
                <a:lnTo>
                  <a:pt x="775" y="271"/>
                </a:lnTo>
                <a:lnTo>
                  <a:pt x="775" y="271"/>
                </a:lnTo>
                <a:lnTo>
                  <a:pt x="772" y="271"/>
                </a:lnTo>
                <a:lnTo>
                  <a:pt x="772" y="271"/>
                </a:lnTo>
                <a:lnTo>
                  <a:pt x="772" y="273"/>
                </a:lnTo>
                <a:lnTo>
                  <a:pt x="772" y="273"/>
                </a:lnTo>
                <a:lnTo>
                  <a:pt x="767" y="275"/>
                </a:lnTo>
                <a:lnTo>
                  <a:pt x="767" y="275"/>
                </a:lnTo>
                <a:lnTo>
                  <a:pt x="765" y="273"/>
                </a:lnTo>
                <a:lnTo>
                  <a:pt x="765" y="273"/>
                </a:lnTo>
                <a:lnTo>
                  <a:pt x="763" y="273"/>
                </a:lnTo>
                <a:lnTo>
                  <a:pt x="763" y="273"/>
                </a:lnTo>
                <a:lnTo>
                  <a:pt x="760" y="275"/>
                </a:lnTo>
                <a:lnTo>
                  <a:pt x="760" y="275"/>
                </a:lnTo>
                <a:lnTo>
                  <a:pt x="760" y="273"/>
                </a:lnTo>
                <a:lnTo>
                  <a:pt x="760" y="273"/>
                </a:lnTo>
                <a:lnTo>
                  <a:pt x="760" y="273"/>
                </a:lnTo>
                <a:close/>
                <a:moveTo>
                  <a:pt x="689" y="180"/>
                </a:moveTo>
                <a:lnTo>
                  <a:pt x="689" y="180"/>
                </a:lnTo>
                <a:lnTo>
                  <a:pt x="686" y="180"/>
                </a:lnTo>
                <a:lnTo>
                  <a:pt x="686" y="180"/>
                </a:lnTo>
                <a:lnTo>
                  <a:pt x="686" y="177"/>
                </a:lnTo>
                <a:lnTo>
                  <a:pt x="686" y="177"/>
                </a:lnTo>
                <a:lnTo>
                  <a:pt x="691" y="177"/>
                </a:lnTo>
                <a:lnTo>
                  <a:pt x="691" y="177"/>
                </a:lnTo>
                <a:lnTo>
                  <a:pt x="689" y="180"/>
                </a:lnTo>
                <a:lnTo>
                  <a:pt x="689" y="180"/>
                </a:lnTo>
                <a:lnTo>
                  <a:pt x="689" y="180"/>
                </a:lnTo>
                <a:close/>
                <a:moveTo>
                  <a:pt x="667" y="189"/>
                </a:moveTo>
                <a:lnTo>
                  <a:pt x="667" y="189"/>
                </a:lnTo>
                <a:lnTo>
                  <a:pt x="669" y="187"/>
                </a:lnTo>
                <a:lnTo>
                  <a:pt x="669" y="187"/>
                </a:lnTo>
                <a:lnTo>
                  <a:pt x="672" y="187"/>
                </a:lnTo>
                <a:lnTo>
                  <a:pt x="672" y="187"/>
                </a:lnTo>
                <a:lnTo>
                  <a:pt x="676" y="189"/>
                </a:lnTo>
                <a:lnTo>
                  <a:pt x="676" y="189"/>
                </a:lnTo>
                <a:lnTo>
                  <a:pt x="679" y="189"/>
                </a:lnTo>
                <a:lnTo>
                  <a:pt x="679" y="189"/>
                </a:lnTo>
                <a:lnTo>
                  <a:pt x="679" y="189"/>
                </a:lnTo>
                <a:lnTo>
                  <a:pt x="681" y="192"/>
                </a:lnTo>
                <a:lnTo>
                  <a:pt x="681" y="192"/>
                </a:lnTo>
                <a:lnTo>
                  <a:pt x="681" y="192"/>
                </a:lnTo>
                <a:lnTo>
                  <a:pt x="679" y="194"/>
                </a:lnTo>
                <a:lnTo>
                  <a:pt x="679" y="194"/>
                </a:lnTo>
                <a:lnTo>
                  <a:pt x="676" y="197"/>
                </a:lnTo>
                <a:lnTo>
                  <a:pt x="676" y="197"/>
                </a:lnTo>
                <a:lnTo>
                  <a:pt x="674" y="197"/>
                </a:lnTo>
                <a:lnTo>
                  <a:pt x="674" y="197"/>
                </a:lnTo>
                <a:lnTo>
                  <a:pt x="672" y="194"/>
                </a:lnTo>
                <a:lnTo>
                  <a:pt x="672" y="194"/>
                </a:lnTo>
                <a:lnTo>
                  <a:pt x="672" y="192"/>
                </a:lnTo>
                <a:lnTo>
                  <a:pt x="672" y="192"/>
                </a:lnTo>
                <a:lnTo>
                  <a:pt x="669" y="189"/>
                </a:lnTo>
                <a:lnTo>
                  <a:pt x="669" y="189"/>
                </a:lnTo>
                <a:lnTo>
                  <a:pt x="667" y="189"/>
                </a:lnTo>
                <a:lnTo>
                  <a:pt x="667" y="189"/>
                </a:lnTo>
                <a:lnTo>
                  <a:pt x="667" y="189"/>
                </a:lnTo>
                <a:close/>
                <a:moveTo>
                  <a:pt x="558" y="194"/>
                </a:moveTo>
                <a:lnTo>
                  <a:pt x="558" y="194"/>
                </a:lnTo>
                <a:lnTo>
                  <a:pt x="556" y="194"/>
                </a:lnTo>
                <a:lnTo>
                  <a:pt x="556" y="194"/>
                </a:lnTo>
                <a:lnTo>
                  <a:pt x="556" y="192"/>
                </a:lnTo>
                <a:lnTo>
                  <a:pt x="556" y="192"/>
                </a:lnTo>
                <a:lnTo>
                  <a:pt x="556" y="192"/>
                </a:lnTo>
                <a:lnTo>
                  <a:pt x="558" y="192"/>
                </a:lnTo>
                <a:lnTo>
                  <a:pt x="558" y="192"/>
                </a:lnTo>
                <a:lnTo>
                  <a:pt x="561" y="194"/>
                </a:lnTo>
                <a:lnTo>
                  <a:pt x="561" y="194"/>
                </a:lnTo>
                <a:lnTo>
                  <a:pt x="558" y="194"/>
                </a:lnTo>
                <a:lnTo>
                  <a:pt x="558" y="194"/>
                </a:lnTo>
                <a:close/>
                <a:moveTo>
                  <a:pt x="571" y="209"/>
                </a:moveTo>
                <a:lnTo>
                  <a:pt x="571" y="209"/>
                </a:lnTo>
                <a:lnTo>
                  <a:pt x="573" y="207"/>
                </a:lnTo>
                <a:lnTo>
                  <a:pt x="573" y="207"/>
                </a:lnTo>
                <a:lnTo>
                  <a:pt x="573" y="209"/>
                </a:lnTo>
                <a:lnTo>
                  <a:pt x="573" y="209"/>
                </a:lnTo>
                <a:lnTo>
                  <a:pt x="571" y="212"/>
                </a:lnTo>
                <a:lnTo>
                  <a:pt x="571" y="209"/>
                </a:lnTo>
                <a:lnTo>
                  <a:pt x="571" y="209"/>
                </a:lnTo>
                <a:close/>
                <a:moveTo>
                  <a:pt x="576" y="204"/>
                </a:moveTo>
                <a:lnTo>
                  <a:pt x="576" y="204"/>
                </a:lnTo>
                <a:lnTo>
                  <a:pt x="578" y="204"/>
                </a:lnTo>
                <a:lnTo>
                  <a:pt x="578" y="204"/>
                </a:lnTo>
                <a:lnTo>
                  <a:pt x="578" y="202"/>
                </a:lnTo>
                <a:lnTo>
                  <a:pt x="578" y="202"/>
                </a:lnTo>
                <a:lnTo>
                  <a:pt x="578" y="202"/>
                </a:lnTo>
                <a:lnTo>
                  <a:pt x="578" y="197"/>
                </a:lnTo>
                <a:lnTo>
                  <a:pt x="578" y="197"/>
                </a:lnTo>
                <a:lnTo>
                  <a:pt x="580" y="197"/>
                </a:lnTo>
                <a:lnTo>
                  <a:pt x="580" y="197"/>
                </a:lnTo>
                <a:lnTo>
                  <a:pt x="585" y="194"/>
                </a:lnTo>
                <a:lnTo>
                  <a:pt x="585" y="194"/>
                </a:lnTo>
                <a:lnTo>
                  <a:pt x="585" y="194"/>
                </a:lnTo>
                <a:lnTo>
                  <a:pt x="585" y="197"/>
                </a:lnTo>
                <a:lnTo>
                  <a:pt x="585" y="197"/>
                </a:lnTo>
                <a:lnTo>
                  <a:pt x="583" y="199"/>
                </a:lnTo>
                <a:lnTo>
                  <a:pt x="583" y="199"/>
                </a:lnTo>
                <a:lnTo>
                  <a:pt x="580" y="204"/>
                </a:lnTo>
                <a:lnTo>
                  <a:pt x="580" y="204"/>
                </a:lnTo>
                <a:lnTo>
                  <a:pt x="583" y="204"/>
                </a:lnTo>
                <a:lnTo>
                  <a:pt x="583" y="204"/>
                </a:lnTo>
                <a:lnTo>
                  <a:pt x="580" y="207"/>
                </a:lnTo>
                <a:lnTo>
                  <a:pt x="580" y="207"/>
                </a:lnTo>
                <a:lnTo>
                  <a:pt x="580" y="209"/>
                </a:lnTo>
                <a:lnTo>
                  <a:pt x="580" y="209"/>
                </a:lnTo>
                <a:lnTo>
                  <a:pt x="580" y="212"/>
                </a:lnTo>
                <a:lnTo>
                  <a:pt x="580" y="212"/>
                </a:lnTo>
                <a:lnTo>
                  <a:pt x="583" y="209"/>
                </a:lnTo>
                <a:lnTo>
                  <a:pt x="583" y="209"/>
                </a:lnTo>
                <a:lnTo>
                  <a:pt x="585" y="209"/>
                </a:lnTo>
                <a:lnTo>
                  <a:pt x="585" y="209"/>
                </a:lnTo>
                <a:lnTo>
                  <a:pt x="585" y="212"/>
                </a:lnTo>
                <a:lnTo>
                  <a:pt x="585" y="212"/>
                </a:lnTo>
                <a:lnTo>
                  <a:pt x="585" y="212"/>
                </a:lnTo>
                <a:lnTo>
                  <a:pt x="590" y="209"/>
                </a:lnTo>
                <a:lnTo>
                  <a:pt x="590" y="209"/>
                </a:lnTo>
                <a:lnTo>
                  <a:pt x="593" y="207"/>
                </a:lnTo>
                <a:lnTo>
                  <a:pt x="593" y="207"/>
                </a:lnTo>
                <a:lnTo>
                  <a:pt x="595" y="207"/>
                </a:lnTo>
                <a:lnTo>
                  <a:pt x="595" y="207"/>
                </a:lnTo>
                <a:lnTo>
                  <a:pt x="595" y="204"/>
                </a:lnTo>
                <a:lnTo>
                  <a:pt x="595" y="204"/>
                </a:lnTo>
                <a:lnTo>
                  <a:pt x="595" y="202"/>
                </a:lnTo>
                <a:lnTo>
                  <a:pt x="595" y="202"/>
                </a:lnTo>
                <a:lnTo>
                  <a:pt x="598" y="202"/>
                </a:lnTo>
                <a:lnTo>
                  <a:pt x="598" y="202"/>
                </a:lnTo>
                <a:lnTo>
                  <a:pt x="600" y="199"/>
                </a:lnTo>
                <a:lnTo>
                  <a:pt x="600" y="199"/>
                </a:lnTo>
                <a:lnTo>
                  <a:pt x="600" y="194"/>
                </a:lnTo>
                <a:lnTo>
                  <a:pt x="600" y="194"/>
                </a:lnTo>
                <a:lnTo>
                  <a:pt x="603" y="194"/>
                </a:lnTo>
                <a:lnTo>
                  <a:pt x="603" y="194"/>
                </a:lnTo>
                <a:lnTo>
                  <a:pt x="603" y="194"/>
                </a:lnTo>
                <a:lnTo>
                  <a:pt x="603" y="197"/>
                </a:lnTo>
                <a:lnTo>
                  <a:pt x="603" y="197"/>
                </a:lnTo>
                <a:lnTo>
                  <a:pt x="603" y="199"/>
                </a:lnTo>
                <a:lnTo>
                  <a:pt x="603" y="199"/>
                </a:lnTo>
                <a:lnTo>
                  <a:pt x="603" y="202"/>
                </a:lnTo>
                <a:lnTo>
                  <a:pt x="603" y="202"/>
                </a:lnTo>
                <a:lnTo>
                  <a:pt x="603" y="207"/>
                </a:lnTo>
                <a:lnTo>
                  <a:pt x="603" y="207"/>
                </a:lnTo>
                <a:lnTo>
                  <a:pt x="605" y="207"/>
                </a:lnTo>
                <a:lnTo>
                  <a:pt x="605" y="207"/>
                </a:lnTo>
                <a:lnTo>
                  <a:pt x="608" y="202"/>
                </a:lnTo>
                <a:lnTo>
                  <a:pt x="608" y="202"/>
                </a:lnTo>
                <a:lnTo>
                  <a:pt x="608" y="199"/>
                </a:lnTo>
                <a:lnTo>
                  <a:pt x="608" y="199"/>
                </a:lnTo>
                <a:lnTo>
                  <a:pt x="608" y="197"/>
                </a:lnTo>
                <a:lnTo>
                  <a:pt x="608" y="197"/>
                </a:lnTo>
                <a:lnTo>
                  <a:pt x="610" y="197"/>
                </a:lnTo>
                <a:lnTo>
                  <a:pt x="610" y="197"/>
                </a:lnTo>
                <a:lnTo>
                  <a:pt x="612" y="192"/>
                </a:lnTo>
                <a:lnTo>
                  <a:pt x="612" y="192"/>
                </a:lnTo>
                <a:lnTo>
                  <a:pt x="615" y="189"/>
                </a:lnTo>
                <a:lnTo>
                  <a:pt x="615" y="189"/>
                </a:lnTo>
                <a:lnTo>
                  <a:pt x="612" y="187"/>
                </a:lnTo>
                <a:lnTo>
                  <a:pt x="612" y="187"/>
                </a:lnTo>
                <a:lnTo>
                  <a:pt x="615" y="184"/>
                </a:lnTo>
                <a:lnTo>
                  <a:pt x="615" y="184"/>
                </a:lnTo>
                <a:lnTo>
                  <a:pt x="617" y="187"/>
                </a:lnTo>
                <a:lnTo>
                  <a:pt x="617" y="187"/>
                </a:lnTo>
                <a:lnTo>
                  <a:pt x="622" y="184"/>
                </a:lnTo>
                <a:lnTo>
                  <a:pt x="622" y="184"/>
                </a:lnTo>
                <a:lnTo>
                  <a:pt x="625" y="180"/>
                </a:lnTo>
                <a:lnTo>
                  <a:pt x="625" y="180"/>
                </a:lnTo>
                <a:lnTo>
                  <a:pt x="625" y="177"/>
                </a:lnTo>
                <a:lnTo>
                  <a:pt x="625" y="177"/>
                </a:lnTo>
                <a:lnTo>
                  <a:pt x="627" y="177"/>
                </a:lnTo>
                <a:lnTo>
                  <a:pt x="627" y="177"/>
                </a:lnTo>
                <a:lnTo>
                  <a:pt x="627" y="175"/>
                </a:lnTo>
                <a:lnTo>
                  <a:pt x="627" y="175"/>
                </a:lnTo>
                <a:lnTo>
                  <a:pt x="630" y="177"/>
                </a:lnTo>
                <a:lnTo>
                  <a:pt x="630" y="177"/>
                </a:lnTo>
                <a:lnTo>
                  <a:pt x="632" y="175"/>
                </a:lnTo>
                <a:lnTo>
                  <a:pt x="632" y="175"/>
                </a:lnTo>
                <a:lnTo>
                  <a:pt x="635" y="175"/>
                </a:lnTo>
                <a:lnTo>
                  <a:pt x="635" y="175"/>
                </a:lnTo>
                <a:lnTo>
                  <a:pt x="632" y="180"/>
                </a:lnTo>
                <a:lnTo>
                  <a:pt x="632" y="180"/>
                </a:lnTo>
                <a:lnTo>
                  <a:pt x="630" y="184"/>
                </a:lnTo>
                <a:lnTo>
                  <a:pt x="630" y="184"/>
                </a:lnTo>
                <a:lnTo>
                  <a:pt x="627" y="187"/>
                </a:lnTo>
                <a:lnTo>
                  <a:pt x="627" y="187"/>
                </a:lnTo>
                <a:lnTo>
                  <a:pt x="627" y="189"/>
                </a:lnTo>
                <a:lnTo>
                  <a:pt x="627" y="189"/>
                </a:lnTo>
                <a:lnTo>
                  <a:pt x="627" y="192"/>
                </a:lnTo>
                <a:lnTo>
                  <a:pt x="627" y="192"/>
                </a:lnTo>
                <a:lnTo>
                  <a:pt x="625" y="192"/>
                </a:lnTo>
                <a:lnTo>
                  <a:pt x="625" y="192"/>
                </a:lnTo>
                <a:lnTo>
                  <a:pt x="620" y="199"/>
                </a:lnTo>
                <a:lnTo>
                  <a:pt x="620" y="199"/>
                </a:lnTo>
                <a:lnTo>
                  <a:pt x="620" y="202"/>
                </a:lnTo>
                <a:lnTo>
                  <a:pt x="620" y="202"/>
                </a:lnTo>
                <a:lnTo>
                  <a:pt x="620" y="204"/>
                </a:lnTo>
                <a:lnTo>
                  <a:pt x="620" y="204"/>
                </a:lnTo>
                <a:lnTo>
                  <a:pt x="620" y="207"/>
                </a:lnTo>
                <a:lnTo>
                  <a:pt x="620" y="207"/>
                </a:lnTo>
                <a:lnTo>
                  <a:pt x="622" y="207"/>
                </a:lnTo>
                <a:lnTo>
                  <a:pt x="622" y="207"/>
                </a:lnTo>
                <a:lnTo>
                  <a:pt x="625" y="207"/>
                </a:lnTo>
                <a:lnTo>
                  <a:pt x="625" y="207"/>
                </a:lnTo>
                <a:lnTo>
                  <a:pt x="627" y="207"/>
                </a:lnTo>
                <a:lnTo>
                  <a:pt x="627" y="207"/>
                </a:lnTo>
                <a:lnTo>
                  <a:pt x="630" y="204"/>
                </a:lnTo>
                <a:lnTo>
                  <a:pt x="630" y="204"/>
                </a:lnTo>
                <a:lnTo>
                  <a:pt x="632" y="202"/>
                </a:lnTo>
                <a:lnTo>
                  <a:pt x="632" y="202"/>
                </a:lnTo>
                <a:lnTo>
                  <a:pt x="630" y="199"/>
                </a:lnTo>
                <a:lnTo>
                  <a:pt x="630" y="199"/>
                </a:lnTo>
                <a:lnTo>
                  <a:pt x="632" y="197"/>
                </a:lnTo>
                <a:lnTo>
                  <a:pt x="632" y="197"/>
                </a:lnTo>
                <a:lnTo>
                  <a:pt x="635" y="194"/>
                </a:lnTo>
                <a:lnTo>
                  <a:pt x="635" y="194"/>
                </a:lnTo>
                <a:lnTo>
                  <a:pt x="637" y="194"/>
                </a:lnTo>
                <a:lnTo>
                  <a:pt x="637" y="194"/>
                </a:lnTo>
                <a:lnTo>
                  <a:pt x="640" y="194"/>
                </a:lnTo>
                <a:lnTo>
                  <a:pt x="640" y="194"/>
                </a:lnTo>
                <a:lnTo>
                  <a:pt x="640" y="194"/>
                </a:lnTo>
                <a:lnTo>
                  <a:pt x="642" y="194"/>
                </a:lnTo>
                <a:lnTo>
                  <a:pt x="642" y="194"/>
                </a:lnTo>
                <a:lnTo>
                  <a:pt x="644" y="194"/>
                </a:lnTo>
                <a:lnTo>
                  <a:pt x="644" y="194"/>
                </a:lnTo>
                <a:lnTo>
                  <a:pt x="649" y="194"/>
                </a:lnTo>
                <a:lnTo>
                  <a:pt x="649" y="194"/>
                </a:lnTo>
                <a:lnTo>
                  <a:pt x="652" y="189"/>
                </a:lnTo>
                <a:lnTo>
                  <a:pt x="652" y="189"/>
                </a:lnTo>
                <a:lnTo>
                  <a:pt x="652" y="184"/>
                </a:lnTo>
                <a:lnTo>
                  <a:pt x="652" y="184"/>
                </a:lnTo>
                <a:lnTo>
                  <a:pt x="654" y="180"/>
                </a:lnTo>
                <a:lnTo>
                  <a:pt x="654" y="180"/>
                </a:lnTo>
                <a:lnTo>
                  <a:pt x="657" y="177"/>
                </a:lnTo>
                <a:lnTo>
                  <a:pt x="657" y="177"/>
                </a:lnTo>
                <a:lnTo>
                  <a:pt x="657" y="177"/>
                </a:lnTo>
                <a:lnTo>
                  <a:pt x="659" y="180"/>
                </a:lnTo>
                <a:lnTo>
                  <a:pt x="659" y="180"/>
                </a:lnTo>
                <a:lnTo>
                  <a:pt x="662" y="180"/>
                </a:lnTo>
                <a:lnTo>
                  <a:pt x="662" y="180"/>
                </a:lnTo>
                <a:lnTo>
                  <a:pt x="662" y="180"/>
                </a:lnTo>
                <a:lnTo>
                  <a:pt x="662" y="177"/>
                </a:lnTo>
                <a:lnTo>
                  <a:pt x="662" y="177"/>
                </a:lnTo>
                <a:lnTo>
                  <a:pt x="659" y="172"/>
                </a:lnTo>
                <a:lnTo>
                  <a:pt x="659" y="172"/>
                </a:lnTo>
                <a:lnTo>
                  <a:pt x="659" y="170"/>
                </a:lnTo>
                <a:lnTo>
                  <a:pt x="659" y="170"/>
                </a:lnTo>
                <a:lnTo>
                  <a:pt x="662" y="167"/>
                </a:lnTo>
                <a:lnTo>
                  <a:pt x="662" y="167"/>
                </a:lnTo>
                <a:lnTo>
                  <a:pt x="667" y="167"/>
                </a:lnTo>
                <a:lnTo>
                  <a:pt x="667" y="167"/>
                </a:lnTo>
                <a:lnTo>
                  <a:pt x="669" y="165"/>
                </a:lnTo>
                <a:lnTo>
                  <a:pt x="669" y="165"/>
                </a:lnTo>
                <a:lnTo>
                  <a:pt x="672" y="167"/>
                </a:lnTo>
                <a:lnTo>
                  <a:pt x="672" y="167"/>
                </a:lnTo>
                <a:lnTo>
                  <a:pt x="672" y="167"/>
                </a:lnTo>
                <a:lnTo>
                  <a:pt x="674" y="162"/>
                </a:lnTo>
                <a:lnTo>
                  <a:pt x="674" y="162"/>
                </a:lnTo>
                <a:lnTo>
                  <a:pt x="674" y="160"/>
                </a:lnTo>
                <a:lnTo>
                  <a:pt x="674" y="160"/>
                </a:lnTo>
                <a:lnTo>
                  <a:pt x="674" y="155"/>
                </a:lnTo>
                <a:lnTo>
                  <a:pt x="674" y="155"/>
                </a:lnTo>
                <a:lnTo>
                  <a:pt x="674" y="152"/>
                </a:lnTo>
                <a:lnTo>
                  <a:pt x="674" y="152"/>
                </a:lnTo>
                <a:lnTo>
                  <a:pt x="674" y="152"/>
                </a:lnTo>
                <a:lnTo>
                  <a:pt x="674" y="148"/>
                </a:lnTo>
                <a:lnTo>
                  <a:pt x="674" y="148"/>
                </a:lnTo>
                <a:lnTo>
                  <a:pt x="672" y="148"/>
                </a:lnTo>
                <a:lnTo>
                  <a:pt x="672" y="148"/>
                </a:lnTo>
                <a:lnTo>
                  <a:pt x="669" y="148"/>
                </a:lnTo>
                <a:lnTo>
                  <a:pt x="669" y="148"/>
                </a:lnTo>
                <a:lnTo>
                  <a:pt x="667" y="150"/>
                </a:lnTo>
                <a:lnTo>
                  <a:pt x="667" y="150"/>
                </a:lnTo>
                <a:lnTo>
                  <a:pt x="667" y="155"/>
                </a:lnTo>
                <a:lnTo>
                  <a:pt x="667" y="155"/>
                </a:lnTo>
                <a:lnTo>
                  <a:pt x="667" y="155"/>
                </a:lnTo>
                <a:lnTo>
                  <a:pt x="667" y="157"/>
                </a:lnTo>
                <a:lnTo>
                  <a:pt x="667" y="157"/>
                </a:lnTo>
                <a:lnTo>
                  <a:pt x="664" y="157"/>
                </a:lnTo>
                <a:lnTo>
                  <a:pt x="664" y="157"/>
                </a:lnTo>
                <a:lnTo>
                  <a:pt x="662" y="155"/>
                </a:lnTo>
                <a:lnTo>
                  <a:pt x="662" y="155"/>
                </a:lnTo>
                <a:lnTo>
                  <a:pt x="662" y="155"/>
                </a:lnTo>
                <a:lnTo>
                  <a:pt x="662" y="157"/>
                </a:lnTo>
                <a:lnTo>
                  <a:pt x="662" y="157"/>
                </a:lnTo>
                <a:lnTo>
                  <a:pt x="659" y="160"/>
                </a:lnTo>
                <a:lnTo>
                  <a:pt x="659" y="160"/>
                </a:lnTo>
                <a:lnTo>
                  <a:pt x="659" y="157"/>
                </a:lnTo>
                <a:lnTo>
                  <a:pt x="659" y="157"/>
                </a:lnTo>
                <a:lnTo>
                  <a:pt x="659" y="152"/>
                </a:lnTo>
                <a:lnTo>
                  <a:pt x="659" y="152"/>
                </a:lnTo>
                <a:lnTo>
                  <a:pt x="654" y="150"/>
                </a:lnTo>
                <a:lnTo>
                  <a:pt x="654" y="150"/>
                </a:lnTo>
                <a:lnTo>
                  <a:pt x="654" y="150"/>
                </a:lnTo>
                <a:lnTo>
                  <a:pt x="652" y="150"/>
                </a:lnTo>
                <a:lnTo>
                  <a:pt x="652" y="150"/>
                </a:lnTo>
                <a:lnTo>
                  <a:pt x="649" y="150"/>
                </a:lnTo>
                <a:lnTo>
                  <a:pt x="649" y="150"/>
                </a:lnTo>
                <a:lnTo>
                  <a:pt x="647" y="150"/>
                </a:lnTo>
                <a:lnTo>
                  <a:pt x="647" y="150"/>
                </a:lnTo>
                <a:lnTo>
                  <a:pt x="644" y="150"/>
                </a:lnTo>
                <a:lnTo>
                  <a:pt x="644" y="150"/>
                </a:lnTo>
                <a:lnTo>
                  <a:pt x="637" y="150"/>
                </a:lnTo>
                <a:lnTo>
                  <a:pt x="637" y="150"/>
                </a:lnTo>
                <a:lnTo>
                  <a:pt x="635" y="150"/>
                </a:lnTo>
                <a:lnTo>
                  <a:pt x="635" y="150"/>
                </a:lnTo>
                <a:lnTo>
                  <a:pt x="632" y="152"/>
                </a:lnTo>
                <a:lnTo>
                  <a:pt x="632" y="152"/>
                </a:lnTo>
                <a:lnTo>
                  <a:pt x="632" y="155"/>
                </a:lnTo>
                <a:lnTo>
                  <a:pt x="632" y="155"/>
                </a:lnTo>
                <a:lnTo>
                  <a:pt x="630" y="155"/>
                </a:lnTo>
                <a:lnTo>
                  <a:pt x="630" y="155"/>
                </a:lnTo>
                <a:lnTo>
                  <a:pt x="627" y="155"/>
                </a:lnTo>
                <a:lnTo>
                  <a:pt x="627" y="155"/>
                </a:lnTo>
                <a:lnTo>
                  <a:pt x="620" y="160"/>
                </a:lnTo>
                <a:lnTo>
                  <a:pt x="620" y="160"/>
                </a:lnTo>
                <a:lnTo>
                  <a:pt x="620" y="162"/>
                </a:lnTo>
                <a:lnTo>
                  <a:pt x="620" y="162"/>
                </a:lnTo>
                <a:lnTo>
                  <a:pt x="615" y="162"/>
                </a:lnTo>
                <a:lnTo>
                  <a:pt x="615" y="162"/>
                </a:lnTo>
                <a:lnTo>
                  <a:pt x="612" y="165"/>
                </a:lnTo>
                <a:lnTo>
                  <a:pt x="612" y="165"/>
                </a:lnTo>
                <a:lnTo>
                  <a:pt x="610" y="165"/>
                </a:lnTo>
                <a:lnTo>
                  <a:pt x="610" y="165"/>
                </a:lnTo>
                <a:lnTo>
                  <a:pt x="608" y="167"/>
                </a:lnTo>
                <a:lnTo>
                  <a:pt x="608" y="167"/>
                </a:lnTo>
                <a:lnTo>
                  <a:pt x="608" y="170"/>
                </a:lnTo>
                <a:lnTo>
                  <a:pt x="608" y="170"/>
                </a:lnTo>
                <a:lnTo>
                  <a:pt x="603" y="170"/>
                </a:lnTo>
                <a:lnTo>
                  <a:pt x="603" y="170"/>
                </a:lnTo>
                <a:lnTo>
                  <a:pt x="600" y="172"/>
                </a:lnTo>
                <a:lnTo>
                  <a:pt x="600" y="172"/>
                </a:lnTo>
                <a:lnTo>
                  <a:pt x="598" y="170"/>
                </a:lnTo>
                <a:lnTo>
                  <a:pt x="598" y="170"/>
                </a:lnTo>
                <a:lnTo>
                  <a:pt x="595" y="172"/>
                </a:lnTo>
                <a:lnTo>
                  <a:pt x="595" y="172"/>
                </a:lnTo>
                <a:lnTo>
                  <a:pt x="593" y="172"/>
                </a:lnTo>
                <a:lnTo>
                  <a:pt x="593" y="172"/>
                </a:lnTo>
                <a:lnTo>
                  <a:pt x="588" y="177"/>
                </a:lnTo>
                <a:lnTo>
                  <a:pt x="588" y="177"/>
                </a:lnTo>
                <a:lnTo>
                  <a:pt x="585" y="177"/>
                </a:lnTo>
                <a:lnTo>
                  <a:pt x="585" y="177"/>
                </a:lnTo>
                <a:lnTo>
                  <a:pt x="580" y="177"/>
                </a:lnTo>
                <a:lnTo>
                  <a:pt x="580" y="177"/>
                </a:lnTo>
                <a:lnTo>
                  <a:pt x="578" y="177"/>
                </a:lnTo>
                <a:lnTo>
                  <a:pt x="578" y="177"/>
                </a:lnTo>
                <a:lnTo>
                  <a:pt x="571" y="180"/>
                </a:lnTo>
                <a:lnTo>
                  <a:pt x="571" y="180"/>
                </a:lnTo>
                <a:lnTo>
                  <a:pt x="568" y="184"/>
                </a:lnTo>
                <a:lnTo>
                  <a:pt x="568" y="184"/>
                </a:lnTo>
                <a:lnTo>
                  <a:pt x="566" y="184"/>
                </a:lnTo>
                <a:lnTo>
                  <a:pt x="566" y="184"/>
                </a:lnTo>
                <a:lnTo>
                  <a:pt x="561" y="184"/>
                </a:lnTo>
                <a:lnTo>
                  <a:pt x="561" y="184"/>
                </a:lnTo>
                <a:lnTo>
                  <a:pt x="561" y="189"/>
                </a:lnTo>
                <a:lnTo>
                  <a:pt x="561" y="189"/>
                </a:lnTo>
                <a:lnTo>
                  <a:pt x="563" y="189"/>
                </a:lnTo>
                <a:lnTo>
                  <a:pt x="563" y="189"/>
                </a:lnTo>
                <a:lnTo>
                  <a:pt x="563" y="189"/>
                </a:lnTo>
                <a:lnTo>
                  <a:pt x="561" y="189"/>
                </a:lnTo>
                <a:lnTo>
                  <a:pt x="561" y="189"/>
                </a:lnTo>
                <a:lnTo>
                  <a:pt x="561" y="192"/>
                </a:lnTo>
                <a:lnTo>
                  <a:pt x="561" y="192"/>
                </a:lnTo>
                <a:lnTo>
                  <a:pt x="563" y="194"/>
                </a:lnTo>
                <a:lnTo>
                  <a:pt x="563" y="194"/>
                </a:lnTo>
                <a:lnTo>
                  <a:pt x="563" y="194"/>
                </a:lnTo>
                <a:lnTo>
                  <a:pt x="558" y="197"/>
                </a:lnTo>
                <a:lnTo>
                  <a:pt x="558" y="197"/>
                </a:lnTo>
                <a:lnTo>
                  <a:pt x="558" y="199"/>
                </a:lnTo>
                <a:lnTo>
                  <a:pt x="558" y="199"/>
                </a:lnTo>
                <a:lnTo>
                  <a:pt x="561" y="199"/>
                </a:lnTo>
                <a:lnTo>
                  <a:pt x="561" y="199"/>
                </a:lnTo>
                <a:lnTo>
                  <a:pt x="563" y="199"/>
                </a:lnTo>
                <a:lnTo>
                  <a:pt x="563" y="199"/>
                </a:lnTo>
                <a:lnTo>
                  <a:pt x="566" y="197"/>
                </a:lnTo>
                <a:lnTo>
                  <a:pt x="566" y="197"/>
                </a:lnTo>
                <a:lnTo>
                  <a:pt x="568" y="194"/>
                </a:lnTo>
                <a:lnTo>
                  <a:pt x="568" y="194"/>
                </a:lnTo>
                <a:lnTo>
                  <a:pt x="571" y="197"/>
                </a:lnTo>
                <a:lnTo>
                  <a:pt x="571" y="197"/>
                </a:lnTo>
                <a:lnTo>
                  <a:pt x="573" y="202"/>
                </a:lnTo>
                <a:lnTo>
                  <a:pt x="573" y="202"/>
                </a:lnTo>
                <a:lnTo>
                  <a:pt x="573" y="204"/>
                </a:lnTo>
                <a:lnTo>
                  <a:pt x="573" y="204"/>
                </a:lnTo>
                <a:lnTo>
                  <a:pt x="576" y="204"/>
                </a:lnTo>
                <a:lnTo>
                  <a:pt x="576" y="204"/>
                </a:lnTo>
                <a:close/>
                <a:moveTo>
                  <a:pt x="871" y="379"/>
                </a:moveTo>
                <a:lnTo>
                  <a:pt x="871" y="379"/>
                </a:lnTo>
                <a:lnTo>
                  <a:pt x="871" y="376"/>
                </a:lnTo>
                <a:lnTo>
                  <a:pt x="871" y="376"/>
                </a:lnTo>
                <a:lnTo>
                  <a:pt x="876" y="379"/>
                </a:lnTo>
                <a:lnTo>
                  <a:pt x="876" y="379"/>
                </a:lnTo>
                <a:lnTo>
                  <a:pt x="876" y="379"/>
                </a:lnTo>
                <a:lnTo>
                  <a:pt x="873" y="381"/>
                </a:lnTo>
                <a:lnTo>
                  <a:pt x="873" y="381"/>
                </a:lnTo>
                <a:lnTo>
                  <a:pt x="871" y="381"/>
                </a:lnTo>
                <a:lnTo>
                  <a:pt x="871" y="381"/>
                </a:lnTo>
                <a:lnTo>
                  <a:pt x="871" y="379"/>
                </a:lnTo>
                <a:lnTo>
                  <a:pt x="871" y="379"/>
                </a:lnTo>
                <a:close/>
                <a:moveTo>
                  <a:pt x="836" y="310"/>
                </a:moveTo>
                <a:lnTo>
                  <a:pt x="836" y="310"/>
                </a:lnTo>
                <a:lnTo>
                  <a:pt x="834" y="310"/>
                </a:lnTo>
                <a:lnTo>
                  <a:pt x="834" y="310"/>
                </a:lnTo>
                <a:lnTo>
                  <a:pt x="831" y="307"/>
                </a:lnTo>
                <a:lnTo>
                  <a:pt x="831" y="307"/>
                </a:lnTo>
                <a:lnTo>
                  <a:pt x="829" y="310"/>
                </a:lnTo>
                <a:lnTo>
                  <a:pt x="829" y="310"/>
                </a:lnTo>
                <a:lnTo>
                  <a:pt x="831" y="310"/>
                </a:lnTo>
                <a:lnTo>
                  <a:pt x="831" y="310"/>
                </a:lnTo>
                <a:lnTo>
                  <a:pt x="834" y="312"/>
                </a:lnTo>
                <a:lnTo>
                  <a:pt x="834" y="312"/>
                </a:lnTo>
                <a:lnTo>
                  <a:pt x="834" y="312"/>
                </a:lnTo>
                <a:lnTo>
                  <a:pt x="829" y="312"/>
                </a:lnTo>
                <a:lnTo>
                  <a:pt x="829" y="312"/>
                </a:lnTo>
                <a:lnTo>
                  <a:pt x="829" y="315"/>
                </a:lnTo>
                <a:lnTo>
                  <a:pt x="829" y="315"/>
                </a:lnTo>
                <a:lnTo>
                  <a:pt x="829" y="317"/>
                </a:lnTo>
                <a:lnTo>
                  <a:pt x="829" y="317"/>
                </a:lnTo>
                <a:lnTo>
                  <a:pt x="829" y="317"/>
                </a:lnTo>
                <a:lnTo>
                  <a:pt x="829" y="317"/>
                </a:lnTo>
                <a:lnTo>
                  <a:pt x="826" y="317"/>
                </a:lnTo>
                <a:lnTo>
                  <a:pt x="826" y="317"/>
                </a:lnTo>
                <a:lnTo>
                  <a:pt x="824" y="317"/>
                </a:lnTo>
                <a:lnTo>
                  <a:pt x="824" y="317"/>
                </a:lnTo>
                <a:lnTo>
                  <a:pt x="822" y="320"/>
                </a:lnTo>
                <a:lnTo>
                  <a:pt x="822" y="320"/>
                </a:lnTo>
                <a:lnTo>
                  <a:pt x="819" y="322"/>
                </a:lnTo>
                <a:lnTo>
                  <a:pt x="819" y="322"/>
                </a:lnTo>
                <a:lnTo>
                  <a:pt x="819" y="325"/>
                </a:lnTo>
                <a:lnTo>
                  <a:pt x="819" y="325"/>
                </a:lnTo>
                <a:lnTo>
                  <a:pt x="819" y="325"/>
                </a:lnTo>
                <a:lnTo>
                  <a:pt x="822" y="325"/>
                </a:lnTo>
                <a:lnTo>
                  <a:pt x="822" y="325"/>
                </a:lnTo>
                <a:lnTo>
                  <a:pt x="819" y="327"/>
                </a:lnTo>
                <a:lnTo>
                  <a:pt x="819" y="327"/>
                </a:lnTo>
                <a:lnTo>
                  <a:pt x="819" y="330"/>
                </a:lnTo>
                <a:lnTo>
                  <a:pt x="819" y="330"/>
                </a:lnTo>
                <a:lnTo>
                  <a:pt x="822" y="330"/>
                </a:lnTo>
                <a:lnTo>
                  <a:pt x="822" y="330"/>
                </a:lnTo>
                <a:lnTo>
                  <a:pt x="822" y="327"/>
                </a:lnTo>
                <a:lnTo>
                  <a:pt x="822" y="327"/>
                </a:lnTo>
                <a:lnTo>
                  <a:pt x="824" y="327"/>
                </a:lnTo>
                <a:lnTo>
                  <a:pt x="824" y="327"/>
                </a:lnTo>
                <a:lnTo>
                  <a:pt x="822" y="330"/>
                </a:lnTo>
                <a:lnTo>
                  <a:pt x="822" y="330"/>
                </a:lnTo>
                <a:lnTo>
                  <a:pt x="822" y="332"/>
                </a:lnTo>
                <a:lnTo>
                  <a:pt x="822" y="332"/>
                </a:lnTo>
                <a:lnTo>
                  <a:pt x="824" y="332"/>
                </a:lnTo>
                <a:lnTo>
                  <a:pt x="824" y="332"/>
                </a:lnTo>
                <a:lnTo>
                  <a:pt x="826" y="332"/>
                </a:lnTo>
                <a:lnTo>
                  <a:pt x="826" y="332"/>
                </a:lnTo>
                <a:lnTo>
                  <a:pt x="826" y="334"/>
                </a:lnTo>
                <a:lnTo>
                  <a:pt x="826" y="334"/>
                </a:lnTo>
                <a:lnTo>
                  <a:pt x="826" y="337"/>
                </a:lnTo>
                <a:lnTo>
                  <a:pt x="826" y="337"/>
                </a:lnTo>
                <a:lnTo>
                  <a:pt x="829" y="337"/>
                </a:lnTo>
                <a:lnTo>
                  <a:pt x="829" y="337"/>
                </a:lnTo>
                <a:lnTo>
                  <a:pt x="829" y="334"/>
                </a:lnTo>
                <a:lnTo>
                  <a:pt x="829" y="334"/>
                </a:lnTo>
                <a:lnTo>
                  <a:pt x="831" y="334"/>
                </a:lnTo>
                <a:lnTo>
                  <a:pt x="831" y="334"/>
                </a:lnTo>
                <a:lnTo>
                  <a:pt x="831" y="339"/>
                </a:lnTo>
                <a:lnTo>
                  <a:pt x="831" y="339"/>
                </a:lnTo>
                <a:lnTo>
                  <a:pt x="831" y="339"/>
                </a:lnTo>
                <a:lnTo>
                  <a:pt x="834" y="339"/>
                </a:lnTo>
                <a:lnTo>
                  <a:pt x="834" y="339"/>
                </a:lnTo>
                <a:lnTo>
                  <a:pt x="834" y="342"/>
                </a:lnTo>
                <a:lnTo>
                  <a:pt x="834" y="342"/>
                </a:lnTo>
                <a:lnTo>
                  <a:pt x="839" y="342"/>
                </a:lnTo>
                <a:lnTo>
                  <a:pt x="839" y="342"/>
                </a:lnTo>
                <a:lnTo>
                  <a:pt x="841" y="344"/>
                </a:lnTo>
                <a:lnTo>
                  <a:pt x="841" y="344"/>
                </a:lnTo>
                <a:lnTo>
                  <a:pt x="844" y="344"/>
                </a:lnTo>
                <a:lnTo>
                  <a:pt x="844" y="344"/>
                </a:lnTo>
                <a:lnTo>
                  <a:pt x="846" y="347"/>
                </a:lnTo>
                <a:lnTo>
                  <a:pt x="846" y="347"/>
                </a:lnTo>
                <a:lnTo>
                  <a:pt x="846" y="344"/>
                </a:lnTo>
                <a:lnTo>
                  <a:pt x="846" y="344"/>
                </a:lnTo>
                <a:lnTo>
                  <a:pt x="846" y="342"/>
                </a:lnTo>
                <a:lnTo>
                  <a:pt x="846" y="342"/>
                </a:lnTo>
                <a:lnTo>
                  <a:pt x="849" y="342"/>
                </a:lnTo>
                <a:lnTo>
                  <a:pt x="849" y="342"/>
                </a:lnTo>
                <a:lnTo>
                  <a:pt x="849" y="337"/>
                </a:lnTo>
                <a:lnTo>
                  <a:pt x="849" y="337"/>
                </a:lnTo>
                <a:lnTo>
                  <a:pt x="849" y="334"/>
                </a:lnTo>
                <a:lnTo>
                  <a:pt x="849" y="334"/>
                </a:lnTo>
                <a:lnTo>
                  <a:pt x="851" y="330"/>
                </a:lnTo>
                <a:lnTo>
                  <a:pt x="851" y="330"/>
                </a:lnTo>
                <a:lnTo>
                  <a:pt x="851" y="330"/>
                </a:lnTo>
                <a:lnTo>
                  <a:pt x="854" y="325"/>
                </a:lnTo>
                <a:lnTo>
                  <a:pt x="854" y="325"/>
                </a:lnTo>
                <a:lnTo>
                  <a:pt x="854" y="320"/>
                </a:lnTo>
                <a:lnTo>
                  <a:pt x="854" y="320"/>
                </a:lnTo>
                <a:lnTo>
                  <a:pt x="856" y="320"/>
                </a:lnTo>
                <a:lnTo>
                  <a:pt x="856" y="320"/>
                </a:lnTo>
                <a:lnTo>
                  <a:pt x="854" y="315"/>
                </a:lnTo>
                <a:lnTo>
                  <a:pt x="854" y="315"/>
                </a:lnTo>
                <a:lnTo>
                  <a:pt x="851" y="315"/>
                </a:lnTo>
                <a:lnTo>
                  <a:pt x="851" y="315"/>
                </a:lnTo>
                <a:lnTo>
                  <a:pt x="851" y="310"/>
                </a:lnTo>
                <a:lnTo>
                  <a:pt x="851" y="310"/>
                </a:lnTo>
                <a:lnTo>
                  <a:pt x="851" y="310"/>
                </a:lnTo>
                <a:lnTo>
                  <a:pt x="849" y="307"/>
                </a:lnTo>
                <a:lnTo>
                  <a:pt x="849" y="307"/>
                </a:lnTo>
                <a:lnTo>
                  <a:pt x="846" y="305"/>
                </a:lnTo>
                <a:lnTo>
                  <a:pt x="846" y="305"/>
                </a:lnTo>
                <a:lnTo>
                  <a:pt x="844" y="305"/>
                </a:lnTo>
                <a:lnTo>
                  <a:pt x="844" y="305"/>
                </a:lnTo>
                <a:lnTo>
                  <a:pt x="839" y="305"/>
                </a:lnTo>
                <a:lnTo>
                  <a:pt x="839" y="305"/>
                </a:lnTo>
                <a:lnTo>
                  <a:pt x="836" y="305"/>
                </a:lnTo>
                <a:lnTo>
                  <a:pt x="836" y="305"/>
                </a:lnTo>
                <a:lnTo>
                  <a:pt x="836" y="307"/>
                </a:lnTo>
                <a:lnTo>
                  <a:pt x="836" y="307"/>
                </a:lnTo>
                <a:lnTo>
                  <a:pt x="836" y="310"/>
                </a:lnTo>
                <a:lnTo>
                  <a:pt x="836" y="310"/>
                </a:lnTo>
                <a:lnTo>
                  <a:pt x="836" y="310"/>
                </a:lnTo>
                <a:lnTo>
                  <a:pt x="836" y="310"/>
                </a:lnTo>
                <a:close/>
                <a:moveTo>
                  <a:pt x="856" y="285"/>
                </a:moveTo>
                <a:lnTo>
                  <a:pt x="856" y="285"/>
                </a:lnTo>
                <a:lnTo>
                  <a:pt x="854" y="285"/>
                </a:lnTo>
                <a:lnTo>
                  <a:pt x="854" y="285"/>
                </a:lnTo>
                <a:lnTo>
                  <a:pt x="854" y="283"/>
                </a:lnTo>
                <a:lnTo>
                  <a:pt x="854" y="283"/>
                </a:lnTo>
                <a:lnTo>
                  <a:pt x="856" y="283"/>
                </a:lnTo>
                <a:lnTo>
                  <a:pt x="856" y="285"/>
                </a:lnTo>
                <a:lnTo>
                  <a:pt x="856" y="285"/>
                </a:lnTo>
                <a:close/>
                <a:moveTo>
                  <a:pt x="851" y="303"/>
                </a:moveTo>
                <a:lnTo>
                  <a:pt x="851" y="303"/>
                </a:lnTo>
                <a:lnTo>
                  <a:pt x="851" y="300"/>
                </a:lnTo>
                <a:lnTo>
                  <a:pt x="851" y="300"/>
                </a:lnTo>
                <a:lnTo>
                  <a:pt x="851" y="300"/>
                </a:lnTo>
                <a:lnTo>
                  <a:pt x="851" y="298"/>
                </a:lnTo>
                <a:lnTo>
                  <a:pt x="851" y="298"/>
                </a:lnTo>
                <a:lnTo>
                  <a:pt x="851" y="295"/>
                </a:lnTo>
                <a:lnTo>
                  <a:pt x="851" y="295"/>
                </a:lnTo>
                <a:lnTo>
                  <a:pt x="851" y="293"/>
                </a:lnTo>
                <a:lnTo>
                  <a:pt x="851" y="293"/>
                </a:lnTo>
                <a:lnTo>
                  <a:pt x="854" y="293"/>
                </a:lnTo>
                <a:lnTo>
                  <a:pt x="854" y="293"/>
                </a:lnTo>
                <a:lnTo>
                  <a:pt x="856" y="293"/>
                </a:lnTo>
                <a:lnTo>
                  <a:pt x="856" y="293"/>
                </a:lnTo>
                <a:lnTo>
                  <a:pt x="854" y="298"/>
                </a:lnTo>
                <a:lnTo>
                  <a:pt x="854" y="298"/>
                </a:lnTo>
                <a:lnTo>
                  <a:pt x="854" y="300"/>
                </a:lnTo>
                <a:lnTo>
                  <a:pt x="851" y="303"/>
                </a:lnTo>
                <a:lnTo>
                  <a:pt x="851" y="303"/>
                </a:lnTo>
                <a:close/>
                <a:moveTo>
                  <a:pt x="831" y="295"/>
                </a:moveTo>
                <a:lnTo>
                  <a:pt x="831" y="295"/>
                </a:lnTo>
                <a:lnTo>
                  <a:pt x="829" y="295"/>
                </a:lnTo>
                <a:lnTo>
                  <a:pt x="829" y="295"/>
                </a:lnTo>
                <a:lnTo>
                  <a:pt x="831" y="293"/>
                </a:lnTo>
                <a:lnTo>
                  <a:pt x="831" y="293"/>
                </a:lnTo>
                <a:lnTo>
                  <a:pt x="834" y="293"/>
                </a:lnTo>
                <a:lnTo>
                  <a:pt x="834" y="293"/>
                </a:lnTo>
                <a:lnTo>
                  <a:pt x="834" y="293"/>
                </a:lnTo>
                <a:lnTo>
                  <a:pt x="834" y="293"/>
                </a:lnTo>
                <a:lnTo>
                  <a:pt x="831" y="295"/>
                </a:lnTo>
                <a:lnTo>
                  <a:pt x="831" y="295"/>
                </a:lnTo>
                <a:lnTo>
                  <a:pt x="831" y="295"/>
                </a:lnTo>
                <a:close/>
                <a:moveTo>
                  <a:pt x="826" y="300"/>
                </a:moveTo>
                <a:lnTo>
                  <a:pt x="826" y="300"/>
                </a:lnTo>
                <a:lnTo>
                  <a:pt x="824" y="298"/>
                </a:lnTo>
                <a:lnTo>
                  <a:pt x="824" y="298"/>
                </a:lnTo>
                <a:lnTo>
                  <a:pt x="826" y="298"/>
                </a:lnTo>
                <a:lnTo>
                  <a:pt x="826" y="298"/>
                </a:lnTo>
                <a:lnTo>
                  <a:pt x="829" y="298"/>
                </a:lnTo>
                <a:lnTo>
                  <a:pt x="829" y="298"/>
                </a:lnTo>
                <a:lnTo>
                  <a:pt x="826" y="298"/>
                </a:lnTo>
                <a:lnTo>
                  <a:pt x="826" y="298"/>
                </a:lnTo>
                <a:lnTo>
                  <a:pt x="826" y="300"/>
                </a:lnTo>
                <a:lnTo>
                  <a:pt x="826" y="300"/>
                </a:lnTo>
                <a:close/>
                <a:moveTo>
                  <a:pt x="829" y="305"/>
                </a:moveTo>
                <a:lnTo>
                  <a:pt x="829" y="305"/>
                </a:lnTo>
                <a:lnTo>
                  <a:pt x="829" y="305"/>
                </a:lnTo>
                <a:lnTo>
                  <a:pt x="829" y="303"/>
                </a:lnTo>
                <a:lnTo>
                  <a:pt x="829" y="303"/>
                </a:lnTo>
                <a:lnTo>
                  <a:pt x="829" y="300"/>
                </a:lnTo>
                <a:lnTo>
                  <a:pt x="829" y="300"/>
                </a:lnTo>
                <a:lnTo>
                  <a:pt x="831" y="300"/>
                </a:lnTo>
                <a:lnTo>
                  <a:pt x="831" y="300"/>
                </a:lnTo>
                <a:lnTo>
                  <a:pt x="831" y="303"/>
                </a:lnTo>
                <a:lnTo>
                  <a:pt x="831" y="303"/>
                </a:lnTo>
                <a:lnTo>
                  <a:pt x="834" y="303"/>
                </a:lnTo>
                <a:lnTo>
                  <a:pt x="834" y="303"/>
                </a:lnTo>
                <a:lnTo>
                  <a:pt x="831" y="305"/>
                </a:lnTo>
                <a:lnTo>
                  <a:pt x="831" y="305"/>
                </a:lnTo>
                <a:lnTo>
                  <a:pt x="829" y="305"/>
                </a:lnTo>
                <a:lnTo>
                  <a:pt x="829" y="305"/>
                </a:lnTo>
                <a:close/>
                <a:moveTo>
                  <a:pt x="824" y="310"/>
                </a:moveTo>
                <a:lnTo>
                  <a:pt x="824" y="310"/>
                </a:lnTo>
                <a:lnTo>
                  <a:pt x="822" y="307"/>
                </a:lnTo>
                <a:lnTo>
                  <a:pt x="822" y="307"/>
                </a:lnTo>
                <a:lnTo>
                  <a:pt x="822" y="303"/>
                </a:lnTo>
                <a:lnTo>
                  <a:pt x="822" y="303"/>
                </a:lnTo>
                <a:lnTo>
                  <a:pt x="822" y="303"/>
                </a:lnTo>
                <a:lnTo>
                  <a:pt x="824" y="303"/>
                </a:lnTo>
                <a:lnTo>
                  <a:pt x="824" y="303"/>
                </a:lnTo>
                <a:lnTo>
                  <a:pt x="826" y="303"/>
                </a:lnTo>
                <a:lnTo>
                  <a:pt x="826" y="303"/>
                </a:lnTo>
                <a:lnTo>
                  <a:pt x="826" y="303"/>
                </a:lnTo>
                <a:lnTo>
                  <a:pt x="829" y="303"/>
                </a:lnTo>
                <a:lnTo>
                  <a:pt x="829" y="303"/>
                </a:lnTo>
                <a:lnTo>
                  <a:pt x="826" y="305"/>
                </a:lnTo>
                <a:lnTo>
                  <a:pt x="826" y="305"/>
                </a:lnTo>
                <a:lnTo>
                  <a:pt x="826" y="307"/>
                </a:lnTo>
                <a:lnTo>
                  <a:pt x="826" y="307"/>
                </a:lnTo>
                <a:lnTo>
                  <a:pt x="826" y="307"/>
                </a:lnTo>
                <a:lnTo>
                  <a:pt x="824" y="307"/>
                </a:lnTo>
                <a:lnTo>
                  <a:pt x="824" y="307"/>
                </a:lnTo>
                <a:lnTo>
                  <a:pt x="824" y="310"/>
                </a:lnTo>
                <a:lnTo>
                  <a:pt x="824" y="310"/>
                </a:lnTo>
                <a:close/>
                <a:moveTo>
                  <a:pt x="814" y="310"/>
                </a:moveTo>
                <a:lnTo>
                  <a:pt x="814" y="310"/>
                </a:lnTo>
                <a:lnTo>
                  <a:pt x="814" y="307"/>
                </a:lnTo>
                <a:lnTo>
                  <a:pt x="814" y="307"/>
                </a:lnTo>
                <a:lnTo>
                  <a:pt x="817" y="307"/>
                </a:lnTo>
                <a:lnTo>
                  <a:pt x="817" y="307"/>
                </a:lnTo>
                <a:lnTo>
                  <a:pt x="817" y="307"/>
                </a:lnTo>
                <a:lnTo>
                  <a:pt x="817" y="310"/>
                </a:lnTo>
                <a:lnTo>
                  <a:pt x="817" y="310"/>
                </a:lnTo>
                <a:lnTo>
                  <a:pt x="814" y="310"/>
                </a:lnTo>
                <a:lnTo>
                  <a:pt x="814" y="310"/>
                </a:lnTo>
                <a:close/>
                <a:moveTo>
                  <a:pt x="785" y="315"/>
                </a:moveTo>
                <a:lnTo>
                  <a:pt x="785" y="315"/>
                </a:lnTo>
                <a:lnTo>
                  <a:pt x="782" y="312"/>
                </a:lnTo>
                <a:lnTo>
                  <a:pt x="782" y="312"/>
                </a:lnTo>
                <a:lnTo>
                  <a:pt x="780" y="312"/>
                </a:lnTo>
                <a:lnTo>
                  <a:pt x="780" y="312"/>
                </a:lnTo>
                <a:lnTo>
                  <a:pt x="777" y="312"/>
                </a:lnTo>
                <a:lnTo>
                  <a:pt x="777" y="312"/>
                </a:lnTo>
                <a:lnTo>
                  <a:pt x="777" y="307"/>
                </a:lnTo>
                <a:lnTo>
                  <a:pt x="777" y="307"/>
                </a:lnTo>
                <a:lnTo>
                  <a:pt x="777" y="307"/>
                </a:lnTo>
                <a:lnTo>
                  <a:pt x="777" y="305"/>
                </a:lnTo>
                <a:lnTo>
                  <a:pt x="777" y="305"/>
                </a:lnTo>
                <a:lnTo>
                  <a:pt x="780" y="303"/>
                </a:lnTo>
                <a:lnTo>
                  <a:pt x="780" y="303"/>
                </a:lnTo>
                <a:lnTo>
                  <a:pt x="780" y="303"/>
                </a:lnTo>
                <a:lnTo>
                  <a:pt x="782" y="305"/>
                </a:lnTo>
                <a:lnTo>
                  <a:pt x="782" y="305"/>
                </a:lnTo>
                <a:lnTo>
                  <a:pt x="782" y="305"/>
                </a:lnTo>
                <a:lnTo>
                  <a:pt x="782" y="303"/>
                </a:lnTo>
                <a:lnTo>
                  <a:pt x="782" y="303"/>
                </a:lnTo>
                <a:lnTo>
                  <a:pt x="782" y="300"/>
                </a:lnTo>
                <a:lnTo>
                  <a:pt x="782" y="300"/>
                </a:lnTo>
                <a:lnTo>
                  <a:pt x="780" y="300"/>
                </a:lnTo>
                <a:lnTo>
                  <a:pt x="780" y="300"/>
                </a:lnTo>
                <a:lnTo>
                  <a:pt x="777" y="298"/>
                </a:lnTo>
                <a:lnTo>
                  <a:pt x="777" y="298"/>
                </a:lnTo>
                <a:lnTo>
                  <a:pt x="777" y="298"/>
                </a:lnTo>
                <a:lnTo>
                  <a:pt x="777" y="295"/>
                </a:lnTo>
                <a:lnTo>
                  <a:pt x="777" y="295"/>
                </a:lnTo>
                <a:lnTo>
                  <a:pt x="780" y="295"/>
                </a:lnTo>
                <a:lnTo>
                  <a:pt x="780" y="295"/>
                </a:lnTo>
                <a:lnTo>
                  <a:pt x="780" y="298"/>
                </a:lnTo>
                <a:lnTo>
                  <a:pt x="780" y="298"/>
                </a:lnTo>
                <a:lnTo>
                  <a:pt x="782" y="295"/>
                </a:lnTo>
                <a:lnTo>
                  <a:pt x="782" y="295"/>
                </a:lnTo>
                <a:lnTo>
                  <a:pt x="782" y="295"/>
                </a:lnTo>
                <a:lnTo>
                  <a:pt x="782" y="293"/>
                </a:lnTo>
                <a:lnTo>
                  <a:pt x="782" y="293"/>
                </a:lnTo>
                <a:lnTo>
                  <a:pt x="785" y="295"/>
                </a:lnTo>
                <a:lnTo>
                  <a:pt x="785" y="295"/>
                </a:lnTo>
                <a:lnTo>
                  <a:pt x="790" y="295"/>
                </a:lnTo>
                <a:lnTo>
                  <a:pt x="790" y="295"/>
                </a:lnTo>
                <a:lnTo>
                  <a:pt x="792" y="295"/>
                </a:lnTo>
                <a:lnTo>
                  <a:pt x="792" y="295"/>
                </a:lnTo>
                <a:lnTo>
                  <a:pt x="790" y="293"/>
                </a:lnTo>
                <a:lnTo>
                  <a:pt x="790" y="293"/>
                </a:lnTo>
                <a:lnTo>
                  <a:pt x="787" y="293"/>
                </a:lnTo>
                <a:lnTo>
                  <a:pt x="787" y="293"/>
                </a:lnTo>
                <a:lnTo>
                  <a:pt x="790" y="293"/>
                </a:lnTo>
                <a:lnTo>
                  <a:pt x="790" y="293"/>
                </a:lnTo>
                <a:lnTo>
                  <a:pt x="795" y="293"/>
                </a:lnTo>
                <a:lnTo>
                  <a:pt x="795" y="293"/>
                </a:lnTo>
                <a:lnTo>
                  <a:pt x="797" y="290"/>
                </a:lnTo>
                <a:lnTo>
                  <a:pt x="797" y="290"/>
                </a:lnTo>
                <a:lnTo>
                  <a:pt x="799" y="290"/>
                </a:lnTo>
                <a:lnTo>
                  <a:pt x="799" y="290"/>
                </a:lnTo>
                <a:lnTo>
                  <a:pt x="804" y="290"/>
                </a:lnTo>
                <a:lnTo>
                  <a:pt x="804" y="290"/>
                </a:lnTo>
                <a:lnTo>
                  <a:pt x="807" y="290"/>
                </a:lnTo>
                <a:lnTo>
                  <a:pt x="807" y="290"/>
                </a:lnTo>
                <a:lnTo>
                  <a:pt x="804" y="288"/>
                </a:lnTo>
                <a:lnTo>
                  <a:pt x="804" y="288"/>
                </a:lnTo>
                <a:lnTo>
                  <a:pt x="792" y="285"/>
                </a:lnTo>
                <a:lnTo>
                  <a:pt x="792" y="285"/>
                </a:lnTo>
                <a:lnTo>
                  <a:pt x="790" y="285"/>
                </a:lnTo>
                <a:lnTo>
                  <a:pt x="790" y="285"/>
                </a:lnTo>
                <a:lnTo>
                  <a:pt x="787" y="285"/>
                </a:lnTo>
                <a:lnTo>
                  <a:pt x="787" y="285"/>
                </a:lnTo>
                <a:lnTo>
                  <a:pt x="782" y="285"/>
                </a:lnTo>
                <a:lnTo>
                  <a:pt x="782" y="285"/>
                </a:lnTo>
                <a:lnTo>
                  <a:pt x="780" y="283"/>
                </a:lnTo>
                <a:lnTo>
                  <a:pt x="780" y="283"/>
                </a:lnTo>
                <a:lnTo>
                  <a:pt x="777" y="285"/>
                </a:lnTo>
                <a:lnTo>
                  <a:pt x="777" y="285"/>
                </a:lnTo>
                <a:lnTo>
                  <a:pt x="775" y="283"/>
                </a:lnTo>
                <a:lnTo>
                  <a:pt x="775" y="283"/>
                </a:lnTo>
                <a:lnTo>
                  <a:pt x="772" y="283"/>
                </a:lnTo>
                <a:lnTo>
                  <a:pt x="772" y="283"/>
                </a:lnTo>
                <a:lnTo>
                  <a:pt x="770" y="285"/>
                </a:lnTo>
                <a:lnTo>
                  <a:pt x="770" y="285"/>
                </a:lnTo>
                <a:lnTo>
                  <a:pt x="770" y="283"/>
                </a:lnTo>
                <a:lnTo>
                  <a:pt x="770" y="283"/>
                </a:lnTo>
                <a:lnTo>
                  <a:pt x="767" y="283"/>
                </a:lnTo>
                <a:lnTo>
                  <a:pt x="767" y="283"/>
                </a:lnTo>
                <a:lnTo>
                  <a:pt x="767" y="283"/>
                </a:lnTo>
                <a:lnTo>
                  <a:pt x="767" y="280"/>
                </a:lnTo>
                <a:lnTo>
                  <a:pt x="767" y="280"/>
                </a:lnTo>
                <a:lnTo>
                  <a:pt x="770" y="280"/>
                </a:lnTo>
                <a:lnTo>
                  <a:pt x="770" y="280"/>
                </a:lnTo>
                <a:lnTo>
                  <a:pt x="770" y="278"/>
                </a:lnTo>
                <a:lnTo>
                  <a:pt x="770" y="278"/>
                </a:lnTo>
                <a:lnTo>
                  <a:pt x="772" y="278"/>
                </a:lnTo>
                <a:lnTo>
                  <a:pt x="772" y="278"/>
                </a:lnTo>
                <a:lnTo>
                  <a:pt x="775" y="278"/>
                </a:lnTo>
                <a:lnTo>
                  <a:pt x="775" y="278"/>
                </a:lnTo>
                <a:lnTo>
                  <a:pt x="772" y="278"/>
                </a:lnTo>
                <a:lnTo>
                  <a:pt x="772" y="278"/>
                </a:lnTo>
                <a:lnTo>
                  <a:pt x="775" y="275"/>
                </a:lnTo>
                <a:lnTo>
                  <a:pt x="775" y="275"/>
                </a:lnTo>
                <a:lnTo>
                  <a:pt x="775" y="273"/>
                </a:lnTo>
                <a:lnTo>
                  <a:pt x="775" y="273"/>
                </a:lnTo>
                <a:lnTo>
                  <a:pt x="777" y="273"/>
                </a:lnTo>
                <a:lnTo>
                  <a:pt x="777" y="273"/>
                </a:lnTo>
                <a:lnTo>
                  <a:pt x="780" y="273"/>
                </a:lnTo>
                <a:lnTo>
                  <a:pt x="780" y="273"/>
                </a:lnTo>
                <a:lnTo>
                  <a:pt x="780" y="275"/>
                </a:lnTo>
                <a:lnTo>
                  <a:pt x="780" y="275"/>
                </a:lnTo>
                <a:lnTo>
                  <a:pt x="782" y="275"/>
                </a:lnTo>
                <a:lnTo>
                  <a:pt x="782" y="275"/>
                </a:lnTo>
                <a:lnTo>
                  <a:pt x="782" y="280"/>
                </a:lnTo>
                <a:lnTo>
                  <a:pt x="782" y="280"/>
                </a:lnTo>
                <a:lnTo>
                  <a:pt x="782" y="280"/>
                </a:lnTo>
                <a:lnTo>
                  <a:pt x="785" y="280"/>
                </a:lnTo>
                <a:lnTo>
                  <a:pt x="785" y="280"/>
                </a:lnTo>
                <a:lnTo>
                  <a:pt x="785" y="275"/>
                </a:lnTo>
                <a:lnTo>
                  <a:pt x="785" y="275"/>
                </a:lnTo>
                <a:lnTo>
                  <a:pt x="782" y="275"/>
                </a:lnTo>
                <a:lnTo>
                  <a:pt x="782" y="275"/>
                </a:lnTo>
                <a:lnTo>
                  <a:pt x="782" y="273"/>
                </a:lnTo>
                <a:lnTo>
                  <a:pt x="782" y="273"/>
                </a:lnTo>
                <a:lnTo>
                  <a:pt x="787" y="271"/>
                </a:lnTo>
                <a:lnTo>
                  <a:pt x="787" y="271"/>
                </a:lnTo>
                <a:lnTo>
                  <a:pt x="787" y="268"/>
                </a:lnTo>
                <a:lnTo>
                  <a:pt x="787" y="268"/>
                </a:lnTo>
                <a:lnTo>
                  <a:pt x="785" y="268"/>
                </a:lnTo>
                <a:lnTo>
                  <a:pt x="785" y="268"/>
                </a:lnTo>
                <a:lnTo>
                  <a:pt x="785" y="263"/>
                </a:lnTo>
                <a:lnTo>
                  <a:pt x="785" y="263"/>
                </a:lnTo>
                <a:lnTo>
                  <a:pt x="787" y="263"/>
                </a:lnTo>
                <a:lnTo>
                  <a:pt x="787" y="263"/>
                </a:lnTo>
                <a:lnTo>
                  <a:pt x="790" y="261"/>
                </a:lnTo>
                <a:lnTo>
                  <a:pt x="790" y="261"/>
                </a:lnTo>
                <a:lnTo>
                  <a:pt x="792" y="261"/>
                </a:lnTo>
                <a:lnTo>
                  <a:pt x="792" y="261"/>
                </a:lnTo>
                <a:lnTo>
                  <a:pt x="790" y="258"/>
                </a:lnTo>
                <a:lnTo>
                  <a:pt x="790" y="258"/>
                </a:lnTo>
                <a:lnTo>
                  <a:pt x="790" y="258"/>
                </a:lnTo>
                <a:lnTo>
                  <a:pt x="787" y="258"/>
                </a:lnTo>
                <a:lnTo>
                  <a:pt x="787" y="258"/>
                </a:lnTo>
                <a:lnTo>
                  <a:pt x="787" y="256"/>
                </a:lnTo>
                <a:lnTo>
                  <a:pt x="787" y="256"/>
                </a:lnTo>
                <a:lnTo>
                  <a:pt x="790" y="253"/>
                </a:lnTo>
                <a:lnTo>
                  <a:pt x="790" y="253"/>
                </a:lnTo>
                <a:lnTo>
                  <a:pt x="792" y="251"/>
                </a:lnTo>
                <a:lnTo>
                  <a:pt x="792" y="251"/>
                </a:lnTo>
                <a:lnTo>
                  <a:pt x="795" y="251"/>
                </a:lnTo>
                <a:lnTo>
                  <a:pt x="795" y="251"/>
                </a:lnTo>
                <a:lnTo>
                  <a:pt x="795" y="251"/>
                </a:lnTo>
                <a:lnTo>
                  <a:pt x="797" y="253"/>
                </a:lnTo>
                <a:lnTo>
                  <a:pt x="797" y="253"/>
                </a:lnTo>
                <a:lnTo>
                  <a:pt x="797" y="256"/>
                </a:lnTo>
                <a:lnTo>
                  <a:pt x="797" y="256"/>
                </a:lnTo>
                <a:lnTo>
                  <a:pt x="797" y="258"/>
                </a:lnTo>
                <a:lnTo>
                  <a:pt x="797" y="258"/>
                </a:lnTo>
                <a:lnTo>
                  <a:pt x="797" y="258"/>
                </a:lnTo>
                <a:lnTo>
                  <a:pt x="797" y="261"/>
                </a:lnTo>
                <a:lnTo>
                  <a:pt x="797" y="261"/>
                </a:lnTo>
                <a:lnTo>
                  <a:pt x="799" y="263"/>
                </a:lnTo>
                <a:lnTo>
                  <a:pt x="799" y="263"/>
                </a:lnTo>
                <a:lnTo>
                  <a:pt x="799" y="273"/>
                </a:lnTo>
                <a:lnTo>
                  <a:pt x="799" y="273"/>
                </a:lnTo>
                <a:lnTo>
                  <a:pt x="799" y="275"/>
                </a:lnTo>
                <a:lnTo>
                  <a:pt x="799" y="275"/>
                </a:lnTo>
                <a:lnTo>
                  <a:pt x="799" y="275"/>
                </a:lnTo>
                <a:lnTo>
                  <a:pt x="802" y="278"/>
                </a:lnTo>
                <a:lnTo>
                  <a:pt x="802" y="278"/>
                </a:lnTo>
                <a:lnTo>
                  <a:pt x="807" y="275"/>
                </a:lnTo>
                <a:lnTo>
                  <a:pt x="807" y="275"/>
                </a:lnTo>
                <a:lnTo>
                  <a:pt x="804" y="273"/>
                </a:lnTo>
                <a:lnTo>
                  <a:pt x="804" y="273"/>
                </a:lnTo>
                <a:lnTo>
                  <a:pt x="804" y="268"/>
                </a:lnTo>
                <a:lnTo>
                  <a:pt x="804" y="268"/>
                </a:lnTo>
                <a:lnTo>
                  <a:pt x="807" y="268"/>
                </a:lnTo>
                <a:lnTo>
                  <a:pt x="807" y="268"/>
                </a:lnTo>
                <a:lnTo>
                  <a:pt x="807" y="266"/>
                </a:lnTo>
                <a:lnTo>
                  <a:pt x="807" y="266"/>
                </a:lnTo>
                <a:lnTo>
                  <a:pt x="802" y="263"/>
                </a:lnTo>
                <a:lnTo>
                  <a:pt x="802" y="263"/>
                </a:lnTo>
                <a:lnTo>
                  <a:pt x="804" y="261"/>
                </a:lnTo>
                <a:lnTo>
                  <a:pt x="804" y="261"/>
                </a:lnTo>
                <a:lnTo>
                  <a:pt x="807" y="261"/>
                </a:lnTo>
                <a:lnTo>
                  <a:pt x="807" y="261"/>
                </a:lnTo>
                <a:lnTo>
                  <a:pt x="809" y="263"/>
                </a:lnTo>
                <a:lnTo>
                  <a:pt x="809" y="263"/>
                </a:lnTo>
                <a:lnTo>
                  <a:pt x="809" y="261"/>
                </a:lnTo>
                <a:lnTo>
                  <a:pt x="809" y="261"/>
                </a:lnTo>
                <a:lnTo>
                  <a:pt x="804" y="258"/>
                </a:lnTo>
                <a:lnTo>
                  <a:pt x="804" y="258"/>
                </a:lnTo>
                <a:lnTo>
                  <a:pt x="804" y="253"/>
                </a:lnTo>
                <a:lnTo>
                  <a:pt x="804" y="253"/>
                </a:lnTo>
                <a:lnTo>
                  <a:pt x="804" y="253"/>
                </a:lnTo>
                <a:lnTo>
                  <a:pt x="804" y="248"/>
                </a:lnTo>
                <a:lnTo>
                  <a:pt x="804" y="248"/>
                </a:lnTo>
                <a:lnTo>
                  <a:pt x="807" y="248"/>
                </a:lnTo>
                <a:lnTo>
                  <a:pt x="807" y="248"/>
                </a:lnTo>
                <a:lnTo>
                  <a:pt x="809" y="246"/>
                </a:lnTo>
                <a:lnTo>
                  <a:pt x="809" y="246"/>
                </a:lnTo>
                <a:lnTo>
                  <a:pt x="812" y="246"/>
                </a:lnTo>
                <a:lnTo>
                  <a:pt x="812" y="246"/>
                </a:lnTo>
                <a:lnTo>
                  <a:pt x="814" y="246"/>
                </a:lnTo>
                <a:lnTo>
                  <a:pt x="817" y="243"/>
                </a:lnTo>
                <a:lnTo>
                  <a:pt x="819" y="243"/>
                </a:lnTo>
                <a:lnTo>
                  <a:pt x="819" y="243"/>
                </a:lnTo>
                <a:lnTo>
                  <a:pt x="819" y="246"/>
                </a:lnTo>
                <a:lnTo>
                  <a:pt x="819" y="246"/>
                </a:lnTo>
                <a:lnTo>
                  <a:pt x="822" y="248"/>
                </a:lnTo>
                <a:lnTo>
                  <a:pt x="822" y="248"/>
                </a:lnTo>
                <a:lnTo>
                  <a:pt x="824" y="246"/>
                </a:lnTo>
                <a:lnTo>
                  <a:pt x="824" y="246"/>
                </a:lnTo>
                <a:lnTo>
                  <a:pt x="826" y="248"/>
                </a:lnTo>
                <a:lnTo>
                  <a:pt x="826" y="248"/>
                </a:lnTo>
                <a:lnTo>
                  <a:pt x="824" y="253"/>
                </a:lnTo>
                <a:lnTo>
                  <a:pt x="824" y="253"/>
                </a:lnTo>
                <a:lnTo>
                  <a:pt x="822" y="256"/>
                </a:lnTo>
                <a:lnTo>
                  <a:pt x="822" y="256"/>
                </a:lnTo>
                <a:lnTo>
                  <a:pt x="824" y="258"/>
                </a:lnTo>
                <a:lnTo>
                  <a:pt x="824" y="258"/>
                </a:lnTo>
                <a:lnTo>
                  <a:pt x="824" y="258"/>
                </a:lnTo>
                <a:lnTo>
                  <a:pt x="826" y="258"/>
                </a:lnTo>
                <a:lnTo>
                  <a:pt x="826" y="258"/>
                </a:lnTo>
                <a:lnTo>
                  <a:pt x="826" y="258"/>
                </a:lnTo>
                <a:lnTo>
                  <a:pt x="829" y="256"/>
                </a:lnTo>
                <a:lnTo>
                  <a:pt x="829" y="256"/>
                </a:lnTo>
                <a:lnTo>
                  <a:pt x="829" y="251"/>
                </a:lnTo>
                <a:lnTo>
                  <a:pt x="829" y="251"/>
                </a:lnTo>
                <a:lnTo>
                  <a:pt x="831" y="248"/>
                </a:lnTo>
                <a:lnTo>
                  <a:pt x="831" y="248"/>
                </a:lnTo>
                <a:lnTo>
                  <a:pt x="834" y="251"/>
                </a:lnTo>
                <a:lnTo>
                  <a:pt x="834" y="251"/>
                </a:lnTo>
                <a:lnTo>
                  <a:pt x="836" y="251"/>
                </a:lnTo>
                <a:lnTo>
                  <a:pt x="836" y="251"/>
                </a:lnTo>
                <a:lnTo>
                  <a:pt x="836" y="248"/>
                </a:lnTo>
                <a:lnTo>
                  <a:pt x="836" y="248"/>
                </a:lnTo>
                <a:lnTo>
                  <a:pt x="834" y="246"/>
                </a:lnTo>
                <a:lnTo>
                  <a:pt x="834" y="246"/>
                </a:lnTo>
                <a:lnTo>
                  <a:pt x="836" y="246"/>
                </a:lnTo>
                <a:lnTo>
                  <a:pt x="836" y="246"/>
                </a:lnTo>
                <a:lnTo>
                  <a:pt x="839" y="248"/>
                </a:lnTo>
                <a:lnTo>
                  <a:pt x="839" y="248"/>
                </a:lnTo>
                <a:lnTo>
                  <a:pt x="839" y="251"/>
                </a:lnTo>
                <a:lnTo>
                  <a:pt x="839" y="251"/>
                </a:lnTo>
                <a:lnTo>
                  <a:pt x="839" y="253"/>
                </a:lnTo>
                <a:lnTo>
                  <a:pt x="839" y="253"/>
                </a:lnTo>
                <a:lnTo>
                  <a:pt x="836" y="253"/>
                </a:lnTo>
                <a:lnTo>
                  <a:pt x="836" y="253"/>
                </a:lnTo>
                <a:lnTo>
                  <a:pt x="836" y="253"/>
                </a:lnTo>
                <a:lnTo>
                  <a:pt x="836" y="256"/>
                </a:lnTo>
                <a:lnTo>
                  <a:pt x="836" y="256"/>
                </a:lnTo>
                <a:lnTo>
                  <a:pt x="841" y="258"/>
                </a:lnTo>
                <a:lnTo>
                  <a:pt x="841" y="258"/>
                </a:lnTo>
                <a:lnTo>
                  <a:pt x="841" y="261"/>
                </a:lnTo>
                <a:lnTo>
                  <a:pt x="841" y="261"/>
                </a:lnTo>
                <a:lnTo>
                  <a:pt x="841" y="263"/>
                </a:lnTo>
                <a:lnTo>
                  <a:pt x="841" y="263"/>
                </a:lnTo>
                <a:lnTo>
                  <a:pt x="839" y="266"/>
                </a:lnTo>
                <a:lnTo>
                  <a:pt x="839" y="266"/>
                </a:lnTo>
                <a:lnTo>
                  <a:pt x="836" y="271"/>
                </a:lnTo>
                <a:lnTo>
                  <a:pt x="836" y="271"/>
                </a:lnTo>
                <a:lnTo>
                  <a:pt x="836" y="273"/>
                </a:lnTo>
                <a:lnTo>
                  <a:pt x="836" y="273"/>
                </a:lnTo>
                <a:lnTo>
                  <a:pt x="834" y="275"/>
                </a:lnTo>
                <a:lnTo>
                  <a:pt x="834" y="275"/>
                </a:lnTo>
                <a:lnTo>
                  <a:pt x="831" y="278"/>
                </a:lnTo>
                <a:lnTo>
                  <a:pt x="831" y="278"/>
                </a:lnTo>
                <a:lnTo>
                  <a:pt x="829" y="280"/>
                </a:lnTo>
                <a:lnTo>
                  <a:pt x="829" y="280"/>
                </a:lnTo>
                <a:lnTo>
                  <a:pt x="826" y="283"/>
                </a:lnTo>
                <a:lnTo>
                  <a:pt x="826" y="283"/>
                </a:lnTo>
                <a:lnTo>
                  <a:pt x="824" y="285"/>
                </a:lnTo>
                <a:lnTo>
                  <a:pt x="824" y="285"/>
                </a:lnTo>
                <a:lnTo>
                  <a:pt x="824" y="288"/>
                </a:lnTo>
                <a:lnTo>
                  <a:pt x="824" y="288"/>
                </a:lnTo>
                <a:lnTo>
                  <a:pt x="824" y="290"/>
                </a:lnTo>
                <a:lnTo>
                  <a:pt x="824" y="290"/>
                </a:lnTo>
                <a:lnTo>
                  <a:pt x="822" y="290"/>
                </a:lnTo>
                <a:lnTo>
                  <a:pt x="822" y="290"/>
                </a:lnTo>
                <a:lnTo>
                  <a:pt x="819" y="290"/>
                </a:lnTo>
                <a:lnTo>
                  <a:pt x="819" y="290"/>
                </a:lnTo>
                <a:lnTo>
                  <a:pt x="819" y="290"/>
                </a:lnTo>
                <a:lnTo>
                  <a:pt x="819" y="293"/>
                </a:lnTo>
                <a:lnTo>
                  <a:pt x="819" y="293"/>
                </a:lnTo>
                <a:lnTo>
                  <a:pt x="822" y="293"/>
                </a:lnTo>
                <a:lnTo>
                  <a:pt x="822" y="293"/>
                </a:lnTo>
                <a:lnTo>
                  <a:pt x="822" y="295"/>
                </a:lnTo>
                <a:lnTo>
                  <a:pt x="822" y="295"/>
                </a:lnTo>
                <a:lnTo>
                  <a:pt x="819" y="300"/>
                </a:lnTo>
                <a:lnTo>
                  <a:pt x="819" y="300"/>
                </a:lnTo>
                <a:lnTo>
                  <a:pt x="817" y="303"/>
                </a:lnTo>
                <a:lnTo>
                  <a:pt x="817" y="303"/>
                </a:lnTo>
                <a:lnTo>
                  <a:pt x="817" y="300"/>
                </a:lnTo>
                <a:lnTo>
                  <a:pt x="817" y="300"/>
                </a:lnTo>
                <a:lnTo>
                  <a:pt x="817" y="298"/>
                </a:lnTo>
                <a:lnTo>
                  <a:pt x="817" y="298"/>
                </a:lnTo>
                <a:lnTo>
                  <a:pt x="814" y="298"/>
                </a:lnTo>
                <a:lnTo>
                  <a:pt x="814" y="298"/>
                </a:lnTo>
                <a:lnTo>
                  <a:pt x="814" y="298"/>
                </a:lnTo>
                <a:lnTo>
                  <a:pt x="814" y="300"/>
                </a:lnTo>
                <a:lnTo>
                  <a:pt x="814" y="300"/>
                </a:lnTo>
                <a:lnTo>
                  <a:pt x="812" y="303"/>
                </a:lnTo>
                <a:lnTo>
                  <a:pt x="812" y="303"/>
                </a:lnTo>
                <a:lnTo>
                  <a:pt x="809" y="303"/>
                </a:lnTo>
                <a:lnTo>
                  <a:pt x="809" y="303"/>
                </a:lnTo>
                <a:lnTo>
                  <a:pt x="807" y="305"/>
                </a:lnTo>
                <a:lnTo>
                  <a:pt x="807" y="305"/>
                </a:lnTo>
                <a:lnTo>
                  <a:pt x="807" y="307"/>
                </a:lnTo>
                <a:lnTo>
                  <a:pt x="807" y="307"/>
                </a:lnTo>
                <a:lnTo>
                  <a:pt x="807" y="307"/>
                </a:lnTo>
                <a:lnTo>
                  <a:pt x="809" y="307"/>
                </a:lnTo>
                <a:lnTo>
                  <a:pt x="809" y="307"/>
                </a:lnTo>
                <a:lnTo>
                  <a:pt x="809" y="310"/>
                </a:lnTo>
                <a:lnTo>
                  <a:pt x="809" y="310"/>
                </a:lnTo>
                <a:lnTo>
                  <a:pt x="809" y="310"/>
                </a:lnTo>
                <a:lnTo>
                  <a:pt x="809" y="312"/>
                </a:lnTo>
                <a:lnTo>
                  <a:pt x="809" y="312"/>
                </a:lnTo>
                <a:lnTo>
                  <a:pt x="809" y="315"/>
                </a:lnTo>
                <a:lnTo>
                  <a:pt x="809" y="315"/>
                </a:lnTo>
                <a:lnTo>
                  <a:pt x="807" y="317"/>
                </a:lnTo>
                <a:lnTo>
                  <a:pt x="807" y="317"/>
                </a:lnTo>
                <a:lnTo>
                  <a:pt x="807" y="312"/>
                </a:lnTo>
                <a:lnTo>
                  <a:pt x="807" y="312"/>
                </a:lnTo>
                <a:lnTo>
                  <a:pt x="804" y="310"/>
                </a:lnTo>
                <a:lnTo>
                  <a:pt x="804" y="310"/>
                </a:lnTo>
                <a:lnTo>
                  <a:pt x="804" y="307"/>
                </a:lnTo>
                <a:lnTo>
                  <a:pt x="804" y="307"/>
                </a:lnTo>
                <a:lnTo>
                  <a:pt x="804" y="310"/>
                </a:lnTo>
                <a:lnTo>
                  <a:pt x="804" y="310"/>
                </a:lnTo>
                <a:lnTo>
                  <a:pt x="804" y="312"/>
                </a:lnTo>
                <a:lnTo>
                  <a:pt x="804" y="312"/>
                </a:lnTo>
                <a:lnTo>
                  <a:pt x="804" y="315"/>
                </a:lnTo>
                <a:lnTo>
                  <a:pt x="804" y="315"/>
                </a:lnTo>
                <a:lnTo>
                  <a:pt x="802" y="317"/>
                </a:lnTo>
                <a:lnTo>
                  <a:pt x="802" y="317"/>
                </a:lnTo>
                <a:lnTo>
                  <a:pt x="795" y="317"/>
                </a:lnTo>
                <a:lnTo>
                  <a:pt x="795" y="317"/>
                </a:lnTo>
                <a:lnTo>
                  <a:pt x="792" y="315"/>
                </a:lnTo>
                <a:lnTo>
                  <a:pt x="792" y="315"/>
                </a:lnTo>
                <a:lnTo>
                  <a:pt x="792" y="312"/>
                </a:lnTo>
                <a:lnTo>
                  <a:pt x="792" y="312"/>
                </a:lnTo>
                <a:lnTo>
                  <a:pt x="790" y="315"/>
                </a:lnTo>
                <a:lnTo>
                  <a:pt x="790" y="315"/>
                </a:lnTo>
                <a:lnTo>
                  <a:pt x="787" y="315"/>
                </a:lnTo>
                <a:lnTo>
                  <a:pt x="787" y="315"/>
                </a:lnTo>
                <a:lnTo>
                  <a:pt x="787" y="312"/>
                </a:lnTo>
                <a:lnTo>
                  <a:pt x="787" y="312"/>
                </a:lnTo>
                <a:lnTo>
                  <a:pt x="790" y="310"/>
                </a:lnTo>
                <a:lnTo>
                  <a:pt x="790" y="310"/>
                </a:lnTo>
                <a:lnTo>
                  <a:pt x="787" y="312"/>
                </a:lnTo>
                <a:lnTo>
                  <a:pt x="787" y="312"/>
                </a:lnTo>
                <a:lnTo>
                  <a:pt x="785" y="315"/>
                </a:lnTo>
                <a:lnTo>
                  <a:pt x="785" y="315"/>
                </a:lnTo>
                <a:lnTo>
                  <a:pt x="785" y="315"/>
                </a:lnTo>
                <a:close/>
                <a:moveTo>
                  <a:pt x="583" y="229"/>
                </a:moveTo>
                <a:lnTo>
                  <a:pt x="583" y="229"/>
                </a:lnTo>
                <a:lnTo>
                  <a:pt x="580" y="229"/>
                </a:lnTo>
                <a:lnTo>
                  <a:pt x="580" y="229"/>
                </a:lnTo>
                <a:lnTo>
                  <a:pt x="583" y="226"/>
                </a:lnTo>
                <a:lnTo>
                  <a:pt x="583" y="226"/>
                </a:lnTo>
                <a:lnTo>
                  <a:pt x="590" y="221"/>
                </a:lnTo>
                <a:lnTo>
                  <a:pt x="590" y="221"/>
                </a:lnTo>
                <a:lnTo>
                  <a:pt x="593" y="219"/>
                </a:lnTo>
                <a:lnTo>
                  <a:pt x="593" y="219"/>
                </a:lnTo>
                <a:lnTo>
                  <a:pt x="595" y="216"/>
                </a:lnTo>
                <a:lnTo>
                  <a:pt x="595" y="216"/>
                </a:lnTo>
                <a:lnTo>
                  <a:pt x="598" y="216"/>
                </a:lnTo>
                <a:lnTo>
                  <a:pt x="598" y="216"/>
                </a:lnTo>
                <a:lnTo>
                  <a:pt x="603" y="214"/>
                </a:lnTo>
                <a:lnTo>
                  <a:pt x="603" y="214"/>
                </a:lnTo>
                <a:lnTo>
                  <a:pt x="608" y="214"/>
                </a:lnTo>
                <a:lnTo>
                  <a:pt x="608" y="214"/>
                </a:lnTo>
                <a:lnTo>
                  <a:pt x="610" y="212"/>
                </a:lnTo>
                <a:lnTo>
                  <a:pt x="610" y="212"/>
                </a:lnTo>
                <a:lnTo>
                  <a:pt x="610" y="212"/>
                </a:lnTo>
                <a:lnTo>
                  <a:pt x="615" y="212"/>
                </a:lnTo>
                <a:lnTo>
                  <a:pt x="615" y="212"/>
                </a:lnTo>
                <a:lnTo>
                  <a:pt x="617" y="212"/>
                </a:lnTo>
                <a:lnTo>
                  <a:pt x="617" y="212"/>
                </a:lnTo>
                <a:lnTo>
                  <a:pt x="615" y="214"/>
                </a:lnTo>
                <a:lnTo>
                  <a:pt x="615" y="214"/>
                </a:lnTo>
                <a:lnTo>
                  <a:pt x="612" y="216"/>
                </a:lnTo>
                <a:lnTo>
                  <a:pt x="612" y="216"/>
                </a:lnTo>
                <a:lnTo>
                  <a:pt x="608" y="219"/>
                </a:lnTo>
                <a:lnTo>
                  <a:pt x="608" y="219"/>
                </a:lnTo>
                <a:lnTo>
                  <a:pt x="598" y="226"/>
                </a:lnTo>
                <a:lnTo>
                  <a:pt x="598" y="226"/>
                </a:lnTo>
                <a:lnTo>
                  <a:pt x="595" y="231"/>
                </a:lnTo>
                <a:lnTo>
                  <a:pt x="595" y="231"/>
                </a:lnTo>
                <a:lnTo>
                  <a:pt x="593" y="231"/>
                </a:lnTo>
                <a:lnTo>
                  <a:pt x="593" y="231"/>
                </a:lnTo>
                <a:lnTo>
                  <a:pt x="590" y="231"/>
                </a:lnTo>
                <a:lnTo>
                  <a:pt x="590" y="231"/>
                </a:lnTo>
                <a:lnTo>
                  <a:pt x="588" y="234"/>
                </a:lnTo>
                <a:lnTo>
                  <a:pt x="588" y="234"/>
                </a:lnTo>
                <a:lnTo>
                  <a:pt x="588" y="234"/>
                </a:lnTo>
                <a:lnTo>
                  <a:pt x="585" y="231"/>
                </a:lnTo>
                <a:lnTo>
                  <a:pt x="585" y="231"/>
                </a:lnTo>
                <a:lnTo>
                  <a:pt x="585" y="229"/>
                </a:lnTo>
                <a:lnTo>
                  <a:pt x="585" y="229"/>
                </a:lnTo>
                <a:lnTo>
                  <a:pt x="583" y="229"/>
                </a:lnTo>
                <a:lnTo>
                  <a:pt x="583" y="229"/>
                </a:lnTo>
                <a:close/>
                <a:moveTo>
                  <a:pt x="731" y="293"/>
                </a:moveTo>
                <a:lnTo>
                  <a:pt x="731" y="293"/>
                </a:lnTo>
                <a:lnTo>
                  <a:pt x="731" y="293"/>
                </a:lnTo>
                <a:lnTo>
                  <a:pt x="731" y="290"/>
                </a:lnTo>
                <a:lnTo>
                  <a:pt x="731" y="290"/>
                </a:lnTo>
                <a:lnTo>
                  <a:pt x="735" y="290"/>
                </a:lnTo>
                <a:lnTo>
                  <a:pt x="735" y="290"/>
                </a:lnTo>
                <a:lnTo>
                  <a:pt x="735" y="288"/>
                </a:lnTo>
                <a:lnTo>
                  <a:pt x="735" y="288"/>
                </a:lnTo>
                <a:lnTo>
                  <a:pt x="735" y="285"/>
                </a:lnTo>
                <a:lnTo>
                  <a:pt x="735" y="285"/>
                </a:lnTo>
                <a:lnTo>
                  <a:pt x="740" y="283"/>
                </a:lnTo>
                <a:lnTo>
                  <a:pt x="740" y="283"/>
                </a:lnTo>
                <a:lnTo>
                  <a:pt x="740" y="283"/>
                </a:lnTo>
                <a:lnTo>
                  <a:pt x="745" y="283"/>
                </a:lnTo>
                <a:lnTo>
                  <a:pt x="745" y="283"/>
                </a:lnTo>
                <a:lnTo>
                  <a:pt x="745" y="285"/>
                </a:lnTo>
                <a:lnTo>
                  <a:pt x="745" y="285"/>
                </a:lnTo>
                <a:lnTo>
                  <a:pt x="745" y="288"/>
                </a:lnTo>
                <a:lnTo>
                  <a:pt x="745" y="288"/>
                </a:lnTo>
                <a:lnTo>
                  <a:pt x="745" y="290"/>
                </a:lnTo>
                <a:lnTo>
                  <a:pt x="745" y="290"/>
                </a:lnTo>
                <a:lnTo>
                  <a:pt x="743" y="293"/>
                </a:lnTo>
                <a:lnTo>
                  <a:pt x="743" y="293"/>
                </a:lnTo>
                <a:lnTo>
                  <a:pt x="740" y="295"/>
                </a:lnTo>
                <a:lnTo>
                  <a:pt x="740" y="295"/>
                </a:lnTo>
                <a:lnTo>
                  <a:pt x="738" y="295"/>
                </a:lnTo>
                <a:lnTo>
                  <a:pt x="738" y="295"/>
                </a:lnTo>
                <a:lnTo>
                  <a:pt x="738" y="298"/>
                </a:lnTo>
                <a:lnTo>
                  <a:pt x="738" y="298"/>
                </a:lnTo>
                <a:lnTo>
                  <a:pt x="735" y="298"/>
                </a:lnTo>
                <a:lnTo>
                  <a:pt x="735" y="298"/>
                </a:lnTo>
                <a:lnTo>
                  <a:pt x="733" y="295"/>
                </a:lnTo>
                <a:lnTo>
                  <a:pt x="733" y="295"/>
                </a:lnTo>
                <a:lnTo>
                  <a:pt x="731" y="293"/>
                </a:lnTo>
                <a:lnTo>
                  <a:pt x="731" y="293"/>
                </a:lnTo>
                <a:close/>
                <a:moveTo>
                  <a:pt x="612" y="288"/>
                </a:moveTo>
                <a:lnTo>
                  <a:pt x="612" y="288"/>
                </a:lnTo>
                <a:lnTo>
                  <a:pt x="612" y="285"/>
                </a:lnTo>
                <a:lnTo>
                  <a:pt x="612" y="285"/>
                </a:lnTo>
                <a:lnTo>
                  <a:pt x="612" y="283"/>
                </a:lnTo>
                <a:lnTo>
                  <a:pt x="612" y="283"/>
                </a:lnTo>
                <a:lnTo>
                  <a:pt x="612" y="278"/>
                </a:lnTo>
                <a:lnTo>
                  <a:pt x="612" y="278"/>
                </a:lnTo>
                <a:lnTo>
                  <a:pt x="617" y="278"/>
                </a:lnTo>
                <a:lnTo>
                  <a:pt x="617" y="278"/>
                </a:lnTo>
                <a:lnTo>
                  <a:pt x="622" y="278"/>
                </a:lnTo>
                <a:lnTo>
                  <a:pt x="622" y="278"/>
                </a:lnTo>
                <a:lnTo>
                  <a:pt x="625" y="278"/>
                </a:lnTo>
                <a:lnTo>
                  <a:pt x="625" y="278"/>
                </a:lnTo>
                <a:lnTo>
                  <a:pt x="630" y="278"/>
                </a:lnTo>
                <a:lnTo>
                  <a:pt x="630" y="278"/>
                </a:lnTo>
                <a:lnTo>
                  <a:pt x="632" y="278"/>
                </a:lnTo>
                <a:lnTo>
                  <a:pt x="632" y="278"/>
                </a:lnTo>
                <a:lnTo>
                  <a:pt x="635" y="275"/>
                </a:lnTo>
                <a:lnTo>
                  <a:pt x="635" y="275"/>
                </a:lnTo>
                <a:lnTo>
                  <a:pt x="640" y="275"/>
                </a:lnTo>
                <a:lnTo>
                  <a:pt x="640" y="275"/>
                </a:lnTo>
                <a:lnTo>
                  <a:pt x="644" y="278"/>
                </a:lnTo>
                <a:lnTo>
                  <a:pt x="644" y="278"/>
                </a:lnTo>
                <a:lnTo>
                  <a:pt x="649" y="278"/>
                </a:lnTo>
                <a:lnTo>
                  <a:pt x="649" y="278"/>
                </a:lnTo>
                <a:lnTo>
                  <a:pt x="652" y="278"/>
                </a:lnTo>
                <a:lnTo>
                  <a:pt x="652" y="278"/>
                </a:lnTo>
                <a:lnTo>
                  <a:pt x="654" y="275"/>
                </a:lnTo>
                <a:lnTo>
                  <a:pt x="654" y="275"/>
                </a:lnTo>
                <a:lnTo>
                  <a:pt x="662" y="275"/>
                </a:lnTo>
                <a:lnTo>
                  <a:pt x="662" y="275"/>
                </a:lnTo>
                <a:lnTo>
                  <a:pt x="662" y="273"/>
                </a:lnTo>
                <a:lnTo>
                  <a:pt x="662" y="273"/>
                </a:lnTo>
                <a:lnTo>
                  <a:pt x="664" y="273"/>
                </a:lnTo>
                <a:lnTo>
                  <a:pt x="664" y="273"/>
                </a:lnTo>
                <a:lnTo>
                  <a:pt x="662" y="271"/>
                </a:lnTo>
                <a:lnTo>
                  <a:pt x="662" y="271"/>
                </a:lnTo>
                <a:lnTo>
                  <a:pt x="659" y="273"/>
                </a:lnTo>
                <a:lnTo>
                  <a:pt x="659" y="273"/>
                </a:lnTo>
                <a:lnTo>
                  <a:pt x="657" y="273"/>
                </a:lnTo>
                <a:lnTo>
                  <a:pt x="657" y="273"/>
                </a:lnTo>
                <a:lnTo>
                  <a:pt x="657" y="271"/>
                </a:lnTo>
                <a:lnTo>
                  <a:pt x="657" y="271"/>
                </a:lnTo>
                <a:lnTo>
                  <a:pt x="652" y="273"/>
                </a:lnTo>
                <a:lnTo>
                  <a:pt x="652" y="273"/>
                </a:lnTo>
                <a:lnTo>
                  <a:pt x="647" y="273"/>
                </a:lnTo>
                <a:lnTo>
                  <a:pt x="647" y="273"/>
                </a:lnTo>
                <a:lnTo>
                  <a:pt x="647" y="271"/>
                </a:lnTo>
                <a:lnTo>
                  <a:pt x="647" y="271"/>
                </a:lnTo>
                <a:lnTo>
                  <a:pt x="644" y="268"/>
                </a:lnTo>
                <a:lnTo>
                  <a:pt x="644" y="268"/>
                </a:lnTo>
                <a:lnTo>
                  <a:pt x="642" y="271"/>
                </a:lnTo>
                <a:lnTo>
                  <a:pt x="642" y="271"/>
                </a:lnTo>
                <a:lnTo>
                  <a:pt x="640" y="271"/>
                </a:lnTo>
                <a:lnTo>
                  <a:pt x="640" y="271"/>
                </a:lnTo>
                <a:lnTo>
                  <a:pt x="637" y="271"/>
                </a:lnTo>
                <a:lnTo>
                  <a:pt x="637" y="271"/>
                </a:lnTo>
                <a:lnTo>
                  <a:pt x="637" y="271"/>
                </a:lnTo>
                <a:lnTo>
                  <a:pt x="632" y="271"/>
                </a:lnTo>
                <a:lnTo>
                  <a:pt x="632" y="271"/>
                </a:lnTo>
                <a:lnTo>
                  <a:pt x="630" y="271"/>
                </a:lnTo>
                <a:lnTo>
                  <a:pt x="630" y="271"/>
                </a:lnTo>
                <a:lnTo>
                  <a:pt x="630" y="268"/>
                </a:lnTo>
                <a:lnTo>
                  <a:pt x="630" y="268"/>
                </a:lnTo>
                <a:lnTo>
                  <a:pt x="632" y="266"/>
                </a:lnTo>
                <a:lnTo>
                  <a:pt x="632" y="266"/>
                </a:lnTo>
                <a:lnTo>
                  <a:pt x="637" y="263"/>
                </a:lnTo>
                <a:lnTo>
                  <a:pt x="637" y="263"/>
                </a:lnTo>
                <a:lnTo>
                  <a:pt x="635" y="263"/>
                </a:lnTo>
                <a:lnTo>
                  <a:pt x="635" y="263"/>
                </a:lnTo>
                <a:lnTo>
                  <a:pt x="630" y="263"/>
                </a:lnTo>
                <a:lnTo>
                  <a:pt x="630" y="263"/>
                </a:lnTo>
                <a:lnTo>
                  <a:pt x="630" y="266"/>
                </a:lnTo>
                <a:lnTo>
                  <a:pt x="630" y="266"/>
                </a:lnTo>
                <a:lnTo>
                  <a:pt x="627" y="261"/>
                </a:lnTo>
                <a:lnTo>
                  <a:pt x="627" y="261"/>
                </a:lnTo>
                <a:lnTo>
                  <a:pt x="627" y="263"/>
                </a:lnTo>
                <a:lnTo>
                  <a:pt x="627" y="263"/>
                </a:lnTo>
                <a:lnTo>
                  <a:pt x="625" y="266"/>
                </a:lnTo>
                <a:lnTo>
                  <a:pt x="625" y="266"/>
                </a:lnTo>
                <a:lnTo>
                  <a:pt x="620" y="268"/>
                </a:lnTo>
                <a:lnTo>
                  <a:pt x="620" y="268"/>
                </a:lnTo>
                <a:lnTo>
                  <a:pt x="620" y="271"/>
                </a:lnTo>
                <a:lnTo>
                  <a:pt x="620" y="271"/>
                </a:lnTo>
                <a:lnTo>
                  <a:pt x="617" y="271"/>
                </a:lnTo>
                <a:lnTo>
                  <a:pt x="617" y="271"/>
                </a:lnTo>
                <a:lnTo>
                  <a:pt x="612" y="268"/>
                </a:lnTo>
                <a:lnTo>
                  <a:pt x="612" y="268"/>
                </a:lnTo>
                <a:lnTo>
                  <a:pt x="612" y="266"/>
                </a:lnTo>
                <a:lnTo>
                  <a:pt x="612" y="266"/>
                </a:lnTo>
                <a:lnTo>
                  <a:pt x="615" y="263"/>
                </a:lnTo>
                <a:lnTo>
                  <a:pt x="615" y="263"/>
                </a:lnTo>
                <a:lnTo>
                  <a:pt x="612" y="266"/>
                </a:lnTo>
                <a:lnTo>
                  <a:pt x="612" y="266"/>
                </a:lnTo>
                <a:lnTo>
                  <a:pt x="610" y="263"/>
                </a:lnTo>
                <a:lnTo>
                  <a:pt x="610" y="263"/>
                </a:lnTo>
                <a:lnTo>
                  <a:pt x="610" y="268"/>
                </a:lnTo>
                <a:lnTo>
                  <a:pt x="610" y="268"/>
                </a:lnTo>
                <a:lnTo>
                  <a:pt x="608" y="268"/>
                </a:lnTo>
                <a:lnTo>
                  <a:pt x="608" y="268"/>
                </a:lnTo>
                <a:lnTo>
                  <a:pt x="605" y="268"/>
                </a:lnTo>
                <a:lnTo>
                  <a:pt x="605" y="268"/>
                </a:lnTo>
                <a:lnTo>
                  <a:pt x="605" y="263"/>
                </a:lnTo>
                <a:lnTo>
                  <a:pt x="605" y="263"/>
                </a:lnTo>
                <a:lnTo>
                  <a:pt x="603" y="261"/>
                </a:lnTo>
                <a:lnTo>
                  <a:pt x="603" y="261"/>
                </a:lnTo>
                <a:lnTo>
                  <a:pt x="603" y="258"/>
                </a:lnTo>
                <a:lnTo>
                  <a:pt x="603" y="258"/>
                </a:lnTo>
                <a:lnTo>
                  <a:pt x="603" y="258"/>
                </a:lnTo>
                <a:lnTo>
                  <a:pt x="600" y="261"/>
                </a:lnTo>
                <a:lnTo>
                  <a:pt x="600" y="261"/>
                </a:lnTo>
                <a:lnTo>
                  <a:pt x="600" y="261"/>
                </a:lnTo>
                <a:lnTo>
                  <a:pt x="595" y="256"/>
                </a:lnTo>
                <a:lnTo>
                  <a:pt x="595" y="256"/>
                </a:lnTo>
                <a:lnTo>
                  <a:pt x="590" y="253"/>
                </a:lnTo>
                <a:lnTo>
                  <a:pt x="590" y="253"/>
                </a:lnTo>
                <a:lnTo>
                  <a:pt x="590" y="253"/>
                </a:lnTo>
                <a:lnTo>
                  <a:pt x="595" y="251"/>
                </a:lnTo>
                <a:lnTo>
                  <a:pt x="595" y="251"/>
                </a:lnTo>
                <a:lnTo>
                  <a:pt x="595" y="248"/>
                </a:lnTo>
                <a:lnTo>
                  <a:pt x="595" y="248"/>
                </a:lnTo>
                <a:lnTo>
                  <a:pt x="593" y="246"/>
                </a:lnTo>
                <a:lnTo>
                  <a:pt x="593" y="246"/>
                </a:lnTo>
                <a:lnTo>
                  <a:pt x="600" y="243"/>
                </a:lnTo>
                <a:lnTo>
                  <a:pt x="600" y="243"/>
                </a:lnTo>
                <a:lnTo>
                  <a:pt x="603" y="241"/>
                </a:lnTo>
                <a:lnTo>
                  <a:pt x="603" y="241"/>
                </a:lnTo>
                <a:lnTo>
                  <a:pt x="605" y="243"/>
                </a:lnTo>
                <a:lnTo>
                  <a:pt x="605" y="243"/>
                </a:lnTo>
                <a:lnTo>
                  <a:pt x="610" y="243"/>
                </a:lnTo>
                <a:lnTo>
                  <a:pt x="610" y="243"/>
                </a:lnTo>
                <a:lnTo>
                  <a:pt x="612" y="246"/>
                </a:lnTo>
                <a:lnTo>
                  <a:pt x="612" y="246"/>
                </a:lnTo>
                <a:lnTo>
                  <a:pt x="617" y="246"/>
                </a:lnTo>
                <a:lnTo>
                  <a:pt x="617" y="246"/>
                </a:lnTo>
                <a:lnTo>
                  <a:pt x="620" y="243"/>
                </a:lnTo>
                <a:lnTo>
                  <a:pt x="620" y="243"/>
                </a:lnTo>
                <a:lnTo>
                  <a:pt x="622" y="243"/>
                </a:lnTo>
                <a:lnTo>
                  <a:pt x="622" y="243"/>
                </a:lnTo>
                <a:lnTo>
                  <a:pt x="627" y="241"/>
                </a:lnTo>
                <a:lnTo>
                  <a:pt x="627" y="241"/>
                </a:lnTo>
                <a:lnTo>
                  <a:pt x="625" y="239"/>
                </a:lnTo>
                <a:lnTo>
                  <a:pt x="625" y="239"/>
                </a:lnTo>
                <a:lnTo>
                  <a:pt x="622" y="239"/>
                </a:lnTo>
                <a:lnTo>
                  <a:pt x="622" y="239"/>
                </a:lnTo>
                <a:lnTo>
                  <a:pt x="620" y="239"/>
                </a:lnTo>
                <a:lnTo>
                  <a:pt x="620" y="239"/>
                </a:lnTo>
                <a:lnTo>
                  <a:pt x="617" y="239"/>
                </a:lnTo>
                <a:lnTo>
                  <a:pt x="617" y="239"/>
                </a:lnTo>
                <a:lnTo>
                  <a:pt x="612" y="236"/>
                </a:lnTo>
                <a:lnTo>
                  <a:pt x="612" y="236"/>
                </a:lnTo>
                <a:lnTo>
                  <a:pt x="608" y="236"/>
                </a:lnTo>
                <a:lnTo>
                  <a:pt x="608" y="236"/>
                </a:lnTo>
                <a:lnTo>
                  <a:pt x="608" y="236"/>
                </a:lnTo>
                <a:lnTo>
                  <a:pt x="612" y="231"/>
                </a:lnTo>
                <a:lnTo>
                  <a:pt x="612" y="231"/>
                </a:lnTo>
                <a:lnTo>
                  <a:pt x="615" y="229"/>
                </a:lnTo>
                <a:lnTo>
                  <a:pt x="615" y="229"/>
                </a:lnTo>
                <a:lnTo>
                  <a:pt x="617" y="226"/>
                </a:lnTo>
                <a:lnTo>
                  <a:pt x="617" y="226"/>
                </a:lnTo>
                <a:lnTo>
                  <a:pt x="620" y="229"/>
                </a:lnTo>
                <a:lnTo>
                  <a:pt x="620" y="229"/>
                </a:lnTo>
                <a:lnTo>
                  <a:pt x="627" y="226"/>
                </a:lnTo>
                <a:lnTo>
                  <a:pt x="627" y="226"/>
                </a:lnTo>
                <a:lnTo>
                  <a:pt x="632" y="226"/>
                </a:lnTo>
                <a:lnTo>
                  <a:pt x="632" y="226"/>
                </a:lnTo>
                <a:lnTo>
                  <a:pt x="637" y="229"/>
                </a:lnTo>
                <a:lnTo>
                  <a:pt x="637" y="229"/>
                </a:lnTo>
                <a:lnTo>
                  <a:pt x="640" y="229"/>
                </a:lnTo>
                <a:lnTo>
                  <a:pt x="640" y="229"/>
                </a:lnTo>
                <a:lnTo>
                  <a:pt x="637" y="226"/>
                </a:lnTo>
                <a:lnTo>
                  <a:pt x="637" y="226"/>
                </a:lnTo>
                <a:lnTo>
                  <a:pt x="635" y="226"/>
                </a:lnTo>
                <a:lnTo>
                  <a:pt x="635" y="226"/>
                </a:lnTo>
                <a:lnTo>
                  <a:pt x="632" y="224"/>
                </a:lnTo>
                <a:lnTo>
                  <a:pt x="632" y="224"/>
                </a:lnTo>
                <a:lnTo>
                  <a:pt x="630" y="224"/>
                </a:lnTo>
                <a:lnTo>
                  <a:pt x="630" y="224"/>
                </a:lnTo>
                <a:lnTo>
                  <a:pt x="622" y="224"/>
                </a:lnTo>
                <a:lnTo>
                  <a:pt x="622" y="224"/>
                </a:lnTo>
                <a:lnTo>
                  <a:pt x="622" y="219"/>
                </a:lnTo>
                <a:lnTo>
                  <a:pt x="622" y="219"/>
                </a:lnTo>
                <a:lnTo>
                  <a:pt x="625" y="216"/>
                </a:lnTo>
                <a:lnTo>
                  <a:pt x="625" y="216"/>
                </a:lnTo>
                <a:lnTo>
                  <a:pt x="627" y="214"/>
                </a:lnTo>
                <a:lnTo>
                  <a:pt x="627" y="214"/>
                </a:lnTo>
                <a:lnTo>
                  <a:pt x="630" y="214"/>
                </a:lnTo>
                <a:lnTo>
                  <a:pt x="630" y="214"/>
                </a:lnTo>
                <a:lnTo>
                  <a:pt x="630" y="214"/>
                </a:lnTo>
                <a:lnTo>
                  <a:pt x="635" y="212"/>
                </a:lnTo>
                <a:lnTo>
                  <a:pt x="635" y="212"/>
                </a:lnTo>
                <a:lnTo>
                  <a:pt x="637" y="212"/>
                </a:lnTo>
                <a:lnTo>
                  <a:pt x="637" y="212"/>
                </a:lnTo>
                <a:lnTo>
                  <a:pt x="637" y="214"/>
                </a:lnTo>
                <a:lnTo>
                  <a:pt x="637" y="214"/>
                </a:lnTo>
                <a:lnTo>
                  <a:pt x="640" y="214"/>
                </a:lnTo>
                <a:lnTo>
                  <a:pt x="640" y="214"/>
                </a:lnTo>
                <a:lnTo>
                  <a:pt x="644" y="216"/>
                </a:lnTo>
                <a:lnTo>
                  <a:pt x="644" y="216"/>
                </a:lnTo>
                <a:lnTo>
                  <a:pt x="647" y="216"/>
                </a:lnTo>
                <a:lnTo>
                  <a:pt x="647" y="216"/>
                </a:lnTo>
                <a:lnTo>
                  <a:pt x="644" y="214"/>
                </a:lnTo>
                <a:lnTo>
                  <a:pt x="644" y="214"/>
                </a:lnTo>
                <a:lnTo>
                  <a:pt x="642" y="212"/>
                </a:lnTo>
                <a:lnTo>
                  <a:pt x="642" y="212"/>
                </a:lnTo>
                <a:lnTo>
                  <a:pt x="640" y="209"/>
                </a:lnTo>
                <a:lnTo>
                  <a:pt x="640" y="209"/>
                </a:lnTo>
                <a:lnTo>
                  <a:pt x="640" y="207"/>
                </a:lnTo>
                <a:lnTo>
                  <a:pt x="640" y="207"/>
                </a:lnTo>
                <a:lnTo>
                  <a:pt x="642" y="207"/>
                </a:lnTo>
                <a:lnTo>
                  <a:pt x="642" y="207"/>
                </a:lnTo>
                <a:lnTo>
                  <a:pt x="649" y="204"/>
                </a:lnTo>
                <a:lnTo>
                  <a:pt x="649" y="204"/>
                </a:lnTo>
                <a:lnTo>
                  <a:pt x="652" y="204"/>
                </a:lnTo>
                <a:lnTo>
                  <a:pt x="652" y="204"/>
                </a:lnTo>
                <a:lnTo>
                  <a:pt x="657" y="204"/>
                </a:lnTo>
                <a:lnTo>
                  <a:pt x="657" y="204"/>
                </a:lnTo>
                <a:lnTo>
                  <a:pt x="659" y="207"/>
                </a:lnTo>
                <a:lnTo>
                  <a:pt x="659" y="207"/>
                </a:lnTo>
                <a:lnTo>
                  <a:pt x="662" y="212"/>
                </a:lnTo>
                <a:lnTo>
                  <a:pt x="662" y="212"/>
                </a:lnTo>
                <a:lnTo>
                  <a:pt x="659" y="214"/>
                </a:lnTo>
                <a:lnTo>
                  <a:pt x="659" y="214"/>
                </a:lnTo>
                <a:lnTo>
                  <a:pt x="657" y="216"/>
                </a:lnTo>
                <a:lnTo>
                  <a:pt x="657" y="216"/>
                </a:lnTo>
                <a:lnTo>
                  <a:pt x="657" y="219"/>
                </a:lnTo>
                <a:lnTo>
                  <a:pt x="657" y="219"/>
                </a:lnTo>
                <a:lnTo>
                  <a:pt x="664" y="219"/>
                </a:lnTo>
                <a:lnTo>
                  <a:pt x="664" y="219"/>
                </a:lnTo>
                <a:lnTo>
                  <a:pt x="664" y="219"/>
                </a:lnTo>
                <a:lnTo>
                  <a:pt x="667" y="219"/>
                </a:lnTo>
                <a:lnTo>
                  <a:pt x="667" y="219"/>
                </a:lnTo>
                <a:lnTo>
                  <a:pt x="669" y="219"/>
                </a:lnTo>
                <a:lnTo>
                  <a:pt x="669" y="219"/>
                </a:lnTo>
                <a:lnTo>
                  <a:pt x="669" y="221"/>
                </a:lnTo>
                <a:lnTo>
                  <a:pt x="669" y="221"/>
                </a:lnTo>
                <a:lnTo>
                  <a:pt x="672" y="224"/>
                </a:lnTo>
                <a:lnTo>
                  <a:pt x="672" y="224"/>
                </a:lnTo>
                <a:lnTo>
                  <a:pt x="672" y="224"/>
                </a:lnTo>
                <a:lnTo>
                  <a:pt x="672" y="226"/>
                </a:lnTo>
                <a:lnTo>
                  <a:pt x="672" y="226"/>
                </a:lnTo>
                <a:lnTo>
                  <a:pt x="669" y="229"/>
                </a:lnTo>
                <a:lnTo>
                  <a:pt x="669" y="229"/>
                </a:lnTo>
                <a:lnTo>
                  <a:pt x="669" y="231"/>
                </a:lnTo>
                <a:lnTo>
                  <a:pt x="669" y="231"/>
                </a:lnTo>
                <a:lnTo>
                  <a:pt x="672" y="234"/>
                </a:lnTo>
                <a:lnTo>
                  <a:pt x="672" y="234"/>
                </a:lnTo>
                <a:lnTo>
                  <a:pt x="672" y="241"/>
                </a:lnTo>
                <a:lnTo>
                  <a:pt x="672" y="241"/>
                </a:lnTo>
                <a:lnTo>
                  <a:pt x="672" y="241"/>
                </a:lnTo>
                <a:lnTo>
                  <a:pt x="669" y="241"/>
                </a:lnTo>
                <a:lnTo>
                  <a:pt x="669" y="241"/>
                </a:lnTo>
                <a:lnTo>
                  <a:pt x="664" y="241"/>
                </a:lnTo>
                <a:lnTo>
                  <a:pt x="664" y="241"/>
                </a:lnTo>
                <a:lnTo>
                  <a:pt x="667" y="243"/>
                </a:lnTo>
                <a:lnTo>
                  <a:pt x="667" y="243"/>
                </a:lnTo>
                <a:lnTo>
                  <a:pt x="669" y="243"/>
                </a:lnTo>
                <a:lnTo>
                  <a:pt x="669" y="243"/>
                </a:lnTo>
                <a:lnTo>
                  <a:pt x="672" y="246"/>
                </a:lnTo>
                <a:lnTo>
                  <a:pt x="672" y="246"/>
                </a:lnTo>
                <a:lnTo>
                  <a:pt x="674" y="246"/>
                </a:lnTo>
                <a:lnTo>
                  <a:pt x="674" y="246"/>
                </a:lnTo>
                <a:lnTo>
                  <a:pt x="672" y="251"/>
                </a:lnTo>
                <a:lnTo>
                  <a:pt x="672" y="251"/>
                </a:lnTo>
                <a:lnTo>
                  <a:pt x="669" y="253"/>
                </a:lnTo>
                <a:lnTo>
                  <a:pt x="669" y="253"/>
                </a:lnTo>
                <a:lnTo>
                  <a:pt x="669" y="258"/>
                </a:lnTo>
                <a:lnTo>
                  <a:pt x="669" y="258"/>
                </a:lnTo>
                <a:lnTo>
                  <a:pt x="672" y="261"/>
                </a:lnTo>
                <a:lnTo>
                  <a:pt x="672" y="261"/>
                </a:lnTo>
                <a:lnTo>
                  <a:pt x="674" y="258"/>
                </a:lnTo>
                <a:lnTo>
                  <a:pt x="674" y="258"/>
                </a:lnTo>
                <a:lnTo>
                  <a:pt x="676" y="256"/>
                </a:lnTo>
                <a:lnTo>
                  <a:pt x="676" y="256"/>
                </a:lnTo>
                <a:lnTo>
                  <a:pt x="679" y="258"/>
                </a:lnTo>
                <a:lnTo>
                  <a:pt x="679" y="258"/>
                </a:lnTo>
                <a:lnTo>
                  <a:pt x="679" y="261"/>
                </a:lnTo>
                <a:lnTo>
                  <a:pt x="679" y="261"/>
                </a:lnTo>
                <a:lnTo>
                  <a:pt x="681" y="261"/>
                </a:lnTo>
                <a:lnTo>
                  <a:pt x="681" y="261"/>
                </a:lnTo>
                <a:lnTo>
                  <a:pt x="684" y="261"/>
                </a:lnTo>
                <a:lnTo>
                  <a:pt x="684" y="261"/>
                </a:lnTo>
                <a:lnTo>
                  <a:pt x="689" y="261"/>
                </a:lnTo>
                <a:lnTo>
                  <a:pt x="689" y="261"/>
                </a:lnTo>
                <a:lnTo>
                  <a:pt x="691" y="266"/>
                </a:lnTo>
                <a:lnTo>
                  <a:pt x="691" y="266"/>
                </a:lnTo>
                <a:lnTo>
                  <a:pt x="694" y="266"/>
                </a:lnTo>
                <a:lnTo>
                  <a:pt x="694" y="266"/>
                </a:lnTo>
                <a:lnTo>
                  <a:pt x="694" y="263"/>
                </a:lnTo>
                <a:lnTo>
                  <a:pt x="694" y="263"/>
                </a:lnTo>
                <a:lnTo>
                  <a:pt x="691" y="261"/>
                </a:lnTo>
                <a:lnTo>
                  <a:pt x="691" y="261"/>
                </a:lnTo>
                <a:lnTo>
                  <a:pt x="696" y="258"/>
                </a:lnTo>
                <a:lnTo>
                  <a:pt x="696" y="258"/>
                </a:lnTo>
                <a:lnTo>
                  <a:pt x="696" y="253"/>
                </a:lnTo>
                <a:lnTo>
                  <a:pt x="696" y="253"/>
                </a:lnTo>
                <a:lnTo>
                  <a:pt x="694" y="251"/>
                </a:lnTo>
                <a:lnTo>
                  <a:pt x="694" y="251"/>
                </a:lnTo>
                <a:lnTo>
                  <a:pt x="694" y="248"/>
                </a:lnTo>
                <a:lnTo>
                  <a:pt x="694" y="248"/>
                </a:lnTo>
                <a:lnTo>
                  <a:pt x="691" y="246"/>
                </a:lnTo>
                <a:lnTo>
                  <a:pt x="691" y="246"/>
                </a:lnTo>
                <a:lnTo>
                  <a:pt x="694" y="243"/>
                </a:lnTo>
                <a:lnTo>
                  <a:pt x="694" y="243"/>
                </a:lnTo>
                <a:lnTo>
                  <a:pt x="694" y="243"/>
                </a:lnTo>
                <a:lnTo>
                  <a:pt x="699" y="243"/>
                </a:lnTo>
                <a:lnTo>
                  <a:pt x="699" y="243"/>
                </a:lnTo>
                <a:lnTo>
                  <a:pt x="701" y="243"/>
                </a:lnTo>
                <a:lnTo>
                  <a:pt x="701" y="243"/>
                </a:lnTo>
                <a:lnTo>
                  <a:pt x="703" y="239"/>
                </a:lnTo>
                <a:lnTo>
                  <a:pt x="703" y="239"/>
                </a:lnTo>
                <a:lnTo>
                  <a:pt x="701" y="234"/>
                </a:lnTo>
                <a:lnTo>
                  <a:pt x="701" y="234"/>
                </a:lnTo>
                <a:lnTo>
                  <a:pt x="701" y="234"/>
                </a:lnTo>
                <a:lnTo>
                  <a:pt x="701" y="229"/>
                </a:lnTo>
                <a:lnTo>
                  <a:pt x="701" y="229"/>
                </a:lnTo>
                <a:lnTo>
                  <a:pt x="699" y="226"/>
                </a:lnTo>
                <a:lnTo>
                  <a:pt x="699" y="226"/>
                </a:lnTo>
                <a:lnTo>
                  <a:pt x="701" y="221"/>
                </a:lnTo>
                <a:lnTo>
                  <a:pt x="701" y="221"/>
                </a:lnTo>
                <a:lnTo>
                  <a:pt x="703" y="221"/>
                </a:lnTo>
                <a:lnTo>
                  <a:pt x="703" y="221"/>
                </a:lnTo>
                <a:lnTo>
                  <a:pt x="706" y="221"/>
                </a:lnTo>
                <a:lnTo>
                  <a:pt x="706" y="221"/>
                </a:lnTo>
                <a:lnTo>
                  <a:pt x="708" y="221"/>
                </a:lnTo>
                <a:lnTo>
                  <a:pt x="708" y="221"/>
                </a:lnTo>
                <a:lnTo>
                  <a:pt x="708" y="219"/>
                </a:lnTo>
                <a:lnTo>
                  <a:pt x="708" y="219"/>
                </a:lnTo>
                <a:lnTo>
                  <a:pt x="708" y="216"/>
                </a:lnTo>
                <a:lnTo>
                  <a:pt x="708" y="216"/>
                </a:lnTo>
                <a:lnTo>
                  <a:pt x="713" y="214"/>
                </a:lnTo>
                <a:lnTo>
                  <a:pt x="713" y="214"/>
                </a:lnTo>
                <a:lnTo>
                  <a:pt x="721" y="209"/>
                </a:lnTo>
                <a:lnTo>
                  <a:pt x="721" y="209"/>
                </a:lnTo>
                <a:lnTo>
                  <a:pt x="723" y="209"/>
                </a:lnTo>
                <a:lnTo>
                  <a:pt x="723" y="209"/>
                </a:lnTo>
                <a:lnTo>
                  <a:pt x="726" y="212"/>
                </a:lnTo>
                <a:lnTo>
                  <a:pt x="726" y="212"/>
                </a:lnTo>
                <a:lnTo>
                  <a:pt x="726" y="214"/>
                </a:lnTo>
                <a:lnTo>
                  <a:pt x="726" y="214"/>
                </a:lnTo>
                <a:lnTo>
                  <a:pt x="728" y="216"/>
                </a:lnTo>
                <a:lnTo>
                  <a:pt x="728" y="216"/>
                </a:lnTo>
                <a:lnTo>
                  <a:pt x="726" y="216"/>
                </a:lnTo>
                <a:lnTo>
                  <a:pt x="726" y="216"/>
                </a:lnTo>
                <a:lnTo>
                  <a:pt x="723" y="216"/>
                </a:lnTo>
                <a:lnTo>
                  <a:pt x="723" y="216"/>
                </a:lnTo>
                <a:lnTo>
                  <a:pt x="721" y="219"/>
                </a:lnTo>
                <a:lnTo>
                  <a:pt x="721" y="219"/>
                </a:lnTo>
                <a:lnTo>
                  <a:pt x="721" y="221"/>
                </a:lnTo>
                <a:lnTo>
                  <a:pt x="721" y="221"/>
                </a:lnTo>
                <a:lnTo>
                  <a:pt x="721" y="224"/>
                </a:lnTo>
                <a:lnTo>
                  <a:pt x="721" y="224"/>
                </a:lnTo>
                <a:lnTo>
                  <a:pt x="721" y="229"/>
                </a:lnTo>
                <a:lnTo>
                  <a:pt x="721" y="229"/>
                </a:lnTo>
                <a:lnTo>
                  <a:pt x="721" y="229"/>
                </a:lnTo>
                <a:lnTo>
                  <a:pt x="721" y="236"/>
                </a:lnTo>
                <a:lnTo>
                  <a:pt x="721" y="236"/>
                </a:lnTo>
                <a:lnTo>
                  <a:pt x="721" y="239"/>
                </a:lnTo>
                <a:lnTo>
                  <a:pt x="721" y="239"/>
                </a:lnTo>
                <a:lnTo>
                  <a:pt x="718" y="239"/>
                </a:lnTo>
                <a:lnTo>
                  <a:pt x="718" y="239"/>
                </a:lnTo>
                <a:lnTo>
                  <a:pt x="713" y="241"/>
                </a:lnTo>
                <a:lnTo>
                  <a:pt x="713" y="241"/>
                </a:lnTo>
                <a:lnTo>
                  <a:pt x="711" y="243"/>
                </a:lnTo>
                <a:lnTo>
                  <a:pt x="711" y="243"/>
                </a:lnTo>
                <a:lnTo>
                  <a:pt x="711" y="246"/>
                </a:lnTo>
                <a:lnTo>
                  <a:pt x="711" y="246"/>
                </a:lnTo>
                <a:lnTo>
                  <a:pt x="713" y="246"/>
                </a:lnTo>
                <a:lnTo>
                  <a:pt x="713" y="246"/>
                </a:lnTo>
                <a:lnTo>
                  <a:pt x="716" y="243"/>
                </a:lnTo>
                <a:lnTo>
                  <a:pt x="716" y="243"/>
                </a:lnTo>
                <a:lnTo>
                  <a:pt x="721" y="243"/>
                </a:lnTo>
                <a:lnTo>
                  <a:pt x="721" y="243"/>
                </a:lnTo>
                <a:lnTo>
                  <a:pt x="721" y="246"/>
                </a:lnTo>
                <a:lnTo>
                  <a:pt x="721" y="246"/>
                </a:lnTo>
                <a:lnTo>
                  <a:pt x="718" y="248"/>
                </a:lnTo>
                <a:lnTo>
                  <a:pt x="718" y="248"/>
                </a:lnTo>
                <a:lnTo>
                  <a:pt x="713" y="253"/>
                </a:lnTo>
                <a:lnTo>
                  <a:pt x="713" y="253"/>
                </a:lnTo>
                <a:lnTo>
                  <a:pt x="711" y="256"/>
                </a:lnTo>
                <a:lnTo>
                  <a:pt x="711" y="256"/>
                </a:lnTo>
                <a:lnTo>
                  <a:pt x="708" y="258"/>
                </a:lnTo>
                <a:lnTo>
                  <a:pt x="708" y="258"/>
                </a:lnTo>
                <a:lnTo>
                  <a:pt x="711" y="261"/>
                </a:lnTo>
                <a:lnTo>
                  <a:pt x="711" y="261"/>
                </a:lnTo>
                <a:lnTo>
                  <a:pt x="711" y="258"/>
                </a:lnTo>
                <a:lnTo>
                  <a:pt x="711" y="258"/>
                </a:lnTo>
                <a:lnTo>
                  <a:pt x="716" y="256"/>
                </a:lnTo>
                <a:lnTo>
                  <a:pt x="716" y="256"/>
                </a:lnTo>
                <a:lnTo>
                  <a:pt x="718" y="253"/>
                </a:lnTo>
                <a:lnTo>
                  <a:pt x="718" y="253"/>
                </a:lnTo>
                <a:lnTo>
                  <a:pt x="721" y="253"/>
                </a:lnTo>
                <a:lnTo>
                  <a:pt x="721" y="253"/>
                </a:lnTo>
                <a:lnTo>
                  <a:pt x="726" y="253"/>
                </a:lnTo>
                <a:lnTo>
                  <a:pt x="726" y="253"/>
                </a:lnTo>
                <a:lnTo>
                  <a:pt x="723" y="258"/>
                </a:lnTo>
                <a:lnTo>
                  <a:pt x="723" y="258"/>
                </a:lnTo>
                <a:lnTo>
                  <a:pt x="723" y="263"/>
                </a:lnTo>
                <a:lnTo>
                  <a:pt x="723" y="263"/>
                </a:lnTo>
                <a:lnTo>
                  <a:pt x="723" y="263"/>
                </a:lnTo>
                <a:lnTo>
                  <a:pt x="726" y="261"/>
                </a:lnTo>
                <a:lnTo>
                  <a:pt x="726" y="261"/>
                </a:lnTo>
                <a:lnTo>
                  <a:pt x="728" y="261"/>
                </a:lnTo>
                <a:lnTo>
                  <a:pt x="728" y="261"/>
                </a:lnTo>
                <a:lnTo>
                  <a:pt x="728" y="261"/>
                </a:lnTo>
                <a:lnTo>
                  <a:pt x="728" y="258"/>
                </a:lnTo>
                <a:lnTo>
                  <a:pt x="728" y="258"/>
                </a:lnTo>
                <a:lnTo>
                  <a:pt x="731" y="256"/>
                </a:lnTo>
                <a:lnTo>
                  <a:pt x="731" y="256"/>
                </a:lnTo>
                <a:lnTo>
                  <a:pt x="731" y="253"/>
                </a:lnTo>
                <a:lnTo>
                  <a:pt x="731" y="253"/>
                </a:lnTo>
                <a:lnTo>
                  <a:pt x="735" y="248"/>
                </a:lnTo>
                <a:lnTo>
                  <a:pt x="735" y="248"/>
                </a:lnTo>
                <a:lnTo>
                  <a:pt x="738" y="248"/>
                </a:lnTo>
                <a:lnTo>
                  <a:pt x="738" y="248"/>
                </a:lnTo>
                <a:lnTo>
                  <a:pt x="740" y="251"/>
                </a:lnTo>
                <a:lnTo>
                  <a:pt x="740" y="251"/>
                </a:lnTo>
                <a:lnTo>
                  <a:pt x="743" y="256"/>
                </a:lnTo>
                <a:lnTo>
                  <a:pt x="743" y="256"/>
                </a:lnTo>
                <a:lnTo>
                  <a:pt x="743" y="258"/>
                </a:lnTo>
                <a:lnTo>
                  <a:pt x="743" y="258"/>
                </a:lnTo>
                <a:lnTo>
                  <a:pt x="743" y="263"/>
                </a:lnTo>
                <a:lnTo>
                  <a:pt x="743" y="263"/>
                </a:lnTo>
                <a:lnTo>
                  <a:pt x="738" y="271"/>
                </a:lnTo>
                <a:lnTo>
                  <a:pt x="738" y="271"/>
                </a:lnTo>
                <a:lnTo>
                  <a:pt x="735" y="273"/>
                </a:lnTo>
                <a:lnTo>
                  <a:pt x="735" y="273"/>
                </a:lnTo>
                <a:lnTo>
                  <a:pt x="733" y="275"/>
                </a:lnTo>
                <a:lnTo>
                  <a:pt x="733" y="275"/>
                </a:lnTo>
                <a:lnTo>
                  <a:pt x="731" y="275"/>
                </a:lnTo>
                <a:lnTo>
                  <a:pt x="731" y="275"/>
                </a:lnTo>
                <a:lnTo>
                  <a:pt x="731" y="275"/>
                </a:lnTo>
                <a:lnTo>
                  <a:pt x="731" y="278"/>
                </a:lnTo>
                <a:lnTo>
                  <a:pt x="731" y="278"/>
                </a:lnTo>
                <a:lnTo>
                  <a:pt x="726" y="283"/>
                </a:lnTo>
                <a:lnTo>
                  <a:pt x="726" y="283"/>
                </a:lnTo>
                <a:lnTo>
                  <a:pt x="723" y="283"/>
                </a:lnTo>
                <a:lnTo>
                  <a:pt x="723" y="283"/>
                </a:lnTo>
                <a:lnTo>
                  <a:pt x="721" y="285"/>
                </a:lnTo>
                <a:lnTo>
                  <a:pt x="721" y="285"/>
                </a:lnTo>
                <a:lnTo>
                  <a:pt x="721" y="288"/>
                </a:lnTo>
                <a:lnTo>
                  <a:pt x="721" y="288"/>
                </a:lnTo>
                <a:lnTo>
                  <a:pt x="721" y="290"/>
                </a:lnTo>
                <a:lnTo>
                  <a:pt x="721" y="290"/>
                </a:lnTo>
                <a:lnTo>
                  <a:pt x="718" y="290"/>
                </a:lnTo>
                <a:lnTo>
                  <a:pt x="718" y="290"/>
                </a:lnTo>
                <a:lnTo>
                  <a:pt x="718" y="290"/>
                </a:lnTo>
                <a:lnTo>
                  <a:pt x="718" y="293"/>
                </a:lnTo>
                <a:lnTo>
                  <a:pt x="718" y="293"/>
                </a:lnTo>
                <a:lnTo>
                  <a:pt x="716" y="293"/>
                </a:lnTo>
                <a:lnTo>
                  <a:pt x="716" y="293"/>
                </a:lnTo>
                <a:lnTo>
                  <a:pt x="713" y="290"/>
                </a:lnTo>
                <a:lnTo>
                  <a:pt x="713" y="290"/>
                </a:lnTo>
                <a:lnTo>
                  <a:pt x="711" y="293"/>
                </a:lnTo>
                <a:lnTo>
                  <a:pt x="711" y="293"/>
                </a:lnTo>
                <a:lnTo>
                  <a:pt x="708" y="293"/>
                </a:lnTo>
                <a:lnTo>
                  <a:pt x="708" y="293"/>
                </a:lnTo>
                <a:lnTo>
                  <a:pt x="703" y="295"/>
                </a:lnTo>
                <a:lnTo>
                  <a:pt x="703" y="295"/>
                </a:lnTo>
                <a:lnTo>
                  <a:pt x="699" y="295"/>
                </a:lnTo>
                <a:lnTo>
                  <a:pt x="699" y="295"/>
                </a:lnTo>
                <a:lnTo>
                  <a:pt x="696" y="293"/>
                </a:lnTo>
                <a:lnTo>
                  <a:pt x="696" y="293"/>
                </a:lnTo>
                <a:lnTo>
                  <a:pt x="694" y="293"/>
                </a:lnTo>
                <a:lnTo>
                  <a:pt x="694" y="293"/>
                </a:lnTo>
                <a:lnTo>
                  <a:pt x="696" y="290"/>
                </a:lnTo>
                <a:lnTo>
                  <a:pt x="696" y="290"/>
                </a:lnTo>
                <a:lnTo>
                  <a:pt x="696" y="288"/>
                </a:lnTo>
                <a:lnTo>
                  <a:pt x="696" y="288"/>
                </a:lnTo>
                <a:lnTo>
                  <a:pt x="696" y="288"/>
                </a:lnTo>
                <a:lnTo>
                  <a:pt x="691" y="288"/>
                </a:lnTo>
                <a:lnTo>
                  <a:pt x="691" y="288"/>
                </a:lnTo>
                <a:lnTo>
                  <a:pt x="691" y="290"/>
                </a:lnTo>
                <a:lnTo>
                  <a:pt x="691" y="290"/>
                </a:lnTo>
                <a:lnTo>
                  <a:pt x="689" y="290"/>
                </a:lnTo>
                <a:lnTo>
                  <a:pt x="689" y="290"/>
                </a:lnTo>
                <a:lnTo>
                  <a:pt x="686" y="290"/>
                </a:lnTo>
                <a:lnTo>
                  <a:pt x="686" y="290"/>
                </a:lnTo>
                <a:lnTo>
                  <a:pt x="686" y="288"/>
                </a:lnTo>
                <a:lnTo>
                  <a:pt x="686" y="288"/>
                </a:lnTo>
                <a:lnTo>
                  <a:pt x="686" y="288"/>
                </a:lnTo>
                <a:lnTo>
                  <a:pt x="686" y="285"/>
                </a:lnTo>
                <a:lnTo>
                  <a:pt x="686" y="285"/>
                </a:lnTo>
                <a:lnTo>
                  <a:pt x="684" y="283"/>
                </a:lnTo>
                <a:lnTo>
                  <a:pt x="684" y="283"/>
                </a:lnTo>
                <a:lnTo>
                  <a:pt x="684" y="285"/>
                </a:lnTo>
                <a:lnTo>
                  <a:pt x="684" y="285"/>
                </a:lnTo>
                <a:lnTo>
                  <a:pt x="681" y="288"/>
                </a:lnTo>
                <a:lnTo>
                  <a:pt x="681" y="288"/>
                </a:lnTo>
                <a:lnTo>
                  <a:pt x="679" y="288"/>
                </a:lnTo>
                <a:lnTo>
                  <a:pt x="679" y="288"/>
                </a:lnTo>
                <a:lnTo>
                  <a:pt x="674" y="288"/>
                </a:lnTo>
                <a:lnTo>
                  <a:pt x="674" y="288"/>
                </a:lnTo>
                <a:lnTo>
                  <a:pt x="674" y="290"/>
                </a:lnTo>
                <a:lnTo>
                  <a:pt x="674" y="290"/>
                </a:lnTo>
                <a:lnTo>
                  <a:pt x="669" y="290"/>
                </a:lnTo>
                <a:lnTo>
                  <a:pt x="669" y="290"/>
                </a:lnTo>
                <a:lnTo>
                  <a:pt x="669" y="290"/>
                </a:lnTo>
                <a:lnTo>
                  <a:pt x="664" y="290"/>
                </a:lnTo>
                <a:lnTo>
                  <a:pt x="664" y="290"/>
                </a:lnTo>
                <a:lnTo>
                  <a:pt x="662" y="288"/>
                </a:lnTo>
                <a:lnTo>
                  <a:pt x="662" y="288"/>
                </a:lnTo>
                <a:lnTo>
                  <a:pt x="662" y="290"/>
                </a:lnTo>
                <a:lnTo>
                  <a:pt x="662" y="290"/>
                </a:lnTo>
                <a:lnTo>
                  <a:pt x="659" y="290"/>
                </a:lnTo>
                <a:lnTo>
                  <a:pt x="659" y="290"/>
                </a:lnTo>
                <a:lnTo>
                  <a:pt x="657" y="290"/>
                </a:lnTo>
                <a:lnTo>
                  <a:pt x="657" y="290"/>
                </a:lnTo>
                <a:lnTo>
                  <a:pt x="657" y="293"/>
                </a:lnTo>
                <a:lnTo>
                  <a:pt x="657" y="293"/>
                </a:lnTo>
                <a:lnTo>
                  <a:pt x="654" y="295"/>
                </a:lnTo>
                <a:lnTo>
                  <a:pt x="654" y="295"/>
                </a:lnTo>
                <a:lnTo>
                  <a:pt x="652" y="295"/>
                </a:lnTo>
                <a:lnTo>
                  <a:pt x="652" y="295"/>
                </a:lnTo>
                <a:lnTo>
                  <a:pt x="652" y="295"/>
                </a:lnTo>
                <a:lnTo>
                  <a:pt x="647" y="298"/>
                </a:lnTo>
                <a:lnTo>
                  <a:pt x="647" y="298"/>
                </a:lnTo>
                <a:lnTo>
                  <a:pt x="647" y="298"/>
                </a:lnTo>
                <a:lnTo>
                  <a:pt x="644" y="298"/>
                </a:lnTo>
                <a:lnTo>
                  <a:pt x="644" y="298"/>
                </a:lnTo>
                <a:lnTo>
                  <a:pt x="640" y="298"/>
                </a:lnTo>
                <a:lnTo>
                  <a:pt x="640" y="298"/>
                </a:lnTo>
                <a:lnTo>
                  <a:pt x="640" y="298"/>
                </a:lnTo>
                <a:lnTo>
                  <a:pt x="635" y="298"/>
                </a:lnTo>
                <a:lnTo>
                  <a:pt x="635" y="298"/>
                </a:lnTo>
                <a:lnTo>
                  <a:pt x="630" y="298"/>
                </a:lnTo>
                <a:lnTo>
                  <a:pt x="630" y="298"/>
                </a:lnTo>
                <a:lnTo>
                  <a:pt x="625" y="298"/>
                </a:lnTo>
                <a:lnTo>
                  <a:pt x="625" y="298"/>
                </a:lnTo>
                <a:lnTo>
                  <a:pt x="622" y="295"/>
                </a:lnTo>
                <a:lnTo>
                  <a:pt x="622" y="295"/>
                </a:lnTo>
                <a:lnTo>
                  <a:pt x="617" y="295"/>
                </a:lnTo>
                <a:lnTo>
                  <a:pt x="617" y="295"/>
                </a:lnTo>
                <a:lnTo>
                  <a:pt x="615" y="293"/>
                </a:lnTo>
                <a:lnTo>
                  <a:pt x="615" y="293"/>
                </a:lnTo>
                <a:lnTo>
                  <a:pt x="612" y="288"/>
                </a:lnTo>
                <a:lnTo>
                  <a:pt x="612" y="288"/>
                </a:lnTo>
                <a:close/>
                <a:moveTo>
                  <a:pt x="428" y="386"/>
                </a:moveTo>
                <a:lnTo>
                  <a:pt x="428" y="386"/>
                </a:lnTo>
                <a:lnTo>
                  <a:pt x="428" y="379"/>
                </a:lnTo>
                <a:lnTo>
                  <a:pt x="428" y="379"/>
                </a:lnTo>
                <a:lnTo>
                  <a:pt x="430" y="374"/>
                </a:lnTo>
                <a:lnTo>
                  <a:pt x="430" y="374"/>
                </a:lnTo>
                <a:lnTo>
                  <a:pt x="430" y="371"/>
                </a:lnTo>
                <a:lnTo>
                  <a:pt x="430" y="371"/>
                </a:lnTo>
                <a:lnTo>
                  <a:pt x="430" y="366"/>
                </a:lnTo>
                <a:lnTo>
                  <a:pt x="430" y="366"/>
                </a:lnTo>
                <a:lnTo>
                  <a:pt x="430" y="364"/>
                </a:lnTo>
                <a:lnTo>
                  <a:pt x="430" y="364"/>
                </a:lnTo>
                <a:lnTo>
                  <a:pt x="430" y="362"/>
                </a:lnTo>
                <a:lnTo>
                  <a:pt x="430" y="362"/>
                </a:lnTo>
                <a:lnTo>
                  <a:pt x="428" y="352"/>
                </a:lnTo>
                <a:lnTo>
                  <a:pt x="428" y="352"/>
                </a:lnTo>
                <a:lnTo>
                  <a:pt x="430" y="354"/>
                </a:lnTo>
                <a:lnTo>
                  <a:pt x="430" y="354"/>
                </a:lnTo>
                <a:lnTo>
                  <a:pt x="430" y="352"/>
                </a:lnTo>
                <a:lnTo>
                  <a:pt x="430" y="352"/>
                </a:lnTo>
                <a:lnTo>
                  <a:pt x="426" y="352"/>
                </a:lnTo>
                <a:lnTo>
                  <a:pt x="426" y="352"/>
                </a:lnTo>
                <a:lnTo>
                  <a:pt x="421" y="349"/>
                </a:lnTo>
                <a:lnTo>
                  <a:pt x="421" y="349"/>
                </a:lnTo>
                <a:lnTo>
                  <a:pt x="421" y="347"/>
                </a:lnTo>
                <a:lnTo>
                  <a:pt x="421" y="347"/>
                </a:lnTo>
                <a:lnTo>
                  <a:pt x="423" y="347"/>
                </a:lnTo>
                <a:lnTo>
                  <a:pt x="423" y="347"/>
                </a:lnTo>
                <a:lnTo>
                  <a:pt x="426" y="344"/>
                </a:lnTo>
                <a:lnTo>
                  <a:pt x="426" y="344"/>
                </a:lnTo>
                <a:lnTo>
                  <a:pt x="430" y="344"/>
                </a:lnTo>
                <a:lnTo>
                  <a:pt x="430" y="344"/>
                </a:lnTo>
                <a:lnTo>
                  <a:pt x="430" y="342"/>
                </a:lnTo>
                <a:lnTo>
                  <a:pt x="430" y="342"/>
                </a:lnTo>
                <a:lnTo>
                  <a:pt x="433" y="342"/>
                </a:lnTo>
                <a:lnTo>
                  <a:pt x="433" y="342"/>
                </a:lnTo>
                <a:lnTo>
                  <a:pt x="435" y="337"/>
                </a:lnTo>
                <a:lnTo>
                  <a:pt x="435" y="337"/>
                </a:lnTo>
                <a:lnTo>
                  <a:pt x="438" y="337"/>
                </a:lnTo>
                <a:lnTo>
                  <a:pt x="438" y="337"/>
                </a:lnTo>
                <a:lnTo>
                  <a:pt x="438" y="332"/>
                </a:lnTo>
                <a:lnTo>
                  <a:pt x="438" y="332"/>
                </a:lnTo>
                <a:lnTo>
                  <a:pt x="445" y="332"/>
                </a:lnTo>
                <a:lnTo>
                  <a:pt x="445" y="332"/>
                </a:lnTo>
                <a:lnTo>
                  <a:pt x="445" y="330"/>
                </a:lnTo>
                <a:lnTo>
                  <a:pt x="445" y="330"/>
                </a:lnTo>
                <a:lnTo>
                  <a:pt x="448" y="330"/>
                </a:lnTo>
                <a:lnTo>
                  <a:pt x="448" y="330"/>
                </a:lnTo>
                <a:lnTo>
                  <a:pt x="450" y="325"/>
                </a:lnTo>
                <a:lnTo>
                  <a:pt x="450" y="325"/>
                </a:lnTo>
                <a:lnTo>
                  <a:pt x="450" y="320"/>
                </a:lnTo>
                <a:lnTo>
                  <a:pt x="450" y="320"/>
                </a:lnTo>
                <a:lnTo>
                  <a:pt x="450" y="322"/>
                </a:lnTo>
                <a:lnTo>
                  <a:pt x="450" y="322"/>
                </a:lnTo>
                <a:lnTo>
                  <a:pt x="460" y="322"/>
                </a:lnTo>
                <a:lnTo>
                  <a:pt x="460" y="322"/>
                </a:lnTo>
                <a:lnTo>
                  <a:pt x="460" y="320"/>
                </a:lnTo>
                <a:lnTo>
                  <a:pt x="460" y="320"/>
                </a:lnTo>
                <a:lnTo>
                  <a:pt x="457" y="315"/>
                </a:lnTo>
                <a:lnTo>
                  <a:pt x="457" y="315"/>
                </a:lnTo>
                <a:lnTo>
                  <a:pt x="457" y="312"/>
                </a:lnTo>
                <a:lnTo>
                  <a:pt x="457" y="312"/>
                </a:lnTo>
                <a:lnTo>
                  <a:pt x="460" y="312"/>
                </a:lnTo>
                <a:lnTo>
                  <a:pt x="460" y="312"/>
                </a:lnTo>
                <a:lnTo>
                  <a:pt x="467" y="305"/>
                </a:lnTo>
                <a:lnTo>
                  <a:pt x="467" y="305"/>
                </a:lnTo>
                <a:lnTo>
                  <a:pt x="470" y="303"/>
                </a:lnTo>
                <a:lnTo>
                  <a:pt x="470" y="303"/>
                </a:lnTo>
                <a:lnTo>
                  <a:pt x="477" y="300"/>
                </a:lnTo>
                <a:lnTo>
                  <a:pt x="477" y="300"/>
                </a:lnTo>
                <a:lnTo>
                  <a:pt x="477" y="298"/>
                </a:lnTo>
                <a:lnTo>
                  <a:pt x="477" y="298"/>
                </a:lnTo>
                <a:lnTo>
                  <a:pt x="482" y="293"/>
                </a:lnTo>
                <a:lnTo>
                  <a:pt x="482" y="293"/>
                </a:lnTo>
                <a:lnTo>
                  <a:pt x="487" y="293"/>
                </a:lnTo>
                <a:lnTo>
                  <a:pt x="487" y="293"/>
                </a:lnTo>
                <a:lnTo>
                  <a:pt x="487" y="290"/>
                </a:lnTo>
                <a:lnTo>
                  <a:pt x="487" y="290"/>
                </a:lnTo>
                <a:lnTo>
                  <a:pt x="485" y="288"/>
                </a:lnTo>
                <a:lnTo>
                  <a:pt x="485" y="288"/>
                </a:lnTo>
                <a:lnTo>
                  <a:pt x="487" y="280"/>
                </a:lnTo>
                <a:lnTo>
                  <a:pt x="487" y="280"/>
                </a:lnTo>
                <a:lnTo>
                  <a:pt x="487" y="278"/>
                </a:lnTo>
                <a:lnTo>
                  <a:pt x="487" y="278"/>
                </a:lnTo>
                <a:lnTo>
                  <a:pt x="487" y="273"/>
                </a:lnTo>
                <a:lnTo>
                  <a:pt x="487" y="273"/>
                </a:lnTo>
                <a:lnTo>
                  <a:pt x="487" y="273"/>
                </a:lnTo>
                <a:lnTo>
                  <a:pt x="487" y="271"/>
                </a:lnTo>
                <a:lnTo>
                  <a:pt x="487" y="271"/>
                </a:lnTo>
                <a:lnTo>
                  <a:pt x="492" y="268"/>
                </a:lnTo>
                <a:lnTo>
                  <a:pt x="492" y="268"/>
                </a:lnTo>
                <a:lnTo>
                  <a:pt x="494" y="271"/>
                </a:lnTo>
                <a:lnTo>
                  <a:pt x="494" y="271"/>
                </a:lnTo>
                <a:lnTo>
                  <a:pt x="504" y="268"/>
                </a:lnTo>
                <a:lnTo>
                  <a:pt x="504" y="268"/>
                </a:lnTo>
                <a:lnTo>
                  <a:pt x="507" y="271"/>
                </a:lnTo>
                <a:lnTo>
                  <a:pt x="507" y="271"/>
                </a:lnTo>
                <a:lnTo>
                  <a:pt x="517" y="271"/>
                </a:lnTo>
                <a:lnTo>
                  <a:pt x="517" y="271"/>
                </a:lnTo>
                <a:lnTo>
                  <a:pt x="524" y="268"/>
                </a:lnTo>
                <a:lnTo>
                  <a:pt x="524" y="268"/>
                </a:lnTo>
                <a:lnTo>
                  <a:pt x="531" y="271"/>
                </a:lnTo>
                <a:lnTo>
                  <a:pt x="531" y="271"/>
                </a:lnTo>
                <a:lnTo>
                  <a:pt x="531" y="273"/>
                </a:lnTo>
                <a:lnTo>
                  <a:pt x="531" y="273"/>
                </a:lnTo>
                <a:lnTo>
                  <a:pt x="534" y="275"/>
                </a:lnTo>
                <a:lnTo>
                  <a:pt x="534" y="275"/>
                </a:lnTo>
                <a:lnTo>
                  <a:pt x="536" y="278"/>
                </a:lnTo>
                <a:lnTo>
                  <a:pt x="536" y="278"/>
                </a:lnTo>
                <a:lnTo>
                  <a:pt x="544" y="283"/>
                </a:lnTo>
                <a:lnTo>
                  <a:pt x="544" y="283"/>
                </a:lnTo>
                <a:lnTo>
                  <a:pt x="544" y="285"/>
                </a:lnTo>
                <a:lnTo>
                  <a:pt x="544" y="285"/>
                </a:lnTo>
                <a:lnTo>
                  <a:pt x="541" y="285"/>
                </a:lnTo>
                <a:lnTo>
                  <a:pt x="541" y="285"/>
                </a:lnTo>
                <a:lnTo>
                  <a:pt x="544" y="285"/>
                </a:lnTo>
                <a:lnTo>
                  <a:pt x="544" y="285"/>
                </a:lnTo>
                <a:lnTo>
                  <a:pt x="546" y="285"/>
                </a:lnTo>
                <a:lnTo>
                  <a:pt x="546" y="285"/>
                </a:lnTo>
                <a:lnTo>
                  <a:pt x="551" y="285"/>
                </a:lnTo>
                <a:lnTo>
                  <a:pt x="551" y="285"/>
                </a:lnTo>
                <a:lnTo>
                  <a:pt x="549" y="290"/>
                </a:lnTo>
                <a:lnTo>
                  <a:pt x="549" y="290"/>
                </a:lnTo>
                <a:lnTo>
                  <a:pt x="546" y="295"/>
                </a:lnTo>
                <a:lnTo>
                  <a:pt x="546" y="295"/>
                </a:lnTo>
                <a:lnTo>
                  <a:pt x="546" y="298"/>
                </a:lnTo>
                <a:lnTo>
                  <a:pt x="546" y="298"/>
                </a:lnTo>
                <a:lnTo>
                  <a:pt x="551" y="293"/>
                </a:lnTo>
                <a:lnTo>
                  <a:pt x="551" y="293"/>
                </a:lnTo>
                <a:lnTo>
                  <a:pt x="551" y="290"/>
                </a:lnTo>
                <a:lnTo>
                  <a:pt x="551" y="290"/>
                </a:lnTo>
                <a:lnTo>
                  <a:pt x="553" y="288"/>
                </a:lnTo>
                <a:lnTo>
                  <a:pt x="553" y="288"/>
                </a:lnTo>
                <a:lnTo>
                  <a:pt x="558" y="288"/>
                </a:lnTo>
                <a:lnTo>
                  <a:pt x="558" y="288"/>
                </a:lnTo>
                <a:lnTo>
                  <a:pt x="561" y="285"/>
                </a:lnTo>
                <a:lnTo>
                  <a:pt x="561" y="285"/>
                </a:lnTo>
                <a:lnTo>
                  <a:pt x="563" y="288"/>
                </a:lnTo>
                <a:lnTo>
                  <a:pt x="563" y="288"/>
                </a:lnTo>
                <a:lnTo>
                  <a:pt x="563" y="290"/>
                </a:lnTo>
                <a:lnTo>
                  <a:pt x="563" y="290"/>
                </a:lnTo>
                <a:lnTo>
                  <a:pt x="571" y="295"/>
                </a:lnTo>
                <a:lnTo>
                  <a:pt x="571" y="295"/>
                </a:lnTo>
                <a:lnTo>
                  <a:pt x="571" y="303"/>
                </a:lnTo>
                <a:lnTo>
                  <a:pt x="571" y="303"/>
                </a:lnTo>
                <a:lnTo>
                  <a:pt x="571" y="307"/>
                </a:lnTo>
                <a:lnTo>
                  <a:pt x="571" y="307"/>
                </a:lnTo>
                <a:lnTo>
                  <a:pt x="571" y="312"/>
                </a:lnTo>
                <a:lnTo>
                  <a:pt x="571" y="312"/>
                </a:lnTo>
                <a:lnTo>
                  <a:pt x="571" y="315"/>
                </a:lnTo>
                <a:lnTo>
                  <a:pt x="571" y="315"/>
                </a:lnTo>
                <a:lnTo>
                  <a:pt x="571" y="317"/>
                </a:lnTo>
                <a:lnTo>
                  <a:pt x="571" y="317"/>
                </a:lnTo>
                <a:lnTo>
                  <a:pt x="573" y="320"/>
                </a:lnTo>
                <a:lnTo>
                  <a:pt x="573" y="320"/>
                </a:lnTo>
                <a:lnTo>
                  <a:pt x="573" y="322"/>
                </a:lnTo>
                <a:lnTo>
                  <a:pt x="573" y="322"/>
                </a:lnTo>
                <a:lnTo>
                  <a:pt x="573" y="325"/>
                </a:lnTo>
                <a:lnTo>
                  <a:pt x="573" y="325"/>
                </a:lnTo>
                <a:lnTo>
                  <a:pt x="571" y="330"/>
                </a:lnTo>
                <a:lnTo>
                  <a:pt x="571" y="330"/>
                </a:lnTo>
                <a:lnTo>
                  <a:pt x="563" y="330"/>
                </a:lnTo>
                <a:lnTo>
                  <a:pt x="563" y="330"/>
                </a:lnTo>
                <a:lnTo>
                  <a:pt x="561" y="332"/>
                </a:lnTo>
                <a:lnTo>
                  <a:pt x="561" y="332"/>
                </a:lnTo>
                <a:lnTo>
                  <a:pt x="556" y="332"/>
                </a:lnTo>
                <a:lnTo>
                  <a:pt x="556" y="332"/>
                </a:lnTo>
                <a:lnTo>
                  <a:pt x="551" y="332"/>
                </a:lnTo>
                <a:lnTo>
                  <a:pt x="551" y="332"/>
                </a:lnTo>
                <a:lnTo>
                  <a:pt x="541" y="337"/>
                </a:lnTo>
                <a:lnTo>
                  <a:pt x="541" y="337"/>
                </a:lnTo>
                <a:lnTo>
                  <a:pt x="536" y="337"/>
                </a:lnTo>
                <a:lnTo>
                  <a:pt x="536" y="337"/>
                </a:lnTo>
                <a:lnTo>
                  <a:pt x="531" y="339"/>
                </a:lnTo>
                <a:lnTo>
                  <a:pt x="531" y="339"/>
                </a:lnTo>
                <a:lnTo>
                  <a:pt x="526" y="339"/>
                </a:lnTo>
                <a:lnTo>
                  <a:pt x="526" y="339"/>
                </a:lnTo>
                <a:lnTo>
                  <a:pt x="524" y="342"/>
                </a:lnTo>
                <a:lnTo>
                  <a:pt x="524" y="342"/>
                </a:lnTo>
                <a:lnTo>
                  <a:pt x="519" y="342"/>
                </a:lnTo>
                <a:lnTo>
                  <a:pt x="519" y="342"/>
                </a:lnTo>
                <a:lnTo>
                  <a:pt x="517" y="344"/>
                </a:lnTo>
                <a:lnTo>
                  <a:pt x="517" y="344"/>
                </a:lnTo>
                <a:lnTo>
                  <a:pt x="514" y="342"/>
                </a:lnTo>
                <a:lnTo>
                  <a:pt x="514" y="342"/>
                </a:lnTo>
                <a:lnTo>
                  <a:pt x="514" y="342"/>
                </a:lnTo>
                <a:lnTo>
                  <a:pt x="509" y="344"/>
                </a:lnTo>
                <a:lnTo>
                  <a:pt x="509" y="344"/>
                </a:lnTo>
                <a:lnTo>
                  <a:pt x="507" y="347"/>
                </a:lnTo>
                <a:lnTo>
                  <a:pt x="507" y="347"/>
                </a:lnTo>
                <a:lnTo>
                  <a:pt x="504" y="352"/>
                </a:lnTo>
                <a:lnTo>
                  <a:pt x="504" y="352"/>
                </a:lnTo>
                <a:lnTo>
                  <a:pt x="502" y="352"/>
                </a:lnTo>
                <a:lnTo>
                  <a:pt x="502" y="352"/>
                </a:lnTo>
                <a:lnTo>
                  <a:pt x="502" y="357"/>
                </a:lnTo>
                <a:lnTo>
                  <a:pt x="502" y="357"/>
                </a:lnTo>
                <a:lnTo>
                  <a:pt x="497" y="357"/>
                </a:lnTo>
                <a:lnTo>
                  <a:pt x="497" y="357"/>
                </a:lnTo>
                <a:lnTo>
                  <a:pt x="494" y="359"/>
                </a:lnTo>
                <a:lnTo>
                  <a:pt x="494" y="359"/>
                </a:lnTo>
                <a:lnTo>
                  <a:pt x="489" y="359"/>
                </a:lnTo>
                <a:lnTo>
                  <a:pt x="489" y="359"/>
                </a:lnTo>
                <a:lnTo>
                  <a:pt x="487" y="354"/>
                </a:lnTo>
                <a:lnTo>
                  <a:pt x="487" y="354"/>
                </a:lnTo>
                <a:lnTo>
                  <a:pt x="485" y="359"/>
                </a:lnTo>
                <a:lnTo>
                  <a:pt x="485" y="359"/>
                </a:lnTo>
                <a:lnTo>
                  <a:pt x="485" y="362"/>
                </a:lnTo>
                <a:lnTo>
                  <a:pt x="485" y="362"/>
                </a:lnTo>
                <a:lnTo>
                  <a:pt x="480" y="364"/>
                </a:lnTo>
                <a:lnTo>
                  <a:pt x="480" y="364"/>
                </a:lnTo>
                <a:lnTo>
                  <a:pt x="477" y="366"/>
                </a:lnTo>
                <a:lnTo>
                  <a:pt x="477" y="366"/>
                </a:lnTo>
                <a:lnTo>
                  <a:pt x="477" y="369"/>
                </a:lnTo>
                <a:lnTo>
                  <a:pt x="477" y="369"/>
                </a:lnTo>
                <a:lnTo>
                  <a:pt x="472" y="374"/>
                </a:lnTo>
                <a:lnTo>
                  <a:pt x="472" y="374"/>
                </a:lnTo>
                <a:lnTo>
                  <a:pt x="472" y="376"/>
                </a:lnTo>
                <a:lnTo>
                  <a:pt x="472" y="376"/>
                </a:lnTo>
                <a:lnTo>
                  <a:pt x="470" y="381"/>
                </a:lnTo>
                <a:lnTo>
                  <a:pt x="470" y="381"/>
                </a:lnTo>
                <a:lnTo>
                  <a:pt x="465" y="384"/>
                </a:lnTo>
                <a:lnTo>
                  <a:pt x="465" y="384"/>
                </a:lnTo>
                <a:lnTo>
                  <a:pt x="462" y="384"/>
                </a:lnTo>
                <a:lnTo>
                  <a:pt x="462" y="384"/>
                </a:lnTo>
                <a:lnTo>
                  <a:pt x="457" y="386"/>
                </a:lnTo>
                <a:lnTo>
                  <a:pt x="457" y="386"/>
                </a:lnTo>
                <a:lnTo>
                  <a:pt x="455" y="386"/>
                </a:lnTo>
                <a:lnTo>
                  <a:pt x="455" y="386"/>
                </a:lnTo>
                <a:lnTo>
                  <a:pt x="453" y="381"/>
                </a:lnTo>
                <a:lnTo>
                  <a:pt x="453" y="381"/>
                </a:lnTo>
                <a:lnTo>
                  <a:pt x="455" y="381"/>
                </a:lnTo>
                <a:lnTo>
                  <a:pt x="455" y="381"/>
                </a:lnTo>
                <a:lnTo>
                  <a:pt x="455" y="376"/>
                </a:lnTo>
                <a:lnTo>
                  <a:pt x="455" y="376"/>
                </a:lnTo>
                <a:lnTo>
                  <a:pt x="453" y="374"/>
                </a:lnTo>
                <a:lnTo>
                  <a:pt x="453" y="374"/>
                </a:lnTo>
                <a:lnTo>
                  <a:pt x="450" y="376"/>
                </a:lnTo>
                <a:lnTo>
                  <a:pt x="450" y="376"/>
                </a:lnTo>
                <a:lnTo>
                  <a:pt x="450" y="379"/>
                </a:lnTo>
                <a:lnTo>
                  <a:pt x="450" y="379"/>
                </a:lnTo>
                <a:lnTo>
                  <a:pt x="450" y="379"/>
                </a:lnTo>
                <a:lnTo>
                  <a:pt x="445" y="384"/>
                </a:lnTo>
                <a:lnTo>
                  <a:pt x="445" y="384"/>
                </a:lnTo>
                <a:lnTo>
                  <a:pt x="440" y="384"/>
                </a:lnTo>
                <a:lnTo>
                  <a:pt x="440" y="384"/>
                </a:lnTo>
                <a:lnTo>
                  <a:pt x="438" y="384"/>
                </a:lnTo>
                <a:lnTo>
                  <a:pt x="438" y="384"/>
                </a:lnTo>
                <a:lnTo>
                  <a:pt x="435" y="386"/>
                </a:lnTo>
                <a:lnTo>
                  <a:pt x="435" y="386"/>
                </a:lnTo>
                <a:lnTo>
                  <a:pt x="433" y="386"/>
                </a:lnTo>
                <a:lnTo>
                  <a:pt x="433" y="386"/>
                </a:lnTo>
                <a:lnTo>
                  <a:pt x="430" y="386"/>
                </a:lnTo>
                <a:lnTo>
                  <a:pt x="430" y="386"/>
                </a:lnTo>
                <a:lnTo>
                  <a:pt x="428" y="386"/>
                </a:lnTo>
                <a:lnTo>
                  <a:pt x="428" y="386"/>
                </a:lnTo>
                <a:lnTo>
                  <a:pt x="428" y="386"/>
                </a:lnTo>
                <a:close/>
                <a:moveTo>
                  <a:pt x="822" y="339"/>
                </a:moveTo>
                <a:lnTo>
                  <a:pt x="822" y="339"/>
                </a:lnTo>
                <a:lnTo>
                  <a:pt x="824" y="339"/>
                </a:lnTo>
                <a:lnTo>
                  <a:pt x="824" y="339"/>
                </a:lnTo>
                <a:lnTo>
                  <a:pt x="824" y="342"/>
                </a:lnTo>
                <a:lnTo>
                  <a:pt x="824" y="342"/>
                </a:lnTo>
                <a:lnTo>
                  <a:pt x="824" y="344"/>
                </a:lnTo>
                <a:lnTo>
                  <a:pt x="824" y="344"/>
                </a:lnTo>
                <a:lnTo>
                  <a:pt x="822" y="344"/>
                </a:lnTo>
                <a:lnTo>
                  <a:pt x="822" y="344"/>
                </a:lnTo>
                <a:lnTo>
                  <a:pt x="822" y="344"/>
                </a:lnTo>
                <a:lnTo>
                  <a:pt x="819" y="339"/>
                </a:lnTo>
                <a:lnTo>
                  <a:pt x="819" y="339"/>
                </a:lnTo>
                <a:lnTo>
                  <a:pt x="822" y="339"/>
                </a:lnTo>
                <a:lnTo>
                  <a:pt x="822" y="339"/>
                </a:lnTo>
                <a:close/>
                <a:moveTo>
                  <a:pt x="792" y="339"/>
                </a:moveTo>
                <a:lnTo>
                  <a:pt x="792" y="339"/>
                </a:lnTo>
                <a:lnTo>
                  <a:pt x="792" y="337"/>
                </a:lnTo>
                <a:lnTo>
                  <a:pt x="792" y="337"/>
                </a:lnTo>
                <a:lnTo>
                  <a:pt x="797" y="334"/>
                </a:lnTo>
                <a:lnTo>
                  <a:pt x="797" y="334"/>
                </a:lnTo>
                <a:lnTo>
                  <a:pt x="799" y="337"/>
                </a:lnTo>
                <a:lnTo>
                  <a:pt x="799" y="337"/>
                </a:lnTo>
                <a:lnTo>
                  <a:pt x="797" y="337"/>
                </a:lnTo>
                <a:lnTo>
                  <a:pt x="797" y="337"/>
                </a:lnTo>
                <a:lnTo>
                  <a:pt x="797" y="337"/>
                </a:lnTo>
                <a:lnTo>
                  <a:pt x="795" y="339"/>
                </a:lnTo>
                <a:lnTo>
                  <a:pt x="795" y="339"/>
                </a:lnTo>
                <a:lnTo>
                  <a:pt x="792" y="339"/>
                </a:lnTo>
                <a:lnTo>
                  <a:pt x="792" y="339"/>
                </a:lnTo>
                <a:close/>
                <a:moveTo>
                  <a:pt x="763" y="357"/>
                </a:moveTo>
                <a:lnTo>
                  <a:pt x="763" y="357"/>
                </a:lnTo>
                <a:lnTo>
                  <a:pt x="763" y="359"/>
                </a:lnTo>
                <a:lnTo>
                  <a:pt x="763" y="359"/>
                </a:lnTo>
                <a:lnTo>
                  <a:pt x="767" y="359"/>
                </a:lnTo>
                <a:lnTo>
                  <a:pt x="767" y="359"/>
                </a:lnTo>
                <a:lnTo>
                  <a:pt x="770" y="362"/>
                </a:lnTo>
                <a:lnTo>
                  <a:pt x="770" y="362"/>
                </a:lnTo>
                <a:lnTo>
                  <a:pt x="772" y="362"/>
                </a:lnTo>
                <a:lnTo>
                  <a:pt x="772" y="362"/>
                </a:lnTo>
                <a:lnTo>
                  <a:pt x="775" y="362"/>
                </a:lnTo>
                <a:lnTo>
                  <a:pt x="775" y="362"/>
                </a:lnTo>
                <a:lnTo>
                  <a:pt x="780" y="359"/>
                </a:lnTo>
                <a:lnTo>
                  <a:pt x="780" y="359"/>
                </a:lnTo>
                <a:lnTo>
                  <a:pt x="782" y="362"/>
                </a:lnTo>
                <a:lnTo>
                  <a:pt x="782" y="362"/>
                </a:lnTo>
                <a:lnTo>
                  <a:pt x="782" y="359"/>
                </a:lnTo>
                <a:lnTo>
                  <a:pt x="782" y="359"/>
                </a:lnTo>
                <a:lnTo>
                  <a:pt x="785" y="359"/>
                </a:lnTo>
                <a:lnTo>
                  <a:pt x="785" y="359"/>
                </a:lnTo>
                <a:lnTo>
                  <a:pt x="790" y="359"/>
                </a:lnTo>
                <a:lnTo>
                  <a:pt x="790" y="359"/>
                </a:lnTo>
                <a:lnTo>
                  <a:pt x="790" y="357"/>
                </a:lnTo>
                <a:lnTo>
                  <a:pt x="790" y="357"/>
                </a:lnTo>
                <a:lnTo>
                  <a:pt x="785" y="354"/>
                </a:lnTo>
                <a:lnTo>
                  <a:pt x="785" y="354"/>
                </a:lnTo>
                <a:lnTo>
                  <a:pt x="782" y="354"/>
                </a:lnTo>
                <a:lnTo>
                  <a:pt x="782" y="354"/>
                </a:lnTo>
                <a:lnTo>
                  <a:pt x="777" y="354"/>
                </a:lnTo>
                <a:lnTo>
                  <a:pt x="777" y="354"/>
                </a:lnTo>
                <a:lnTo>
                  <a:pt x="777" y="354"/>
                </a:lnTo>
                <a:lnTo>
                  <a:pt x="775" y="357"/>
                </a:lnTo>
                <a:lnTo>
                  <a:pt x="775" y="357"/>
                </a:lnTo>
                <a:lnTo>
                  <a:pt x="770" y="354"/>
                </a:lnTo>
                <a:lnTo>
                  <a:pt x="770" y="354"/>
                </a:lnTo>
                <a:lnTo>
                  <a:pt x="767" y="357"/>
                </a:lnTo>
                <a:lnTo>
                  <a:pt x="767" y="357"/>
                </a:lnTo>
                <a:lnTo>
                  <a:pt x="763" y="357"/>
                </a:lnTo>
                <a:lnTo>
                  <a:pt x="763" y="357"/>
                </a:lnTo>
                <a:lnTo>
                  <a:pt x="763" y="357"/>
                </a:lnTo>
                <a:close/>
                <a:moveTo>
                  <a:pt x="745" y="465"/>
                </a:moveTo>
                <a:lnTo>
                  <a:pt x="745" y="465"/>
                </a:lnTo>
                <a:lnTo>
                  <a:pt x="743" y="462"/>
                </a:lnTo>
                <a:lnTo>
                  <a:pt x="743" y="462"/>
                </a:lnTo>
                <a:lnTo>
                  <a:pt x="745" y="462"/>
                </a:lnTo>
                <a:lnTo>
                  <a:pt x="745" y="462"/>
                </a:lnTo>
                <a:lnTo>
                  <a:pt x="745" y="460"/>
                </a:lnTo>
                <a:lnTo>
                  <a:pt x="745" y="460"/>
                </a:lnTo>
                <a:lnTo>
                  <a:pt x="745" y="462"/>
                </a:lnTo>
                <a:lnTo>
                  <a:pt x="745" y="462"/>
                </a:lnTo>
                <a:lnTo>
                  <a:pt x="745" y="465"/>
                </a:lnTo>
                <a:lnTo>
                  <a:pt x="745" y="465"/>
                </a:lnTo>
                <a:close/>
                <a:moveTo>
                  <a:pt x="726" y="460"/>
                </a:moveTo>
                <a:lnTo>
                  <a:pt x="726" y="460"/>
                </a:lnTo>
                <a:lnTo>
                  <a:pt x="723" y="460"/>
                </a:lnTo>
                <a:lnTo>
                  <a:pt x="723" y="460"/>
                </a:lnTo>
                <a:lnTo>
                  <a:pt x="723" y="455"/>
                </a:lnTo>
                <a:lnTo>
                  <a:pt x="723" y="455"/>
                </a:lnTo>
                <a:lnTo>
                  <a:pt x="723" y="455"/>
                </a:lnTo>
                <a:lnTo>
                  <a:pt x="721" y="457"/>
                </a:lnTo>
                <a:lnTo>
                  <a:pt x="721" y="457"/>
                </a:lnTo>
                <a:lnTo>
                  <a:pt x="721" y="455"/>
                </a:lnTo>
                <a:lnTo>
                  <a:pt x="721" y="455"/>
                </a:lnTo>
                <a:lnTo>
                  <a:pt x="721" y="453"/>
                </a:lnTo>
                <a:lnTo>
                  <a:pt x="721" y="453"/>
                </a:lnTo>
                <a:lnTo>
                  <a:pt x="721" y="448"/>
                </a:lnTo>
                <a:lnTo>
                  <a:pt x="721" y="448"/>
                </a:lnTo>
                <a:lnTo>
                  <a:pt x="718" y="445"/>
                </a:lnTo>
                <a:lnTo>
                  <a:pt x="718" y="445"/>
                </a:lnTo>
                <a:lnTo>
                  <a:pt x="721" y="443"/>
                </a:lnTo>
                <a:lnTo>
                  <a:pt x="721" y="443"/>
                </a:lnTo>
                <a:lnTo>
                  <a:pt x="721" y="438"/>
                </a:lnTo>
                <a:lnTo>
                  <a:pt x="721" y="438"/>
                </a:lnTo>
                <a:lnTo>
                  <a:pt x="721" y="435"/>
                </a:lnTo>
                <a:lnTo>
                  <a:pt x="721" y="435"/>
                </a:lnTo>
                <a:lnTo>
                  <a:pt x="718" y="435"/>
                </a:lnTo>
                <a:lnTo>
                  <a:pt x="718" y="435"/>
                </a:lnTo>
                <a:lnTo>
                  <a:pt x="718" y="433"/>
                </a:lnTo>
                <a:lnTo>
                  <a:pt x="718" y="433"/>
                </a:lnTo>
                <a:lnTo>
                  <a:pt x="718" y="430"/>
                </a:lnTo>
                <a:lnTo>
                  <a:pt x="718" y="430"/>
                </a:lnTo>
                <a:lnTo>
                  <a:pt x="713" y="428"/>
                </a:lnTo>
                <a:lnTo>
                  <a:pt x="713" y="428"/>
                </a:lnTo>
                <a:lnTo>
                  <a:pt x="716" y="423"/>
                </a:lnTo>
                <a:lnTo>
                  <a:pt x="716" y="423"/>
                </a:lnTo>
                <a:lnTo>
                  <a:pt x="713" y="418"/>
                </a:lnTo>
                <a:lnTo>
                  <a:pt x="713" y="418"/>
                </a:lnTo>
                <a:lnTo>
                  <a:pt x="711" y="418"/>
                </a:lnTo>
                <a:lnTo>
                  <a:pt x="711" y="418"/>
                </a:lnTo>
                <a:lnTo>
                  <a:pt x="711" y="418"/>
                </a:lnTo>
                <a:lnTo>
                  <a:pt x="711" y="413"/>
                </a:lnTo>
                <a:lnTo>
                  <a:pt x="711" y="413"/>
                </a:lnTo>
                <a:lnTo>
                  <a:pt x="708" y="413"/>
                </a:lnTo>
                <a:lnTo>
                  <a:pt x="708" y="413"/>
                </a:lnTo>
                <a:lnTo>
                  <a:pt x="706" y="413"/>
                </a:lnTo>
                <a:lnTo>
                  <a:pt x="706" y="413"/>
                </a:lnTo>
                <a:lnTo>
                  <a:pt x="706" y="413"/>
                </a:lnTo>
                <a:lnTo>
                  <a:pt x="703" y="413"/>
                </a:lnTo>
                <a:lnTo>
                  <a:pt x="703" y="413"/>
                </a:lnTo>
                <a:lnTo>
                  <a:pt x="701" y="413"/>
                </a:lnTo>
                <a:lnTo>
                  <a:pt x="701" y="413"/>
                </a:lnTo>
                <a:lnTo>
                  <a:pt x="701" y="408"/>
                </a:lnTo>
                <a:lnTo>
                  <a:pt x="701" y="408"/>
                </a:lnTo>
                <a:lnTo>
                  <a:pt x="703" y="406"/>
                </a:lnTo>
                <a:lnTo>
                  <a:pt x="703" y="406"/>
                </a:lnTo>
                <a:lnTo>
                  <a:pt x="706" y="403"/>
                </a:lnTo>
                <a:lnTo>
                  <a:pt x="706" y="403"/>
                </a:lnTo>
                <a:lnTo>
                  <a:pt x="703" y="401"/>
                </a:lnTo>
                <a:lnTo>
                  <a:pt x="703" y="401"/>
                </a:lnTo>
                <a:lnTo>
                  <a:pt x="703" y="398"/>
                </a:lnTo>
                <a:lnTo>
                  <a:pt x="703" y="398"/>
                </a:lnTo>
                <a:lnTo>
                  <a:pt x="703" y="394"/>
                </a:lnTo>
                <a:lnTo>
                  <a:pt x="703" y="394"/>
                </a:lnTo>
                <a:lnTo>
                  <a:pt x="703" y="391"/>
                </a:lnTo>
                <a:lnTo>
                  <a:pt x="703" y="391"/>
                </a:lnTo>
                <a:lnTo>
                  <a:pt x="706" y="386"/>
                </a:lnTo>
                <a:lnTo>
                  <a:pt x="706" y="386"/>
                </a:lnTo>
                <a:lnTo>
                  <a:pt x="711" y="386"/>
                </a:lnTo>
                <a:lnTo>
                  <a:pt x="711" y="386"/>
                </a:lnTo>
                <a:lnTo>
                  <a:pt x="711" y="384"/>
                </a:lnTo>
                <a:lnTo>
                  <a:pt x="711" y="384"/>
                </a:lnTo>
                <a:lnTo>
                  <a:pt x="713" y="384"/>
                </a:lnTo>
                <a:lnTo>
                  <a:pt x="713" y="384"/>
                </a:lnTo>
                <a:lnTo>
                  <a:pt x="713" y="384"/>
                </a:lnTo>
                <a:lnTo>
                  <a:pt x="718" y="384"/>
                </a:lnTo>
                <a:lnTo>
                  <a:pt x="718" y="384"/>
                </a:lnTo>
                <a:lnTo>
                  <a:pt x="721" y="384"/>
                </a:lnTo>
                <a:lnTo>
                  <a:pt x="721" y="384"/>
                </a:lnTo>
                <a:lnTo>
                  <a:pt x="723" y="386"/>
                </a:lnTo>
                <a:lnTo>
                  <a:pt x="723" y="386"/>
                </a:lnTo>
                <a:lnTo>
                  <a:pt x="721" y="386"/>
                </a:lnTo>
                <a:lnTo>
                  <a:pt x="721" y="386"/>
                </a:lnTo>
                <a:lnTo>
                  <a:pt x="721" y="389"/>
                </a:lnTo>
                <a:lnTo>
                  <a:pt x="721" y="389"/>
                </a:lnTo>
                <a:lnTo>
                  <a:pt x="718" y="389"/>
                </a:lnTo>
                <a:lnTo>
                  <a:pt x="718" y="389"/>
                </a:lnTo>
                <a:lnTo>
                  <a:pt x="721" y="389"/>
                </a:lnTo>
                <a:lnTo>
                  <a:pt x="721" y="389"/>
                </a:lnTo>
                <a:lnTo>
                  <a:pt x="723" y="391"/>
                </a:lnTo>
                <a:lnTo>
                  <a:pt x="723" y="391"/>
                </a:lnTo>
                <a:lnTo>
                  <a:pt x="723" y="394"/>
                </a:lnTo>
                <a:lnTo>
                  <a:pt x="723" y="394"/>
                </a:lnTo>
                <a:lnTo>
                  <a:pt x="726" y="398"/>
                </a:lnTo>
                <a:lnTo>
                  <a:pt x="726" y="398"/>
                </a:lnTo>
                <a:lnTo>
                  <a:pt x="726" y="401"/>
                </a:lnTo>
                <a:lnTo>
                  <a:pt x="726" y="401"/>
                </a:lnTo>
                <a:lnTo>
                  <a:pt x="728" y="403"/>
                </a:lnTo>
                <a:lnTo>
                  <a:pt x="728" y="403"/>
                </a:lnTo>
                <a:lnTo>
                  <a:pt x="731" y="403"/>
                </a:lnTo>
                <a:lnTo>
                  <a:pt x="731" y="403"/>
                </a:lnTo>
                <a:lnTo>
                  <a:pt x="733" y="403"/>
                </a:lnTo>
                <a:lnTo>
                  <a:pt x="733" y="403"/>
                </a:lnTo>
                <a:lnTo>
                  <a:pt x="731" y="401"/>
                </a:lnTo>
                <a:lnTo>
                  <a:pt x="731" y="401"/>
                </a:lnTo>
                <a:lnTo>
                  <a:pt x="733" y="398"/>
                </a:lnTo>
                <a:lnTo>
                  <a:pt x="733" y="398"/>
                </a:lnTo>
                <a:lnTo>
                  <a:pt x="735" y="396"/>
                </a:lnTo>
                <a:lnTo>
                  <a:pt x="735" y="396"/>
                </a:lnTo>
                <a:lnTo>
                  <a:pt x="735" y="394"/>
                </a:lnTo>
                <a:lnTo>
                  <a:pt x="735" y="394"/>
                </a:lnTo>
                <a:lnTo>
                  <a:pt x="738" y="391"/>
                </a:lnTo>
                <a:lnTo>
                  <a:pt x="738" y="391"/>
                </a:lnTo>
                <a:lnTo>
                  <a:pt x="738" y="389"/>
                </a:lnTo>
                <a:lnTo>
                  <a:pt x="738" y="389"/>
                </a:lnTo>
                <a:lnTo>
                  <a:pt x="735" y="386"/>
                </a:lnTo>
                <a:lnTo>
                  <a:pt x="735" y="386"/>
                </a:lnTo>
                <a:lnTo>
                  <a:pt x="738" y="386"/>
                </a:lnTo>
                <a:lnTo>
                  <a:pt x="738" y="386"/>
                </a:lnTo>
                <a:lnTo>
                  <a:pt x="740" y="384"/>
                </a:lnTo>
                <a:lnTo>
                  <a:pt x="740" y="384"/>
                </a:lnTo>
                <a:lnTo>
                  <a:pt x="743" y="386"/>
                </a:lnTo>
                <a:lnTo>
                  <a:pt x="743" y="386"/>
                </a:lnTo>
                <a:lnTo>
                  <a:pt x="743" y="389"/>
                </a:lnTo>
                <a:lnTo>
                  <a:pt x="743" y="389"/>
                </a:lnTo>
                <a:lnTo>
                  <a:pt x="745" y="389"/>
                </a:lnTo>
                <a:lnTo>
                  <a:pt x="745" y="389"/>
                </a:lnTo>
                <a:lnTo>
                  <a:pt x="745" y="386"/>
                </a:lnTo>
                <a:lnTo>
                  <a:pt x="745" y="386"/>
                </a:lnTo>
                <a:lnTo>
                  <a:pt x="743" y="384"/>
                </a:lnTo>
                <a:lnTo>
                  <a:pt x="743" y="384"/>
                </a:lnTo>
                <a:lnTo>
                  <a:pt x="743" y="381"/>
                </a:lnTo>
                <a:lnTo>
                  <a:pt x="743" y="381"/>
                </a:lnTo>
                <a:lnTo>
                  <a:pt x="740" y="381"/>
                </a:lnTo>
                <a:lnTo>
                  <a:pt x="740" y="381"/>
                </a:lnTo>
                <a:lnTo>
                  <a:pt x="740" y="384"/>
                </a:lnTo>
                <a:lnTo>
                  <a:pt x="740" y="384"/>
                </a:lnTo>
                <a:lnTo>
                  <a:pt x="735" y="384"/>
                </a:lnTo>
                <a:lnTo>
                  <a:pt x="735" y="384"/>
                </a:lnTo>
                <a:lnTo>
                  <a:pt x="733" y="379"/>
                </a:lnTo>
                <a:lnTo>
                  <a:pt x="733" y="379"/>
                </a:lnTo>
                <a:lnTo>
                  <a:pt x="733" y="379"/>
                </a:lnTo>
                <a:lnTo>
                  <a:pt x="731" y="374"/>
                </a:lnTo>
                <a:lnTo>
                  <a:pt x="731" y="374"/>
                </a:lnTo>
                <a:lnTo>
                  <a:pt x="731" y="371"/>
                </a:lnTo>
                <a:lnTo>
                  <a:pt x="731" y="371"/>
                </a:lnTo>
                <a:lnTo>
                  <a:pt x="733" y="369"/>
                </a:lnTo>
                <a:lnTo>
                  <a:pt x="733" y="369"/>
                </a:lnTo>
                <a:lnTo>
                  <a:pt x="735" y="369"/>
                </a:lnTo>
                <a:lnTo>
                  <a:pt x="735" y="369"/>
                </a:lnTo>
                <a:lnTo>
                  <a:pt x="735" y="366"/>
                </a:lnTo>
                <a:lnTo>
                  <a:pt x="735" y="366"/>
                </a:lnTo>
                <a:lnTo>
                  <a:pt x="738" y="369"/>
                </a:lnTo>
                <a:lnTo>
                  <a:pt x="738" y="369"/>
                </a:lnTo>
                <a:lnTo>
                  <a:pt x="740" y="371"/>
                </a:lnTo>
                <a:lnTo>
                  <a:pt x="740" y="371"/>
                </a:lnTo>
                <a:lnTo>
                  <a:pt x="740" y="376"/>
                </a:lnTo>
                <a:lnTo>
                  <a:pt x="740" y="376"/>
                </a:lnTo>
                <a:lnTo>
                  <a:pt x="743" y="376"/>
                </a:lnTo>
                <a:lnTo>
                  <a:pt x="743" y="376"/>
                </a:lnTo>
                <a:lnTo>
                  <a:pt x="743" y="374"/>
                </a:lnTo>
                <a:lnTo>
                  <a:pt x="743" y="374"/>
                </a:lnTo>
                <a:lnTo>
                  <a:pt x="743" y="371"/>
                </a:lnTo>
                <a:lnTo>
                  <a:pt x="743" y="371"/>
                </a:lnTo>
                <a:lnTo>
                  <a:pt x="743" y="369"/>
                </a:lnTo>
                <a:lnTo>
                  <a:pt x="743" y="369"/>
                </a:lnTo>
                <a:lnTo>
                  <a:pt x="740" y="369"/>
                </a:lnTo>
                <a:lnTo>
                  <a:pt x="740" y="369"/>
                </a:lnTo>
                <a:lnTo>
                  <a:pt x="740" y="364"/>
                </a:lnTo>
                <a:lnTo>
                  <a:pt x="740" y="364"/>
                </a:lnTo>
                <a:lnTo>
                  <a:pt x="740" y="362"/>
                </a:lnTo>
                <a:lnTo>
                  <a:pt x="740" y="362"/>
                </a:lnTo>
                <a:lnTo>
                  <a:pt x="740" y="362"/>
                </a:lnTo>
                <a:lnTo>
                  <a:pt x="743" y="359"/>
                </a:lnTo>
                <a:lnTo>
                  <a:pt x="743" y="359"/>
                </a:lnTo>
                <a:lnTo>
                  <a:pt x="745" y="357"/>
                </a:lnTo>
                <a:lnTo>
                  <a:pt x="745" y="357"/>
                </a:lnTo>
                <a:lnTo>
                  <a:pt x="748" y="357"/>
                </a:lnTo>
                <a:lnTo>
                  <a:pt x="748" y="357"/>
                </a:lnTo>
                <a:lnTo>
                  <a:pt x="748" y="357"/>
                </a:lnTo>
                <a:lnTo>
                  <a:pt x="750" y="362"/>
                </a:lnTo>
                <a:lnTo>
                  <a:pt x="750" y="362"/>
                </a:lnTo>
                <a:lnTo>
                  <a:pt x="755" y="362"/>
                </a:lnTo>
                <a:lnTo>
                  <a:pt x="755" y="362"/>
                </a:lnTo>
                <a:lnTo>
                  <a:pt x="755" y="359"/>
                </a:lnTo>
                <a:lnTo>
                  <a:pt x="755" y="359"/>
                </a:lnTo>
                <a:lnTo>
                  <a:pt x="753" y="359"/>
                </a:lnTo>
                <a:lnTo>
                  <a:pt x="753" y="359"/>
                </a:lnTo>
                <a:lnTo>
                  <a:pt x="750" y="357"/>
                </a:lnTo>
                <a:lnTo>
                  <a:pt x="750" y="357"/>
                </a:lnTo>
                <a:lnTo>
                  <a:pt x="753" y="357"/>
                </a:lnTo>
                <a:lnTo>
                  <a:pt x="753" y="357"/>
                </a:lnTo>
                <a:lnTo>
                  <a:pt x="755" y="354"/>
                </a:lnTo>
                <a:lnTo>
                  <a:pt x="755" y="354"/>
                </a:lnTo>
                <a:lnTo>
                  <a:pt x="760" y="357"/>
                </a:lnTo>
                <a:lnTo>
                  <a:pt x="760" y="357"/>
                </a:lnTo>
                <a:lnTo>
                  <a:pt x="760" y="357"/>
                </a:lnTo>
                <a:lnTo>
                  <a:pt x="758" y="359"/>
                </a:lnTo>
                <a:lnTo>
                  <a:pt x="758" y="359"/>
                </a:lnTo>
                <a:lnTo>
                  <a:pt x="758" y="359"/>
                </a:lnTo>
                <a:lnTo>
                  <a:pt x="760" y="362"/>
                </a:lnTo>
                <a:lnTo>
                  <a:pt x="760" y="362"/>
                </a:lnTo>
                <a:lnTo>
                  <a:pt x="763" y="364"/>
                </a:lnTo>
                <a:lnTo>
                  <a:pt x="763" y="364"/>
                </a:lnTo>
                <a:lnTo>
                  <a:pt x="765" y="364"/>
                </a:lnTo>
                <a:lnTo>
                  <a:pt x="765" y="364"/>
                </a:lnTo>
                <a:lnTo>
                  <a:pt x="767" y="364"/>
                </a:lnTo>
                <a:lnTo>
                  <a:pt x="767" y="364"/>
                </a:lnTo>
                <a:lnTo>
                  <a:pt x="772" y="364"/>
                </a:lnTo>
                <a:lnTo>
                  <a:pt x="772" y="364"/>
                </a:lnTo>
                <a:lnTo>
                  <a:pt x="775" y="364"/>
                </a:lnTo>
                <a:lnTo>
                  <a:pt x="775" y="364"/>
                </a:lnTo>
                <a:lnTo>
                  <a:pt x="775" y="364"/>
                </a:lnTo>
                <a:lnTo>
                  <a:pt x="782" y="364"/>
                </a:lnTo>
                <a:lnTo>
                  <a:pt x="782" y="364"/>
                </a:lnTo>
                <a:lnTo>
                  <a:pt x="785" y="366"/>
                </a:lnTo>
                <a:lnTo>
                  <a:pt x="785" y="366"/>
                </a:lnTo>
                <a:lnTo>
                  <a:pt x="787" y="366"/>
                </a:lnTo>
                <a:lnTo>
                  <a:pt x="787" y="366"/>
                </a:lnTo>
                <a:lnTo>
                  <a:pt x="787" y="369"/>
                </a:lnTo>
                <a:lnTo>
                  <a:pt x="787" y="369"/>
                </a:lnTo>
                <a:lnTo>
                  <a:pt x="787" y="369"/>
                </a:lnTo>
                <a:lnTo>
                  <a:pt x="790" y="371"/>
                </a:lnTo>
                <a:lnTo>
                  <a:pt x="790" y="371"/>
                </a:lnTo>
                <a:lnTo>
                  <a:pt x="787" y="374"/>
                </a:lnTo>
                <a:lnTo>
                  <a:pt x="787" y="374"/>
                </a:lnTo>
                <a:lnTo>
                  <a:pt x="782" y="376"/>
                </a:lnTo>
                <a:lnTo>
                  <a:pt x="782" y="376"/>
                </a:lnTo>
                <a:lnTo>
                  <a:pt x="780" y="376"/>
                </a:lnTo>
                <a:lnTo>
                  <a:pt x="780" y="376"/>
                </a:lnTo>
                <a:lnTo>
                  <a:pt x="780" y="374"/>
                </a:lnTo>
                <a:lnTo>
                  <a:pt x="780" y="374"/>
                </a:lnTo>
                <a:lnTo>
                  <a:pt x="780" y="376"/>
                </a:lnTo>
                <a:lnTo>
                  <a:pt x="780" y="376"/>
                </a:lnTo>
                <a:lnTo>
                  <a:pt x="777" y="376"/>
                </a:lnTo>
                <a:lnTo>
                  <a:pt x="777" y="376"/>
                </a:lnTo>
                <a:lnTo>
                  <a:pt x="777" y="379"/>
                </a:lnTo>
                <a:lnTo>
                  <a:pt x="777" y="379"/>
                </a:lnTo>
                <a:lnTo>
                  <a:pt x="780" y="381"/>
                </a:lnTo>
                <a:lnTo>
                  <a:pt x="780" y="381"/>
                </a:lnTo>
                <a:lnTo>
                  <a:pt x="780" y="381"/>
                </a:lnTo>
                <a:lnTo>
                  <a:pt x="780" y="386"/>
                </a:lnTo>
                <a:lnTo>
                  <a:pt x="780" y="386"/>
                </a:lnTo>
                <a:lnTo>
                  <a:pt x="777" y="386"/>
                </a:lnTo>
                <a:lnTo>
                  <a:pt x="777" y="386"/>
                </a:lnTo>
                <a:lnTo>
                  <a:pt x="777" y="386"/>
                </a:lnTo>
                <a:lnTo>
                  <a:pt x="775" y="386"/>
                </a:lnTo>
                <a:lnTo>
                  <a:pt x="775" y="386"/>
                </a:lnTo>
                <a:lnTo>
                  <a:pt x="770" y="386"/>
                </a:lnTo>
                <a:lnTo>
                  <a:pt x="770" y="386"/>
                </a:lnTo>
                <a:lnTo>
                  <a:pt x="770" y="389"/>
                </a:lnTo>
                <a:lnTo>
                  <a:pt x="770" y="389"/>
                </a:lnTo>
                <a:lnTo>
                  <a:pt x="765" y="391"/>
                </a:lnTo>
                <a:lnTo>
                  <a:pt x="765" y="391"/>
                </a:lnTo>
                <a:lnTo>
                  <a:pt x="760" y="394"/>
                </a:lnTo>
                <a:lnTo>
                  <a:pt x="760" y="394"/>
                </a:lnTo>
                <a:lnTo>
                  <a:pt x="758" y="394"/>
                </a:lnTo>
                <a:lnTo>
                  <a:pt x="758" y="394"/>
                </a:lnTo>
                <a:lnTo>
                  <a:pt x="755" y="396"/>
                </a:lnTo>
                <a:lnTo>
                  <a:pt x="755" y="396"/>
                </a:lnTo>
                <a:lnTo>
                  <a:pt x="755" y="398"/>
                </a:lnTo>
                <a:lnTo>
                  <a:pt x="755" y="398"/>
                </a:lnTo>
                <a:lnTo>
                  <a:pt x="758" y="398"/>
                </a:lnTo>
                <a:lnTo>
                  <a:pt x="758" y="398"/>
                </a:lnTo>
                <a:lnTo>
                  <a:pt x="760" y="396"/>
                </a:lnTo>
                <a:lnTo>
                  <a:pt x="760" y="396"/>
                </a:lnTo>
                <a:lnTo>
                  <a:pt x="763" y="396"/>
                </a:lnTo>
                <a:lnTo>
                  <a:pt x="763" y="396"/>
                </a:lnTo>
                <a:lnTo>
                  <a:pt x="765" y="396"/>
                </a:lnTo>
                <a:lnTo>
                  <a:pt x="765" y="396"/>
                </a:lnTo>
                <a:lnTo>
                  <a:pt x="770" y="398"/>
                </a:lnTo>
                <a:lnTo>
                  <a:pt x="770" y="398"/>
                </a:lnTo>
                <a:lnTo>
                  <a:pt x="770" y="401"/>
                </a:lnTo>
                <a:lnTo>
                  <a:pt x="770" y="401"/>
                </a:lnTo>
                <a:lnTo>
                  <a:pt x="770" y="403"/>
                </a:lnTo>
                <a:lnTo>
                  <a:pt x="770" y="403"/>
                </a:lnTo>
                <a:lnTo>
                  <a:pt x="767" y="403"/>
                </a:lnTo>
                <a:lnTo>
                  <a:pt x="767" y="403"/>
                </a:lnTo>
                <a:lnTo>
                  <a:pt x="770" y="403"/>
                </a:lnTo>
                <a:lnTo>
                  <a:pt x="770" y="403"/>
                </a:lnTo>
                <a:lnTo>
                  <a:pt x="770" y="406"/>
                </a:lnTo>
                <a:lnTo>
                  <a:pt x="770" y="406"/>
                </a:lnTo>
                <a:lnTo>
                  <a:pt x="770" y="408"/>
                </a:lnTo>
                <a:lnTo>
                  <a:pt x="770" y="408"/>
                </a:lnTo>
                <a:lnTo>
                  <a:pt x="767" y="411"/>
                </a:lnTo>
                <a:lnTo>
                  <a:pt x="767" y="411"/>
                </a:lnTo>
                <a:lnTo>
                  <a:pt x="767" y="413"/>
                </a:lnTo>
                <a:lnTo>
                  <a:pt x="767" y="413"/>
                </a:lnTo>
                <a:lnTo>
                  <a:pt x="767" y="416"/>
                </a:lnTo>
                <a:lnTo>
                  <a:pt x="767" y="416"/>
                </a:lnTo>
                <a:lnTo>
                  <a:pt x="770" y="411"/>
                </a:lnTo>
                <a:lnTo>
                  <a:pt x="770" y="411"/>
                </a:lnTo>
                <a:lnTo>
                  <a:pt x="775" y="411"/>
                </a:lnTo>
                <a:lnTo>
                  <a:pt x="775" y="411"/>
                </a:lnTo>
                <a:lnTo>
                  <a:pt x="775" y="408"/>
                </a:lnTo>
                <a:lnTo>
                  <a:pt x="775" y="408"/>
                </a:lnTo>
                <a:lnTo>
                  <a:pt x="777" y="408"/>
                </a:lnTo>
                <a:lnTo>
                  <a:pt x="777" y="408"/>
                </a:lnTo>
                <a:lnTo>
                  <a:pt x="775" y="411"/>
                </a:lnTo>
                <a:lnTo>
                  <a:pt x="775" y="411"/>
                </a:lnTo>
                <a:lnTo>
                  <a:pt x="775" y="416"/>
                </a:lnTo>
                <a:lnTo>
                  <a:pt x="775" y="416"/>
                </a:lnTo>
                <a:lnTo>
                  <a:pt x="772" y="421"/>
                </a:lnTo>
                <a:lnTo>
                  <a:pt x="772" y="421"/>
                </a:lnTo>
                <a:lnTo>
                  <a:pt x="772" y="423"/>
                </a:lnTo>
                <a:lnTo>
                  <a:pt x="772" y="423"/>
                </a:lnTo>
                <a:lnTo>
                  <a:pt x="767" y="425"/>
                </a:lnTo>
                <a:lnTo>
                  <a:pt x="767" y="425"/>
                </a:lnTo>
                <a:lnTo>
                  <a:pt x="765" y="425"/>
                </a:lnTo>
                <a:lnTo>
                  <a:pt x="765" y="425"/>
                </a:lnTo>
                <a:lnTo>
                  <a:pt x="765" y="428"/>
                </a:lnTo>
                <a:lnTo>
                  <a:pt x="765" y="428"/>
                </a:lnTo>
                <a:lnTo>
                  <a:pt x="765" y="428"/>
                </a:lnTo>
                <a:lnTo>
                  <a:pt x="765" y="433"/>
                </a:lnTo>
                <a:lnTo>
                  <a:pt x="765" y="433"/>
                </a:lnTo>
                <a:lnTo>
                  <a:pt x="763" y="433"/>
                </a:lnTo>
                <a:lnTo>
                  <a:pt x="763" y="433"/>
                </a:lnTo>
                <a:lnTo>
                  <a:pt x="763" y="433"/>
                </a:lnTo>
                <a:lnTo>
                  <a:pt x="760" y="433"/>
                </a:lnTo>
                <a:lnTo>
                  <a:pt x="760" y="433"/>
                </a:lnTo>
                <a:lnTo>
                  <a:pt x="760" y="435"/>
                </a:lnTo>
                <a:lnTo>
                  <a:pt x="760" y="435"/>
                </a:lnTo>
                <a:lnTo>
                  <a:pt x="765" y="438"/>
                </a:lnTo>
                <a:lnTo>
                  <a:pt x="765" y="438"/>
                </a:lnTo>
                <a:lnTo>
                  <a:pt x="763" y="438"/>
                </a:lnTo>
                <a:lnTo>
                  <a:pt x="763" y="438"/>
                </a:lnTo>
                <a:lnTo>
                  <a:pt x="760" y="438"/>
                </a:lnTo>
                <a:lnTo>
                  <a:pt x="760" y="438"/>
                </a:lnTo>
                <a:lnTo>
                  <a:pt x="763" y="440"/>
                </a:lnTo>
                <a:lnTo>
                  <a:pt x="763" y="440"/>
                </a:lnTo>
                <a:lnTo>
                  <a:pt x="760" y="445"/>
                </a:lnTo>
                <a:lnTo>
                  <a:pt x="760" y="445"/>
                </a:lnTo>
                <a:lnTo>
                  <a:pt x="758" y="443"/>
                </a:lnTo>
                <a:lnTo>
                  <a:pt x="758" y="443"/>
                </a:lnTo>
                <a:lnTo>
                  <a:pt x="755" y="445"/>
                </a:lnTo>
                <a:lnTo>
                  <a:pt x="755" y="445"/>
                </a:lnTo>
                <a:lnTo>
                  <a:pt x="753" y="445"/>
                </a:lnTo>
                <a:lnTo>
                  <a:pt x="753" y="445"/>
                </a:lnTo>
                <a:lnTo>
                  <a:pt x="750" y="445"/>
                </a:lnTo>
                <a:lnTo>
                  <a:pt x="750" y="445"/>
                </a:lnTo>
                <a:lnTo>
                  <a:pt x="750" y="448"/>
                </a:lnTo>
                <a:lnTo>
                  <a:pt x="750" y="448"/>
                </a:lnTo>
                <a:lnTo>
                  <a:pt x="745" y="450"/>
                </a:lnTo>
                <a:lnTo>
                  <a:pt x="745" y="450"/>
                </a:lnTo>
                <a:lnTo>
                  <a:pt x="740" y="448"/>
                </a:lnTo>
                <a:lnTo>
                  <a:pt x="740" y="448"/>
                </a:lnTo>
                <a:lnTo>
                  <a:pt x="738" y="450"/>
                </a:lnTo>
                <a:lnTo>
                  <a:pt x="738" y="450"/>
                </a:lnTo>
                <a:lnTo>
                  <a:pt x="735" y="448"/>
                </a:lnTo>
                <a:lnTo>
                  <a:pt x="735" y="448"/>
                </a:lnTo>
                <a:lnTo>
                  <a:pt x="735" y="443"/>
                </a:lnTo>
                <a:lnTo>
                  <a:pt x="735" y="443"/>
                </a:lnTo>
                <a:lnTo>
                  <a:pt x="738" y="438"/>
                </a:lnTo>
                <a:lnTo>
                  <a:pt x="738" y="438"/>
                </a:lnTo>
                <a:lnTo>
                  <a:pt x="738" y="435"/>
                </a:lnTo>
                <a:lnTo>
                  <a:pt x="738" y="435"/>
                </a:lnTo>
                <a:lnTo>
                  <a:pt x="733" y="440"/>
                </a:lnTo>
                <a:lnTo>
                  <a:pt x="733" y="440"/>
                </a:lnTo>
                <a:lnTo>
                  <a:pt x="733" y="445"/>
                </a:lnTo>
                <a:lnTo>
                  <a:pt x="733" y="445"/>
                </a:lnTo>
                <a:lnTo>
                  <a:pt x="735" y="450"/>
                </a:lnTo>
                <a:lnTo>
                  <a:pt x="735" y="450"/>
                </a:lnTo>
                <a:lnTo>
                  <a:pt x="735" y="453"/>
                </a:lnTo>
                <a:lnTo>
                  <a:pt x="735" y="453"/>
                </a:lnTo>
                <a:lnTo>
                  <a:pt x="735" y="455"/>
                </a:lnTo>
                <a:lnTo>
                  <a:pt x="735" y="455"/>
                </a:lnTo>
                <a:lnTo>
                  <a:pt x="733" y="457"/>
                </a:lnTo>
                <a:lnTo>
                  <a:pt x="733" y="457"/>
                </a:lnTo>
                <a:lnTo>
                  <a:pt x="731" y="460"/>
                </a:lnTo>
                <a:lnTo>
                  <a:pt x="726" y="460"/>
                </a:lnTo>
                <a:lnTo>
                  <a:pt x="726" y="460"/>
                </a:lnTo>
                <a:close/>
                <a:moveTo>
                  <a:pt x="777" y="389"/>
                </a:moveTo>
                <a:lnTo>
                  <a:pt x="777" y="389"/>
                </a:lnTo>
                <a:lnTo>
                  <a:pt x="777" y="391"/>
                </a:lnTo>
                <a:lnTo>
                  <a:pt x="777" y="391"/>
                </a:lnTo>
                <a:lnTo>
                  <a:pt x="780" y="391"/>
                </a:lnTo>
                <a:lnTo>
                  <a:pt x="780" y="391"/>
                </a:lnTo>
                <a:lnTo>
                  <a:pt x="780" y="389"/>
                </a:lnTo>
                <a:lnTo>
                  <a:pt x="780" y="389"/>
                </a:lnTo>
                <a:lnTo>
                  <a:pt x="777" y="389"/>
                </a:lnTo>
                <a:lnTo>
                  <a:pt x="777" y="389"/>
                </a:lnTo>
                <a:close/>
                <a:moveTo>
                  <a:pt x="775" y="401"/>
                </a:moveTo>
                <a:lnTo>
                  <a:pt x="775" y="401"/>
                </a:lnTo>
                <a:lnTo>
                  <a:pt x="777" y="401"/>
                </a:lnTo>
                <a:lnTo>
                  <a:pt x="777" y="401"/>
                </a:lnTo>
                <a:lnTo>
                  <a:pt x="780" y="398"/>
                </a:lnTo>
                <a:lnTo>
                  <a:pt x="780" y="398"/>
                </a:lnTo>
                <a:lnTo>
                  <a:pt x="780" y="396"/>
                </a:lnTo>
                <a:lnTo>
                  <a:pt x="780" y="396"/>
                </a:lnTo>
                <a:lnTo>
                  <a:pt x="780" y="394"/>
                </a:lnTo>
                <a:lnTo>
                  <a:pt x="780" y="394"/>
                </a:lnTo>
                <a:lnTo>
                  <a:pt x="777" y="391"/>
                </a:lnTo>
                <a:lnTo>
                  <a:pt x="777" y="391"/>
                </a:lnTo>
                <a:lnTo>
                  <a:pt x="777" y="394"/>
                </a:lnTo>
                <a:lnTo>
                  <a:pt x="777" y="394"/>
                </a:lnTo>
                <a:lnTo>
                  <a:pt x="775" y="396"/>
                </a:lnTo>
                <a:lnTo>
                  <a:pt x="775" y="396"/>
                </a:lnTo>
                <a:lnTo>
                  <a:pt x="775" y="396"/>
                </a:lnTo>
                <a:lnTo>
                  <a:pt x="775" y="401"/>
                </a:lnTo>
                <a:lnTo>
                  <a:pt x="775" y="401"/>
                </a:lnTo>
                <a:lnTo>
                  <a:pt x="775" y="401"/>
                </a:lnTo>
                <a:close/>
                <a:moveTo>
                  <a:pt x="775" y="408"/>
                </a:moveTo>
                <a:lnTo>
                  <a:pt x="775" y="408"/>
                </a:lnTo>
                <a:lnTo>
                  <a:pt x="775" y="408"/>
                </a:lnTo>
                <a:lnTo>
                  <a:pt x="777" y="403"/>
                </a:lnTo>
                <a:lnTo>
                  <a:pt x="777" y="403"/>
                </a:lnTo>
                <a:lnTo>
                  <a:pt x="775" y="403"/>
                </a:lnTo>
                <a:lnTo>
                  <a:pt x="775" y="403"/>
                </a:lnTo>
                <a:lnTo>
                  <a:pt x="772" y="406"/>
                </a:lnTo>
                <a:lnTo>
                  <a:pt x="772" y="406"/>
                </a:lnTo>
                <a:lnTo>
                  <a:pt x="772" y="408"/>
                </a:lnTo>
                <a:lnTo>
                  <a:pt x="772" y="408"/>
                </a:lnTo>
                <a:lnTo>
                  <a:pt x="775" y="408"/>
                </a:lnTo>
                <a:lnTo>
                  <a:pt x="775" y="408"/>
                </a:lnTo>
                <a:close/>
                <a:moveTo>
                  <a:pt x="657" y="342"/>
                </a:moveTo>
                <a:lnTo>
                  <a:pt x="657" y="342"/>
                </a:lnTo>
                <a:lnTo>
                  <a:pt x="657" y="344"/>
                </a:lnTo>
                <a:lnTo>
                  <a:pt x="657" y="344"/>
                </a:lnTo>
                <a:lnTo>
                  <a:pt x="657" y="344"/>
                </a:lnTo>
                <a:lnTo>
                  <a:pt x="659" y="344"/>
                </a:lnTo>
                <a:lnTo>
                  <a:pt x="659" y="344"/>
                </a:lnTo>
                <a:lnTo>
                  <a:pt x="662" y="344"/>
                </a:lnTo>
                <a:lnTo>
                  <a:pt x="662" y="344"/>
                </a:lnTo>
                <a:lnTo>
                  <a:pt x="662" y="344"/>
                </a:lnTo>
                <a:lnTo>
                  <a:pt x="662" y="342"/>
                </a:lnTo>
                <a:lnTo>
                  <a:pt x="662" y="342"/>
                </a:lnTo>
                <a:lnTo>
                  <a:pt x="657" y="342"/>
                </a:lnTo>
                <a:lnTo>
                  <a:pt x="657" y="342"/>
                </a:lnTo>
                <a:lnTo>
                  <a:pt x="657" y="342"/>
                </a:lnTo>
                <a:close/>
                <a:moveTo>
                  <a:pt x="676" y="381"/>
                </a:moveTo>
                <a:lnTo>
                  <a:pt x="676" y="381"/>
                </a:lnTo>
                <a:lnTo>
                  <a:pt x="674" y="379"/>
                </a:lnTo>
                <a:lnTo>
                  <a:pt x="674" y="379"/>
                </a:lnTo>
                <a:lnTo>
                  <a:pt x="674" y="371"/>
                </a:lnTo>
                <a:lnTo>
                  <a:pt x="674" y="371"/>
                </a:lnTo>
                <a:lnTo>
                  <a:pt x="672" y="369"/>
                </a:lnTo>
                <a:lnTo>
                  <a:pt x="672" y="369"/>
                </a:lnTo>
                <a:lnTo>
                  <a:pt x="672" y="366"/>
                </a:lnTo>
                <a:lnTo>
                  <a:pt x="672" y="366"/>
                </a:lnTo>
                <a:lnTo>
                  <a:pt x="672" y="364"/>
                </a:lnTo>
                <a:lnTo>
                  <a:pt x="672" y="364"/>
                </a:lnTo>
                <a:lnTo>
                  <a:pt x="672" y="362"/>
                </a:lnTo>
                <a:lnTo>
                  <a:pt x="672" y="362"/>
                </a:lnTo>
                <a:lnTo>
                  <a:pt x="672" y="357"/>
                </a:lnTo>
                <a:lnTo>
                  <a:pt x="672" y="357"/>
                </a:lnTo>
                <a:lnTo>
                  <a:pt x="669" y="354"/>
                </a:lnTo>
                <a:lnTo>
                  <a:pt x="669" y="354"/>
                </a:lnTo>
                <a:lnTo>
                  <a:pt x="667" y="352"/>
                </a:lnTo>
                <a:lnTo>
                  <a:pt x="667" y="352"/>
                </a:lnTo>
                <a:lnTo>
                  <a:pt x="667" y="349"/>
                </a:lnTo>
                <a:lnTo>
                  <a:pt x="667" y="349"/>
                </a:lnTo>
                <a:lnTo>
                  <a:pt x="672" y="347"/>
                </a:lnTo>
                <a:lnTo>
                  <a:pt x="672" y="347"/>
                </a:lnTo>
                <a:lnTo>
                  <a:pt x="674" y="344"/>
                </a:lnTo>
                <a:lnTo>
                  <a:pt x="674" y="344"/>
                </a:lnTo>
                <a:lnTo>
                  <a:pt x="676" y="342"/>
                </a:lnTo>
                <a:lnTo>
                  <a:pt x="676" y="342"/>
                </a:lnTo>
                <a:lnTo>
                  <a:pt x="681" y="342"/>
                </a:lnTo>
                <a:lnTo>
                  <a:pt x="681" y="342"/>
                </a:lnTo>
                <a:lnTo>
                  <a:pt x="684" y="344"/>
                </a:lnTo>
                <a:lnTo>
                  <a:pt x="684" y="344"/>
                </a:lnTo>
                <a:lnTo>
                  <a:pt x="684" y="344"/>
                </a:lnTo>
                <a:lnTo>
                  <a:pt x="686" y="347"/>
                </a:lnTo>
                <a:lnTo>
                  <a:pt x="686" y="347"/>
                </a:lnTo>
                <a:lnTo>
                  <a:pt x="689" y="344"/>
                </a:lnTo>
                <a:lnTo>
                  <a:pt x="689" y="344"/>
                </a:lnTo>
                <a:lnTo>
                  <a:pt x="691" y="347"/>
                </a:lnTo>
                <a:lnTo>
                  <a:pt x="691" y="347"/>
                </a:lnTo>
                <a:lnTo>
                  <a:pt x="694" y="347"/>
                </a:lnTo>
                <a:lnTo>
                  <a:pt x="694" y="347"/>
                </a:lnTo>
                <a:lnTo>
                  <a:pt x="696" y="347"/>
                </a:lnTo>
                <a:lnTo>
                  <a:pt x="696" y="347"/>
                </a:lnTo>
                <a:lnTo>
                  <a:pt x="699" y="349"/>
                </a:lnTo>
                <a:lnTo>
                  <a:pt x="699" y="349"/>
                </a:lnTo>
                <a:lnTo>
                  <a:pt x="699" y="352"/>
                </a:lnTo>
                <a:lnTo>
                  <a:pt x="699" y="352"/>
                </a:lnTo>
                <a:lnTo>
                  <a:pt x="699" y="354"/>
                </a:lnTo>
                <a:lnTo>
                  <a:pt x="699" y="354"/>
                </a:lnTo>
                <a:lnTo>
                  <a:pt x="701" y="357"/>
                </a:lnTo>
                <a:lnTo>
                  <a:pt x="701" y="357"/>
                </a:lnTo>
                <a:lnTo>
                  <a:pt x="701" y="359"/>
                </a:lnTo>
                <a:lnTo>
                  <a:pt x="701" y="359"/>
                </a:lnTo>
                <a:lnTo>
                  <a:pt x="699" y="359"/>
                </a:lnTo>
                <a:lnTo>
                  <a:pt x="699" y="359"/>
                </a:lnTo>
                <a:lnTo>
                  <a:pt x="699" y="362"/>
                </a:lnTo>
                <a:lnTo>
                  <a:pt x="699" y="362"/>
                </a:lnTo>
                <a:lnTo>
                  <a:pt x="696" y="366"/>
                </a:lnTo>
                <a:lnTo>
                  <a:pt x="696" y="366"/>
                </a:lnTo>
                <a:lnTo>
                  <a:pt x="694" y="366"/>
                </a:lnTo>
                <a:lnTo>
                  <a:pt x="694" y="366"/>
                </a:lnTo>
                <a:lnTo>
                  <a:pt x="689" y="369"/>
                </a:lnTo>
                <a:lnTo>
                  <a:pt x="689" y="369"/>
                </a:lnTo>
                <a:lnTo>
                  <a:pt x="686" y="371"/>
                </a:lnTo>
                <a:lnTo>
                  <a:pt x="686" y="371"/>
                </a:lnTo>
                <a:lnTo>
                  <a:pt x="681" y="376"/>
                </a:lnTo>
                <a:lnTo>
                  <a:pt x="681" y="376"/>
                </a:lnTo>
                <a:lnTo>
                  <a:pt x="679" y="376"/>
                </a:lnTo>
                <a:lnTo>
                  <a:pt x="679" y="376"/>
                </a:lnTo>
                <a:lnTo>
                  <a:pt x="676" y="379"/>
                </a:lnTo>
                <a:lnTo>
                  <a:pt x="676" y="379"/>
                </a:lnTo>
                <a:lnTo>
                  <a:pt x="676" y="381"/>
                </a:lnTo>
                <a:lnTo>
                  <a:pt x="676" y="381"/>
                </a:lnTo>
                <a:lnTo>
                  <a:pt x="676" y="381"/>
                </a:lnTo>
                <a:close/>
                <a:moveTo>
                  <a:pt x="787" y="445"/>
                </a:moveTo>
                <a:lnTo>
                  <a:pt x="787" y="445"/>
                </a:lnTo>
                <a:lnTo>
                  <a:pt x="782" y="440"/>
                </a:lnTo>
                <a:lnTo>
                  <a:pt x="782" y="440"/>
                </a:lnTo>
                <a:lnTo>
                  <a:pt x="780" y="440"/>
                </a:lnTo>
                <a:lnTo>
                  <a:pt x="780" y="440"/>
                </a:lnTo>
                <a:lnTo>
                  <a:pt x="775" y="440"/>
                </a:lnTo>
                <a:lnTo>
                  <a:pt x="775" y="440"/>
                </a:lnTo>
                <a:lnTo>
                  <a:pt x="777" y="438"/>
                </a:lnTo>
                <a:lnTo>
                  <a:pt x="777" y="438"/>
                </a:lnTo>
                <a:lnTo>
                  <a:pt x="780" y="435"/>
                </a:lnTo>
                <a:lnTo>
                  <a:pt x="780" y="435"/>
                </a:lnTo>
                <a:lnTo>
                  <a:pt x="780" y="438"/>
                </a:lnTo>
                <a:lnTo>
                  <a:pt x="780" y="438"/>
                </a:lnTo>
                <a:lnTo>
                  <a:pt x="782" y="435"/>
                </a:lnTo>
                <a:lnTo>
                  <a:pt x="782" y="435"/>
                </a:lnTo>
                <a:lnTo>
                  <a:pt x="782" y="435"/>
                </a:lnTo>
                <a:lnTo>
                  <a:pt x="780" y="435"/>
                </a:lnTo>
                <a:lnTo>
                  <a:pt x="780" y="435"/>
                </a:lnTo>
                <a:lnTo>
                  <a:pt x="777" y="433"/>
                </a:lnTo>
                <a:lnTo>
                  <a:pt x="777" y="433"/>
                </a:lnTo>
                <a:lnTo>
                  <a:pt x="782" y="428"/>
                </a:lnTo>
                <a:lnTo>
                  <a:pt x="782" y="428"/>
                </a:lnTo>
                <a:lnTo>
                  <a:pt x="782" y="423"/>
                </a:lnTo>
                <a:lnTo>
                  <a:pt x="782" y="423"/>
                </a:lnTo>
                <a:lnTo>
                  <a:pt x="782" y="421"/>
                </a:lnTo>
                <a:lnTo>
                  <a:pt x="782" y="421"/>
                </a:lnTo>
                <a:lnTo>
                  <a:pt x="785" y="421"/>
                </a:lnTo>
                <a:lnTo>
                  <a:pt x="785" y="421"/>
                </a:lnTo>
                <a:lnTo>
                  <a:pt x="785" y="418"/>
                </a:lnTo>
                <a:lnTo>
                  <a:pt x="785" y="418"/>
                </a:lnTo>
                <a:lnTo>
                  <a:pt x="782" y="416"/>
                </a:lnTo>
                <a:lnTo>
                  <a:pt x="782" y="416"/>
                </a:lnTo>
                <a:lnTo>
                  <a:pt x="785" y="413"/>
                </a:lnTo>
                <a:lnTo>
                  <a:pt x="785" y="413"/>
                </a:lnTo>
                <a:lnTo>
                  <a:pt x="785" y="411"/>
                </a:lnTo>
                <a:lnTo>
                  <a:pt x="785" y="411"/>
                </a:lnTo>
                <a:lnTo>
                  <a:pt x="787" y="403"/>
                </a:lnTo>
                <a:lnTo>
                  <a:pt x="787" y="403"/>
                </a:lnTo>
                <a:lnTo>
                  <a:pt x="790" y="403"/>
                </a:lnTo>
                <a:lnTo>
                  <a:pt x="790" y="403"/>
                </a:lnTo>
                <a:lnTo>
                  <a:pt x="790" y="401"/>
                </a:lnTo>
                <a:lnTo>
                  <a:pt x="790" y="401"/>
                </a:lnTo>
                <a:lnTo>
                  <a:pt x="792" y="398"/>
                </a:lnTo>
                <a:lnTo>
                  <a:pt x="792" y="398"/>
                </a:lnTo>
                <a:lnTo>
                  <a:pt x="792" y="394"/>
                </a:lnTo>
                <a:lnTo>
                  <a:pt x="792" y="394"/>
                </a:lnTo>
                <a:lnTo>
                  <a:pt x="795" y="394"/>
                </a:lnTo>
                <a:lnTo>
                  <a:pt x="795" y="394"/>
                </a:lnTo>
                <a:lnTo>
                  <a:pt x="795" y="389"/>
                </a:lnTo>
                <a:lnTo>
                  <a:pt x="795" y="389"/>
                </a:lnTo>
                <a:lnTo>
                  <a:pt x="799" y="386"/>
                </a:lnTo>
                <a:lnTo>
                  <a:pt x="799" y="386"/>
                </a:lnTo>
                <a:lnTo>
                  <a:pt x="799" y="381"/>
                </a:lnTo>
                <a:lnTo>
                  <a:pt x="799" y="381"/>
                </a:lnTo>
                <a:lnTo>
                  <a:pt x="802" y="381"/>
                </a:lnTo>
                <a:lnTo>
                  <a:pt x="802" y="381"/>
                </a:lnTo>
                <a:lnTo>
                  <a:pt x="802" y="379"/>
                </a:lnTo>
                <a:lnTo>
                  <a:pt x="802" y="379"/>
                </a:lnTo>
                <a:lnTo>
                  <a:pt x="802" y="376"/>
                </a:lnTo>
                <a:lnTo>
                  <a:pt x="802" y="376"/>
                </a:lnTo>
                <a:lnTo>
                  <a:pt x="804" y="374"/>
                </a:lnTo>
                <a:lnTo>
                  <a:pt x="804" y="374"/>
                </a:lnTo>
                <a:lnTo>
                  <a:pt x="804" y="374"/>
                </a:lnTo>
                <a:lnTo>
                  <a:pt x="807" y="379"/>
                </a:lnTo>
                <a:lnTo>
                  <a:pt x="807" y="379"/>
                </a:lnTo>
                <a:lnTo>
                  <a:pt x="809" y="381"/>
                </a:lnTo>
                <a:lnTo>
                  <a:pt x="809" y="381"/>
                </a:lnTo>
                <a:lnTo>
                  <a:pt x="812" y="381"/>
                </a:lnTo>
                <a:lnTo>
                  <a:pt x="812" y="381"/>
                </a:lnTo>
                <a:lnTo>
                  <a:pt x="812" y="379"/>
                </a:lnTo>
                <a:lnTo>
                  <a:pt x="812" y="379"/>
                </a:lnTo>
                <a:lnTo>
                  <a:pt x="809" y="374"/>
                </a:lnTo>
                <a:lnTo>
                  <a:pt x="809" y="374"/>
                </a:lnTo>
                <a:lnTo>
                  <a:pt x="809" y="374"/>
                </a:lnTo>
                <a:lnTo>
                  <a:pt x="812" y="374"/>
                </a:lnTo>
                <a:lnTo>
                  <a:pt x="812" y="374"/>
                </a:lnTo>
                <a:lnTo>
                  <a:pt x="809" y="369"/>
                </a:lnTo>
                <a:lnTo>
                  <a:pt x="809" y="369"/>
                </a:lnTo>
                <a:lnTo>
                  <a:pt x="812" y="366"/>
                </a:lnTo>
                <a:lnTo>
                  <a:pt x="812" y="366"/>
                </a:lnTo>
                <a:lnTo>
                  <a:pt x="819" y="364"/>
                </a:lnTo>
                <a:lnTo>
                  <a:pt x="819" y="364"/>
                </a:lnTo>
                <a:lnTo>
                  <a:pt x="824" y="364"/>
                </a:lnTo>
                <a:lnTo>
                  <a:pt x="824" y="364"/>
                </a:lnTo>
                <a:lnTo>
                  <a:pt x="826" y="364"/>
                </a:lnTo>
                <a:lnTo>
                  <a:pt x="826" y="364"/>
                </a:lnTo>
                <a:lnTo>
                  <a:pt x="826" y="364"/>
                </a:lnTo>
                <a:lnTo>
                  <a:pt x="829" y="364"/>
                </a:lnTo>
                <a:lnTo>
                  <a:pt x="829" y="364"/>
                </a:lnTo>
                <a:lnTo>
                  <a:pt x="831" y="366"/>
                </a:lnTo>
                <a:lnTo>
                  <a:pt x="831" y="366"/>
                </a:lnTo>
                <a:lnTo>
                  <a:pt x="834" y="364"/>
                </a:lnTo>
                <a:lnTo>
                  <a:pt x="834" y="364"/>
                </a:lnTo>
                <a:lnTo>
                  <a:pt x="836" y="364"/>
                </a:lnTo>
                <a:lnTo>
                  <a:pt x="836" y="364"/>
                </a:lnTo>
                <a:lnTo>
                  <a:pt x="839" y="369"/>
                </a:lnTo>
                <a:lnTo>
                  <a:pt x="839" y="369"/>
                </a:lnTo>
                <a:lnTo>
                  <a:pt x="841" y="369"/>
                </a:lnTo>
                <a:lnTo>
                  <a:pt x="841" y="369"/>
                </a:lnTo>
                <a:lnTo>
                  <a:pt x="841" y="369"/>
                </a:lnTo>
                <a:lnTo>
                  <a:pt x="844" y="369"/>
                </a:lnTo>
                <a:lnTo>
                  <a:pt x="844" y="369"/>
                </a:lnTo>
                <a:lnTo>
                  <a:pt x="846" y="374"/>
                </a:lnTo>
                <a:lnTo>
                  <a:pt x="846" y="374"/>
                </a:lnTo>
                <a:lnTo>
                  <a:pt x="846" y="376"/>
                </a:lnTo>
                <a:lnTo>
                  <a:pt x="846" y="376"/>
                </a:lnTo>
                <a:lnTo>
                  <a:pt x="846" y="376"/>
                </a:lnTo>
                <a:lnTo>
                  <a:pt x="849" y="376"/>
                </a:lnTo>
                <a:lnTo>
                  <a:pt x="849" y="376"/>
                </a:lnTo>
                <a:lnTo>
                  <a:pt x="854" y="376"/>
                </a:lnTo>
                <a:lnTo>
                  <a:pt x="854" y="376"/>
                </a:lnTo>
                <a:lnTo>
                  <a:pt x="861" y="376"/>
                </a:lnTo>
                <a:lnTo>
                  <a:pt x="861" y="376"/>
                </a:lnTo>
                <a:lnTo>
                  <a:pt x="863" y="379"/>
                </a:lnTo>
                <a:lnTo>
                  <a:pt x="863" y="379"/>
                </a:lnTo>
                <a:lnTo>
                  <a:pt x="863" y="381"/>
                </a:lnTo>
                <a:lnTo>
                  <a:pt x="863" y="381"/>
                </a:lnTo>
                <a:lnTo>
                  <a:pt x="866" y="384"/>
                </a:lnTo>
                <a:lnTo>
                  <a:pt x="866" y="384"/>
                </a:lnTo>
                <a:lnTo>
                  <a:pt x="866" y="386"/>
                </a:lnTo>
                <a:lnTo>
                  <a:pt x="866" y="386"/>
                </a:lnTo>
                <a:lnTo>
                  <a:pt x="866" y="384"/>
                </a:lnTo>
                <a:lnTo>
                  <a:pt x="866" y="384"/>
                </a:lnTo>
                <a:lnTo>
                  <a:pt x="863" y="384"/>
                </a:lnTo>
                <a:lnTo>
                  <a:pt x="863" y="384"/>
                </a:lnTo>
                <a:lnTo>
                  <a:pt x="863" y="389"/>
                </a:lnTo>
                <a:lnTo>
                  <a:pt x="863" y="389"/>
                </a:lnTo>
                <a:lnTo>
                  <a:pt x="858" y="391"/>
                </a:lnTo>
                <a:lnTo>
                  <a:pt x="858" y="391"/>
                </a:lnTo>
                <a:lnTo>
                  <a:pt x="856" y="396"/>
                </a:lnTo>
                <a:lnTo>
                  <a:pt x="856" y="396"/>
                </a:lnTo>
                <a:lnTo>
                  <a:pt x="854" y="396"/>
                </a:lnTo>
                <a:lnTo>
                  <a:pt x="854" y="396"/>
                </a:lnTo>
                <a:lnTo>
                  <a:pt x="854" y="398"/>
                </a:lnTo>
                <a:lnTo>
                  <a:pt x="854" y="398"/>
                </a:lnTo>
                <a:lnTo>
                  <a:pt x="846" y="403"/>
                </a:lnTo>
                <a:lnTo>
                  <a:pt x="846" y="403"/>
                </a:lnTo>
                <a:lnTo>
                  <a:pt x="844" y="406"/>
                </a:lnTo>
                <a:lnTo>
                  <a:pt x="844" y="406"/>
                </a:lnTo>
                <a:lnTo>
                  <a:pt x="841" y="406"/>
                </a:lnTo>
                <a:lnTo>
                  <a:pt x="841" y="406"/>
                </a:lnTo>
                <a:lnTo>
                  <a:pt x="839" y="408"/>
                </a:lnTo>
                <a:lnTo>
                  <a:pt x="839" y="408"/>
                </a:lnTo>
                <a:lnTo>
                  <a:pt x="841" y="408"/>
                </a:lnTo>
                <a:lnTo>
                  <a:pt x="841" y="408"/>
                </a:lnTo>
                <a:lnTo>
                  <a:pt x="839" y="411"/>
                </a:lnTo>
                <a:lnTo>
                  <a:pt x="839" y="411"/>
                </a:lnTo>
                <a:lnTo>
                  <a:pt x="834" y="416"/>
                </a:lnTo>
                <a:lnTo>
                  <a:pt x="834" y="416"/>
                </a:lnTo>
                <a:lnTo>
                  <a:pt x="831" y="418"/>
                </a:lnTo>
                <a:lnTo>
                  <a:pt x="831" y="418"/>
                </a:lnTo>
                <a:lnTo>
                  <a:pt x="826" y="423"/>
                </a:lnTo>
                <a:lnTo>
                  <a:pt x="826" y="423"/>
                </a:lnTo>
                <a:lnTo>
                  <a:pt x="822" y="425"/>
                </a:lnTo>
                <a:lnTo>
                  <a:pt x="822" y="425"/>
                </a:lnTo>
                <a:lnTo>
                  <a:pt x="819" y="423"/>
                </a:lnTo>
                <a:lnTo>
                  <a:pt x="819" y="423"/>
                </a:lnTo>
                <a:lnTo>
                  <a:pt x="819" y="423"/>
                </a:lnTo>
                <a:lnTo>
                  <a:pt x="817" y="423"/>
                </a:lnTo>
                <a:lnTo>
                  <a:pt x="817" y="423"/>
                </a:lnTo>
                <a:lnTo>
                  <a:pt x="814" y="418"/>
                </a:lnTo>
                <a:lnTo>
                  <a:pt x="814" y="418"/>
                </a:lnTo>
                <a:lnTo>
                  <a:pt x="812" y="416"/>
                </a:lnTo>
                <a:lnTo>
                  <a:pt x="812" y="416"/>
                </a:lnTo>
                <a:lnTo>
                  <a:pt x="812" y="416"/>
                </a:lnTo>
                <a:lnTo>
                  <a:pt x="809" y="416"/>
                </a:lnTo>
                <a:lnTo>
                  <a:pt x="809" y="416"/>
                </a:lnTo>
                <a:lnTo>
                  <a:pt x="807" y="416"/>
                </a:lnTo>
                <a:lnTo>
                  <a:pt x="807" y="416"/>
                </a:lnTo>
                <a:lnTo>
                  <a:pt x="802" y="416"/>
                </a:lnTo>
                <a:lnTo>
                  <a:pt x="802" y="416"/>
                </a:lnTo>
                <a:lnTo>
                  <a:pt x="802" y="416"/>
                </a:lnTo>
                <a:lnTo>
                  <a:pt x="799" y="416"/>
                </a:lnTo>
                <a:lnTo>
                  <a:pt x="799" y="416"/>
                </a:lnTo>
                <a:lnTo>
                  <a:pt x="797" y="416"/>
                </a:lnTo>
                <a:lnTo>
                  <a:pt x="797" y="416"/>
                </a:lnTo>
                <a:lnTo>
                  <a:pt x="799" y="418"/>
                </a:lnTo>
                <a:lnTo>
                  <a:pt x="799" y="418"/>
                </a:lnTo>
                <a:lnTo>
                  <a:pt x="804" y="418"/>
                </a:lnTo>
                <a:lnTo>
                  <a:pt x="804" y="418"/>
                </a:lnTo>
                <a:lnTo>
                  <a:pt x="804" y="421"/>
                </a:lnTo>
                <a:lnTo>
                  <a:pt x="804" y="421"/>
                </a:lnTo>
                <a:lnTo>
                  <a:pt x="802" y="423"/>
                </a:lnTo>
                <a:lnTo>
                  <a:pt x="802" y="423"/>
                </a:lnTo>
                <a:lnTo>
                  <a:pt x="804" y="425"/>
                </a:lnTo>
                <a:lnTo>
                  <a:pt x="804" y="425"/>
                </a:lnTo>
                <a:lnTo>
                  <a:pt x="804" y="428"/>
                </a:lnTo>
                <a:lnTo>
                  <a:pt x="804" y="428"/>
                </a:lnTo>
                <a:lnTo>
                  <a:pt x="802" y="430"/>
                </a:lnTo>
                <a:lnTo>
                  <a:pt x="802" y="430"/>
                </a:lnTo>
                <a:lnTo>
                  <a:pt x="799" y="433"/>
                </a:lnTo>
                <a:lnTo>
                  <a:pt x="799" y="433"/>
                </a:lnTo>
                <a:lnTo>
                  <a:pt x="799" y="433"/>
                </a:lnTo>
                <a:lnTo>
                  <a:pt x="795" y="433"/>
                </a:lnTo>
                <a:lnTo>
                  <a:pt x="795" y="433"/>
                </a:lnTo>
                <a:lnTo>
                  <a:pt x="795" y="435"/>
                </a:lnTo>
                <a:lnTo>
                  <a:pt x="795" y="435"/>
                </a:lnTo>
                <a:lnTo>
                  <a:pt x="792" y="438"/>
                </a:lnTo>
                <a:lnTo>
                  <a:pt x="792" y="438"/>
                </a:lnTo>
                <a:lnTo>
                  <a:pt x="790" y="440"/>
                </a:lnTo>
                <a:lnTo>
                  <a:pt x="790" y="440"/>
                </a:lnTo>
                <a:lnTo>
                  <a:pt x="787" y="440"/>
                </a:lnTo>
                <a:lnTo>
                  <a:pt x="787" y="440"/>
                </a:lnTo>
                <a:lnTo>
                  <a:pt x="787" y="443"/>
                </a:lnTo>
                <a:lnTo>
                  <a:pt x="787" y="445"/>
                </a:lnTo>
                <a:lnTo>
                  <a:pt x="787" y="445"/>
                </a:lnTo>
                <a:close/>
                <a:moveTo>
                  <a:pt x="977" y="457"/>
                </a:moveTo>
                <a:lnTo>
                  <a:pt x="977" y="457"/>
                </a:lnTo>
                <a:lnTo>
                  <a:pt x="972" y="455"/>
                </a:lnTo>
                <a:lnTo>
                  <a:pt x="972" y="455"/>
                </a:lnTo>
                <a:lnTo>
                  <a:pt x="969" y="455"/>
                </a:lnTo>
                <a:lnTo>
                  <a:pt x="969" y="455"/>
                </a:lnTo>
                <a:lnTo>
                  <a:pt x="969" y="450"/>
                </a:lnTo>
                <a:lnTo>
                  <a:pt x="969" y="450"/>
                </a:lnTo>
                <a:lnTo>
                  <a:pt x="967" y="450"/>
                </a:lnTo>
                <a:lnTo>
                  <a:pt x="967" y="450"/>
                </a:lnTo>
                <a:lnTo>
                  <a:pt x="964" y="448"/>
                </a:lnTo>
                <a:lnTo>
                  <a:pt x="964" y="448"/>
                </a:lnTo>
                <a:lnTo>
                  <a:pt x="967" y="443"/>
                </a:lnTo>
                <a:lnTo>
                  <a:pt x="967" y="443"/>
                </a:lnTo>
                <a:lnTo>
                  <a:pt x="969" y="440"/>
                </a:lnTo>
                <a:lnTo>
                  <a:pt x="969" y="440"/>
                </a:lnTo>
                <a:lnTo>
                  <a:pt x="969" y="438"/>
                </a:lnTo>
                <a:lnTo>
                  <a:pt x="969" y="438"/>
                </a:lnTo>
                <a:lnTo>
                  <a:pt x="969" y="435"/>
                </a:lnTo>
                <a:lnTo>
                  <a:pt x="969" y="435"/>
                </a:lnTo>
                <a:lnTo>
                  <a:pt x="969" y="433"/>
                </a:lnTo>
                <a:lnTo>
                  <a:pt x="969" y="433"/>
                </a:lnTo>
                <a:lnTo>
                  <a:pt x="967" y="433"/>
                </a:lnTo>
                <a:lnTo>
                  <a:pt x="967" y="433"/>
                </a:lnTo>
                <a:lnTo>
                  <a:pt x="964" y="430"/>
                </a:lnTo>
                <a:lnTo>
                  <a:pt x="964" y="430"/>
                </a:lnTo>
                <a:lnTo>
                  <a:pt x="967" y="425"/>
                </a:lnTo>
                <a:lnTo>
                  <a:pt x="967" y="425"/>
                </a:lnTo>
                <a:lnTo>
                  <a:pt x="969" y="425"/>
                </a:lnTo>
                <a:lnTo>
                  <a:pt x="969" y="425"/>
                </a:lnTo>
                <a:lnTo>
                  <a:pt x="969" y="423"/>
                </a:lnTo>
                <a:lnTo>
                  <a:pt x="969" y="423"/>
                </a:lnTo>
                <a:lnTo>
                  <a:pt x="969" y="421"/>
                </a:lnTo>
                <a:lnTo>
                  <a:pt x="969" y="421"/>
                </a:lnTo>
                <a:lnTo>
                  <a:pt x="972" y="418"/>
                </a:lnTo>
                <a:lnTo>
                  <a:pt x="972" y="418"/>
                </a:lnTo>
                <a:lnTo>
                  <a:pt x="972" y="413"/>
                </a:lnTo>
                <a:lnTo>
                  <a:pt x="972" y="413"/>
                </a:lnTo>
                <a:lnTo>
                  <a:pt x="974" y="413"/>
                </a:lnTo>
                <a:lnTo>
                  <a:pt x="974" y="413"/>
                </a:lnTo>
                <a:lnTo>
                  <a:pt x="977" y="416"/>
                </a:lnTo>
                <a:lnTo>
                  <a:pt x="977" y="416"/>
                </a:lnTo>
                <a:lnTo>
                  <a:pt x="977" y="418"/>
                </a:lnTo>
                <a:lnTo>
                  <a:pt x="977" y="418"/>
                </a:lnTo>
                <a:lnTo>
                  <a:pt x="984" y="418"/>
                </a:lnTo>
                <a:lnTo>
                  <a:pt x="984" y="418"/>
                </a:lnTo>
                <a:lnTo>
                  <a:pt x="986" y="421"/>
                </a:lnTo>
                <a:lnTo>
                  <a:pt x="986" y="421"/>
                </a:lnTo>
                <a:lnTo>
                  <a:pt x="989" y="423"/>
                </a:lnTo>
                <a:lnTo>
                  <a:pt x="989" y="423"/>
                </a:lnTo>
                <a:lnTo>
                  <a:pt x="991" y="421"/>
                </a:lnTo>
                <a:lnTo>
                  <a:pt x="991" y="421"/>
                </a:lnTo>
                <a:lnTo>
                  <a:pt x="996" y="423"/>
                </a:lnTo>
                <a:lnTo>
                  <a:pt x="996" y="423"/>
                </a:lnTo>
                <a:lnTo>
                  <a:pt x="1001" y="423"/>
                </a:lnTo>
                <a:lnTo>
                  <a:pt x="1001" y="423"/>
                </a:lnTo>
                <a:lnTo>
                  <a:pt x="1001" y="425"/>
                </a:lnTo>
                <a:lnTo>
                  <a:pt x="1001" y="425"/>
                </a:lnTo>
                <a:lnTo>
                  <a:pt x="1004" y="428"/>
                </a:lnTo>
                <a:lnTo>
                  <a:pt x="1004" y="428"/>
                </a:lnTo>
                <a:lnTo>
                  <a:pt x="1009" y="430"/>
                </a:lnTo>
                <a:lnTo>
                  <a:pt x="1009" y="430"/>
                </a:lnTo>
                <a:lnTo>
                  <a:pt x="1009" y="433"/>
                </a:lnTo>
                <a:lnTo>
                  <a:pt x="1009" y="433"/>
                </a:lnTo>
                <a:lnTo>
                  <a:pt x="1009" y="435"/>
                </a:lnTo>
                <a:lnTo>
                  <a:pt x="1009" y="435"/>
                </a:lnTo>
                <a:lnTo>
                  <a:pt x="1009" y="438"/>
                </a:lnTo>
                <a:lnTo>
                  <a:pt x="1009" y="438"/>
                </a:lnTo>
                <a:lnTo>
                  <a:pt x="1011" y="440"/>
                </a:lnTo>
                <a:lnTo>
                  <a:pt x="1011" y="440"/>
                </a:lnTo>
                <a:lnTo>
                  <a:pt x="1009" y="443"/>
                </a:lnTo>
                <a:lnTo>
                  <a:pt x="1009" y="443"/>
                </a:lnTo>
                <a:lnTo>
                  <a:pt x="1011" y="445"/>
                </a:lnTo>
                <a:lnTo>
                  <a:pt x="1011" y="445"/>
                </a:lnTo>
                <a:lnTo>
                  <a:pt x="1011" y="448"/>
                </a:lnTo>
                <a:lnTo>
                  <a:pt x="1011" y="448"/>
                </a:lnTo>
                <a:lnTo>
                  <a:pt x="1011" y="450"/>
                </a:lnTo>
                <a:lnTo>
                  <a:pt x="1011" y="450"/>
                </a:lnTo>
                <a:lnTo>
                  <a:pt x="1011" y="453"/>
                </a:lnTo>
                <a:lnTo>
                  <a:pt x="1011" y="453"/>
                </a:lnTo>
                <a:lnTo>
                  <a:pt x="1009" y="455"/>
                </a:lnTo>
                <a:lnTo>
                  <a:pt x="1009" y="455"/>
                </a:lnTo>
                <a:lnTo>
                  <a:pt x="1013" y="455"/>
                </a:lnTo>
                <a:lnTo>
                  <a:pt x="1013" y="455"/>
                </a:lnTo>
                <a:lnTo>
                  <a:pt x="1013" y="457"/>
                </a:lnTo>
                <a:lnTo>
                  <a:pt x="1013" y="457"/>
                </a:lnTo>
                <a:lnTo>
                  <a:pt x="1011" y="457"/>
                </a:lnTo>
                <a:lnTo>
                  <a:pt x="1011" y="457"/>
                </a:lnTo>
                <a:lnTo>
                  <a:pt x="1011" y="460"/>
                </a:lnTo>
                <a:lnTo>
                  <a:pt x="1011" y="460"/>
                </a:lnTo>
                <a:lnTo>
                  <a:pt x="1004" y="460"/>
                </a:lnTo>
                <a:lnTo>
                  <a:pt x="1004" y="460"/>
                </a:lnTo>
                <a:lnTo>
                  <a:pt x="1004" y="457"/>
                </a:lnTo>
                <a:lnTo>
                  <a:pt x="1004" y="457"/>
                </a:lnTo>
                <a:lnTo>
                  <a:pt x="999" y="457"/>
                </a:lnTo>
                <a:lnTo>
                  <a:pt x="999" y="457"/>
                </a:lnTo>
                <a:lnTo>
                  <a:pt x="996" y="455"/>
                </a:lnTo>
                <a:lnTo>
                  <a:pt x="996" y="455"/>
                </a:lnTo>
                <a:lnTo>
                  <a:pt x="991" y="455"/>
                </a:lnTo>
                <a:lnTo>
                  <a:pt x="991" y="455"/>
                </a:lnTo>
                <a:lnTo>
                  <a:pt x="991" y="455"/>
                </a:lnTo>
                <a:lnTo>
                  <a:pt x="989" y="453"/>
                </a:lnTo>
                <a:lnTo>
                  <a:pt x="989" y="453"/>
                </a:lnTo>
                <a:lnTo>
                  <a:pt x="984" y="455"/>
                </a:lnTo>
                <a:lnTo>
                  <a:pt x="984" y="455"/>
                </a:lnTo>
                <a:lnTo>
                  <a:pt x="981" y="455"/>
                </a:lnTo>
                <a:lnTo>
                  <a:pt x="981" y="455"/>
                </a:lnTo>
                <a:lnTo>
                  <a:pt x="979" y="457"/>
                </a:lnTo>
                <a:lnTo>
                  <a:pt x="979" y="457"/>
                </a:lnTo>
                <a:lnTo>
                  <a:pt x="977" y="457"/>
                </a:lnTo>
                <a:lnTo>
                  <a:pt x="977" y="457"/>
                </a:lnTo>
                <a:close/>
                <a:moveTo>
                  <a:pt x="959" y="462"/>
                </a:moveTo>
                <a:lnTo>
                  <a:pt x="959" y="462"/>
                </a:lnTo>
                <a:lnTo>
                  <a:pt x="959" y="460"/>
                </a:lnTo>
                <a:lnTo>
                  <a:pt x="959" y="460"/>
                </a:lnTo>
                <a:lnTo>
                  <a:pt x="959" y="457"/>
                </a:lnTo>
                <a:lnTo>
                  <a:pt x="959" y="457"/>
                </a:lnTo>
                <a:lnTo>
                  <a:pt x="962" y="457"/>
                </a:lnTo>
                <a:lnTo>
                  <a:pt x="962" y="457"/>
                </a:lnTo>
                <a:lnTo>
                  <a:pt x="962" y="460"/>
                </a:lnTo>
                <a:lnTo>
                  <a:pt x="962" y="460"/>
                </a:lnTo>
                <a:lnTo>
                  <a:pt x="959" y="462"/>
                </a:lnTo>
                <a:lnTo>
                  <a:pt x="959" y="462"/>
                </a:lnTo>
                <a:close/>
                <a:moveTo>
                  <a:pt x="964" y="465"/>
                </a:moveTo>
                <a:lnTo>
                  <a:pt x="964" y="465"/>
                </a:lnTo>
                <a:lnTo>
                  <a:pt x="962" y="462"/>
                </a:lnTo>
                <a:lnTo>
                  <a:pt x="962" y="462"/>
                </a:lnTo>
                <a:lnTo>
                  <a:pt x="964" y="462"/>
                </a:lnTo>
                <a:lnTo>
                  <a:pt x="964" y="462"/>
                </a:lnTo>
                <a:lnTo>
                  <a:pt x="964" y="462"/>
                </a:lnTo>
                <a:lnTo>
                  <a:pt x="964" y="465"/>
                </a:lnTo>
                <a:lnTo>
                  <a:pt x="964" y="465"/>
                </a:lnTo>
                <a:lnTo>
                  <a:pt x="964" y="465"/>
                </a:lnTo>
                <a:close/>
                <a:moveTo>
                  <a:pt x="972" y="465"/>
                </a:moveTo>
                <a:lnTo>
                  <a:pt x="972" y="465"/>
                </a:lnTo>
                <a:lnTo>
                  <a:pt x="969" y="465"/>
                </a:lnTo>
                <a:lnTo>
                  <a:pt x="969" y="465"/>
                </a:lnTo>
                <a:lnTo>
                  <a:pt x="969" y="462"/>
                </a:lnTo>
                <a:lnTo>
                  <a:pt x="969" y="462"/>
                </a:lnTo>
                <a:lnTo>
                  <a:pt x="972" y="462"/>
                </a:lnTo>
                <a:lnTo>
                  <a:pt x="972" y="462"/>
                </a:lnTo>
                <a:lnTo>
                  <a:pt x="972" y="465"/>
                </a:lnTo>
                <a:lnTo>
                  <a:pt x="972" y="465"/>
                </a:lnTo>
                <a:lnTo>
                  <a:pt x="972" y="465"/>
                </a:lnTo>
                <a:close/>
                <a:moveTo>
                  <a:pt x="780" y="531"/>
                </a:moveTo>
                <a:lnTo>
                  <a:pt x="780" y="531"/>
                </a:lnTo>
                <a:lnTo>
                  <a:pt x="780" y="529"/>
                </a:lnTo>
                <a:lnTo>
                  <a:pt x="780" y="529"/>
                </a:lnTo>
                <a:lnTo>
                  <a:pt x="780" y="526"/>
                </a:lnTo>
                <a:lnTo>
                  <a:pt x="780" y="526"/>
                </a:lnTo>
                <a:lnTo>
                  <a:pt x="782" y="526"/>
                </a:lnTo>
                <a:lnTo>
                  <a:pt x="782" y="526"/>
                </a:lnTo>
                <a:lnTo>
                  <a:pt x="785" y="529"/>
                </a:lnTo>
                <a:lnTo>
                  <a:pt x="785" y="529"/>
                </a:lnTo>
                <a:lnTo>
                  <a:pt x="782" y="529"/>
                </a:lnTo>
                <a:lnTo>
                  <a:pt x="782" y="529"/>
                </a:lnTo>
                <a:lnTo>
                  <a:pt x="782" y="529"/>
                </a:lnTo>
                <a:lnTo>
                  <a:pt x="780" y="531"/>
                </a:lnTo>
                <a:lnTo>
                  <a:pt x="780" y="531"/>
                </a:lnTo>
                <a:close/>
                <a:moveTo>
                  <a:pt x="790" y="546"/>
                </a:moveTo>
                <a:lnTo>
                  <a:pt x="790" y="546"/>
                </a:lnTo>
                <a:lnTo>
                  <a:pt x="790" y="548"/>
                </a:lnTo>
                <a:lnTo>
                  <a:pt x="790" y="548"/>
                </a:lnTo>
                <a:lnTo>
                  <a:pt x="792" y="548"/>
                </a:lnTo>
                <a:lnTo>
                  <a:pt x="792" y="548"/>
                </a:lnTo>
                <a:lnTo>
                  <a:pt x="792" y="548"/>
                </a:lnTo>
                <a:lnTo>
                  <a:pt x="792" y="546"/>
                </a:lnTo>
                <a:lnTo>
                  <a:pt x="792" y="546"/>
                </a:lnTo>
                <a:lnTo>
                  <a:pt x="792" y="544"/>
                </a:lnTo>
                <a:lnTo>
                  <a:pt x="792" y="544"/>
                </a:lnTo>
                <a:lnTo>
                  <a:pt x="790" y="546"/>
                </a:lnTo>
                <a:lnTo>
                  <a:pt x="790" y="546"/>
                </a:lnTo>
                <a:close/>
                <a:moveTo>
                  <a:pt x="787" y="546"/>
                </a:moveTo>
                <a:lnTo>
                  <a:pt x="787" y="546"/>
                </a:lnTo>
                <a:lnTo>
                  <a:pt x="785" y="548"/>
                </a:lnTo>
                <a:lnTo>
                  <a:pt x="785" y="548"/>
                </a:lnTo>
                <a:lnTo>
                  <a:pt x="787" y="548"/>
                </a:lnTo>
                <a:lnTo>
                  <a:pt x="787" y="548"/>
                </a:lnTo>
                <a:lnTo>
                  <a:pt x="787" y="551"/>
                </a:lnTo>
                <a:lnTo>
                  <a:pt x="787" y="551"/>
                </a:lnTo>
                <a:lnTo>
                  <a:pt x="787" y="551"/>
                </a:lnTo>
                <a:lnTo>
                  <a:pt x="790" y="551"/>
                </a:lnTo>
                <a:lnTo>
                  <a:pt x="790" y="551"/>
                </a:lnTo>
                <a:lnTo>
                  <a:pt x="787" y="546"/>
                </a:lnTo>
                <a:lnTo>
                  <a:pt x="787" y="546"/>
                </a:lnTo>
                <a:lnTo>
                  <a:pt x="787" y="546"/>
                </a:lnTo>
                <a:lnTo>
                  <a:pt x="787" y="546"/>
                </a:lnTo>
                <a:close/>
                <a:moveTo>
                  <a:pt x="846" y="536"/>
                </a:moveTo>
                <a:lnTo>
                  <a:pt x="846" y="536"/>
                </a:lnTo>
                <a:lnTo>
                  <a:pt x="846" y="534"/>
                </a:lnTo>
                <a:lnTo>
                  <a:pt x="846" y="534"/>
                </a:lnTo>
                <a:lnTo>
                  <a:pt x="844" y="534"/>
                </a:lnTo>
                <a:lnTo>
                  <a:pt x="844" y="534"/>
                </a:lnTo>
                <a:lnTo>
                  <a:pt x="841" y="531"/>
                </a:lnTo>
                <a:lnTo>
                  <a:pt x="841" y="531"/>
                </a:lnTo>
                <a:lnTo>
                  <a:pt x="841" y="534"/>
                </a:lnTo>
                <a:lnTo>
                  <a:pt x="841" y="534"/>
                </a:lnTo>
                <a:lnTo>
                  <a:pt x="839" y="534"/>
                </a:lnTo>
                <a:lnTo>
                  <a:pt x="839" y="534"/>
                </a:lnTo>
                <a:lnTo>
                  <a:pt x="839" y="531"/>
                </a:lnTo>
                <a:lnTo>
                  <a:pt x="839" y="531"/>
                </a:lnTo>
                <a:lnTo>
                  <a:pt x="836" y="529"/>
                </a:lnTo>
                <a:lnTo>
                  <a:pt x="836" y="529"/>
                </a:lnTo>
                <a:lnTo>
                  <a:pt x="841" y="529"/>
                </a:lnTo>
                <a:lnTo>
                  <a:pt x="841" y="529"/>
                </a:lnTo>
                <a:lnTo>
                  <a:pt x="841" y="526"/>
                </a:lnTo>
                <a:lnTo>
                  <a:pt x="841" y="526"/>
                </a:lnTo>
                <a:lnTo>
                  <a:pt x="844" y="529"/>
                </a:lnTo>
                <a:lnTo>
                  <a:pt x="844" y="529"/>
                </a:lnTo>
                <a:lnTo>
                  <a:pt x="846" y="529"/>
                </a:lnTo>
                <a:lnTo>
                  <a:pt x="846" y="529"/>
                </a:lnTo>
                <a:lnTo>
                  <a:pt x="849" y="531"/>
                </a:lnTo>
                <a:lnTo>
                  <a:pt x="849" y="531"/>
                </a:lnTo>
                <a:lnTo>
                  <a:pt x="849" y="534"/>
                </a:lnTo>
                <a:lnTo>
                  <a:pt x="849" y="534"/>
                </a:lnTo>
                <a:lnTo>
                  <a:pt x="846" y="536"/>
                </a:lnTo>
                <a:lnTo>
                  <a:pt x="846" y="536"/>
                </a:lnTo>
                <a:close/>
                <a:moveTo>
                  <a:pt x="881" y="548"/>
                </a:moveTo>
                <a:lnTo>
                  <a:pt x="881" y="548"/>
                </a:lnTo>
                <a:lnTo>
                  <a:pt x="878" y="548"/>
                </a:lnTo>
                <a:lnTo>
                  <a:pt x="878" y="548"/>
                </a:lnTo>
                <a:lnTo>
                  <a:pt x="876" y="546"/>
                </a:lnTo>
                <a:lnTo>
                  <a:pt x="876" y="546"/>
                </a:lnTo>
                <a:lnTo>
                  <a:pt x="878" y="546"/>
                </a:lnTo>
                <a:lnTo>
                  <a:pt x="878" y="546"/>
                </a:lnTo>
                <a:lnTo>
                  <a:pt x="881" y="546"/>
                </a:lnTo>
                <a:lnTo>
                  <a:pt x="881" y="546"/>
                </a:lnTo>
                <a:lnTo>
                  <a:pt x="881" y="548"/>
                </a:lnTo>
                <a:lnTo>
                  <a:pt x="881" y="548"/>
                </a:lnTo>
                <a:lnTo>
                  <a:pt x="881" y="548"/>
                </a:lnTo>
                <a:close/>
                <a:moveTo>
                  <a:pt x="883" y="548"/>
                </a:moveTo>
                <a:lnTo>
                  <a:pt x="883" y="548"/>
                </a:lnTo>
                <a:lnTo>
                  <a:pt x="886" y="551"/>
                </a:lnTo>
                <a:lnTo>
                  <a:pt x="886" y="551"/>
                </a:lnTo>
                <a:lnTo>
                  <a:pt x="886" y="548"/>
                </a:lnTo>
                <a:lnTo>
                  <a:pt x="886" y="548"/>
                </a:lnTo>
                <a:lnTo>
                  <a:pt x="883" y="548"/>
                </a:lnTo>
                <a:lnTo>
                  <a:pt x="883" y="548"/>
                </a:lnTo>
                <a:close/>
                <a:moveTo>
                  <a:pt x="888" y="551"/>
                </a:moveTo>
                <a:lnTo>
                  <a:pt x="888" y="551"/>
                </a:lnTo>
                <a:lnTo>
                  <a:pt x="890" y="551"/>
                </a:lnTo>
                <a:lnTo>
                  <a:pt x="890" y="551"/>
                </a:lnTo>
                <a:lnTo>
                  <a:pt x="890" y="553"/>
                </a:lnTo>
                <a:lnTo>
                  <a:pt x="890" y="553"/>
                </a:lnTo>
                <a:lnTo>
                  <a:pt x="893" y="551"/>
                </a:lnTo>
                <a:lnTo>
                  <a:pt x="893" y="551"/>
                </a:lnTo>
                <a:lnTo>
                  <a:pt x="893" y="551"/>
                </a:lnTo>
                <a:lnTo>
                  <a:pt x="890" y="548"/>
                </a:lnTo>
                <a:lnTo>
                  <a:pt x="890" y="548"/>
                </a:lnTo>
                <a:lnTo>
                  <a:pt x="890" y="548"/>
                </a:lnTo>
                <a:lnTo>
                  <a:pt x="888" y="548"/>
                </a:lnTo>
                <a:lnTo>
                  <a:pt x="888" y="548"/>
                </a:lnTo>
                <a:lnTo>
                  <a:pt x="888" y="551"/>
                </a:lnTo>
                <a:lnTo>
                  <a:pt x="888" y="551"/>
                </a:lnTo>
                <a:lnTo>
                  <a:pt x="888" y="551"/>
                </a:lnTo>
                <a:close/>
                <a:moveTo>
                  <a:pt x="925" y="600"/>
                </a:moveTo>
                <a:lnTo>
                  <a:pt x="925" y="600"/>
                </a:lnTo>
                <a:lnTo>
                  <a:pt x="925" y="598"/>
                </a:lnTo>
                <a:lnTo>
                  <a:pt x="925" y="598"/>
                </a:lnTo>
                <a:lnTo>
                  <a:pt x="925" y="595"/>
                </a:lnTo>
                <a:lnTo>
                  <a:pt x="925" y="595"/>
                </a:lnTo>
                <a:lnTo>
                  <a:pt x="925" y="593"/>
                </a:lnTo>
                <a:lnTo>
                  <a:pt x="925" y="593"/>
                </a:lnTo>
                <a:lnTo>
                  <a:pt x="925" y="593"/>
                </a:lnTo>
                <a:lnTo>
                  <a:pt x="927" y="595"/>
                </a:lnTo>
                <a:lnTo>
                  <a:pt x="927" y="595"/>
                </a:lnTo>
                <a:lnTo>
                  <a:pt x="927" y="598"/>
                </a:lnTo>
                <a:lnTo>
                  <a:pt x="927" y="598"/>
                </a:lnTo>
                <a:lnTo>
                  <a:pt x="927" y="598"/>
                </a:lnTo>
                <a:lnTo>
                  <a:pt x="925" y="600"/>
                </a:lnTo>
                <a:lnTo>
                  <a:pt x="925" y="600"/>
                </a:lnTo>
                <a:close/>
                <a:moveTo>
                  <a:pt x="920" y="607"/>
                </a:moveTo>
                <a:lnTo>
                  <a:pt x="920" y="607"/>
                </a:lnTo>
                <a:lnTo>
                  <a:pt x="920" y="605"/>
                </a:lnTo>
                <a:lnTo>
                  <a:pt x="920" y="605"/>
                </a:lnTo>
                <a:lnTo>
                  <a:pt x="920" y="603"/>
                </a:lnTo>
                <a:lnTo>
                  <a:pt x="920" y="603"/>
                </a:lnTo>
                <a:lnTo>
                  <a:pt x="922" y="603"/>
                </a:lnTo>
                <a:lnTo>
                  <a:pt x="922" y="603"/>
                </a:lnTo>
                <a:lnTo>
                  <a:pt x="925" y="603"/>
                </a:lnTo>
                <a:lnTo>
                  <a:pt x="925" y="603"/>
                </a:lnTo>
                <a:lnTo>
                  <a:pt x="925" y="605"/>
                </a:lnTo>
                <a:lnTo>
                  <a:pt x="925" y="605"/>
                </a:lnTo>
                <a:lnTo>
                  <a:pt x="922" y="605"/>
                </a:lnTo>
                <a:lnTo>
                  <a:pt x="922" y="605"/>
                </a:lnTo>
                <a:lnTo>
                  <a:pt x="922" y="607"/>
                </a:lnTo>
                <a:lnTo>
                  <a:pt x="922" y="607"/>
                </a:lnTo>
                <a:lnTo>
                  <a:pt x="920" y="607"/>
                </a:lnTo>
                <a:lnTo>
                  <a:pt x="920" y="607"/>
                </a:lnTo>
                <a:close/>
                <a:moveTo>
                  <a:pt x="900" y="561"/>
                </a:moveTo>
                <a:lnTo>
                  <a:pt x="900" y="561"/>
                </a:lnTo>
                <a:lnTo>
                  <a:pt x="898" y="561"/>
                </a:lnTo>
                <a:lnTo>
                  <a:pt x="898" y="561"/>
                </a:lnTo>
                <a:lnTo>
                  <a:pt x="900" y="561"/>
                </a:lnTo>
                <a:lnTo>
                  <a:pt x="900" y="561"/>
                </a:lnTo>
                <a:lnTo>
                  <a:pt x="900" y="561"/>
                </a:lnTo>
                <a:close/>
                <a:moveTo>
                  <a:pt x="895" y="563"/>
                </a:moveTo>
                <a:lnTo>
                  <a:pt x="895" y="563"/>
                </a:lnTo>
                <a:lnTo>
                  <a:pt x="893" y="558"/>
                </a:lnTo>
                <a:lnTo>
                  <a:pt x="893" y="558"/>
                </a:lnTo>
                <a:lnTo>
                  <a:pt x="895" y="561"/>
                </a:lnTo>
                <a:lnTo>
                  <a:pt x="895" y="561"/>
                </a:lnTo>
                <a:lnTo>
                  <a:pt x="895" y="561"/>
                </a:lnTo>
                <a:lnTo>
                  <a:pt x="895" y="563"/>
                </a:lnTo>
                <a:lnTo>
                  <a:pt x="895" y="563"/>
                </a:lnTo>
                <a:close/>
                <a:moveTo>
                  <a:pt x="895" y="563"/>
                </a:moveTo>
                <a:lnTo>
                  <a:pt x="895" y="563"/>
                </a:lnTo>
                <a:lnTo>
                  <a:pt x="898" y="566"/>
                </a:lnTo>
                <a:lnTo>
                  <a:pt x="898" y="566"/>
                </a:lnTo>
                <a:lnTo>
                  <a:pt x="898" y="566"/>
                </a:lnTo>
                <a:lnTo>
                  <a:pt x="900" y="566"/>
                </a:lnTo>
                <a:lnTo>
                  <a:pt x="900" y="566"/>
                </a:lnTo>
                <a:lnTo>
                  <a:pt x="900" y="566"/>
                </a:lnTo>
                <a:lnTo>
                  <a:pt x="900" y="563"/>
                </a:lnTo>
                <a:lnTo>
                  <a:pt x="900" y="563"/>
                </a:lnTo>
                <a:lnTo>
                  <a:pt x="898" y="563"/>
                </a:lnTo>
                <a:lnTo>
                  <a:pt x="898" y="563"/>
                </a:lnTo>
                <a:lnTo>
                  <a:pt x="895" y="563"/>
                </a:lnTo>
                <a:lnTo>
                  <a:pt x="895" y="563"/>
                </a:lnTo>
                <a:close/>
                <a:moveTo>
                  <a:pt x="915" y="556"/>
                </a:moveTo>
                <a:lnTo>
                  <a:pt x="915" y="556"/>
                </a:lnTo>
                <a:lnTo>
                  <a:pt x="918" y="556"/>
                </a:lnTo>
                <a:lnTo>
                  <a:pt x="918" y="556"/>
                </a:lnTo>
                <a:lnTo>
                  <a:pt x="920" y="558"/>
                </a:lnTo>
                <a:lnTo>
                  <a:pt x="920" y="558"/>
                </a:lnTo>
                <a:lnTo>
                  <a:pt x="920" y="558"/>
                </a:lnTo>
                <a:lnTo>
                  <a:pt x="920" y="561"/>
                </a:lnTo>
                <a:lnTo>
                  <a:pt x="920" y="561"/>
                </a:lnTo>
                <a:lnTo>
                  <a:pt x="920" y="563"/>
                </a:lnTo>
                <a:lnTo>
                  <a:pt x="920" y="563"/>
                </a:lnTo>
                <a:lnTo>
                  <a:pt x="922" y="561"/>
                </a:lnTo>
                <a:lnTo>
                  <a:pt x="922" y="561"/>
                </a:lnTo>
                <a:lnTo>
                  <a:pt x="922" y="558"/>
                </a:lnTo>
                <a:lnTo>
                  <a:pt x="922" y="558"/>
                </a:lnTo>
                <a:lnTo>
                  <a:pt x="925" y="561"/>
                </a:lnTo>
                <a:lnTo>
                  <a:pt x="925" y="561"/>
                </a:lnTo>
                <a:lnTo>
                  <a:pt x="927" y="558"/>
                </a:lnTo>
                <a:lnTo>
                  <a:pt x="927" y="558"/>
                </a:lnTo>
                <a:lnTo>
                  <a:pt x="927" y="561"/>
                </a:lnTo>
                <a:lnTo>
                  <a:pt x="927" y="561"/>
                </a:lnTo>
                <a:lnTo>
                  <a:pt x="930" y="558"/>
                </a:lnTo>
                <a:lnTo>
                  <a:pt x="930" y="558"/>
                </a:lnTo>
                <a:lnTo>
                  <a:pt x="927" y="556"/>
                </a:lnTo>
                <a:lnTo>
                  <a:pt x="927" y="556"/>
                </a:lnTo>
                <a:lnTo>
                  <a:pt x="925" y="556"/>
                </a:lnTo>
                <a:lnTo>
                  <a:pt x="925" y="556"/>
                </a:lnTo>
                <a:lnTo>
                  <a:pt x="922" y="553"/>
                </a:lnTo>
                <a:lnTo>
                  <a:pt x="922" y="553"/>
                </a:lnTo>
                <a:lnTo>
                  <a:pt x="918" y="553"/>
                </a:lnTo>
                <a:lnTo>
                  <a:pt x="918" y="553"/>
                </a:lnTo>
                <a:lnTo>
                  <a:pt x="915" y="556"/>
                </a:lnTo>
                <a:lnTo>
                  <a:pt x="915" y="556"/>
                </a:lnTo>
                <a:close/>
                <a:moveTo>
                  <a:pt x="952" y="553"/>
                </a:moveTo>
                <a:lnTo>
                  <a:pt x="952" y="553"/>
                </a:lnTo>
                <a:lnTo>
                  <a:pt x="952" y="551"/>
                </a:lnTo>
                <a:lnTo>
                  <a:pt x="952" y="551"/>
                </a:lnTo>
                <a:lnTo>
                  <a:pt x="952" y="551"/>
                </a:lnTo>
                <a:lnTo>
                  <a:pt x="952" y="553"/>
                </a:lnTo>
                <a:lnTo>
                  <a:pt x="952" y="553"/>
                </a:lnTo>
                <a:lnTo>
                  <a:pt x="952" y="553"/>
                </a:lnTo>
                <a:close/>
                <a:moveTo>
                  <a:pt x="940" y="568"/>
                </a:moveTo>
                <a:lnTo>
                  <a:pt x="940" y="568"/>
                </a:lnTo>
                <a:lnTo>
                  <a:pt x="940" y="566"/>
                </a:lnTo>
                <a:lnTo>
                  <a:pt x="940" y="566"/>
                </a:lnTo>
                <a:lnTo>
                  <a:pt x="942" y="563"/>
                </a:lnTo>
                <a:lnTo>
                  <a:pt x="942" y="563"/>
                </a:lnTo>
                <a:lnTo>
                  <a:pt x="945" y="563"/>
                </a:lnTo>
                <a:lnTo>
                  <a:pt x="945" y="563"/>
                </a:lnTo>
                <a:lnTo>
                  <a:pt x="945" y="561"/>
                </a:lnTo>
                <a:lnTo>
                  <a:pt x="945" y="561"/>
                </a:lnTo>
                <a:lnTo>
                  <a:pt x="947" y="561"/>
                </a:lnTo>
                <a:lnTo>
                  <a:pt x="947" y="561"/>
                </a:lnTo>
                <a:lnTo>
                  <a:pt x="947" y="563"/>
                </a:lnTo>
                <a:lnTo>
                  <a:pt x="947" y="563"/>
                </a:lnTo>
                <a:lnTo>
                  <a:pt x="947" y="563"/>
                </a:lnTo>
                <a:lnTo>
                  <a:pt x="945" y="566"/>
                </a:lnTo>
                <a:lnTo>
                  <a:pt x="945" y="566"/>
                </a:lnTo>
                <a:lnTo>
                  <a:pt x="942" y="568"/>
                </a:lnTo>
                <a:lnTo>
                  <a:pt x="942" y="568"/>
                </a:lnTo>
                <a:lnTo>
                  <a:pt x="940" y="568"/>
                </a:lnTo>
                <a:lnTo>
                  <a:pt x="940" y="568"/>
                </a:lnTo>
                <a:lnTo>
                  <a:pt x="940" y="568"/>
                </a:lnTo>
                <a:close/>
                <a:moveTo>
                  <a:pt x="927" y="588"/>
                </a:moveTo>
                <a:lnTo>
                  <a:pt x="927" y="588"/>
                </a:lnTo>
                <a:lnTo>
                  <a:pt x="932" y="583"/>
                </a:lnTo>
                <a:lnTo>
                  <a:pt x="932" y="583"/>
                </a:lnTo>
                <a:lnTo>
                  <a:pt x="935" y="580"/>
                </a:lnTo>
                <a:lnTo>
                  <a:pt x="935" y="580"/>
                </a:lnTo>
                <a:lnTo>
                  <a:pt x="935" y="580"/>
                </a:lnTo>
                <a:lnTo>
                  <a:pt x="940" y="578"/>
                </a:lnTo>
                <a:lnTo>
                  <a:pt x="940" y="578"/>
                </a:lnTo>
                <a:lnTo>
                  <a:pt x="942" y="576"/>
                </a:lnTo>
                <a:lnTo>
                  <a:pt x="942" y="576"/>
                </a:lnTo>
                <a:lnTo>
                  <a:pt x="940" y="573"/>
                </a:lnTo>
                <a:lnTo>
                  <a:pt x="940" y="573"/>
                </a:lnTo>
                <a:lnTo>
                  <a:pt x="940" y="571"/>
                </a:lnTo>
                <a:lnTo>
                  <a:pt x="940" y="571"/>
                </a:lnTo>
                <a:lnTo>
                  <a:pt x="937" y="573"/>
                </a:lnTo>
                <a:lnTo>
                  <a:pt x="937" y="573"/>
                </a:lnTo>
                <a:lnTo>
                  <a:pt x="937" y="576"/>
                </a:lnTo>
                <a:lnTo>
                  <a:pt x="937" y="576"/>
                </a:lnTo>
                <a:lnTo>
                  <a:pt x="935" y="576"/>
                </a:lnTo>
                <a:lnTo>
                  <a:pt x="935" y="576"/>
                </a:lnTo>
                <a:lnTo>
                  <a:pt x="932" y="578"/>
                </a:lnTo>
                <a:lnTo>
                  <a:pt x="932" y="578"/>
                </a:lnTo>
                <a:lnTo>
                  <a:pt x="930" y="578"/>
                </a:lnTo>
                <a:lnTo>
                  <a:pt x="930" y="578"/>
                </a:lnTo>
                <a:lnTo>
                  <a:pt x="925" y="578"/>
                </a:lnTo>
                <a:lnTo>
                  <a:pt x="925" y="578"/>
                </a:lnTo>
                <a:lnTo>
                  <a:pt x="925" y="580"/>
                </a:lnTo>
                <a:lnTo>
                  <a:pt x="925" y="580"/>
                </a:lnTo>
                <a:lnTo>
                  <a:pt x="922" y="583"/>
                </a:lnTo>
                <a:lnTo>
                  <a:pt x="922" y="583"/>
                </a:lnTo>
                <a:lnTo>
                  <a:pt x="920" y="583"/>
                </a:lnTo>
                <a:lnTo>
                  <a:pt x="920" y="583"/>
                </a:lnTo>
                <a:lnTo>
                  <a:pt x="922" y="588"/>
                </a:lnTo>
                <a:lnTo>
                  <a:pt x="922" y="588"/>
                </a:lnTo>
                <a:lnTo>
                  <a:pt x="922" y="585"/>
                </a:lnTo>
                <a:lnTo>
                  <a:pt x="922" y="585"/>
                </a:lnTo>
                <a:lnTo>
                  <a:pt x="925" y="588"/>
                </a:lnTo>
                <a:lnTo>
                  <a:pt x="925" y="588"/>
                </a:lnTo>
                <a:lnTo>
                  <a:pt x="927" y="588"/>
                </a:lnTo>
                <a:lnTo>
                  <a:pt x="927" y="588"/>
                </a:lnTo>
                <a:close/>
                <a:moveTo>
                  <a:pt x="952" y="583"/>
                </a:moveTo>
                <a:lnTo>
                  <a:pt x="952" y="583"/>
                </a:lnTo>
                <a:lnTo>
                  <a:pt x="952" y="580"/>
                </a:lnTo>
                <a:lnTo>
                  <a:pt x="952" y="580"/>
                </a:lnTo>
                <a:lnTo>
                  <a:pt x="952" y="578"/>
                </a:lnTo>
                <a:lnTo>
                  <a:pt x="952" y="578"/>
                </a:lnTo>
                <a:lnTo>
                  <a:pt x="954" y="576"/>
                </a:lnTo>
                <a:lnTo>
                  <a:pt x="954" y="576"/>
                </a:lnTo>
                <a:lnTo>
                  <a:pt x="957" y="576"/>
                </a:lnTo>
                <a:lnTo>
                  <a:pt x="957" y="576"/>
                </a:lnTo>
                <a:lnTo>
                  <a:pt x="959" y="576"/>
                </a:lnTo>
                <a:lnTo>
                  <a:pt x="959" y="576"/>
                </a:lnTo>
                <a:lnTo>
                  <a:pt x="959" y="578"/>
                </a:lnTo>
                <a:lnTo>
                  <a:pt x="959" y="578"/>
                </a:lnTo>
                <a:lnTo>
                  <a:pt x="959" y="580"/>
                </a:lnTo>
                <a:lnTo>
                  <a:pt x="959" y="580"/>
                </a:lnTo>
                <a:lnTo>
                  <a:pt x="957" y="583"/>
                </a:lnTo>
                <a:lnTo>
                  <a:pt x="957" y="583"/>
                </a:lnTo>
                <a:lnTo>
                  <a:pt x="954" y="585"/>
                </a:lnTo>
                <a:lnTo>
                  <a:pt x="954" y="585"/>
                </a:lnTo>
                <a:lnTo>
                  <a:pt x="952" y="583"/>
                </a:lnTo>
                <a:lnTo>
                  <a:pt x="952" y="583"/>
                </a:lnTo>
                <a:close/>
                <a:moveTo>
                  <a:pt x="972" y="610"/>
                </a:moveTo>
                <a:lnTo>
                  <a:pt x="972" y="610"/>
                </a:lnTo>
                <a:lnTo>
                  <a:pt x="972" y="605"/>
                </a:lnTo>
                <a:lnTo>
                  <a:pt x="972" y="605"/>
                </a:lnTo>
                <a:lnTo>
                  <a:pt x="972" y="600"/>
                </a:lnTo>
                <a:lnTo>
                  <a:pt x="972" y="600"/>
                </a:lnTo>
                <a:lnTo>
                  <a:pt x="972" y="598"/>
                </a:lnTo>
                <a:lnTo>
                  <a:pt x="972" y="598"/>
                </a:lnTo>
                <a:lnTo>
                  <a:pt x="969" y="598"/>
                </a:lnTo>
                <a:lnTo>
                  <a:pt x="969" y="598"/>
                </a:lnTo>
                <a:lnTo>
                  <a:pt x="969" y="600"/>
                </a:lnTo>
                <a:lnTo>
                  <a:pt x="969" y="600"/>
                </a:lnTo>
                <a:lnTo>
                  <a:pt x="967" y="605"/>
                </a:lnTo>
                <a:lnTo>
                  <a:pt x="967" y="605"/>
                </a:lnTo>
                <a:lnTo>
                  <a:pt x="969" y="607"/>
                </a:lnTo>
                <a:lnTo>
                  <a:pt x="969" y="607"/>
                </a:lnTo>
                <a:lnTo>
                  <a:pt x="969" y="607"/>
                </a:lnTo>
                <a:lnTo>
                  <a:pt x="969" y="610"/>
                </a:lnTo>
                <a:lnTo>
                  <a:pt x="969" y="610"/>
                </a:lnTo>
                <a:lnTo>
                  <a:pt x="972" y="610"/>
                </a:lnTo>
                <a:lnTo>
                  <a:pt x="972" y="610"/>
                </a:lnTo>
                <a:lnTo>
                  <a:pt x="972" y="610"/>
                </a:lnTo>
                <a:close/>
                <a:moveTo>
                  <a:pt x="974" y="607"/>
                </a:moveTo>
                <a:lnTo>
                  <a:pt x="974" y="607"/>
                </a:lnTo>
                <a:lnTo>
                  <a:pt x="974" y="605"/>
                </a:lnTo>
                <a:lnTo>
                  <a:pt x="974" y="605"/>
                </a:lnTo>
                <a:lnTo>
                  <a:pt x="974" y="600"/>
                </a:lnTo>
                <a:lnTo>
                  <a:pt x="974" y="600"/>
                </a:lnTo>
                <a:lnTo>
                  <a:pt x="977" y="605"/>
                </a:lnTo>
                <a:lnTo>
                  <a:pt x="977" y="605"/>
                </a:lnTo>
                <a:lnTo>
                  <a:pt x="977" y="605"/>
                </a:lnTo>
                <a:lnTo>
                  <a:pt x="977" y="607"/>
                </a:lnTo>
                <a:lnTo>
                  <a:pt x="977" y="607"/>
                </a:lnTo>
                <a:lnTo>
                  <a:pt x="974" y="607"/>
                </a:lnTo>
                <a:lnTo>
                  <a:pt x="974" y="607"/>
                </a:lnTo>
                <a:close/>
                <a:moveTo>
                  <a:pt x="979" y="612"/>
                </a:moveTo>
                <a:lnTo>
                  <a:pt x="979" y="612"/>
                </a:lnTo>
                <a:lnTo>
                  <a:pt x="979" y="612"/>
                </a:lnTo>
                <a:lnTo>
                  <a:pt x="979" y="610"/>
                </a:lnTo>
                <a:lnTo>
                  <a:pt x="979" y="610"/>
                </a:lnTo>
                <a:lnTo>
                  <a:pt x="979" y="610"/>
                </a:lnTo>
                <a:lnTo>
                  <a:pt x="979" y="612"/>
                </a:lnTo>
                <a:lnTo>
                  <a:pt x="979" y="612"/>
                </a:lnTo>
                <a:lnTo>
                  <a:pt x="979" y="612"/>
                </a:lnTo>
                <a:close/>
                <a:moveTo>
                  <a:pt x="969" y="620"/>
                </a:moveTo>
                <a:lnTo>
                  <a:pt x="969" y="620"/>
                </a:lnTo>
                <a:lnTo>
                  <a:pt x="969" y="620"/>
                </a:lnTo>
                <a:lnTo>
                  <a:pt x="969" y="625"/>
                </a:lnTo>
                <a:lnTo>
                  <a:pt x="969" y="625"/>
                </a:lnTo>
                <a:lnTo>
                  <a:pt x="969" y="627"/>
                </a:lnTo>
                <a:lnTo>
                  <a:pt x="969" y="627"/>
                </a:lnTo>
                <a:lnTo>
                  <a:pt x="972" y="627"/>
                </a:lnTo>
                <a:lnTo>
                  <a:pt x="972" y="627"/>
                </a:lnTo>
                <a:lnTo>
                  <a:pt x="972" y="627"/>
                </a:lnTo>
                <a:lnTo>
                  <a:pt x="977" y="627"/>
                </a:lnTo>
                <a:lnTo>
                  <a:pt x="977" y="627"/>
                </a:lnTo>
                <a:lnTo>
                  <a:pt x="977" y="630"/>
                </a:lnTo>
                <a:lnTo>
                  <a:pt x="977" y="630"/>
                </a:lnTo>
                <a:lnTo>
                  <a:pt x="979" y="630"/>
                </a:lnTo>
                <a:lnTo>
                  <a:pt x="979" y="630"/>
                </a:lnTo>
                <a:lnTo>
                  <a:pt x="981" y="630"/>
                </a:lnTo>
                <a:lnTo>
                  <a:pt x="981" y="630"/>
                </a:lnTo>
                <a:lnTo>
                  <a:pt x="984" y="627"/>
                </a:lnTo>
                <a:lnTo>
                  <a:pt x="984" y="627"/>
                </a:lnTo>
                <a:lnTo>
                  <a:pt x="981" y="625"/>
                </a:lnTo>
                <a:lnTo>
                  <a:pt x="981" y="625"/>
                </a:lnTo>
                <a:lnTo>
                  <a:pt x="981" y="622"/>
                </a:lnTo>
                <a:lnTo>
                  <a:pt x="981" y="622"/>
                </a:lnTo>
                <a:lnTo>
                  <a:pt x="979" y="622"/>
                </a:lnTo>
                <a:lnTo>
                  <a:pt x="979" y="622"/>
                </a:lnTo>
                <a:lnTo>
                  <a:pt x="979" y="620"/>
                </a:lnTo>
                <a:lnTo>
                  <a:pt x="979" y="620"/>
                </a:lnTo>
                <a:lnTo>
                  <a:pt x="977" y="620"/>
                </a:lnTo>
                <a:lnTo>
                  <a:pt x="977" y="620"/>
                </a:lnTo>
                <a:lnTo>
                  <a:pt x="974" y="620"/>
                </a:lnTo>
                <a:lnTo>
                  <a:pt x="974" y="620"/>
                </a:lnTo>
                <a:lnTo>
                  <a:pt x="974" y="620"/>
                </a:lnTo>
                <a:lnTo>
                  <a:pt x="974" y="617"/>
                </a:lnTo>
                <a:lnTo>
                  <a:pt x="974" y="617"/>
                </a:lnTo>
                <a:lnTo>
                  <a:pt x="974" y="617"/>
                </a:lnTo>
                <a:lnTo>
                  <a:pt x="972" y="620"/>
                </a:lnTo>
                <a:lnTo>
                  <a:pt x="972" y="620"/>
                </a:lnTo>
                <a:lnTo>
                  <a:pt x="972" y="620"/>
                </a:lnTo>
                <a:lnTo>
                  <a:pt x="969" y="620"/>
                </a:lnTo>
                <a:lnTo>
                  <a:pt x="969" y="620"/>
                </a:lnTo>
                <a:close/>
                <a:moveTo>
                  <a:pt x="888" y="733"/>
                </a:moveTo>
                <a:lnTo>
                  <a:pt x="888" y="733"/>
                </a:lnTo>
                <a:lnTo>
                  <a:pt x="890" y="733"/>
                </a:lnTo>
                <a:lnTo>
                  <a:pt x="890" y="733"/>
                </a:lnTo>
                <a:lnTo>
                  <a:pt x="893" y="733"/>
                </a:lnTo>
                <a:lnTo>
                  <a:pt x="893" y="733"/>
                </a:lnTo>
                <a:lnTo>
                  <a:pt x="890" y="730"/>
                </a:lnTo>
                <a:lnTo>
                  <a:pt x="890" y="730"/>
                </a:lnTo>
                <a:lnTo>
                  <a:pt x="888" y="730"/>
                </a:lnTo>
                <a:lnTo>
                  <a:pt x="888" y="730"/>
                </a:lnTo>
                <a:lnTo>
                  <a:pt x="888" y="733"/>
                </a:lnTo>
                <a:lnTo>
                  <a:pt x="888" y="733"/>
                </a:lnTo>
                <a:close/>
                <a:moveTo>
                  <a:pt x="844" y="657"/>
                </a:moveTo>
                <a:lnTo>
                  <a:pt x="844" y="657"/>
                </a:lnTo>
                <a:lnTo>
                  <a:pt x="844" y="659"/>
                </a:lnTo>
                <a:lnTo>
                  <a:pt x="844" y="659"/>
                </a:lnTo>
                <a:lnTo>
                  <a:pt x="846" y="659"/>
                </a:lnTo>
                <a:lnTo>
                  <a:pt x="846" y="659"/>
                </a:lnTo>
                <a:lnTo>
                  <a:pt x="846" y="659"/>
                </a:lnTo>
                <a:lnTo>
                  <a:pt x="844" y="657"/>
                </a:lnTo>
                <a:lnTo>
                  <a:pt x="844" y="657"/>
                </a:lnTo>
                <a:lnTo>
                  <a:pt x="844" y="657"/>
                </a:lnTo>
                <a:lnTo>
                  <a:pt x="844" y="657"/>
                </a:lnTo>
                <a:close/>
                <a:moveTo>
                  <a:pt x="831" y="674"/>
                </a:moveTo>
                <a:lnTo>
                  <a:pt x="831" y="674"/>
                </a:lnTo>
                <a:lnTo>
                  <a:pt x="831" y="674"/>
                </a:lnTo>
                <a:lnTo>
                  <a:pt x="831" y="671"/>
                </a:lnTo>
                <a:lnTo>
                  <a:pt x="831" y="671"/>
                </a:lnTo>
                <a:lnTo>
                  <a:pt x="829" y="669"/>
                </a:lnTo>
                <a:lnTo>
                  <a:pt x="829" y="669"/>
                </a:lnTo>
                <a:lnTo>
                  <a:pt x="829" y="667"/>
                </a:lnTo>
                <a:lnTo>
                  <a:pt x="829" y="667"/>
                </a:lnTo>
                <a:lnTo>
                  <a:pt x="826" y="664"/>
                </a:lnTo>
                <a:lnTo>
                  <a:pt x="826" y="664"/>
                </a:lnTo>
                <a:lnTo>
                  <a:pt x="826" y="664"/>
                </a:lnTo>
                <a:lnTo>
                  <a:pt x="826" y="659"/>
                </a:lnTo>
                <a:lnTo>
                  <a:pt x="826" y="659"/>
                </a:lnTo>
                <a:lnTo>
                  <a:pt x="826" y="659"/>
                </a:lnTo>
                <a:lnTo>
                  <a:pt x="826" y="662"/>
                </a:lnTo>
                <a:lnTo>
                  <a:pt x="826" y="662"/>
                </a:lnTo>
                <a:lnTo>
                  <a:pt x="831" y="662"/>
                </a:lnTo>
                <a:lnTo>
                  <a:pt x="831" y="662"/>
                </a:lnTo>
                <a:lnTo>
                  <a:pt x="831" y="664"/>
                </a:lnTo>
                <a:lnTo>
                  <a:pt x="831" y="664"/>
                </a:lnTo>
                <a:lnTo>
                  <a:pt x="834" y="667"/>
                </a:lnTo>
                <a:lnTo>
                  <a:pt x="834" y="667"/>
                </a:lnTo>
                <a:lnTo>
                  <a:pt x="834" y="671"/>
                </a:lnTo>
                <a:lnTo>
                  <a:pt x="834" y="671"/>
                </a:lnTo>
                <a:lnTo>
                  <a:pt x="836" y="671"/>
                </a:lnTo>
                <a:lnTo>
                  <a:pt x="836" y="671"/>
                </a:lnTo>
                <a:lnTo>
                  <a:pt x="839" y="671"/>
                </a:lnTo>
                <a:lnTo>
                  <a:pt x="839" y="671"/>
                </a:lnTo>
                <a:lnTo>
                  <a:pt x="839" y="674"/>
                </a:lnTo>
                <a:lnTo>
                  <a:pt x="839" y="674"/>
                </a:lnTo>
                <a:lnTo>
                  <a:pt x="834" y="674"/>
                </a:lnTo>
                <a:lnTo>
                  <a:pt x="834" y="674"/>
                </a:lnTo>
                <a:lnTo>
                  <a:pt x="831" y="674"/>
                </a:lnTo>
                <a:lnTo>
                  <a:pt x="831" y="674"/>
                </a:lnTo>
                <a:close/>
                <a:moveTo>
                  <a:pt x="814" y="674"/>
                </a:moveTo>
                <a:lnTo>
                  <a:pt x="814" y="674"/>
                </a:lnTo>
                <a:lnTo>
                  <a:pt x="814" y="671"/>
                </a:lnTo>
                <a:lnTo>
                  <a:pt x="814" y="671"/>
                </a:lnTo>
                <a:lnTo>
                  <a:pt x="814" y="669"/>
                </a:lnTo>
                <a:lnTo>
                  <a:pt x="814" y="669"/>
                </a:lnTo>
                <a:lnTo>
                  <a:pt x="814" y="667"/>
                </a:lnTo>
                <a:lnTo>
                  <a:pt x="814" y="667"/>
                </a:lnTo>
                <a:lnTo>
                  <a:pt x="814" y="664"/>
                </a:lnTo>
                <a:lnTo>
                  <a:pt x="814" y="664"/>
                </a:lnTo>
                <a:lnTo>
                  <a:pt x="817" y="662"/>
                </a:lnTo>
                <a:lnTo>
                  <a:pt x="817" y="662"/>
                </a:lnTo>
                <a:lnTo>
                  <a:pt x="817" y="662"/>
                </a:lnTo>
                <a:lnTo>
                  <a:pt x="819" y="664"/>
                </a:lnTo>
                <a:lnTo>
                  <a:pt x="819" y="664"/>
                </a:lnTo>
                <a:lnTo>
                  <a:pt x="817" y="664"/>
                </a:lnTo>
                <a:lnTo>
                  <a:pt x="817" y="664"/>
                </a:lnTo>
                <a:lnTo>
                  <a:pt x="817" y="667"/>
                </a:lnTo>
                <a:lnTo>
                  <a:pt x="817" y="667"/>
                </a:lnTo>
                <a:lnTo>
                  <a:pt x="819" y="669"/>
                </a:lnTo>
                <a:lnTo>
                  <a:pt x="819" y="669"/>
                </a:lnTo>
                <a:lnTo>
                  <a:pt x="817" y="674"/>
                </a:lnTo>
                <a:lnTo>
                  <a:pt x="817" y="674"/>
                </a:lnTo>
                <a:lnTo>
                  <a:pt x="814" y="674"/>
                </a:lnTo>
                <a:lnTo>
                  <a:pt x="814" y="674"/>
                </a:lnTo>
                <a:close/>
                <a:moveTo>
                  <a:pt x="814" y="600"/>
                </a:moveTo>
                <a:lnTo>
                  <a:pt x="814" y="600"/>
                </a:lnTo>
                <a:lnTo>
                  <a:pt x="814" y="603"/>
                </a:lnTo>
                <a:lnTo>
                  <a:pt x="814" y="603"/>
                </a:lnTo>
                <a:lnTo>
                  <a:pt x="814" y="605"/>
                </a:lnTo>
                <a:lnTo>
                  <a:pt x="814" y="605"/>
                </a:lnTo>
                <a:lnTo>
                  <a:pt x="817" y="605"/>
                </a:lnTo>
                <a:lnTo>
                  <a:pt x="817" y="605"/>
                </a:lnTo>
                <a:lnTo>
                  <a:pt x="819" y="603"/>
                </a:lnTo>
                <a:lnTo>
                  <a:pt x="819" y="603"/>
                </a:lnTo>
                <a:lnTo>
                  <a:pt x="819" y="600"/>
                </a:lnTo>
                <a:lnTo>
                  <a:pt x="819" y="600"/>
                </a:lnTo>
                <a:lnTo>
                  <a:pt x="817" y="600"/>
                </a:lnTo>
                <a:lnTo>
                  <a:pt x="817" y="600"/>
                </a:lnTo>
                <a:lnTo>
                  <a:pt x="814" y="600"/>
                </a:lnTo>
                <a:lnTo>
                  <a:pt x="814" y="600"/>
                </a:lnTo>
                <a:close/>
                <a:moveTo>
                  <a:pt x="814" y="600"/>
                </a:moveTo>
                <a:lnTo>
                  <a:pt x="814" y="600"/>
                </a:lnTo>
                <a:lnTo>
                  <a:pt x="814" y="598"/>
                </a:lnTo>
                <a:lnTo>
                  <a:pt x="814" y="598"/>
                </a:lnTo>
                <a:lnTo>
                  <a:pt x="814" y="593"/>
                </a:lnTo>
                <a:lnTo>
                  <a:pt x="814" y="593"/>
                </a:lnTo>
                <a:lnTo>
                  <a:pt x="819" y="590"/>
                </a:lnTo>
                <a:lnTo>
                  <a:pt x="819" y="590"/>
                </a:lnTo>
                <a:lnTo>
                  <a:pt x="822" y="588"/>
                </a:lnTo>
                <a:lnTo>
                  <a:pt x="822" y="588"/>
                </a:lnTo>
                <a:lnTo>
                  <a:pt x="822" y="590"/>
                </a:lnTo>
                <a:lnTo>
                  <a:pt x="822" y="590"/>
                </a:lnTo>
                <a:lnTo>
                  <a:pt x="822" y="593"/>
                </a:lnTo>
                <a:lnTo>
                  <a:pt x="822" y="593"/>
                </a:lnTo>
                <a:lnTo>
                  <a:pt x="822" y="595"/>
                </a:lnTo>
                <a:lnTo>
                  <a:pt x="822" y="595"/>
                </a:lnTo>
                <a:lnTo>
                  <a:pt x="822" y="600"/>
                </a:lnTo>
                <a:lnTo>
                  <a:pt x="822" y="600"/>
                </a:lnTo>
                <a:lnTo>
                  <a:pt x="819" y="600"/>
                </a:lnTo>
                <a:lnTo>
                  <a:pt x="819" y="600"/>
                </a:lnTo>
                <a:lnTo>
                  <a:pt x="814" y="600"/>
                </a:lnTo>
                <a:lnTo>
                  <a:pt x="814" y="600"/>
                </a:lnTo>
                <a:close/>
                <a:moveTo>
                  <a:pt x="667" y="568"/>
                </a:moveTo>
                <a:lnTo>
                  <a:pt x="667" y="568"/>
                </a:lnTo>
                <a:lnTo>
                  <a:pt x="667" y="568"/>
                </a:lnTo>
                <a:lnTo>
                  <a:pt x="667" y="566"/>
                </a:lnTo>
                <a:lnTo>
                  <a:pt x="667" y="566"/>
                </a:lnTo>
                <a:lnTo>
                  <a:pt x="664" y="566"/>
                </a:lnTo>
                <a:lnTo>
                  <a:pt x="664" y="566"/>
                </a:lnTo>
                <a:lnTo>
                  <a:pt x="664" y="568"/>
                </a:lnTo>
                <a:lnTo>
                  <a:pt x="664" y="568"/>
                </a:lnTo>
                <a:lnTo>
                  <a:pt x="667" y="568"/>
                </a:lnTo>
                <a:lnTo>
                  <a:pt x="667" y="568"/>
                </a:lnTo>
                <a:close/>
                <a:moveTo>
                  <a:pt x="539" y="534"/>
                </a:moveTo>
                <a:lnTo>
                  <a:pt x="539" y="534"/>
                </a:lnTo>
                <a:lnTo>
                  <a:pt x="541" y="531"/>
                </a:lnTo>
                <a:lnTo>
                  <a:pt x="541" y="531"/>
                </a:lnTo>
                <a:lnTo>
                  <a:pt x="544" y="531"/>
                </a:lnTo>
                <a:lnTo>
                  <a:pt x="544" y="531"/>
                </a:lnTo>
                <a:lnTo>
                  <a:pt x="541" y="534"/>
                </a:lnTo>
                <a:lnTo>
                  <a:pt x="539" y="534"/>
                </a:lnTo>
                <a:lnTo>
                  <a:pt x="539" y="534"/>
                </a:lnTo>
                <a:close/>
                <a:moveTo>
                  <a:pt x="529" y="539"/>
                </a:moveTo>
                <a:lnTo>
                  <a:pt x="529" y="539"/>
                </a:lnTo>
                <a:lnTo>
                  <a:pt x="531" y="539"/>
                </a:lnTo>
                <a:lnTo>
                  <a:pt x="531" y="539"/>
                </a:lnTo>
                <a:lnTo>
                  <a:pt x="531" y="536"/>
                </a:lnTo>
                <a:lnTo>
                  <a:pt x="531" y="536"/>
                </a:lnTo>
                <a:lnTo>
                  <a:pt x="529" y="536"/>
                </a:lnTo>
                <a:lnTo>
                  <a:pt x="529" y="536"/>
                </a:lnTo>
                <a:lnTo>
                  <a:pt x="529" y="539"/>
                </a:lnTo>
                <a:lnTo>
                  <a:pt x="529" y="539"/>
                </a:lnTo>
                <a:close/>
                <a:moveTo>
                  <a:pt x="534" y="548"/>
                </a:moveTo>
                <a:lnTo>
                  <a:pt x="534" y="548"/>
                </a:lnTo>
                <a:lnTo>
                  <a:pt x="534" y="548"/>
                </a:lnTo>
                <a:lnTo>
                  <a:pt x="534" y="546"/>
                </a:lnTo>
                <a:lnTo>
                  <a:pt x="534" y="546"/>
                </a:lnTo>
                <a:lnTo>
                  <a:pt x="534" y="548"/>
                </a:lnTo>
                <a:lnTo>
                  <a:pt x="534" y="548"/>
                </a:lnTo>
                <a:lnTo>
                  <a:pt x="534" y="548"/>
                </a:lnTo>
                <a:close/>
                <a:moveTo>
                  <a:pt x="534" y="551"/>
                </a:moveTo>
                <a:lnTo>
                  <a:pt x="534" y="551"/>
                </a:lnTo>
                <a:lnTo>
                  <a:pt x="531" y="546"/>
                </a:lnTo>
                <a:lnTo>
                  <a:pt x="531" y="546"/>
                </a:lnTo>
                <a:lnTo>
                  <a:pt x="531" y="548"/>
                </a:lnTo>
                <a:lnTo>
                  <a:pt x="531" y="548"/>
                </a:lnTo>
                <a:lnTo>
                  <a:pt x="531" y="548"/>
                </a:lnTo>
                <a:lnTo>
                  <a:pt x="534" y="551"/>
                </a:lnTo>
                <a:lnTo>
                  <a:pt x="534" y="551"/>
                </a:lnTo>
                <a:close/>
                <a:moveTo>
                  <a:pt x="539" y="558"/>
                </a:moveTo>
                <a:lnTo>
                  <a:pt x="539" y="558"/>
                </a:lnTo>
                <a:lnTo>
                  <a:pt x="539" y="561"/>
                </a:lnTo>
                <a:lnTo>
                  <a:pt x="539" y="561"/>
                </a:lnTo>
                <a:lnTo>
                  <a:pt x="541" y="561"/>
                </a:lnTo>
                <a:lnTo>
                  <a:pt x="541" y="561"/>
                </a:lnTo>
                <a:lnTo>
                  <a:pt x="544" y="558"/>
                </a:lnTo>
                <a:lnTo>
                  <a:pt x="544" y="558"/>
                </a:lnTo>
                <a:lnTo>
                  <a:pt x="541" y="558"/>
                </a:lnTo>
                <a:lnTo>
                  <a:pt x="541" y="558"/>
                </a:lnTo>
                <a:lnTo>
                  <a:pt x="544" y="556"/>
                </a:lnTo>
                <a:lnTo>
                  <a:pt x="544" y="556"/>
                </a:lnTo>
                <a:lnTo>
                  <a:pt x="541" y="556"/>
                </a:lnTo>
                <a:lnTo>
                  <a:pt x="541" y="556"/>
                </a:lnTo>
                <a:lnTo>
                  <a:pt x="541" y="558"/>
                </a:lnTo>
                <a:lnTo>
                  <a:pt x="541" y="558"/>
                </a:lnTo>
                <a:lnTo>
                  <a:pt x="541" y="556"/>
                </a:lnTo>
                <a:lnTo>
                  <a:pt x="541" y="556"/>
                </a:lnTo>
                <a:lnTo>
                  <a:pt x="539" y="558"/>
                </a:lnTo>
                <a:lnTo>
                  <a:pt x="539" y="558"/>
                </a:lnTo>
                <a:close/>
                <a:moveTo>
                  <a:pt x="534" y="576"/>
                </a:moveTo>
                <a:lnTo>
                  <a:pt x="534" y="576"/>
                </a:lnTo>
                <a:lnTo>
                  <a:pt x="534" y="571"/>
                </a:lnTo>
                <a:lnTo>
                  <a:pt x="534" y="571"/>
                </a:lnTo>
                <a:lnTo>
                  <a:pt x="534" y="571"/>
                </a:lnTo>
                <a:lnTo>
                  <a:pt x="534" y="568"/>
                </a:lnTo>
                <a:lnTo>
                  <a:pt x="534" y="568"/>
                </a:lnTo>
                <a:lnTo>
                  <a:pt x="536" y="563"/>
                </a:lnTo>
                <a:lnTo>
                  <a:pt x="536" y="563"/>
                </a:lnTo>
                <a:lnTo>
                  <a:pt x="539" y="566"/>
                </a:lnTo>
                <a:lnTo>
                  <a:pt x="539" y="566"/>
                </a:lnTo>
                <a:lnTo>
                  <a:pt x="536" y="568"/>
                </a:lnTo>
                <a:lnTo>
                  <a:pt x="536" y="568"/>
                </a:lnTo>
                <a:lnTo>
                  <a:pt x="539" y="568"/>
                </a:lnTo>
                <a:lnTo>
                  <a:pt x="539" y="568"/>
                </a:lnTo>
                <a:lnTo>
                  <a:pt x="539" y="571"/>
                </a:lnTo>
                <a:lnTo>
                  <a:pt x="539" y="571"/>
                </a:lnTo>
                <a:lnTo>
                  <a:pt x="539" y="573"/>
                </a:lnTo>
                <a:lnTo>
                  <a:pt x="539" y="573"/>
                </a:lnTo>
                <a:lnTo>
                  <a:pt x="536" y="573"/>
                </a:lnTo>
                <a:lnTo>
                  <a:pt x="536" y="573"/>
                </a:lnTo>
                <a:lnTo>
                  <a:pt x="536" y="576"/>
                </a:lnTo>
                <a:lnTo>
                  <a:pt x="536" y="576"/>
                </a:lnTo>
                <a:lnTo>
                  <a:pt x="534" y="576"/>
                </a:lnTo>
                <a:lnTo>
                  <a:pt x="534" y="576"/>
                </a:lnTo>
                <a:close/>
                <a:moveTo>
                  <a:pt x="649" y="507"/>
                </a:moveTo>
                <a:lnTo>
                  <a:pt x="649" y="507"/>
                </a:lnTo>
                <a:lnTo>
                  <a:pt x="649" y="504"/>
                </a:lnTo>
                <a:lnTo>
                  <a:pt x="649" y="504"/>
                </a:lnTo>
                <a:lnTo>
                  <a:pt x="649" y="504"/>
                </a:lnTo>
                <a:lnTo>
                  <a:pt x="649" y="504"/>
                </a:lnTo>
                <a:lnTo>
                  <a:pt x="649" y="507"/>
                </a:lnTo>
                <a:lnTo>
                  <a:pt x="649" y="507"/>
                </a:lnTo>
                <a:lnTo>
                  <a:pt x="649" y="507"/>
                </a:lnTo>
                <a:close/>
                <a:moveTo>
                  <a:pt x="686" y="482"/>
                </a:moveTo>
                <a:lnTo>
                  <a:pt x="686" y="482"/>
                </a:lnTo>
                <a:lnTo>
                  <a:pt x="686" y="480"/>
                </a:lnTo>
                <a:lnTo>
                  <a:pt x="686" y="480"/>
                </a:lnTo>
                <a:lnTo>
                  <a:pt x="686" y="477"/>
                </a:lnTo>
                <a:lnTo>
                  <a:pt x="686" y="477"/>
                </a:lnTo>
                <a:lnTo>
                  <a:pt x="686" y="475"/>
                </a:lnTo>
                <a:lnTo>
                  <a:pt x="686" y="475"/>
                </a:lnTo>
                <a:lnTo>
                  <a:pt x="689" y="472"/>
                </a:lnTo>
                <a:lnTo>
                  <a:pt x="689" y="472"/>
                </a:lnTo>
                <a:lnTo>
                  <a:pt x="689" y="475"/>
                </a:lnTo>
                <a:lnTo>
                  <a:pt x="689" y="475"/>
                </a:lnTo>
                <a:lnTo>
                  <a:pt x="689" y="475"/>
                </a:lnTo>
                <a:lnTo>
                  <a:pt x="691" y="477"/>
                </a:lnTo>
                <a:lnTo>
                  <a:pt x="691" y="477"/>
                </a:lnTo>
                <a:lnTo>
                  <a:pt x="689" y="480"/>
                </a:lnTo>
                <a:lnTo>
                  <a:pt x="689" y="480"/>
                </a:lnTo>
                <a:lnTo>
                  <a:pt x="689" y="482"/>
                </a:lnTo>
                <a:lnTo>
                  <a:pt x="689" y="482"/>
                </a:lnTo>
                <a:lnTo>
                  <a:pt x="686" y="482"/>
                </a:lnTo>
                <a:lnTo>
                  <a:pt x="686" y="482"/>
                </a:lnTo>
                <a:close/>
                <a:moveTo>
                  <a:pt x="644" y="529"/>
                </a:moveTo>
                <a:lnTo>
                  <a:pt x="644" y="529"/>
                </a:lnTo>
                <a:lnTo>
                  <a:pt x="644" y="529"/>
                </a:lnTo>
                <a:lnTo>
                  <a:pt x="644" y="526"/>
                </a:lnTo>
                <a:lnTo>
                  <a:pt x="644" y="526"/>
                </a:lnTo>
                <a:lnTo>
                  <a:pt x="647" y="524"/>
                </a:lnTo>
                <a:lnTo>
                  <a:pt x="647" y="524"/>
                </a:lnTo>
                <a:lnTo>
                  <a:pt x="647" y="524"/>
                </a:lnTo>
                <a:lnTo>
                  <a:pt x="647" y="521"/>
                </a:lnTo>
                <a:lnTo>
                  <a:pt x="647" y="521"/>
                </a:lnTo>
                <a:lnTo>
                  <a:pt x="647" y="519"/>
                </a:lnTo>
                <a:lnTo>
                  <a:pt x="647" y="519"/>
                </a:lnTo>
                <a:lnTo>
                  <a:pt x="644" y="519"/>
                </a:lnTo>
                <a:lnTo>
                  <a:pt x="644" y="519"/>
                </a:lnTo>
                <a:lnTo>
                  <a:pt x="644" y="516"/>
                </a:lnTo>
                <a:lnTo>
                  <a:pt x="644" y="516"/>
                </a:lnTo>
                <a:lnTo>
                  <a:pt x="644" y="514"/>
                </a:lnTo>
                <a:lnTo>
                  <a:pt x="644" y="514"/>
                </a:lnTo>
                <a:lnTo>
                  <a:pt x="647" y="514"/>
                </a:lnTo>
                <a:lnTo>
                  <a:pt x="647" y="514"/>
                </a:lnTo>
                <a:lnTo>
                  <a:pt x="647" y="512"/>
                </a:lnTo>
                <a:lnTo>
                  <a:pt x="647" y="512"/>
                </a:lnTo>
                <a:lnTo>
                  <a:pt x="644" y="509"/>
                </a:lnTo>
                <a:lnTo>
                  <a:pt x="644" y="509"/>
                </a:lnTo>
                <a:lnTo>
                  <a:pt x="642" y="509"/>
                </a:lnTo>
                <a:lnTo>
                  <a:pt x="642" y="509"/>
                </a:lnTo>
                <a:lnTo>
                  <a:pt x="642" y="512"/>
                </a:lnTo>
                <a:lnTo>
                  <a:pt x="642" y="512"/>
                </a:lnTo>
                <a:lnTo>
                  <a:pt x="642" y="514"/>
                </a:lnTo>
                <a:lnTo>
                  <a:pt x="642" y="514"/>
                </a:lnTo>
                <a:lnTo>
                  <a:pt x="640" y="512"/>
                </a:lnTo>
                <a:lnTo>
                  <a:pt x="640" y="512"/>
                </a:lnTo>
                <a:lnTo>
                  <a:pt x="637" y="512"/>
                </a:lnTo>
                <a:lnTo>
                  <a:pt x="637" y="512"/>
                </a:lnTo>
                <a:lnTo>
                  <a:pt x="632" y="516"/>
                </a:lnTo>
                <a:lnTo>
                  <a:pt x="632" y="516"/>
                </a:lnTo>
                <a:lnTo>
                  <a:pt x="630" y="516"/>
                </a:lnTo>
                <a:lnTo>
                  <a:pt x="630" y="516"/>
                </a:lnTo>
                <a:lnTo>
                  <a:pt x="630" y="516"/>
                </a:lnTo>
                <a:lnTo>
                  <a:pt x="632" y="514"/>
                </a:lnTo>
                <a:lnTo>
                  <a:pt x="632" y="514"/>
                </a:lnTo>
                <a:lnTo>
                  <a:pt x="635" y="512"/>
                </a:lnTo>
                <a:lnTo>
                  <a:pt x="635" y="512"/>
                </a:lnTo>
                <a:lnTo>
                  <a:pt x="635" y="509"/>
                </a:lnTo>
                <a:lnTo>
                  <a:pt x="635" y="509"/>
                </a:lnTo>
                <a:lnTo>
                  <a:pt x="632" y="512"/>
                </a:lnTo>
                <a:lnTo>
                  <a:pt x="632" y="512"/>
                </a:lnTo>
                <a:lnTo>
                  <a:pt x="632" y="509"/>
                </a:lnTo>
                <a:lnTo>
                  <a:pt x="632" y="509"/>
                </a:lnTo>
                <a:lnTo>
                  <a:pt x="632" y="507"/>
                </a:lnTo>
                <a:lnTo>
                  <a:pt x="632" y="507"/>
                </a:lnTo>
                <a:lnTo>
                  <a:pt x="635" y="507"/>
                </a:lnTo>
                <a:lnTo>
                  <a:pt x="635" y="507"/>
                </a:lnTo>
                <a:lnTo>
                  <a:pt x="632" y="502"/>
                </a:lnTo>
                <a:lnTo>
                  <a:pt x="632" y="502"/>
                </a:lnTo>
                <a:lnTo>
                  <a:pt x="635" y="499"/>
                </a:lnTo>
                <a:lnTo>
                  <a:pt x="635" y="499"/>
                </a:lnTo>
                <a:lnTo>
                  <a:pt x="637" y="499"/>
                </a:lnTo>
                <a:lnTo>
                  <a:pt x="637" y="499"/>
                </a:lnTo>
                <a:lnTo>
                  <a:pt x="635" y="502"/>
                </a:lnTo>
                <a:lnTo>
                  <a:pt x="635" y="502"/>
                </a:lnTo>
                <a:lnTo>
                  <a:pt x="637" y="504"/>
                </a:lnTo>
                <a:lnTo>
                  <a:pt x="637" y="504"/>
                </a:lnTo>
                <a:lnTo>
                  <a:pt x="640" y="507"/>
                </a:lnTo>
                <a:lnTo>
                  <a:pt x="640" y="507"/>
                </a:lnTo>
                <a:lnTo>
                  <a:pt x="640" y="507"/>
                </a:lnTo>
                <a:lnTo>
                  <a:pt x="644" y="507"/>
                </a:lnTo>
                <a:lnTo>
                  <a:pt x="644" y="507"/>
                </a:lnTo>
                <a:lnTo>
                  <a:pt x="644" y="504"/>
                </a:lnTo>
                <a:lnTo>
                  <a:pt x="644" y="504"/>
                </a:lnTo>
                <a:lnTo>
                  <a:pt x="644" y="502"/>
                </a:lnTo>
                <a:lnTo>
                  <a:pt x="644" y="502"/>
                </a:lnTo>
                <a:lnTo>
                  <a:pt x="644" y="499"/>
                </a:lnTo>
                <a:lnTo>
                  <a:pt x="644" y="499"/>
                </a:lnTo>
                <a:lnTo>
                  <a:pt x="644" y="499"/>
                </a:lnTo>
                <a:lnTo>
                  <a:pt x="647" y="502"/>
                </a:lnTo>
                <a:lnTo>
                  <a:pt x="647" y="502"/>
                </a:lnTo>
                <a:lnTo>
                  <a:pt x="649" y="502"/>
                </a:lnTo>
                <a:lnTo>
                  <a:pt x="649" y="502"/>
                </a:lnTo>
                <a:lnTo>
                  <a:pt x="649" y="499"/>
                </a:lnTo>
                <a:lnTo>
                  <a:pt x="649" y="499"/>
                </a:lnTo>
                <a:lnTo>
                  <a:pt x="652" y="494"/>
                </a:lnTo>
                <a:lnTo>
                  <a:pt x="652" y="494"/>
                </a:lnTo>
                <a:lnTo>
                  <a:pt x="652" y="499"/>
                </a:lnTo>
                <a:lnTo>
                  <a:pt x="652" y="499"/>
                </a:lnTo>
                <a:lnTo>
                  <a:pt x="654" y="499"/>
                </a:lnTo>
                <a:lnTo>
                  <a:pt x="654" y="499"/>
                </a:lnTo>
                <a:lnTo>
                  <a:pt x="657" y="497"/>
                </a:lnTo>
                <a:lnTo>
                  <a:pt x="657" y="497"/>
                </a:lnTo>
                <a:lnTo>
                  <a:pt x="654" y="502"/>
                </a:lnTo>
                <a:lnTo>
                  <a:pt x="654" y="502"/>
                </a:lnTo>
                <a:lnTo>
                  <a:pt x="654" y="504"/>
                </a:lnTo>
                <a:lnTo>
                  <a:pt x="654" y="504"/>
                </a:lnTo>
                <a:lnTo>
                  <a:pt x="654" y="504"/>
                </a:lnTo>
                <a:lnTo>
                  <a:pt x="657" y="504"/>
                </a:lnTo>
                <a:lnTo>
                  <a:pt x="657" y="504"/>
                </a:lnTo>
                <a:lnTo>
                  <a:pt x="654" y="507"/>
                </a:lnTo>
                <a:lnTo>
                  <a:pt x="654" y="507"/>
                </a:lnTo>
                <a:lnTo>
                  <a:pt x="657" y="507"/>
                </a:lnTo>
                <a:lnTo>
                  <a:pt x="657" y="507"/>
                </a:lnTo>
                <a:lnTo>
                  <a:pt x="659" y="504"/>
                </a:lnTo>
                <a:lnTo>
                  <a:pt x="659" y="504"/>
                </a:lnTo>
                <a:lnTo>
                  <a:pt x="659" y="502"/>
                </a:lnTo>
                <a:lnTo>
                  <a:pt x="659" y="502"/>
                </a:lnTo>
                <a:lnTo>
                  <a:pt x="662" y="499"/>
                </a:lnTo>
                <a:lnTo>
                  <a:pt x="662" y="499"/>
                </a:lnTo>
                <a:lnTo>
                  <a:pt x="664" y="497"/>
                </a:lnTo>
                <a:lnTo>
                  <a:pt x="664" y="497"/>
                </a:lnTo>
                <a:lnTo>
                  <a:pt x="664" y="502"/>
                </a:lnTo>
                <a:lnTo>
                  <a:pt x="664" y="502"/>
                </a:lnTo>
                <a:lnTo>
                  <a:pt x="662" y="504"/>
                </a:lnTo>
                <a:lnTo>
                  <a:pt x="662" y="504"/>
                </a:lnTo>
                <a:lnTo>
                  <a:pt x="662" y="509"/>
                </a:lnTo>
                <a:lnTo>
                  <a:pt x="662" y="509"/>
                </a:lnTo>
                <a:lnTo>
                  <a:pt x="664" y="509"/>
                </a:lnTo>
                <a:lnTo>
                  <a:pt x="664" y="509"/>
                </a:lnTo>
                <a:lnTo>
                  <a:pt x="667" y="509"/>
                </a:lnTo>
                <a:lnTo>
                  <a:pt x="667" y="509"/>
                </a:lnTo>
                <a:lnTo>
                  <a:pt x="667" y="507"/>
                </a:lnTo>
                <a:lnTo>
                  <a:pt x="667" y="507"/>
                </a:lnTo>
                <a:lnTo>
                  <a:pt x="672" y="504"/>
                </a:lnTo>
                <a:lnTo>
                  <a:pt x="672" y="504"/>
                </a:lnTo>
                <a:lnTo>
                  <a:pt x="672" y="499"/>
                </a:lnTo>
                <a:lnTo>
                  <a:pt x="672" y="499"/>
                </a:lnTo>
                <a:lnTo>
                  <a:pt x="674" y="497"/>
                </a:lnTo>
                <a:lnTo>
                  <a:pt x="674" y="497"/>
                </a:lnTo>
                <a:lnTo>
                  <a:pt x="672" y="494"/>
                </a:lnTo>
                <a:lnTo>
                  <a:pt x="672" y="494"/>
                </a:lnTo>
                <a:lnTo>
                  <a:pt x="674" y="492"/>
                </a:lnTo>
                <a:lnTo>
                  <a:pt x="674" y="492"/>
                </a:lnTo>
                <a:lnTo>
                  <a:pt x="674" y="489"/>
                </a:lnTo>
                <a:lnTo>
                  <a:pt x="674" y="489"/>
                </a:lnTo>
                <a:lnTo>
                  <a:pt x="672" y="492"/>
                </a:lnTo>
                <a:lnTo>
                  <a:pt x="672" y="492"/>
                </a:lnTo>
                <a:lnTo>
                  <a:pt x="669" y="489"/>
                </a:lnTo>
                <a:lnTo>
                  <a:pt x="669" y="489"/>
                </a:lnTo>
                <a:lnTo>
                  <a:pt x="667" y="492"/>
                </a:lnTo>
                <a:lnTo>
                  <a:pt x="667" y="492"/>
                </a:lnTo>
                <a:lnTo>
                  <a:pt x="667" y="487"/>
                </a:lnTo>
                <a:lnTo>
                  <a:pt x="667" y="487"/>
                </a:lnTo>
                <a:lnTo>
                  <a:pt x="669" y="487"/>
                </a:lnTo>
                <a:lnTo>
                  <a:pt x="669" y="487"/>
                </a:lnTo>
                <a:lnTo>
                  <a:pt x="669" y="485"/>
                </a:lnTo>
                <a:lnTo>
                  <a:pt x="669" y="485"/>
                </a:lnTo>
                <a:lnTo>
                  <a:pt x="664" y="487"/>
                </a:lnTo>
                <a:lnTo>
                  <a:pt x="664" y="487"/>
                </a:lnTo>
                <a:lnTo>
                  <a:pt x="664" y="485"/>
                </a:lnTo>
                <a:lnTo>
                  <a:pt x="664" y="485"/>
                </a:lnTo>
                <a:lnTo>
                  <a:pt x="662" y="482"/>
                </a:lnTo>
                <a:lnTo>
                  <a:pt x="662" y="482"/>
                </a:lnTo>
                <a:lnTo>
                  <a:pt x="662" y="480"/>
                </a:lnTo>
                <a:lnTo>
                  <a:pt x="662" y="480"/>
                </a:lnTo>
                <a:lnTo>
                  <a:pt x="659" y="475"/>
                </a:lnTo>
                <a:lnTo>
                  <a:pt x="659" y="475"/>
                </a:lnTo>
                <a:lnTo>
                  <a:pt x="659" y="472"/>
                </a:lnTo>
                <a:lnTo>
                  <a:pt x="659" y="472"/>
                </a:lnTo>
                <a:lnTo>
                  <a:pt x="662" y="467"/>
                </a:lnTo>
                <a:lnTo>
                  <a:pt x="662" y="467"/>
                </a:lnTo>
                <a:lnTo>
                  <a:pt x="659" y="465"/>
                </a:lnTo>
                <a:lnTo>
                  <a:pt x="659" y="465"/>
                </a:lnTo>
                <a:lnTo>
                  <a:pt x="657" y="467"/>
                </a:lnTo>
                <a:lnTo>
                  <a:pt x="657" y="467"/>
                </a:lnTo>
                <a:lnTo>
                  <a:pt x="657" y="470"/>
                </a:lnTo>
                <a:lnTo>
                  <a:pt x="657" y="470"/>
                </a:lnTo>
                <a:lnTo>
                  <a:pt x="657" y="467"/>
                </a:lnTo>
                <a:lnTo>
                  <a:pt x="657" y="467"/>
                </a:lnTo>
                <a:lnTo>
                  <a:pt x="652" y="465"/>
                </a:lnTo>
                <a:lnTo>
                  <a:pt x="652" y="465"/>
                </a:lnTo>
                <a:lnTo>
                  <a:pt x="652" y="460"/>
                </a:lnTo>
                <a:lnTo>
                  <a:pt x="652" y="460"/>
                </a:lnTo>
                <a:lnTo>
                  <a:pt x="649" y="457"/>
                </a:lnTo>
                <a:lnTo>
                  <a:pt x="649" y="457"/>
                </a:lnTo>
                <a:lnTo>
                  <a:pt x="649" y="453"/>
                </a:lnTo>
                <a:lnTo>
                  <a:pt x="649" y="453"/>
                </a:lnTo>
                <a:lnTo>
                  <a:pt x="647" y="450"/>
                </a:lnTo>
                <a:lnTo>
                  <a:pt x="647" y="450"/>
                </a:lnTo>
                <a:lnTo>
                  <a:pt x="647" y="448"/>
                </a:lnTo>
                <a:lnTo>
                  <a:pt x="647" y="448"/>
                </a:lnTo>
                <a:lnTo>
                  <a:pt x="647" y="445"/>
                </a:lnTo>
                <a:lnTo>
                  <a:pt x="647" y="445"/>
                </a:lnTo>
                <a:lnTo>
                  <a:pt x="647" y="443"/>
                </a:lnTo>
                <a:lnTo>
                  <a:pt x="647" y="443"/>
                </a:lnTo>
                <a:lnTo>
                  <a:pt x="649" y="443"/>
                </a:lnTo>
                <a:lnTo>
                  <a:pt x="649" y="443"/>
                </a:lnTo>
                <a:lnTo>
                  <a:pt x="649" y="440"/>
                </a:lnTo>
                <a:lnTo>
                  <a:pt x="649" y="440"/>
                </a:lnTo>
                <a:lnTo>
                  <a:pt x="652" y="440"/>
                </a:lnTo>
                <a:lnTo>
                  <a:pt x="652" y="440"/>
                </a:lnTo>
                <a:lnTo>
                  <a:pt x="652" y="440"/>
                </a:lnTo>
                <a:lnTo>
                  <a:pt x="654" y="438"/>
                </a:lnTo>
                <a:lnTo>
                  <a:pt x="654" y="438"/>
                </a:lnTo>
                <a:lnTo>
                  <a:pt x="654" y="435"/>
                </a:lnTo>
                <a:lnTo>
                  <a:pt x="654" y="435"/>
                </a:lnTo>
                <a:lnTo>
                  <a:pt x="657" y="430"/>
                </a:lnTo>
                <a:lnTo>
                  <a:pt x="657" y="430"/>
                </a:lnTo>
                <a:lnTo>
                  <a:pt x="657" y="425"/>
                </a:lnTo>
                <a:lnTo>
                  <a:pt x="657" y="425"/>
                </a:lnTo>
                <a:lnTo>
                  <a:pt x="657" y="425"/>
                </a:lnTo>
                <a:lnTo>
                  <a:pt x="657" y="421"/>
                </a:lnTo>
                <a:lnTo>
                  <a:pt x="657" y="421"/>
                </a:lnTo>
                <a:lnTo>
                  <a:pt x="657" y="416"/>
                </a:lnTo>
                <a:lnTo>
                  <a:pt x="657" y="416"/>
                </a:lnTo>
                <a:lnTo>
                  <a:pt x="659" y="416"/>
                </a:lnTo>
                <a:lnTo>
                  <a:pt x="659" y="416"/>
                </a:lnTo>
                <a:lnTo>
                  <a:pt x="659" y="411"/>
                </a:lnTo>
                <a:lnTo>
                  <a:pt x="659" y="411"/>
                </a:lnTo>
                <a:lnTo>
                  <a:pt x="662" y="408"/>
                </a:lnTo>
                <a:lnTo>
                  <a:pt x="662" y="408"/>
                </a:lnTo>
                <a:lnTo>
                  <a:pt x="662" y="403"/>
                </a:lnTo>
                <a:lnTo>
                  <a:pt x="662" y="403"/>
                </a:lnTo>
                <a:lnTo>
                  <a:pt x="664" y="403"/>
                </a:lnTo>
                <a:lnTo>
                  <a:pt x="664" y="403"/>
                </a:lnTo>
                <a:lnTo>
                  <a:pt x="664" y="396"/>
                </a:lnTo>
                <a:lnTo>
                  <a:pt x="664" y="396"/>
                </a:lnTo>
                <a:lnTo>
                  <a:pt x="667" y="396"/>
                </a:lnTo>
                <a:lnTo>
                  <a:pt x="667" y="396"/>
                </a:lnTo>
                <a:lnTo>
                  <a:pt x="667" y="394"/>
                </a:lnTo>
                <a:lnTo>
                  <a:pt x="667" y="394"/>
                </a:lnTo>
                <a:lnTo>
                  <a:pt x="669" y="389"/>
                </a:lnTo>
                <a:lnTo>
                  <a:pt x="669" y="389"/>
                </a:lnTo>
                <a:lnTo>
                  <a:pt x="669" y="386"/>
                </a:lnTo>
                <a:lnTo>
                  <a:pt x="669" y="386"/>
                </a:lnTo>
                <a:lnTo>
                  <a:pt x="669" y="384"/>
                </a:lnTo>
                <a:lnTo>
                  <a:pt x="669" y="384"/>
                </a:lnTo>
                <a:lnTo>
                  <a:pt x="672" y="384"/>
                </a:lnTo>
                <a:lnTo>
                  <a:pt x="672" y="384"/>
                </a:lnTo>
                <a:lnTo>
                  <a:pt x="672" y="381"/>
                </a:lnTo>
                <a:lnTo>
                  <a:pt x="672" y="381"/>
                </a:lnTo>
                <a:lnTo>
                  <a:pt x="669" y="376"/>
                </a:lnTo>
                <a:lnTo>
                  <a:pt x="669" y="376"/>
                </a:lnTo>
                <a:lnTo>
                  <a:pt x="672" y="374"/>
                </a:lnTo>
                <a:lnTo>
                  <a:pt x="672" y="374"/>
                </a:lnTo>
                <a:lnTo>
                  <a:pt x="672" y="374"/>
                </a:lnTo>
                <a:lnTo>
                  <a:pt x="667" y="371"/>
                </a:lnTo>
                <a:lnTo>
                  <a:pt x="667" y="371"/>
                </a:lnTo>
                <a:lnTo>
                  <a:pt x="667" y="366"/>
                </a:lnTo>
                <a:lnTo>
                  <a:pt x="667" y="366"/>
                </a:lnTo>
                <a:lnTo>
                  <a:pt x="667" y="366"/>
                </a:lnTo>
                <a:lnTo>
                  <a:pt x="664" y="359"/>
                </a:lnTo>
                <a:lnTo>
                  <a:pt x="664" y="359"/>
                </a:lnTo>
                <a:lnTo>
                  <a:pt x="662" y="359"/>
                </a:lnTo>
                <a:lnTo>
                  <a:pt x="662" y="359"/>
                </a:lnTo>
                <a:lnTo>
                  <a:pt x="662" y="359"/>
                </a:lnTo>
                <a:lnTo>
                  <a:pt x="659" y="359"/>
                </a:lnTo>
                <a:lnTo>
                  <a:pt x="659" y="359"/>
                </a:lnTo>
                <a:lnTo>
                  <a:pt x="659" y="362"/>
                </a:lnTo>
                <a:lnTo>
                  <a:pt x="659" y="362"/>
                </a:lnTo>
                <a:lnTo>
                  <a:pt x="659" y="362"/>
                </a:lnTo>
                <a:lnTo>
                  <a:pt x="654" y="357"/>
                </a:lnTo>
                <a:lnTo>
                  <a:pt x="654" y="357"/>
                </a:lnTo>
                <a:lnTo>
                  <a:pt x="652" y="357"/>
                </a:lnTo>
                <a:lnTo>
                  <a:pt x="652" y="357"/>
                </a:lnTo>
                <a:lnTo>
                  <a:pt x="652" y="354"/>
                </a:lnTo>
                <a:lnTo>
                  <a:pt x="652" y="354"/>
                </a:lnTo>
                <a:lnTo>
                  <a:pt x="649" y="354"/>
                </a:lnTo>
                <a:lnTo>
                  <a:pt x="649" y="354"/>
                </a:lnTo>
                <a:lnTo>
                  <a:pt x="649" y="359"/>
                </a:lnTo>
                <a:lnTo>
                  <a:pt x="649" y="359"/>
                </a:lnTo>
                <a:lnTo>
                  <a:pt x="649" y="359"/>
                </a:lnTo>
                <a:lnTo>
                  <a:pt x="647" y="359"/>
                </a:lnTo>
                <a:lnTo>
                  <a:pt x="647" y="359"/>
                </a:lnTo>
                <a:lnTo>
                  <a:pt x="644" y="362"/>
                </a:lnTo>
                <a:lnTo>
                  <a:pt x="644" y="362"/>
                </a:lnTo>
                <a:lnTo>
                  <a:pt x="644" y="364"/>
                </a:lnTo>
                <a:lnTo>
                  <a:pt x="644" y="364"/>
                </a:lnTo>
                <a:lnTo>
                  <a:pt x="642" y="366"/>
                </a:lnTo>
                <a:lnTo>
                  <a:pt x="642" y="366"/>
                </a:lnTo>
                <a:lnTo>
                  <a:pt x="640" y="374"/>
                </a:lnTo>
                <a:lnTo>
                  <a:pt x="640" y="374"/>
                </a:lnTo>
                <a:lnTo>
                  <a:pt x="640" y="376"/>
                </a:lnTo>
                <a:lnTo>
                  <a:pt x="640" y="376"/>
                </a:lnTo>
                <a:lnTo>
                  <a:pt x="640" y="379"/>
                </a:lnTo>
                <a:lnTo>
                  <a:pt x="640" y="379"/>
                </a:lnTo>
                <a:lnTo>
                  <a:pt x="637" y="381"/>
                </a:lnTo>
                <a:lnTo>
                  <a:pt x="637" y="381"/>
                </a:lnTo>
                <a:lnTo>
                  <a:pt x="637" y="384"/>
                </a:lnTo>
                <a:lnTo>
                  <a:pt x="637" y="384"/>
                </a:lnTo>
                <a:lnTo>
                  <a:pt x="637" y="386"/>
                </a:lnTo>
                <a:lnTo>
                  <a:pt x="637" y="386"/>
                </a:lnTo>
                <a:lnTo>
                  <a:pt x="635" y="386"/>
                </a:lnTo>
                <a:lnTo>
                  <a:pt x="635" y="386"/>
                </a:lnTo>
                <a:lnTo>
                  <a:pt x="635" y="394"/>
                </a:lnTo>
                <a:lnTo>
                  <a:pt x="635" y="394"/>
                </a:lnTo>
                <a:lnTo>
                  <a:pt x="632" y="396"/>
                </a:lnTo>
                <a:lnTo>
                  <a:pt x="632" y="396"/>
                </a:lnTo>
                <a:lnTo>
                  <a:pt x="630" y="394"/>
                </a:lnTo>
                <a:lnTo>
                  <a:pt x="630" y="394"/>
                </a:lnTo>
                <a:lnTo>
                  <a:pt x="630" y="398"/>
                </a:lnTo>
                <a:lnTo>
                  <a:pt x="630" y="398"/>
                </a:lnTo>
                <a:lnTo>
                  <a:pt x="630" y="401"/>
                </a:lnTo>
                <a:lnTo>
                  <a:pt x="630" y="401"/>
                </a:lnTo>
                <a:lnTo>
                  <a:pt x="630" y="403"/>
                </a:lnTo>
                <a:lnTo>
                  <a:pt x="630" y="403"/>
                </a:lnTo>
                <a:lnTo>
                  <a:pt x="627" y="408"/>
                </a:lnTo>
                <a:lnTo>
                  <a:pt x="627" y="408"/>
                </a:lnTo>
                <a:lnTo>
                  <a:pt x="627" y="411"/>
                </a:lnTo>
                <a:lnTo>
                  <a:pt x="627" y="411"/>
                </a:lnTo>
                <a:lnTo>
                  <a:pt x="627" y="413"/>
                </a:lnTo>
                <a:lnTo>
                  <a:pt x="627" y="413"/>
                </a:lnTo>
                <a:lnTo>
                  <a:pt x="627" y="416"/>
                </a:lnTo>
                <a:lnTo>
                  <a:pt x="627" y="416"/>
                </a:lnTo>
                <a:lnTo>
                  <a:pt x="625" y="416"/>
                </a:lnTo>
                <a:lnTo>
                  <a:pt x="625" y="416"/>
                </a:lnTo>
                <a:lnTo>
                  <a:pt x="625" y="416"/>
                </a:lnTo>
                <a:lnTo>
                  <a:pt x="627" y="418"/>
                </a:lnTo>
                <a:lnTo>
                  <a:pt x="627" y="418"/>
                </a:lnTo>
                <a:lnTo>
                  <a:pt x="627" y="421"/>
                </a:lnTo>
                <a:lnTo>
                  <a:pt x="627" y="421"/>
                </a:lnTo>
                <a:lnTo>
                  <a:pt x="627" y="418"/>
                </a:lnTo>
                <a:lnTo>
                  <a:pt x="627" y="418"/>
                </a:lnTo>
                <a:lnTo>
                  <a:pt x="625" y="421"/>
                </a:lnTo>
                <a:lnTo>
                  <a:pt x="625" y="421"/>
                </a:lnTo>
                <a:lnTo>
                  <a:pt x="622" y="421"/>
                </a:lnTo>
                <a:lnTo>
                  <a:pt x="622" y="421"/>
                </a:lnTo>
                <a:lnTo>
                  <a:pt x="620" y="421"/>
                </a:lnTo>
                <a:lnTo>
                  <a:pt x="620" y="421"/>
                </a:lnTo>
                <a:lnTo>
                  <a:pt x="617" y="423"/>
                </a:lnTo>
                <a:lnTo>
                  <a:pt x="617" y="423"/>
                </a:lnTo>
                <a:lnTo>
                  <a:pt x="620" y="425"/>
                </a:lnTo>
                <a:lnTo>
                  <a:pt x="620" y="425"/>
                </a:lnTo>
                <a:lnTo>
                  <a:pt x="617" y="425"/>
                </a:lnTo>
                <a:lnTo>
                  <a:pt x="617" y="425"/>
                </a:lnTo>
                <a:lnTo>
                  <a:pt x="615" y="425"/>
                </a:lnTo>
                <a:lnTo>
                  <a:pt x="615" y="425"/>
                </a:lnTo>
                <a:lnTo>
                  <a:pt x="615" y="423"/>
                </a:lnTo>
                <a:lnTo>
                  <a:pt x="615" y="423"/>
                </a:lnTo>
                <a:lnTo>
                  <a:pt x="615" y="421"/>
                </a:lnTo>
                <a:lnTo>
                  <a:pt x="615" y="421"/>
                </a:lnTo>
                <a:lnTo>
                  <a:pt x="615" y="418"/>
                </a:lnTo>
                <a:lnTo>
                  <a:pt x="615" y="418"/>
                </a:lnTo>
                <a:lnTo>
                  <a:pt x="615" y="413"/>
                </a:lnTo>
                <a:lnTo>
                  <a:pt x="615" y="413"/>
                </a:lnTo>
                <a:lnTo>
                  <a:pt x="617" y="408"/>
                </a:lnTo>
                <a:lnTo>
                  <a:pt x="617" y="408"/>
                </a:lnTo>
                <a:lnTo>
                  <a:pt x="617" y="406"/>
                </a:lnTo>
                <a:lnTo>
                  <a:pt x="617" y="406"/>
                </a:lnTo>
                <a:lnTo>
                  <a:pt x="620" y="403"/>
                </a:lnTo>
                <a:lnTo>
                  <a:pt x="620" y="403"/>
                </a:lnTo>
                <a:lnTo>
                  <a:pt x="620" y="401"/>
                </a:lnTo>
                <a:lnTo>
                  <a:pt x="620" y="401"/>
                </a:lnTo>
                <a:lnTo>
                  <a:pt x="620" y="398"/>
                </a:lnTo>
                <a:lnTo>
                  <a:pt x="620" y="398"/>
                </a:lnTo>
                <a:lnTo>
                  <a:pt x="622" y="391"/>
                </a:lnTo>
                <a:lnTo>
                  <a:pt x="622" y="391"/>
                </a:lnTo>
                <a:lnTo>
                  <a:pt x="625" y="389"/>
                </a:lnTo>
                <a:lnTo>
                  <a:pt x="625" y="389"/>
                </a:lnTo>
                <a:lnTo>
                  <a:pt x="625" y="386"/>
                </a:lnTo>
                <a:lnTo>
                  <a:pt x="625" y="386"/>
                </a:lnTo>
                <a:lnTo>
                  <a:pt x="625" y="386"/>
                </a:lnTo>
                <a:lnTo>
                  <a:pt x="622" y="386"/>
                </a:lnTo>
                <a:lnTo>
                  <a:pt x="622" y="386"/>
                </a:lnTo>
                <a:lnTo>
                  <a:pt x="622" y="384"/>
                </a:lnTo>
                <a:lnTo>
                  <a:pt x="622" y="384"/>
                </a:lnTo>
                <a:lnTo>
                  <a:pt x="625" y="381"/>
                </a:lnTo>
                <a:lnTo>
                  <a:pt x="625" y="381"/>
                </a:lnTo>
                <a:lnTo>
                  <a:pt x="625" y="376"/>
                </a:lnTo>
                <a:lnTo>
                  <a:pt x="625" y="376"/>
                </a:lnTo>
                <a:lnTo>
                  <a:pt x="622" y="374"/>
                </a:lnTo>
                <a:lnTo>
                  <a:pt x="622" y="374"/>
                </a:lnTo>
                <a:lnTo>
                  <a:pt x="622" y="371"/>
                </a:lnTo>
                <a:lnTo>
                  <a:pt x="622" y="371"/>
                </a:lnTo>
                <a:lnTo>
                  <a:pt x="622" y="369"/>
                </a:lnTo>
                <a:lnTo>
                  <a:pt x="622" y="369"/>
                </a:lnTo>
                <a:lnTo>
                  <a:pt x="622" y="366"/>
                </a:lnTo>
                <a:lnTo>
                  <a:pt x="622" y="366"/>
                </a:lnTo>
                <a:lnTo>
                  <a:pt x="620" y="366"/>
                </a:lnTo>
                <a:lnTo>
                  <a:pt x="620" y="366"/>
                </a:lnTo>
                <a:lnTo>
                  <a:pt x="617" y="362"/>
                </a:lnTo>
                <a:lnTo>
                  <a:pt x="617" y="362"/>
                </a:lnTo>
                <a:lnTo>
                  <a:pt x="615" y="364"/>
                </a:lnTo>
                <a:lnTo>
                  <a:pt x="615" y="364"/>
                </a:lnTo>
                <a:lnTo>
                  <a:pt x="612" y="366"/>
                </a:lnTo>
                <a:lnTo>
                  <a:pt x="612" y="366"/>
                </a:lnTo>
                <a:lnTo>
                  <a:pt x="615" y="369"/>
                </a:lnTo>
                <a:lnTo>
                  <a:pt x="615" y="369"/>
                </a:lnTo>
                <a:lnTo>
                  <a:pt x="615" y="371"/>
                </a:lnTo>
                <a:lnTo>
                  <a:pt x="615" y="371"/>
                </a:lnTo>
                <a:lnTo>
                  <a:pt x="617" y="374"/>
                </a:lnTo>
                <a:lnTo>
                  <a:pt x="617" y="374"/>
                </a:lnTo>
                <a:lnTo>
                  <a:pt x="617" y="376"/>
                </a:lnTo>
                <a:lnTo>
                  <a:pt x="617" y="376"/>
                </a:lnTo>
                <a:lnTo>
                  <a:pt x="615" y="376"/>
                </a:lnTo>
                <a:lnTo>
                  <a:pt x="615" y="376"/>
                </a:lnTo>
                <a:lnTo>
                  <a:pt x="615" y="371"/>
                </a:lnTo>
                <a:lnTo>
                  <a:pt x="615" y="371"/>
                </a:lnTo>
                <a:lnTo>
                  <a:pt x="612" y="371"/>
                </a:lnTo>
                <a:lnTo>
                  <a:pt x="612" y="371"/>
                </a:lnTo>
                <a:lnTo>
                  <a:pt x="610" y="376"/>
                </a:lnTo>
                <a:lnTo>
                  <a:pt x="610" y="376"/>
                </a:lnTo>
                <a:lnTo>
                  <a:pt x="612" y="376"/>
                </a:lnTo>
                <a:lnTo>
                  <a:pt x="612" y="376"/>
                </a:lnTo>
                <a:lnTo>
                  <a:pt x="612" y="379"/>
                </a:lnTo>
                <a:lnTo>
                  <a:pt x="612" y="379"/>
                </a:lnTo>
                <a:lnTo>
                  <a:pt x="615" y="384"/>
                </a:lnTo>
                <a:lnTo>
                  <a:pt x="615" y="384"/>
                </a:lnTo>
                <a:lnTo>
                  <a:pt x="612" y="384"/>
                </a:lnTo>
                <a:lnTo>
                  <a:pt x="612" y="384"/>
                </a:lnTo>
                <a:lnTo>
                  <a:pt x="612" y="384"/>
                </a:lnTo>
                <a:lnTo>
                  <a:pt x="610" y="381"/>
                </a:lnTo>
                <a:lnTo>
                  <a:pt x="610" y="381"/>
                </a:lnTo>
                <a:lnTo>
                  <a:pt x="610" y="386"/>
                </a:lnTo>
                <a:lnTo>
                  <a:pt x="610" y="386"/>
                </a:lnTo>
                <a:lnTo>
                  <a:pt x="608" y="384"/>
                </a:lnTo>
                <a:lnTo>
                  <a:pt x="608" y="384"/>
                </a:lnTo>
                <a:lnTo>
                  <a:pt x="608" y="381"/>
                </a:lnTo>
                <a:lnTo>
                  <a:pt x="608" y="381"/>
                </a:lnTo>
                <a:lnTo>
                  <a:pt x="605" y="381"/>
                </a:lnTo>
                <a:lnTo>
                  <a:pt x="605" y="381"/>
                </a:lnTo>
                <a:lnTo>
                  <a:pt x="605" y="384"/>
                </a:lnTo>
                <a:lnTo>
                  <a:pt x="605" y="384"/>
                </a:lnTo>
                <a:lnTo>
                  <a:pt x="603" y="384"/>
                </a:lnTo>
                <a:lnTo>
                  <a:pt x="603" y="384"/>
                </a:lnTo>
                <a:lnTo>
                  <a:pt x="603" y="381"/>
                </a:lnTo>
                <a:lnTo>
                  <a:pt x="603" y="381"/>
                </a:lnTo>
                <a:lnTo>
                  <a:pt x="605" y="379"/>
                </a:lnTo>
                <a:lnTo>
                  <a:pt x="605" y="379"/>
                </a:lnTo>
                <a:lnTo>
                  <a:pt x="603" y="379"/>
                </a:lnTo>
                <a:lnTo>
                  <a:pt x="603" y="379"/>
                </a:lnTo>
                <a:lnTo>
                  <a:pt x="600" y="379"/>
                </a:lnTo>
                <a:lnTo>
                  <a:pt x="600" y="379"/>
                </a:lnTo>
                <a:lnTo>
                  <a:pt x="595" y="384"/>
                </a:lnTo>
                <a:lnTo>
                  <a:pt x="595" y="384"/>
                </a:lnTo>
                <a:lnTo>
                  <a:pt x="595" y="379"/>
                </a:lnTo>
                <a:lnTo>
                  <a:pt x="595" y="379"/>
                </a:lnTo>
                <a:lnTo>
                  <a:pt x="593" y="379"/>
                </a:lnTo>
                <a:lnTo>
                  <a:pt x="593" y="379"/>
                </a:lnTo>
                <a:lnTo>
                  <a:pt x="590" y="381"/>
                </a:lnTo>
                <a:lnTo>
                  <a:pt x="590" y="381"/>
                </a:lnTo>
                <a:lnTo>
                  <a:pt x="588" y="381"/>
                </a:lnTo>
                <a:lnTo>
                  <a:pt x="588" y="381"/>
                </a:lnTo>
                <a:lnTo>
                  <a:pt x="585" y="379"/>
                </a:lnTo>
                <a:lnTo>
                  <a:pt x="585" y="379"/>
                </a:lnTo>
                <a:lnTo>
                  <a:pt x="583" y="379"/>
                </a:lnTo>
                <a:lnTo>
                  <a:pt x="583" y="379"/>
                </a:lnTo>
                <a:lnTo>
                  <a:pt x="580" y="379"/>
                </a:lnTo>
                <a:lnTo>
                  <a:pt x="580" y="379"/>
                </a:lnTo>
                <a:lnTo>
                  <a:pt x="583" y="376"/>
                </a:lnTo>
                <a:lnTo>
                  <a:pt x="583" y="376"/>
                </a:lnTo>
                <a:lnTo>
                  <a:pt x="588" y="376"/>
                </a:lnTo>
                <a:lnTo>
                  <a:pt x="588" y="376"/>
                </a:lnTo>
                <a:lnTo>
                  <a:pt x="590" y="376"/>
                </a:lnTo>
                <a:lnTo>
                  <a:pt x="590" y="376"/>
                </a:lnTo>
                <a:lnTo>
                  <a:pt x="593" y="376"/>
                </a:lnTo>
                <a:lnTo>
                  <a:pt x="593" y="376"/>
                </a:lnTo>
                <a:lnTo>
                  <a:pt x="593" y="374"/>
                </a:lnTo>
                <a:lnTo>
                  <a:pt x="593" y="374"/>
                </a:lnTo>
                <a:lnTo>
                  <a:pt x="595" y="374"/>
                </a:lnTo>
                <a:lnTo>
                  <a:pt x="595" y="374"/>
                </a:lnTo>
                <a:lnTo>
                  <a:pt x="598" y="374"/>
                </a:lnTo>
                <a:lnTo>
                  <a:pt x="598" y="374"/>
                </a:lnTo>
                <a:lnTo>
                  <a:pt x="600" y="371"/>
                </a:lnTo>
                <a:lnTo>
                  <a:pt x="600" y="371"/>
                </a:lnTo>
                <a:lnTo>
                  <a:pt x="600" y="369"/>
                </a:lnTo>
                <a:lnTo>
                  <a:pt x="600" y="369"/>
                </a:lnTo>
                <a:lnTo>
                  <a:pt x="600" y="366"/>
                </a:lnTo>
                <a:lnTo>
                  <a:pt x="600" y="366"/>
                </a:lnTo>
                <a:lnTo>
                  <a:pt x="600" y="364"/>
                </a:lnTo>
                <a:lnTo>
                  <a:pt x="600" y="364"/>
                </a:lnTo>
                <a:lnTo>
                  <a:pt x="595" y="359"/>
                </a:lnTo>
                <a:lnTo>
                  <a:pt x="595" y="359"/>
                </a:lnTo>
                <a:lnTo>
                  <a:pt x="593" y="359"/>
                </a:lnTo>
                <a:lnTo>
                  <a:pt x="593" y="359"/>
                </a:lnTo>
                <a:lnTo>
                  <a:pt x="593" y="357"/>
                </a:lnTo>
                <a:lnTo>
                  <a:pt x="593" y="357"/>
                </a:lnTo>
                <a:lnTo>
                  <a:pt x="588" y="352"/>
                </a:lnTo>
                <a:lnTo>
                  <a:pt x="588" y="352"/>
                </a:lnTo>
                <a:lnTo>
                  <a:pt x="588" y="352"/>
                </a:lnTo>
                <a:lnTo>
                  <a:pt x="585" y="352"/>
                </a:lnTo>
                <a:lnTo>
                  <a:pt x="585" y="352"/>
                </a:lnTo>
                <a:lnTo>
                  <a:pt x="580" y="354"/>
                </a:lnTo>
                <a:lnTo>
                  <a:pt x="580" y="354"/>
                </a:lnTo>
                <a:lnTo>
                  <a:pt x="580" y="354"/>
                </a:lnTo>
                <a:lnTo>
                  <a:pt x="576" y="359"/>
                </a:lnTo>
                <a:lnTo>
                  <a:pt x="576" y="359"/>
                </a:lnTo>
                <a:lnTo>
                  <a:pt x="576" y="359"/>
                </a:lnTo>
                <a:lnTo>
                  <a:pt x="576" y="362"/>
                </a:lnTo>
                <a:lnTo>
                  <a:pt x="576" y="362"/>
                </a:lnTo>
                <a:lnTo>
                  <a:pt x="573" y="362"/>
                </a:lnTo>
                <a:lnTo>
                  <a:pt x="573" y="362"/>
                </a:lnTo>
                <a:lnTo>
                  <a:pt x="571" y="364"/>
                </a:lnTo>
                <a:lnTo>
                  <a:pt x="571" y="364"/>
                </a:lnTo>
                <a:lnTo>
                  <a:pt x="571" y="362"/>
                </a:lnTo>
                <a:lnTo>
                  <a:pt x="571" y="362"/>
                </a:lnTo>
                <a:lnTo>
                  <a:pt x="568" y="362"/>
                </a:lnTo>
                <a:lnTo>
                  <a:pt x="568" y="362"/>
                </a:lnTo>
                <a:lnTo>
                  <a:pt x="566" y="362"/>
                </a:lnTo>
                <a:lnTo>
                  <a:pt x="566" y="362"/>
                </a:lnTo>
                <a:lnTo>
                  <a:pt x="563" y="362"/>
                </a:lnTo>
                <a:lnTo>
                  <a:pt x="563" y="362"/>
                </a:lnTo>
                <a:lnTo>
                  <a:pt x="563" y="362"/>
                </a:lnTo>
                <a:lnTo>
                  <a:pt x="558" y="362"/>
                </a:lnTo>
                <a:lnTo>
                  <a:pt x="558" y="362"/>
                </a:lnTo>
                <a:lnTo>
                  <a:pt x="558" y="362"/>
                </a:lnTo>
                <a:lnTo>
                  <a:pt x="558" y="359"/>
                </a:lnTo>
                <a:lnTo>
                  <a:pt x="558" y="359"/>
                </a:lnTo>
                <a:lnTo>
                  <a:pt x="563" y="359"/>
                </a:lnTo>
                <a:lnTo>
                  <a:pt x="563" y="359"/>
                </a:lnTo>
                <a:lnTo>
                  <a:pt x="566" y="357"/>
                </a:lnTo>
                <a:lnTo>
                  <a:pt x="566" y="357"/>
                </a:lnTo>
                <a:lnTo>
                  <a:pt x="568" y="354"/>
                </a:lnTo>
                <a:lnTo>
                  <a:pt x="568" y="354"/>
                </a:lnTo>
                <a:lnTo>
                  <a:pt x="568" y="357"/>
                </a:lnTo>
                <a:lnTo>
                  <a:pt x="568" y="357"/>
                </a:lnTo>
                <a:lnTo>
                  <a:pt x="571" y="352"/>
                </a:lnTo>
                <a:lnTo>
                  <a:pt x="571" y="352"/>
                </a:lnTo>
                <a:lnTo>
                  <a:pt x="571" y="349"/>
                </a:lnTo>
                <a:lnTo>
                  <a:pt x="571" y="349"/>
                </a:lnTo>
                <a:lnTo>
                  <a:pt x="573" y="347"/>
                </a:lnTo>
                <a:lnTo>
                  <a:pt x="573" y="347"/>
                </a:lnTo>
                <a:lnTo>
                  <a:pt x="576" y="347"/>
                </a:lnTo>
                <a:lnTo>
                  <a:pt x="576" y="347"/>
                </a:lnTo>
                <a:lnTo>
                  <a:pt x="578" y="342"/>
                </a:lnTo>
                <a:lnTo>
                  <a:pt x="578" y="342"/>
                </a:lnTo>
                <a:lnTo>
                  <a:pt x="578" y="339"/>
                </a:lnTo>
                <a:lnTo>
                  <a:pt x="578" y="339"/>
                </a:lnTo>
                <a:lnTo>
                  <a:pt x="578" y="337"/>
                </a:lnTo>
                <a:lnTo>
                  <a:pt x="578" y="337"/>
                </a:lnTo>
                <a:lnTo>
                  <a:pt x="578" y="332"/>
                </a:lnTo>
                <a:lnTo>
                  <a:pt x="578" y="332"/>
                </a:lnTo>
                <a:lnTo>
                  <a:pt x="576" y="332"/>
                </a:lnTo>
                <a:lnTo>
                  <a:pt x="576" y="332"/>
                </a:lnTo>
                <a:lnTo>
                  <a:pt x="571" y="334"/>
                </a:lnTo>
                <a:lnTo>
                  <a:pt x="571" y="334"/>
                </a:lnTo>
                <a:lnTo>
                  <a:pt x="563" y="337"/>
                </a:lnTo>
                <a:lnTo>
                  <a:pt x="563" y="337"/>
                </a:lnTo>
                <a:lnTo>
                  <a:pt x="558" y="337"/>
                </a:lnTo>
                <a:lnTo>
                  <a:pt x="558" y="337"/>
                </a:lnTo>
                <a:lnTo>
                  <a:pt x="546" y="339"/>
                </a:lnTo>
                <a:lnTo>
                  <a:pt x="546" y="339"/>
                </a:lnTo>
                <a:lnTo>
                  <a:pt x="534" y="344"/>
                </a:lnTo>
                <a:lnTo>
                  <a:pt x="534" y="344"/>
                </a:lnTo>
                <a:lnTo>
                  <a:pt x="529" y="349"/>
                </a:lnTo>
                <a:lnTo>
                  <a:pt x="529" y="349"/>
                </a:lnTo>
                <a:lnTo>
                  <a:pt x="521" y="349"/>
                </a:lnTo>
                <a:lnTo>
                  <a:pt x="521" y="349"/>
                </a:lnTo>
                <a:lnTo>
                  <a:pt x="509" y="357"/>
                </a:lnTo>
                <a:lnTo>
                  <a:pt x="509" y="357"/>
                </a:lnTo>
                <a:lnTo>
                  <a:pt x="507" y="359"/>
                </a:lnTo>
                <a:lnTo>
                  <a:pt x="507" y="359"/>
                </a:lnTo>
                <a:lnTo>
                  <a:pt x="507" y="362"/>
                </a:lnTo>
                <a:lnTo>
                  <a:pt x="507" y="362"/>
                </a:lnTo>
                <a:lnTo>
                  <a:pt x="509" y="362"/>
                </a:lnTo>
                <a:lnTo>
                  <a:pt x="509" y="362"/>
                </a:lnTo>
                <a:lnTo>
                  <a:pt x="509" y="364"/>
                </a:lnTo>
                <a:lnTo>
                  <a:pt x="509" y="364"/>
                </a:lnTo>
                <a:lnTo>
                  <a:pt x="507" y="364"/>
                </a:lnTo>
                <a:lnTo>
                  <a:pt x="507" y="364"/>
                </a:lnTo>
                <a:lnTo>
                  <a:pt x="504" y="364"/>
                </a:lnTo>
                <a:lnTo>
                  <a:pt x="504" y="364"/>
                </a:lnTo>
                <a:lnTo>
                  <a:pt x="499" y="369"/>
                </a:lnTo>
                <a:lnTo>
                  <a:pt x="499" y="369"/>
                </a:lnTo>
                <a:lnTo>
                  <a:pt x="494" y="369"/>
                </a:lnTo>
                <a:lnTo>
                  <a:pt x="494" y="369"/>
                </a:lnTo>
                <a:lnTo>
                  <a:pt x="492" y="371"/>
                </a:lnTo>
                <a:lnTo>
                  <a:pt x="492" y="371"/>
                </a:lnTo>
                <a:lnTo>
                  <a:pt x="492" y="374"/>
                </a:lnTo>
                <a:lnTo>
                  <a:pt x="492" y="374"/>
                </a:lnTo>
                <a:lnTo>
                  <a:pt x="487" y="376"/>
                </a:lnTo>
                <a:lnTo>
                  <a:pt x="487" y="376"/>
                </a:lnTo>
                <a:lnTo>
                  <a:pt x="487" y="379"/>
                </a:lnTo>
                <a:lnTo>
                  <a:pt x="487" y="379"/>
                </a:lnTo>
                <a:lnTo>
                  <a:pt x="487" y="384"/>
                </a:lnTo>
                <a:lnTo>
                  <a:pt x="487" y="384"/>
                </a:lnTo>
                <a:lnTo>
                  <a:pt x="487" y="384"/>
                </a:lnTo>
                <a:lnTo>
                  <a:pt x="489" y="384"/>
                </a:lnTo>
                <a:lnTo>
                  <a:pt x="489" y="384"/>
                </a:lnTo>
                <a:lnTo>
                  <a:pt x="489" y="386"/>
                </a:lnTo>
                <a:lnTo>
                  <a:pt x="489" y="386"/>
                </a:lnTo>
                <a:lnTo>
                  <a:pt x="489" y="386"/>
                </a:lnTo>
                <a:lnTo>
                  <a:pt x="492" y="386"/>
                </a:lnTo>
                <a:lnTo>
                  <a:pt x="492" y="386"/>
                </a:lnTo>
                <a:lnTo>
                  <a:pt x="494" y="386"/>
                </a:lnTo>
                <a:lnTo>
                  <a:pt x="494" y="386"/>
                </a:lnTo>
                <a:lnTo>
                  <a:pt x="497" y="386"/>
                </a:lnTo>
                <a:lnTo>
                  <a:pt x="497" y="386"/>
                </a:lnTo>
                <a:lnTo>
                  <a:pt x="499" y="386"/>
                </a:lnTo>
                <a:lnTo>
                  <a:pt x="499" y="386"/>
                </a:lnTo>
                <a:lnTo>
                  <a:pt x="499" y="389"/>
                </a:lnTo>
                <a:lnTo>
                  <a:pt x="499" y="389"/>
                </a:lnTo>
                <a:lnTo>
                  <a:pt x="494" y="391"/>
                </a:lnTo>
                <a:lnTo>
                  <a:pt x="494" y="391"/>
                </a:lnTo>
                <a:lnTo>
                  <a:pt x="492" y="389"/>
                </a:lnTo>
                <a:lnTo>
                  <a:pt x="492" y="389"/>
                </a:lnTo>
                <a:lnTo>
                  <a:pt x="489" y="391"/>
                </a:lnTo>
                <a:lnTo>
                  <a:pt x="489" y="391"/>
                </a:lnTo>
                <a:lnTo>
                  <a:pt x="489" y="394"/>
                </a:lnTo>
                <a:lnTo>
                  <a:pt x="489" y="394"/>
                </a:lnTo>
                <a:lnTo>
                  <a:pt x="494" y="396"/>
                </a:lnTo>
                <a:lnTo>
                  <a:pt x="494" y="396"/>
                </a:lnTo>
                <a:lnTo>
                  <a:pt x="497" y="394"/>
                </a:lnTo>
                <a:lnTo>
                  <a:pt x="497" y="394"/>
                </a:lnTo>
                <a:lnTo>
                  <a:pt x="497" y="391"/>
                </a:lnTo>
                <a:lnTo>
                  <a:pt x="497" y="391"/>
                </a:lnTo>
                <a:lnTo>
                  <a:pt x="499" y="391"/>
                </a:lnTo>
                <a:lnTo>
                  <a:pt x="499" y="391"/>
                </a:lnTo>
                <a:lnTo>
                  <a:pt x="502" y="394"/>
                </a:lnTo>
                <a:lnTo>
                  <a:pt x="502" y="394"/>
                </a:lnTo>
                <a:lnTo>
                  <a:pt x="499" y="396"/>
                </a:lnTo>
                <a:lnTo>
                  <a:pt x="499" y="396"/>
                </a:lnTo>
                <a:lnTo>
                  <a:pt x="502" y="396"/>
                </a:lnTo>
                <a:lnTo>
                  <a:pt x="502" y="396"/>
                </a:lnTo>
                <a:lnTo>
                  <a:pt x="507" y="396"/>
                </a:lnTo>
                <a:lnTo>
                  <a:pt x="507" y="396"/>
                </a:lnTo>
                <a:lnTo>
                  <a:pt x="512" y="396"/>
                </a:lnTo>
                <a:lnTo>
                  <a:pt x="512" y="396"/>
                </a:lnTo>
                <a:lnTo>
                  <a:pt x="514" y="396"/>
                </a:lnTo>
                <a:lnTo>
                  <a:pt x="514" y="396"/>
                </a:lnTo>
                <a:lnTo>
                  <a:pt x="519" y="396"/>
                </a:lnTo>
                <a:lnTo>
                  <a:pt x="519" y="396"/>
                </a:lnTo>
                <a:lnTo>
                  <a:pt x="521" y="396"/>
                </a:lnTo>
                <a:lnTo>
                  <a:pt x="521" y="396"/>
                </a:lnTo>
                <a:lnTo>
                  <a:pt x="526" y="398"/>
                </a:lnTo>
                <a:lnTo>
                  <a:pt x="526" y="398"/>
                </a:lnTo>
                <a:lnTo>
                  <a:pt x="526" y="401"/>
                </a:lnTo>
                <a:lnTo>
                  <a:pt x="526" y="401"/>
                </a:lnTo>
                <a:lnTo>
                  <a:pt x="529" y="401"/>
                </a:lnTo>
                <a:lnTo>
                  <a:pt x="529" y="401"/>
                </a:lnTo>
                <a:lnTo>
                  <a:pt x="529" y="401"/>
                </a:lnTo>
                <a:lnTo>
                  <a:pt x="526" y="401"/>
                </a:lnTo>
                <a:lnTo>
                  <a:pt x="526" y="401"/>
                </a:lnTo>
                <a:lnTo>
                  <a:pt x="521" y="398"/>
                </a:lnTo>
                <a:lnTo>
                  <a:pt x="521" y="398"/>
                </a:lnTo>
                <a:lnTo>
                  <a:pt x="517" y="398"/>
                </a:lnTo>
                <a:lnTo>
                  <a:pt x="517" y="398"/>
                </a:lnTo>
                <a:lnTo>
                  <a:pt x="514" y="401"/>
                </a:lnTo>
                <a:lnTo>
                  <a:pt x="514" y="401"/>
                </a:lnTo>
                <a:lnTo>
                  <a:pt x="519" y="401"/>
                </a:lnTo>
                <a:lnTo>
                  <a:pt x="519" y="401"/>
                </a:lnTo>
                <a:lnTo>
                  <a:pt x="519" y="403"/>
                </a:lnTo>
                <a:lnTo>
                  <a:pt x="519" y="403"/>
                </a:lnTo>
                <a:lnTo>
                  <a:pt x="514" y="403"/>
                </a:lnTo>
                <a:lnTo>
                  <a:pt x="514" y="403"/>
                </a:lnTo>
                <a:lnTo>
                  <a:pt x="512" y="401"/>
                </a:lnTo>
                <a:lnTo>
                  <a:pt x="512" y="401"/>
                </a:lnTo>
                <a:lnTo>
                  <a:pt x="507" y="403"/>
                </a:lnTo>
                <a:lnTo>
                  <a:pt x="507" y="403"/>
                </a:lnTo>
                <a:lnTo>
                  <a:pt x="504" y="403"/>
                </a:lnTo>
                <a:lnTo>
                  <a:pt x="504" y="403"/>
                </a:lnTo>
                <a:lnTo>
                  <a:pt x="502" y="403"/>
                </a:lnTo>
                <a:lnTo>
                  <a:pt x="502" y="403"/>
                </a:lnTo>
                <a:lnTo>
                  <a:pt x="499" y="403"/>
                </a:lnTo>
                <a:lnTo>
                  <a:pt x="499" y="403"/>
                </a:lnTo>
                <a:lnTo>
                  <a:pt x="497" y="403"/>
                </a:lnTo>
                <a:lnTo>
                  <a:pt x="497" y="403"/>
                </a:lnTo>
                <a:lnTo>
                  <a:pt x="494" y="403"/>
                </a:lnTo>
                <a:lnTo>
                  <a:pt x="494" y="403"/>
                </a:lnTo>
                <a:lnTo>
                  <a:pt x="487" y="403"/>
                </a:lnTo>
                <a:lnTo>
                  <a:pt x="487" y="403"/>
                </a:lnTo>
                <a:lnTo>
                  <a:pt x="487" y="403"/>
                </a:lnTo>
                <a:lnTo>
                  <a:pt x="482" y="406"/>
                </a:lnTo>
                <a:lnTo>
                  <a:pt x="482" y="406"/>
                </a:lnTo>
                <a:lnTo>
                  <a:pt x="480" y="408"/>
                </a:lnTo>
                <a:lnTo>
                  <a:pt x="480" y="408"/>
                </a:lnTo>
                <a:lnTo>
                  <a:pt x="482" y="418"/>
                </a:lnTo>
                <a:lnTo>
                  <a:pt x="482" y="418"/>
                </a:lnTo>
                <a:lnTo>
                  <a:pt x="482" y="418"/>
                </a:lnTo>
                <a:lnTo>
                  <a:pt x="482" y="423"/>
                </a:lnTo>
                <a:lnTo>
                  <a:pt x="482" y="423"/>
                </a:lnTo>
                <a:lnTo>
                  <a:pt x="480" y="423"/>
                </a:lnTo>
                <a:lnTo>
                  <a:pt x="480" y="423"/>
                </a:lnTo>
                <a:lnTo>
                  <a:pt x="480" y="425"/>
                </a:lnTo>
                <a:lnTo>
                  <a:pt x="480" y="425"/>
                </a:lnTo>
                <a:lnTo>
                  <a:pt x="482" y="425"/>
                </a:lnTo>
                <a:lnTo>
                  <a:pt x="482" y="425"/>
                </a:lnTo>
                <a:lnTo>
                  <a:pt x="485" y="425"/>
                </a:lnTo>
                <a:lnTo>
                  <a:pt x="485" y="425"/>
                </a:lnTo>
                <a:lnTo>
                  <a:pt x="487" y="425"/>
                </a:lnTo>
                <a:lnTo>
                  <a:pt x="487" y="425"/>
                </a:lnTo>
                <a:lnTo>
                  <a:pt x="487" y="428"/>
                </a:lnTo>
                <a:lnTo>
                  <a:pt x="487" y="428"/>
                </a:lnTo>
                <a:lnTo>
                  <a:pt x="492" y="428"/>
                </a:lnTo>
                <a:lnTo>
                  <a:pt x="492" y="428"/>
                </a:lnTo>
                <a:lnTo>
                  <a:pt x="492" y="425"/>
                </a:lnTo>
                <a:lnTo>
                  <a:pt x="492" y="425"/>
                </a:lnTo>
                <a:lnTo>
                  <a:pt x="492" y="425"/>
                </a:lnTo>
                <a:lnTo>
                  <a:pt x="494" y="428"/>
                </a:lnTo>
                <a:lnTo>
                  <a:pt x="494" y="428"/>
                </a:lnTo>
                <a:lnTo>
                  <a:pt x="494" y="428"/>
                </a:lnTo>
                <a:lnTo>
                  <a:pt x="497" y="428"/>
                </a:lnTo>
                <a:lnTo>
                  <a:pt x="497" y="428"/>
                </a:lnTo>
                <a:lnTo>
                  <a:pt x="499" y="428"/>
                </a:lnTo>
                <a:lnTo>
                  <a:pt x="499" y="428"/>
                </a:lnTo>
                <a:lnTo>
                  <a:pt x="499" y="430"/>
                </a:lnTo>
                <a:lnTo>
                  <a:pt x="499" y="430"/>
                </a:lnTo>
                <a:lnTo>
                  <a:pt x="502" y="430"/>
                </a:lnTo>
                <a:lnTo>
                  <a:pt x="502" y="430"/>
                </a:lnTo>
                <a:lnTo>
                  <a:pt x="504" y="430"/>
                </a:lnTo>
                <a:lnTo>
                  <a:pt x="504" y="430"/>
                </a:lnTo>
                <a:lnTo>
                  <a:pt x="504" y="430"/>
                </a:lnTo>
                <a:lnTo>
                  <a:pt x="507" y="433"/>
                </a:lnTo>
                <a:lnTo>
                  <a:pt x="507" y="433"/>
                </a:lnTo>
                <a:lnTo>
                  <a:pt x="509" y="433"/>
                </a:lnTo>
                <a:lnTo>
                  <a:pt x="509" y="433"/>
                </a:lnTo>
                <a:lnTo>
                  <a:pt x="512" y="433"/>
                </a:lnTo>
                <a:lnTo>
                  <a:pt x="512" y="433"/>
                </a:lnTo>
                <a:lnTo>
                  <a:pt x="514" y="433"/>
                </a:lnTo>
                <a:lnTo>
                  <a:pt x="514" y="433"/>
                </a:lnTo>
                <a:lnTo>
                  <a:pt x="517" y="430"/>
                </a:lnTo>
                <a:lnTo>
                  <a:pt x="517" y="430"/>
                </a:lnTo>
                <a:lnTo>
                  <a:pt x="519" y="433"/>
                </a:lnTo>
                <a:lnTo>
                  <a:pt x="519" y="433"/>
                </a:lnTo>
                <a:lnTo>
                  <a:pt x="524" y="433"/>
                </a:lnTo>
                <a:lnTo>
                  <a:pt x="524" y="433"/>
                </a:lnTo>
                <a:lnTo>
                  <a:pt x="526" y="433"/>
                </a:lnTo>
                <a:lnTo>
                  <a:pt x="526" y="433"/>
                </a:lnTo>
                <a:lnTo>
                  <a:pt x="529" y="433"/>
                </a:lnTo>
                <a:lnTo>
                  <a:pt x="529" y="433"/>
                </a:lnTo>
                <a:lnTo>
                  <a:pt x="529" y="435"/>
                </a:lnTo>
                <a:lnTo>
                  <a:pt x="529" y="435"/>
                </a:lnTo>
                <a:lnTo>
                  <a:pt x="531" y="433"/>
                </a:lnTo>
                <a:lnTo>
                  <a:pt x="531" y="433"/>
                </a:lnTo>
                <a:lnTo>
                  <a:pt x="531" y="435"/>
                </a:lnTo>
                <a:lnTo>
                  <a:pt x="531" y="435"/>
                </a:lnTo>
                <a:lnTo>
                  <a:pt x="534" y="438"/>
                </a:lnTo>
                <a:lnTo>
                  <a:pt x="534" y="438"/>
                </a:lnTo>
                <a:lnTo>
                  <a:pt x="534" y="440"/>
                </a:lnTo>
                <a:lnTo>
                  <a:pt x="534" y="440"/>
                </a:lnTo>
                <a:lnTo>
                  <a:pt x="536" y="440"/>
                </a:lnTo>
                <a:lnTo>
                  <a:pt x="536" y="440"/>
                </a:lnTo>
                <a:lnTo>
                  <a:pt x="539" y="440"/>
                </a:lnTo>
                <a:lnTo>
                  <a:pt x="539" y="440"/>
                </a:lnTo>
                <a:lnTo>
                  <a:pt x="541" y="443"/>
                </a:lnTo>
                <a:lnTo>
                  <a:pt x="541" y="443"/>
                </a:lnTo>
                <a:lnTo>
                  <a:pt x="541" y="445"/>
                </a:lnTo>
                <a:lnTo>
                  <a:pt x="541" y="445"/>
                </a:lnTo>
                <a:lnTo>
                  <a:pt x="544" y="445"/>
                </a:lnTo>
                <a:lnTo>
                  <a:pt x="544" y="445"/>
                </a:lnTo>
                <a:lnTo>
                  <a:pt x="544" y="448"/>
                </a:lnTo>
                <a:lnTo>
                  <a:pt x="544" y="448"/>
                </a:lnTo>
                <a:lnTo>
                  <a:pt x="544" y="448"/>
                </a:lnTo>
                <a:lnTo>
                  <a:pt x="544" y="450"/>
                </a:lnTo>
                <a:lnTo>
                  <a:pt x="544" y="450"/>
                </a:lnTo>
                <a:lnTo>
                  <a:pt x="546" y="453"/>
                </a:lnTo>
                <a:lnTo>
                  <a:pt x="546" y="453"/>
                </a:lnTo>
                <a:lnTo>
                  <a:pt x="551" y="455"/>
                </a:lnTo>
                <a:lnTo>
                  <a:pt x="551" y="455"/>
                </a:lnTo>
                <a:lnTo>
                  <a:pt x="551" y="457"/>
                </a:lnTo>
                <a:lnTo>
                  <a:pt x="551" y="457"/>
                </a:lnTo>
                <a:lnTo>
                  <a:pt x="549" y="457"/>
                </a:lnTo>
                <a:lnTo>
                  <a:pt x="549" y="457"/>
                </a:lnTo>
                <a:lnTo>
                  <a:pt x="551" y="460"/>
                </a:lnTo>
                <a:lnTo>
                  <a:pt x="551" y="460"/>
                </a:lnTo>
                <a:lnTo>
                  <a:pt x="549" y="460"/>
                </a:lnTo>
                <a:lnTo>
                  <a:pt x="549" y="460"/>
                </a:lnTo>
                <a:lnTo>
                  <a:pt x="544" y="457"/>
                </a:lnTo>
                <a:lnTo>
                  <a:pt x="544" y="457"/>
                </a:lnTo>
                <a:lnTo>
                  <a:pt x="539" y="455"/>
                </a:lnTo>
                <a:lnTo>
                  <a:pt x="539" y="455"/>
                </a:lnTo>
                <a:lnTo>
                  <a:pt x="536" y="457"/>
                </a:lnTo>
                <a:lnTo>
                  <a:pt x="536" y="457"/>
                </a:lnTo>
                <a:lnTo>
                  <a:pt x="534" y="455"/>
                </a:lnTo>
                <a:lnTo>
                  <a:pt x="534" y="455"/>
                </a:lnTo>
                <a:lnTo>
                  <a:pt x="534" y="457"/>
                </a:lnTo>
                <a:lnTo>
                  <a:pt x="534" y="457"/>
                </a:lnTo>
                <a:lnTo>
                  <a:pt x="531" y="457"/>
                </a:lnTo>
                <a:lnTo>
                  <a:pt x="531" y="457"/>
                </a:lnTo>
                <a:lnTo>
                  <a:pt x="529" y="455"/>
                </a:lnTo>
                <a:lnTo>
                  <a:pt x="529" y="455"/>
                </a:lnTo>
                <a:lnTo>
                  <a:pt x="526" y="455"/>
                </a:lnTo>
                <a:lnTo>
                  <a:pt x="526" y="455"/>
                </a:lnTo>
                <a:lnTo>
                  <a:pt x="526" y="453"/>
                </a:lnTo>
                <a:lnTo>
                  <a:pt x="526" y="453"/>
                </a:lnTo>
                <a:lnTo>
                  <a:pt x="524" y="450"/>
                </a:lnTo>
                <a:lnTo>
                  <a:pt x="524" y="450"/>
                </a:lnTo>
                <a:lnTo>
                  <a:pt x="521" y="453"/>
                </a:lnTo>
                <a:lnTo>
                  <a:pt x="521" y="453"/>
                </a:lnTo>
                <a:lnTo>
                  <a:pt x="519" y="450"/>
                </a:lnTo>
                <a:lnTo>
                  <a:pt x="519" y="450"/>
                </a:lnTo>
                <a:lnTo>
                  <a:pt x="517" y="450"/>
                </a:lnTo>
                <a:lnTo>
                  <a:pt x="517" y="450"/>
                </a:lnTo>
                <a:lnTo>
                  <a:pt x="514" y="448"/>
                </a:lnTo>
                <a:lnTo>
                  <a:pt x="514" y="448"/>
                </a:lnTo>
                <a:lnTo>
                  <a:pt x="514" y="445"/>
                </a:lnTo>
                <a:lnTo>
                  <a:pt x="514" y="445"/>
                </a:lnTo>
                <a:lnTo>
                  <a:pt x="512" y="445"/>
                </a:lnTo>
                <a:lnTo>
                  <a:pt x="512" y="445"/>
                </a:lnTo>
                <a:lnTo>
                  <a:pt x="512" y="445"/>
                </a:lnTo>
                <a:lnTo>
                  <a:pt x="507" y="445"/>
                </a:lnTo>
                <a:lnTo>
                  <a:pt x="507" y="445"/>
                </a:lnTo>
                <a:lnTo>
                  <a:pt x="507" y="445"/>
                </a:lnTo>
                <a:lnTo>
                  <a:pt x="499" y="445"/>
                </a:lnTo>
                <a:lnTo>
                  <a:pt x="499" y="445"/>
                </a:lnTo>
                <a:lnTo>
                  <a:pt x="494" y="445"/>
                </a:lnTo>
                <a:lnTo>
                  <a:pt x="494" y="445"/>
                </a:lnTo>
                <a:lnTo>
                  <a:pt x="492" y="443"/>
                </a:lnTo>
                <a:lnTo>
                  <a:pt x="492" y="443"/>
                </a:lnTo>
                <a:lnTo>
                  <a:pt x="480" y="443"/>
                </a:lnTo>
                <a:lnTo>
                  <a:pt x="480" y="443"/>
                </a:lnTo>
                <a:lnTo>
                  <a:pt x="477" y="445"/>
                </a:lnTo>
                <a:lnTo>
                  <a:pt x="477" y="445"/>
                </a:lnTo>
                <a:lnTo>
                  <a:pt x="475" y="445"/>
                </a:lnTo>
                <a:lnTo>
                  <a:pt x="475" y="445"/>
                </a:lnTo>
                <a:lnTo>
                  <a:pt x="472" y="448"/>
                </a:lnTo>
                <a:lnTo>
                  <a:pt x="472" y="448"/>
                </a:lnTo>
                <a:lnTo>
                  <a:pt x="472" y="453"/>
                </a:lnTo>
                <a:lnTo>
                  <a:pt x="472" y="453"/>
                </a:lnTo>
                <a:lnTo>
                  <a:pt x="470" y="457"/>
                </a:lnTo>
                <a:lnTo>
                  <a:pt x="470" y="457"/>
                </a:lnTo>
                <a:lnTo>
                  <a:pt x="470" y="462"/>
                </a:lnTo>
                <a:lnTo>
                  <a:pt x="470" y="462"/>
                </a:lnTo>
                <a:lnTo>
                  <a:pt x="470" y="462"/>
                </a:lnTo>
                <a:lnTo>
                  <a:pt x="470" y="465"/>
                </a:lnTo>
                <a:lnTo>
                  <a:pt x="470" y="465"/>
                </a:lnTo>
                <a:lnTo>
                  <a:pt x="472" y="465"/>
                </a:lnTo>
                <a:lnTo>
                  <a:pt x="472" y="465"/>
                </a:lnTo>
                <a:lnTo>
                  <a:pt x="472" y="467"/>
                </a:lnTo>
                <a:lnTo>
                  <a:pt x="472" y="467"/>
                </a:lnTo>
                <a:lnTo>
                  <a:pt x="470" y="467"/>
                </a:lnTo>
                <a:lnTo>
                  <a:pt x="470" y="467"/>
                </a:lnTo>
                <a:lnTo>
                  <a:pt x="472" y="475"/>
                </a:lnTo>
                <a:lnTo>
                  <a:pt x="472" y="475"/>
                </a:lnTo>
                <a:lnTo>
                  <a:pt x="475" y="477"/>
                </a:lnTo>
                <a:lnTo>
                  <a:pt x="475" y="477"/>
                </a:lnTo>
                <a:lnTo>
                  <a:pt x="477" y="477"/>
                </a:lnTo>
                <a:lnTo>
                  <a:pt x="477" y="477"/>
                </a:lnTo>
                <a:lnTo>
                  <a:pt x="480" y="480"/>
                </a:lnTo>
                <a:lnTo>
                  <a:pt x="480" y="480"/>
                </a:lnTo>
                <a:lnTo>
                  <a:pt x="482" y="482"/>
                </a:lnTo>
                <a:lnTo>
                  <a:pt x="482" y="482"/>
                </a:lnTo>
                <a:lnTo>
                  <a:pt x="485" y="482"/>
                </a:lnTo>
                <a:lnTo>
                  <a:pt x="485" y="482"/>
                </a:lnTo>
                <a:lnTo>
                  <a:pt x="487" y="482"/>
                </a:lnTo>
                <a:lnTo>
                  <a:pt x="487" y="482"/>
                </a:lnTo>
                <a:lnTo>
                  <a:pt x="487" y="485"/>
                </a:lnTo>
                <a:lnTo>
                  <a:pt x="487" y="485"/>
                </a:lnTo>
                <a:lnTo>
                  <a:pt x="492" y="482"/>
                </a:lnTo>
                <a:lnTo>
                  <a:pt x="492" y="482"/>
                </a:lnTo>
                <a:lnTo>
                  <a:pt x="492" y="482"/>
                </a:lnTo>
                <a:lnTo>
                  <a:pt x="494" y="485"/>
                </a:lnTo>
                <a:lnTo>
                  <a:pt x="494" y="485"/>
                </a:lnTo>
                <a:lnTo>
                  <a:pt x="499" y="485"/>
                </a:lnTo>
                <a:lnTo>
                  <a:pt x="499" y="485"/>
                </a:lnTo>
                <a:lnTo>
                  <a:pt x="499" y="487"/>
                </a:lnTo>
                <a:lnTo>
                  <a:pt x="499" y="487"/>
                </a:lnTo>
                <a:lnTo>
                  <a:pt x="502" y="489"/>
                </a:lnTo>
                <a:lnTo>
                  <a:pt x="502" y="489"/>
                </a:lnTo>
                <a:lnTo>
                  <a:pt x="502" y="489"/>
                </a:lnTo>
                <a:lnTo>
                  <a:pt x="499" y="492"/>
                </a:lnTo>
                <a:lnTo>
                  <a:pt x="499" y="492"/>
                </a:lnTo>
                <a:lnTo>
                  <a:pt x="499" y="494"/>
                </a:lnTo>
                <a:lnTo>
                  <a:pt x="499" y="494"/>
                </a:lnTo>
                <a:lnTo>
                  <a:pt x="499" y="494"/>
                </a:lnTo>
                <a:lnTo>
                  <a:pt x="499" y="497"/>
                </a:lnTo>
                <a:lnTo>
                  <a:pt x="499" y="497"/>
                </a:lnTo>
                <a:lnTo>
                  <a:pt x="497" y="499"/>
                </a:lnTo>
                <a:lnTo>
                  <a:pt x="497" y="499"/>
                </a:lnTo>
                <a:lnTo>
                  <a:pt x="494" y="499"/>
                </a:lnTo>
                <a:lnTo>
                  <a:pt x="494" y="499"/>
                </a:lnTo>
                <a:lnTo>
                  <a:pt x="494" y="502"/>
                </a:lnTo>
                <a:lnTo>
                  <a:pt x="494" y="502"/>
                </a:lnTo>
                <a:lnTo>
                  <a:pt x="492" y="504"/>
                </a:lnTo>
                <a:lnTo>
                  <a:pt x="492" y="504"/>
                </a:lnTo>
                <a:lnTo>
                  <a:pt x="494" y="504"/>
                </a:lnTo>
                <a:lnTo>
                  <a:pt x="494" y="504"/>
                </a:lnTo>
                <a:lnTo>
                  <a:pt x="494" y="509"/>
                </a:lnTo>
                <a:lnTo>
                  <a:pt x="494" y="509"/>
                </a:lnTo>
                <a:lnTo>
                  <a:pt x="497" y="512"/>
                </a:lnTo>
                <a:lnTo>
                  <a:pt x="497" y="512"/>
                </a:lnTo>
                <a:lnTo>
                  <a:pt x="497" y="514"/>
                </a:lnTo>
                <a:lnTo>
                  <a:pt x="497" y="514"/>
                </a:lnTo>
                <a:lnTo>
                  <a:pt x="492" y="514"/>
                </a:lnTo>
                <a:lnTo>
                  <a:pt x="492" y="514"/>
                </a:lnTo>
                <a:lnTo>
                  <a:pt x="494" y="516"/>
                </a:lnTo>
                <a:lnTo>
                  <a:pt x="494" y="516"/>
                </a:lnTo>
                <a:lnTo>
                  <a:pt x="499" y="516"/>
                </a:lnTo>
                <a:lnTo>
                  <a:pt x="499" y="516"/>
                </a:lnTo>
                <a:lnTo>
                  <a:pt x="502" y="516"/>
                </a:lnTo>
                <a:lnTo>
                  <a:pt x="502" y="516"/>
                </a:lnTo>
                <a:lnTo>
                  <a:pt x="502" y="516"/>
                </a:lnTo>
                <a:lnTo>
                  <a:pt x="504" y="519"/>
                </a:lnTo>
                <a:lnTo>
                  <a:pt x="504" y="519"/>
                </a:lnTo>
                <a:lnTo>
                  <a:pt x="504" y="516"/>
                </a:lnTo>
                <a:lnTo>
                  <a:pt x="504" y="516"/>
                </a:lnTo>
                <a:lnTo>
                  <a:pt x="507" y="516"/>
                </a:lnTo>
                <a:lnTo>
                  <a:pt x="507" y="516"/>
                </a:lnTo>
                <a:lnTo>
                  <a:pt x="507" y="516"/>
                </a:lnTo>
                <a:lnTo>
                  <a:pt x="512" y="516"/>
                </a:lnTo>
                <a:lnTo>
                  <a:pt x="512" y="516"/>
                </a:lnTo>
                <a:lnTo>
                  <a:pt x="517" y="519"/>
                </a:lnTo>
                <a:lnTo>
                  <a:pt x="517" y="519"/>
                </a:lnTo>
                <a:lnTo>
                  <a:pt x="519" y="516"/>
                </a:lnTo>
                <a:lnTo>
                  <a:pt x="519" y="516"/>
                </a:lnTo>
                <a:lnTo>
                  <a:pt x="521" y="516"/>
                </a:lnTo>
                <a:lnTo>
                  <a:pt x="521" y="516"/>
                </a:lnTo>
                <a:lnTo>
                  <a:pt x="524" y="519"/>
                </a:lnTo>
                <a:lnTo>
                  <a:pt x="524" y="519"/>
                </a:lnTo>
                <a:lnTo>
                  <a:pt x="524" y="519"/>
                </a:lnTo>
                <a:lnTo>
                  <a:pt x="524" y="519"/>
                </a:lnTo>
                <a:lnTo>
                  <a:pt x="526" y="516"/>
                </a:lnTo>
                <a:lnTo>
                  <a:pt x="526" y="516"/>
                </a:lnTo>
                <a:lnTo>
                  <a:pt x="529" y="519"/>
                </a:lnTo>
                <a:lnTo>
                  <a:pt x="529" y="519"/>
                </a:lnTo>
                <a:lnTo>
                  <a:pt x="529" y="519"/>
                </a:lnTo>
                <a:lnTo>
                  <a:pt x="531" y="519"/>
                </a:lnTo>
                <a:lnTo>
                  <a:pt x="531" y="519"/>
                </a:lnTo>
                <a:lnTo>
                  <a:pt x="531" y="519"/>
                </a:lnTo>
                <a:lnTo>
                  <a:pt x="534" y="519"/>
                </a:lnTo>
                <a:lnTo>
                  <a:pt x="534" y="519"/>
                </a:lnTo>
                <a:lnTo>
                  <a:pt x="534" y="521"/>
                </a:lnTo>
                <a:lnTo>
                  <a:pt x="534" y="521"/>
                </a:lnTo>
                <a:lnTo>
                  <a:pt x="536" y="521"/>
                </a:lnTo>
                <a:lnTo>
                  <a:pt x="536" y="521"/>
                </a:lnTo>
                <a:lnTo>
                  <a:pt x="536" y="521"/>
                </a:lnTo>
                <a:lnTo>
                  <a:pt x="541" y="521"/>
                </a:lnTo>
                <a:lnTo>
                  <a:pt x="541" y="521"/>
                </a:lnTo>
                <a:lnTo>
                  <a:pt x="541" y="519"/>
                </a:lnTo>
                <a:lnTo>
                  <a:pt x="541" y="519"/>
                </a:lnTo>
                <a:lnTo>
                  <a:pt x="546" y="516"/>
                </a:lnTo>
                <a:lnTo>
                  <a:pt x="546" y="516"/>
                </a:lnTo>
                <a:lnTo>
                  <a:pt x="546" y="516"/>
                </a:lnTo>
                <a:lnTo>
                  <a:pt x="551" y="514"/>
                </a:lnTo>
                <a:lnTo>
                  <a:pt x="551" y="514"/>
                </a:lnTo>
                <a:lnTo>
                  <a:pt x="553" y="514"/>
                </a:lnTo>
                <a:lnTo>
                  <a:pt x="553" y="514"/>
                </a:lnTo>
                <a:lnTo>
                  <a:pt x="556" y="512"/>
                </a:lnTo>
                <a:lnTo>
                  <a:pt x="556" y="512"/>
                </a:lnTo>
                <a:lnTo>
                  <a:pt x="558" y="512"/>
                </a:lnTo>
                <a:lnTo>
                  <a:pt x="558" y="512"/>
                </a:lnTo>
                <a:lnTo>
                  <a:pt x="558" y="512"/>
                </a:lnTo>
                <a:lnTo>
                  <a:pt x="563" y="512"/>
                </a:lnTo>
                <a:lnTo>
                  <a:pt x="563" y="512"/>
                </a:lnTo>
                <a:lnTo>
                  <a:pt x="563" y="512"/>
                </a:lnTo>
                <a:lnTo>
                  <a:pt x="566" y="512"/>
                </a:lnTo>
                <a:lnTo>
                  <a:pt x="566" y="512"/>
                </a:lnTo>
                <a:lnTo>
                  <a:pt x="573" y="512"/>
                </a:lnTo>
                <a:lnTo>
                  <a:pt x="573" y="512"/>
                </a:lnTo>
                <a:lnTo>
                  <a:pt x="578" y="509"/>
                </a:lnTo>
                <a:lnTo>
                  <a:pt x="578" y="509"/>
                </a:lnTo>
                <a:lnTo>
                  <a:pt x="580" y="507"/>
                </a:lnTo>
                <a:lnTo>
                  <a:pt x="580" y="507"/>
                </a:lnTo>
                <a:lnTo>
                  <a:pt x="580" y="507"/>
                </a:lnTo>
                <a:lnTo>
                  <a:pt x="580" y="507"/>
                </a:lnTo>
                <a:lnTo>
                  <a:pt x="583" y="507"/>
                </a:lnTo>
                <a:lnTo>
                  <a:pt x="583" y="507"/>
                </a:lnTo>
                <a:lnTo>
                  <a:pt x="585" y="504"/>
                </a:lnTo>
                <a:lnTo>
                  <a:pt x="585" y="504"/>
                </a:lnTo>
                <a:lnTo>
                  <a:pt x="585" y="502"/>
                </a:lnTo>
                <a:lnTo>
                  <a:pt x="585" y="502"/>
                </a:lnTo>
                <a:lnTo>
                  <a:pt x="585" y="502"/>
                </a:lnTo>
                <a:lnTo>
                  <a:pt x="588" y="502"/>
                </a:lnTo>
                <a:lnTo>
                  <a:pt x="588" y="502"/>
                </a:lnTo>
                <a:lnTo>
                  <a:pt x="588" y="502"/>
                </a:lnTo>
                <a:lnTo>
                  <a:pt x="590" y="499"/>
                </a:lnTo>
                <a:lnTo>
                  <a:pt x="590" y="499"/>
                </a:lnTo>
                <a:lnTo>
                  <a:pt x="590" y="499"/>
                </a:lnTo>
                <a:lnTo>
                  <a:pt x="590" y="499"/>
                </a:lnTo>
                <a:lnTo>
                  <a:pt x="593" y="499"/>
                </a:lnTo>
                <a:lnTo>
                  <a:pt x="593" y="499"/>
                </a:lnTo>
                <a:lnTo>
                  <a:pt x="593" y="499"/>
                </a:lnTo>
                <a:lnTo>
                  <a:pt x="593" y="502"/>
                </a:lnTo>
                <a:lnTo>
                  <a:pt x="593" y="502"/>
                </a:lnTo>
                <a:lnTo>
                  <a:pt x="595" y="504"/>
                </a:lnTo>
                <a:lnTo>
                  <a:pt x="595" y="504"/>
                </a:lnTo>
                <a:lnTo>
                  <a:pt x="593" y="504"/>
                </a:lnTo>
                <a:lnTo>
                  <a:pt x="593" y="504"/>
                </a:lnTo>
                <a:lnTo>
                  <a:pt x="593" y="507"/>
                </a:lnTo>
                <a:lnTo>
                  <a:pt x="593" y="507"/>
                </a:lnTo>
                <a:lnTo>
                  <a:pt x="590" y="509"/>
                </a:lnTo>
                <a:lnTo>
                  <a:pt x="590" y="509"/>
                </a:lnTo>
                <a:lnTo>
                  <a:pt x="590" y="509"/>
                </a:lnTo>
                <a:lnTo>
                  <a:pt x="590" y="512"/>
                </a:lnTo>
                <a:lnTo>
                  <a:pt x="590" y="512"/>
                </a:lnTo>
                <a:lnTo>
                  <a:pt x="590" y="512"/>
                </a:lnTo>
                <a:lnTo>
                  <a:pt x="593" y="514"/>
                </a:lnTo>
                <a:lnTo>
                  <a:pt x="593" y="514"/>
                </a:lnTo>
                <a:lnTo>
                  <a:pt x="595" y="512"/>
                </a:lnTo>
                <a:lnTo>
                  <a:pt x="595" y="512"/>
                </a:lnTo>
                <a:lnTo>
                  <a:pt x="598" y="512"/>
                </a:lnTo>
                <a:lnTo>
                  <a:pt x="598" y="512"/>
                </a:lnTo>
                <a:lnTo>
                  <a:pt x="600" y="514"/>
                </a:lnTo>
                <a:lnTo>
                  <a:pt x="600" y="514"/>
                </a:lnTo>
                <a:lnTo>
                  <a:pt x="600" y="516"/>
                </a:lnTo>
                <a:lnTo>
                  <a:pt x="600" y="516"/>
                </a:lnTo>
                <a:lnTo>
                  <a:pt x="600" y="516"/>
                </a:lnTo>
                <a:lnTo>
                  <a:pt x="603" y="516"/>
                </a:lnTo>
                <a:lnTo>
                  <a:pt x="603" y="516"/>
                </a:lnTo>
                <a:lnTo>
                  <a:pt x="603" y="514"/>
                </a:lnTo>
                <a:lnTo>
                  <a:pt x="603" y="514"/>
                </a:lnTo>
                <a:lnTo>
                  <a:pt x="605" y="516"/>
                </a:lnTo>
                <a:lnTo>
                  <a:pt x="605" y="516"/>
                </a:lnTo>
                <a:lnTo>
                  <a:pt x="605" y="519"/>
                </a:lnTo>
                <a:lnTo>
                  <a:pt x="605" y="519"/>
                </a:lnTo>
                <a:lnTo>
                  <a:pt x="603" y="519"/>
                </a:lnTo>
                <a:lnTo>
                  <a:pt x="603" y="519"/>
                </a:lnTo>
                <a:lnTo>
                  <a:pt x="600" y="519"/>
                </a:lnTo>
                <a:lnTo>
                  <a:pt x="600" y="519"/>
                </a:lnTo>
                <a:lnTo>
                  <a:pt x="598" y="521"/>
                </a:lnTo>
                <a:lnTo>
                  <a:pt x="598" y="521"/>
                </a:lnTo>
                <a:lnTo>
                  <a:pt x="598" y="524"/>
                </a:lnTo>
                <a:lnTo>
                  <a:pt x="598" y="524"/>
                </a:lnTo>
                <a:lnTo>
                  <a:pt x="600" y="524"/>
                </a:lnTo>
                <a:lnTo>
                  <a:pt x="600" y="524"/>
                </a:lnTo>
                <a:lnTo>
                  <a:pt x="603" y="524"/>
                </a:lnTo>
                <a:lnTo>
                  <a:pt x="603" y="524"/>
                </a:lnTo>
                <a:lnTo>
                  <a:pt x="605" y="526"/>
                </a:lnTo>
                <a:lnTo>
                  <a:pt x="605" y="526"/>
                </a:lnTo>
                <a:lnTo>
                  <a:pt x="608" y="524"/>
                </a:lnTo>
                <a:lnTo>
                  <a:pt x="608" y="524"/>
                </a:lnTo>
                <a:lnTo>
                  <a:pt x="610" y="521"/>
                </a:lnTo>
                <a:lnTo>
                  <a:pt x="610" y="521"/>
                </a:lnTo>
                <a:lnTo>
                  <a:pt x="610" y="521"/>
                </a:lnTo>
                <a:lnTo>
                  <a:pt x="610" y="524"/>
                </a:lnTo>
                <a:lnTo>
                  <a:pt x="610" y="524"/>
                </a:lnTo>
                <a:lnTo>
                  <a:pt x="612" y="526"/>
                </a:lnTo>
                <a:lnTo>
                  <a:pt x="612" y="526"/>
                </a:lnTo>
                <a:lnTo>
                  <a:pt x="612" y="529"/>
                </a:lnTo>
                <a:lnTo>
                  <a:pt x="612" y="529"/>
                </a:lnTo>
                <a:lnTo>
                  <a:pt x="615" y="526"/>
                </a:lnTo>
                <a:lnTo>
                  <a:pt x="615" y="526"/>
                </a:lnTo>
                <a:lnTo>
                  <a:pt x="617" y="526"/>
                </a:lnTo>
                <a:lnTo>
                  <a:pt x="617" y="526"/>
                </a:lnTo>
                <a:lnTo>
                  <a:pt x="617" y="529"/>
                </a:lnTo>
                <a:lnTo>
                  <a:pt x="617" y="529"/>
                </a:lnTo>
                <a:lnTo>
                  <a:pt x="620" y="529"/>
                </a:lnTo>
                <a:lnTo>
                  <a:pt x="620" y="529"/>
                </a:lnTo>
                <a:lnTo>
                  <a:pt x="622" y="531"/>
                </a:lnTo>
                <a:lnTo>
                  <a:pt x="622" y="531"/>
                </a:lnTo>
                <a:lnTo>
                  <a:pt x="622" y="531"/>
                </a:lnTo>
                <a:lnTo>
                  <a:pt x="622" y="529"/>
                </a:lnTo>
                <a:lnTo>
                  <a:pt x="622" y="529"/>
                </a:lnTo>
                <a:lnTo>
                  <a:pt x="625" y="529"/>
                </a:lnTo>
                <a:lnTo>
                  <a:pt x="625" y="529"/>
                </a:lnTo>
                <a:lnTo>
                  <a:pt x="627" y="529"/>
                </a:lnTo>
                <a:lnTo>
                  <a:pt x="627" y="529"/>
                </a:lnTo>
                <a:lnTo>
                  <a:pt x="627" y="529"/>
                </a:lnTo>
                <a:lnTo>
                  <a:pt x="627" y="531"/>
                </a:lnTo>
                <a:lnTo>
                  <a:pt x="627" y="531"/>
                </a:lnTo>
                <a:lnTo>
                  <a:pt x="630" y="531"/>
                </a:lnTo>
                <a:lnTo>
                  <a:pt x="630" y="531"/>
                </a:lnTo>
                <a:lnTo>
                  <a:pt x="632" y="531"/>
                </a:lnTo>
                <a:lnTo>
                  <a:pt x="632" y="531"/>
                </a:lnTo>
                <a:lnTo>
                  <a:pt x="632" y="529"/>
                </a:lnTo>
                <a:lnTo>
                  <a:pt x="632" y="529"/>
                </a:lnTo>
                <a:lnTo>
                  <a:pt x="635" y="529"/>
                </a:lnTo>
                <a:lnTo>
                  <a:pt x="635" y="529"/>
                </a:lnTo>
                <a:lnTo>
                  <a:pt x="635" y="531"/>
                </a:lnTo>
                <a:lnTo>
                  <a:pt x="635" y="531"/>
                </a:lnTo>
                <a:lnTo>
                  <a:pt x="635" y="531"/>
                </a:lnTo>
                <a:lnTo>
                  <a:pt x="637" y="529"/>
                </a:lnTo>
                <a:lnTo>
                  <a:pt x="637" y="529"/>
                </a:lnTo>
                <a:lnTo>
                  <a:pt x="637" y="529"/>
                </a:lnTo>
                <a:lnTo>
                  <a:pt x="640" y="529"/>
                </a:lnTo>
                <a:lnTo>
                  <a:pt x="640" y="529"/>
                </a:lnTo>
                <a:lnTo>
                  <a:pt x="642" y="529"/>
                </a:lnTo>
                <a:lnTo>
                  <a:pt x="642" y="529"/>
                </a:lnTo>
                <a:lnTo>
                  <a:pt x="642" y="529"/>
                </a:lnTo>
                <a:lnTo>
                  <a:pt x="642" y="529"/>
                </a:lnTo>
                <a:lnTo>
                  <a:pt x="644" y="529"/>
                </a:lnTo>
                <a:lnTo>
                  <a:pt x="644" y="529"/>
                </a:lnTo>
                <a:close/>
                <a:moveTo>
                  <a:pt x="932" y="637"/>
                </a:moveTo>
                <a:lnTo>
                  <a:pt x="932" y="637"/>
                </a:lnTo>
                <a:lnTo>
                  <a:pt x="935" y="635"/>
                </a:lnTo>
                <a:lnTo>
                  <a:pt x="935" y="635"/>
                </a:lnTo>
                <a:lnTo>
                  <a:pt x="932" y="632"/>
                </a:lnTo>
                <a:lnTo>
                  <a:pt x="932" y="632"/>
                </a:lnTo>
                <a:lnTo>
                  <a:pt x="932" y="630"/>
                </a:lnTo>
                <a:lnTo>
                  <a:pt x="932" y="630"/>
                </a:lnTo>
                <a:lnTo>
                  <a:pt x="932" y="627"/>
                </a:lnTo>
                <a:lnTo>
                  <a:pt x="932" y="627"/>
                </a:lnTo>
                <a:lnTo>
                  <a:pt x="937" y="622"/>
                </a:lnTo>
                <a:lnTo>
                  <a:pt x="937" y="622"/>
                </a:lnTo>
                <a:lnTo>
                  <a:pt x="940" y="620"/>
                </a:lnTo>
                <a:lnTo>
                  <a:pt x="940" y="620"/>
                </a:lnTo>
                <a:lnTo>
                  <a:pt x="942" y="617"/>
                </a:lnTo>
                <a:lnTo>
                  <a:pt x="942" y="617"/>
                </a:lnTo>
                <a:lnTo>
                  <a:pt x="947" y="610"/>
                </a:lnTo>
                <a:lnTo>
                  <a:pt x="947" y="610"/>
                </a:lnTo>
                <a:lnTo>
                  <a:pt x="949" y="610"/>
                </a:lnTo>
                <a:lnTo>
                  <a:pt x="949" y="610"/>
                </a:lnTo>
                <a:lnTo>
                  <a:pt x="949" y="610"/>
                </a:lnTo>
                <a:lnTo>
                  <a:pt x="952" y="607"/>
                </a:lnTo>
                <a:lnTo>
                  <a:pt x="952" y="607"/>
                </a:lnTo>
                <a:lnTo>
                  <a:pt x="954" y="607"/>
                </a:lnTo>
                <a:lnTo>
                  <a:pt x="954" y="607"/>
                </a:lnTo>
                <a:lnTo>
                  <a:pt x="957" y="607"/>
                </a:lnTo>
                <a:lnTo>
                  <a:pt x="957" y="607"/>
                </a:lnTo>
                <a:lnTo>
                  <a:pt x="959" y="607"/>
                </a:lnTo>
                <a:lnTo>
                  <a:pt x="959" y="607"/>
                </a:lnTo>
                <a:lnTo>
                  <a:pt x="962" y="610"/>
                </a:lnTo>
                <a:lnTo>
                  <a:pt x="962" y="610"/>
                </a:lnTo>
                <a:lnTo>
                  <a:pt x="962" y="610"/>
                </a:lnTo>
                <a:lnTo>
                  <a:pt x="964" y="612"/>
                </a:lnTo>
                <a:lnTo>
                  <a:pt x="964" y="612"/>
                </a:lnTo>
                <a:lnTo>
                  <a:pt x="967" y="615"/>
                </a:lnTo>
                <a:lnTo>
                  <a:pt x="967" y="615"/>
                </a:lnTo>
                <a:lnTo>
                  <a:pt x="967" y="617"/>
                </a:lnTo>
                <a:lnTo>
                  <a:pt x="967" y="617"/>
                </a:lnTo>
                <a:lnTo>
                  <a:pt x="964" y="620"/>
                </a:lnTo>
                <a:lnTo>
                  <a:pt x="964" y="620"/>
                </a:lnTo>
                <a:lnTo>
                  <a:pt x="962" y="622"/>
                </a:lnTo>
                <a:lnTo>
                  <a:pt x="962" y="622"/>
                </a:lnTo>
                <a:lnTo>
                  <a:pt x="962" y="625"/>
                </a:lnTo>
                <a:lnTo>
                  <a:pt x="962" y="625"/>
                </a:lnTo>
                <a:lnTo>
                  <a:pt x="957" y="632"/>
                </a:lnTo>
                <a:lnTo>
                  <a:pt x="957" y="632"/>
                </a:lnTo>
                <a:lnTo>
                  <a:pt x="957" y="635"/>
                </a:lnTo>
                <a:lnTo>
                  <a:pt x="957" y="635"/>
                </a:lnTo>
                <a:lnTo>
                  <a:pt x="954" y="635"/>
                </a:lnTo>
                <a:lnTo>
                  <a:pt x="954" y="635"/>
                </a:lnTo>
                <a:lnTo>
                  <a:pt x="949" y="637"/>
                </a:lnTo>
                <a:lnTo>
                  <a:pt x="949" y="637"/>
                </a:lnTo>
                <a:lnTo>
                  <a:pt x="949" y="637"/>
                </a:lnTo>
                <a:lnTo>
                  <a:pt x="947" y="639"/>
                </a:lnTo>
                <a:lnTo>
                  <a:pt x="947" y="639"/>
                </a:lnTo>
                <a:lnTo>
                  <a:pt x="945" y="639"/>
                </a:lnTo>
                <a:lnTo>
                  <a:pt x="945" y="639"/>
                </a:lnTo>
                <a:lnTo>
                  <a:pt x="942" y="639"/>
                </a:lnTo>
                <a:lnTo>
                  <a:pt x="942" y="639"/>
                </a:lnTo>
                <a:lnTo>
                  <a:pt x="937" y="639"/>
                </a:lnTo>
                <a:lnTo>
                  <a:pt x="937" y="639"/>
                </a:lnTo>
                <a:lnTo>
                  <a:pt x="935" y="639"/>
                </a:lnTo>
                <a:lnTo>
                  <a:pt x="935" y="639"/>
                </a:lnTo>
                <a:lnTo>
                  <a:pt x="932" y="639"/>
                </a:lnTo>
                <a:lnTo>
                  <a:pt x="932" y="639"/>
                </a:lnTo>
                <a:lnTo>
                  <a:pt x="932" y="637"/>
                </a:lnTo>
                <a:lnTo>
                  <a:pt x="932" y="637"/>
                </a:lnTo>
                <a:close/>
                <a:moveTo>
                  <a:pt x="659" y="519"/>
                </a:moveTo>
                <a:lnTo>
                  <a:pt x="659" y="519"/>
                </a:lnTo>
                <a:lnTo>
                  <a:pt x="659" y="519"/>
                </a:lnTo>
                <a:lnTo>
                  <a:pt x="659" y="516"/>
                </a:lnTo>
                <a:lnTo>
                  <a:pt x="659" y="516"/>
                </a:lnTo>
                <a:lnTo>
                  <a:pt x="662" y="516"/>
                </a:lnTo>
                <a:lnTo>
                  <a:pt x="662" y="516"/>
                </a:lnTo>
                <a:lnTo>
                  <a:pt x="659" y="514"/>
                </a:lnTo>
                <a:lnTo>
                  <a:pt x="659" y="514"/>
                </a:lnTo>
                <a:lnTo>
                  <a:pt x="659" y="512"/>
                </a:lnTo>
                <a:lnTo>
                  <a:pt x="659" y="512"/>
                </a:lnTo>
                <a:lnTo>
                  <a:pt x="662" y="512"/>
                </a:lnTo>
                <a:lnTo>
                  <a:pt x="662" y="512"/>
                </a:lnTo>
                <a:lnTo>
                  <a:pt x="662" y="514"/>
                </a:lnTo>
                <a:lnTo>
                  <a:pt x="662" y="514"/>
                </a:lnTo>
                <a:lnTo>
                  <a:pt x="664" y="514"/>
                </a:lnTo>
                <a:lnTo>
                  <a:pt x="664" y="514"/>
                </a:lnTo>
                <a:lnTo>
                  <a:pt x="664" y="516"/>
                </a:lnTo>
                <a:lnTo>
                  <a:pt x="664" y="516"/>
                </a:lnTo>
                <a:lnTo>
                  <a:pt x="662" y="519"/>
                </a:lnTo>
                <a:lnTo>
                  <a:pt x="662" y="519"/>
                </a:lnTo>
                <a:lnTo>
                  <a:pt x="662" y="519"/>
                </a:lnTo>
                <a:lnTo>
                  <a:pt x="659" y="519"/>
                </a:lnTo>
                <a:lnTo>
                  <a:pt x="659" y="519"/>
                </a:lnTo>
                <a:lnTo>
                  <a:pt x="659" y="519"/>
                </a:lnTo>
                <a:close/>
                <a:moveTo>
                  <a:pt x="632" y="544"/>
                </a:moveTo>
                <a:lnTo>
                  <a:pt x="632" y="544"/>
                </a:lnTo>
                <a:lnTo>
                  <a:pt x="635" y="541"/>
                </a:lnTo>
                <a:lnTo>
                  <a:pt x="635" y="541"/>
                </a:lnTo>
                <a:lnTo>
                  <a:pt x="635" y="541"/>
                </a:lnTo>
                <a:lnTo>
                  <a:pt x="635" y="539"/>
                </a:lnTo>
                <a:lnTo>
                  <a:pt x="635" y="539"/>
                </a:lnTo>
                <a:lnTo>
                  <a:pt x="637" y="536"/>
                </a:lnTo>
                <a:lnTo>
                  <a:pt x="637" y="536"/>
                </a:lnTo>
                <a:lnTo>
                  <a:pt x="635" y="536"/>
                </a:lnTo>
                <a:lnTo>
                  <a:pt x="635" y="536"/>
                </a:lnTo>
                <a:lnTo>
                  <a:pt x="632" y="539"/>
                </a:lnTo>
                <a:lnTo>
                  <a:pt x="632" y="539"/>
                </a:lnTo>
                <a:lnTo>
                  <a:pt x="632" y="539"/>
                </a:lnTo>
                <a:lnTo>
                  <a:pt x="630" y="539"/>
                </a:lnTo>
                <a:lnTo>
                  <a:pt x="630" y="539"/>
                </a:lnTo>
                <a:lnTo>
                  <a:pt x="630" y="539"/>
                </a:lnTo>
                <a:lnTo>
                  <a:pt x="632" y="544"/>
                </a:lnTo>
                <a:lnTo>
                  <a:pt x="632" y="544"/>
                </a:lnTo>
                <a:lnTo>
                  <a:pt x="632" y="544"/>
                </a:lnTo>
                <a:close/>
                <a:moveTo>
                  <a:pt x="664" y="539"/>
                </a:moveTo>
                <a:lnTo>
                  <a:pt x="664" y="539"/>
                </a:lnTo>
                <a:lnTo>
                  <a:pt x="662" y="539"/>
                </a:lnTo>
                <a:lnTo>
                  <a:pt x="662" y="539"/>
                </a:lnTo>
                <a:lnTo>
                  <a:pt x="659" y="541"/>
                </a:lnTo>
                <a:lnTo>
                  <a:pt x="659" y="541"/>
                </a:lnTo>
                <a:lnTo>
                  <a:pt x="659" y="544"/>
                </a:lnTo>
                <a:lnTo>
                  <a:pt x="659" y="544"/>
                </a:lnTo>
                <a:lnTo>
                  <a:pt x="657" y="541"/>
                </a:lnTo>
                <a:lnTo>
                  <a:pt x="657" y="541"/>
                </a:lnTo>
                <a:lnTo>
                  <a:pt x="657" y="539"/>
                </a:lnTo>
                <a:lnTo>
                  <a:pt x="657" y="539"/>
                </a:lnTo>
                <a:lnTo>
                  <a:pt x="659" y="534"/>
                </a:lnTo>
                <a:lnTo>
                  <a:pt x="659" y="534"/>
                </a:lnTo>
                <a:lnTo>
                  <a:pt x="659" y="531"/>
                </a:lnTo>
                <a:lnTo>
                  <a:pt x="659" y="531"/>
                </a:lnTo>
                <a:lnTo>
                  <a:pt x="662" y="531"/>
                </a:lnTo>
                <a:lnTo>
                  <a:pt x="662" y="531"/>
                </a:lnTo>
                <a:lnTo>
                  <a:pt x="664" y="531"/>
                </a:lnTo>
                <a:lnTo>
                  <a:pt x="664" y="531"/>
                </a:lnTo>
                <a:lnTo>
                  <a:pt x="664" y="531"/>
                </a:lnTo>
                <a:lnTo>
                  <a:pt x="664" y="534"/>
                </a:lnTo>
                <a:lnTo>
                  <a:pt x="664" y="534"/>
                </a:lnTo>
                <a:lnTo>
                  <a:pt x="664" y="539"/>
                </a:lnTo>
                <a:lnTo>
                  <a:pt x="664" y="539"/>
                </a:lnTo>
                <a:close/>
                <a:moveTo>
                  <a:pt x="667" y="534"/>
                </a:moveTo>
                <a:lnTo>
                  <a:pt x="667" y="534"/>
                </a:lnTo>
                <a:lnTo>
                  <a:pt x="667" y="531"/>
                </a:lnTo>
                <a:lnTo>
                  <a:pt x="667" y="531"/>
                </a:lnTo>
                <a:lnTo>
                  <a:pt x="667" y="531"/>
                </a:lnTo>
                <a:lnTo>
                  <a:pt x="667" y="526"/>
                </a:lnTo>
                <a:lnTo>
                  <a:pt x="667" y="526"/>
                </a:lnTo>
                <a:lnTo>
                  <a:pt x="669" y="526"/>
                </a:lnTo>
                <a:lnTo>
                  <a:pt x="669" y="526"/>
                </a:lnTo>
                <a:lnTo>
                  <a:pt x="672" y="529"/>
                </a:lnTo>
                <a:lnTo>
                  <a:pt x="672" y="529"/>
                </a:lnTo>
                <a:lnTo>
                  <a:pt x="669" y="531"/>
                </a:lnTo>
                <a:lnTo>
                  <a:pt x="669" y="531"/>
                </a:lnTo>
                <a:lnTo>
                  <a:pt x="669" y="534"/>
                </a:lnTo>
                <a:lnTo>
                  <a:pt x="667" y="534"/>
                </a:lnTo>
                <a:lnTo>
                  <a:pt x="667" y="534"/>
                </a:lnTo>
                <a:close/>
                <a:moveTo>
                  <a:pt x="723" y="534"/>
                </a:moveTo>
                <a:lnTo>
                  <a:pt x="723" y="534"/>
                </a:lnTo>
                <a:lnTo>
                  <a:pt x="726" y="529"/>
                </a:lnTo>
                <a:lnTo>
                  <a:pt x="726" y="529"/>
                </a:lnTo>
                <a:lnTo>
                  <a:pt x="728" y="526"/>
                </a:lnTo>
                <a:lnTo>
                  <a:pt x="728" y="526"/>
                </a:lnTo>
                <a:lnTo>
                  <a:pt x="733" y="529"/>
                </a:lnTo>
                <a:lnTo>
                  <a:pt x="733" y="529"/>
                </a:lnTo>
                <a:lnTo>
                  <a:pt x="733" y="531"/>
                </a:lnTo>
                <a:lnTo>
                  <a:pt x="733" y="531"/>
                </a:lnTo>
                <a:lnTo>
                  <a:pt x="731" y="536"/>
                </a:lnTo>
                <a:lnTo>
                  <a:pt x="731" y="536"/>
                </a:lnTo>
                <a:lnTo>
                  <a:pt x="728" y="536"/>
                </a:lnTo>
                <a:lnTo>
                  <a:pt x="728" y="536"/>
                </a:lnTo>
                <a:lnTo>
                  <a:pt x="728" y="534"/>
                </a:lnTo>
                <a:lnTo>
                  <a:pt x="728" y="534"/>
                </a:lnTo>
                <a:lnTo>
                  <a:pt x="728" y="531"/>
                </a:lnTo>
                <a:lnTo>
                  <a:pt x="728" y="531"/>
                </a:lnTo>
                <a:lnTo>
                  <a:pt x="726" y="534"/>
                </a:lnTo>
                <a:lnTo>
                  <a:pt x="726" y="534"/>
                </a:lnTo>
                <a:lnTo>
                  <a:pt x="723" y="534"/>
                </a:lnTo>
                <a:lnTo>
                  <a:pt x="723" y="534"/>
                </a:lnTo>
                <a:close/>
                <a:moveTo>
                  <a:pt x="721" y="531"/>
                </a:moveTo>
                <a:lnTo>
                  <a:pt x="721" y="531"/>
                </a:lnTo>
                <a:lnTo>
                  <a:pt x="723" y="531"/>
                </a:lnTo>
                <a:lnTo>
                  <a:pt x="723" y="531"/>
                </a:lnTo>
                <a:lnTo>
                  <a:pt x="726" y="529"/>
                </a:lnTo>
                <a:lnTo>
                  <a:pt x="726" y="529"/>
                </a:lnTo>
                <a:lnTo>
                  <a:pt x="723" y="524"/>
                </a:lnTo>
                <a:lnTo>
                  <a:pt x="723" y="524"/>
                </a:lnTo>
                <a:lnTo>
                  <a:pt x="721" y="526"/>
                </a:lnTo>
                <a:lnTo>
                  <a:pt x="721" y="526"/>
                </a:lnTo>
                <a:lnTo>
                  <a:pt x="721" y="531"/>
                </a:lnTo>
                <a:lnTo>
                  <a:pt x="721" y="531"/>
                </a:lnTo>
                <a:close/>
                <a:moveTo>
                  <a:pt x="721" y="558"/>
                </a:moveTo>
                <a:lnTo>
                  <a:pt x="721" y="558"/>
                </a:lnTo>
                <a:lnTo>
                  <a:pt x="721" y="556"/>
                </a:lnTo>
                <a:lnTo>
                  <a:pt x="721" y="556"/>
                </a:lnTo>
                <a:lnTo>
                  <a:pt x="726" y="553"/>
                </a:lnTo>
                <a:lnTo>
                  <a:pt x="726" y="553"/>
                </a:lnTo>
                <a:lnTo>
                  <a:pt x="726" y="551"/>
                </a:lnTo>
                <a:lnTo>
                  <a:pt x="726" y="551"/>
                </a:lnTo>
                <a:lnTo>
                  <a:pt x="721" y="553"/>
                </a:lnTo>
                <a:lnTo>
                  <a:pt x="721" y="553"/>
                </a:lnTo>
                <a:lnTo>
                  <a:pt x="721" y="551"/>
                </a:lnTo>
                <a:lnTo>
                  <a:pt x="721" y="551"/>
                </a:lnTo>
                <a:lnTo>
                  <a:pt x="723" y="544"/>
                </a:lnTo>
                <a:lnTo>
                  <a:pt x="723" y="544"/>
                </a:lnTo>
                <a:lnTo>
                  <a:pt x="723" y="541"/>
                </a:lnTo>
                <a:lnTo>
                  <a:pt x="723" y="541"/>
                </a:lnTo>
                <a:lnTo>
                  <a:pt x="721" y="544"/>
                </a:lnTo>
                <a:lnTo>
                  <a:pt x="721" y="544"/>
                </a:lnTo>
                <a:lnTo>
                  <a:pt x="718" y="546"/>
                </a:lnTo>
                <a:lnTo>
                  <a:pt x="718" y="546"/>
                </a:lnTo>
                <a:lnTo>
                  <a:pt x="718" y="544"/>
                </a:lnTo>
                <a:lnTo>
                  <a:pt x="718" y="544"/>
                </a:lnTo>
                <a:lnTo>
                  <a:pt x="721" y="536"/>
                </a:lnTo>
                <a:lnTo>
                  <a:pt x="721" y="536"/>
                </a:lnTo>
                <a:lnTo>
                  <a:pt x="718" y="526"/>
                </a:lnTo>
                <a:lnTo>
                  <a:pt x="718" y="526"/>
                </a:lnTo>
                <a:lnTo>
                  <a:pt x="716" y="524"/>
                </a:lnTo>
                <a:lnTo>
                  <a:pt x="716" y="524"/>
                </a:lnTo>
                <a:lnTo>
                  <a:pt x="716" y="521"/>
                </a:lnTo>
                <a:lnTo>
                  <a:pt x="716" y="521"/>
                </a:lnTo>
                <a:lnTo>
                  <a:pt x="713" y="521"/>
                </a:lnTo>
                <a:lnTo>
                  <a:pt x="713" y="521"/>
                </a:lnTo>
                <a:lnTo>
                  <a:pt x="711" y="524"/>
                </a:lnTo>
                <a:lnTo>
                  <a:pt x="711" y="524"/>
                </a:lnTo>
                <a:lnTo>
                  <a:pt x="711" y="519"/>
                </a:lnTo>
                <a:lnTo>
                  <a:pt x="711" y="519"/>
                </a:lnTo>
                <a:lnTo>
                  <a:pt x="713" y="519"/>
                </a:lnTo>
                <a:lnTo>
                  <a:pt x="713" y="519"/>
                </a:lnTo>
                <a:lnTo>
                  <a:pt x="711" y="514"/>
                </a:lnTo>
                <a:lnTo>
                  <a:pt x="711" y="514"/>
                </a:lnTo>
                <a:lnTo>
                  <a:pt x="711" y="512"/>
                </a:lnTo>
                <a:lnTo>
                  <a:pt x="711" y="512"/>
                </a:lnTo>
                <a:lnTo>
                  <a:pt x="711" y="509"/>
                </a:lnTo>
                <a:lnTo>
                  <a:pt x="711" y="509"/>
                </a:lnTo>
                <a:lnTo>
                  <a:pt x="708" y="512"/>
                </a:lnTo>
                <a:lnTo>
                  <a:pt x="708" y="512"/>
                </a:lnTo>
                <a:lnTo>
                  <a:pt x="703" y="514"/>
                </a:lnTo>
                <a:lnTo>
                  <a:pt x="703" y="514"/>
                </a:lnTo>
                <a:lnTo>
                  <a:pt x="701" y="519"/>
                </a:lnTo>
                <a:lnTo>
                  <a:pt x="701" y="519"/>
                </a:lnTo>
                <a:lnTo>
                  <a:pt x="701" y="524"/>
                </a:lnTo>
                <a:lnTo>
                  <a:pt x="701" y="524"/>
                </a:lnTo>
                <a:lnTo>
                  <a:pt x="699" y="524"/>
                </a:lnTo>
                <a:lnTo>
                  <a:pt x="699" y="524"/>
                </a:lnTo>
                <a:lnTo>
                  <a:pt x="699" y="519"/>
                </a:lnTo>
                <a:lnTo>
                  <a:pt x="699" y="519"/>
                </a:lnTo>
                <a:lnTo>
                  <a:pt x="696" y="519"/>
                </a:lnTo>
                <a:lnTo>
                  <a:pt x="696" y="519"/>
                </a:lnTo>
                <a:lnTo>
                  <a:pt x="696" y="524"/>
                </a:lnTo>
                <a:lnTo>
                  <a:pt x="696" y="524"/>
                </a:lnTo>
                <a:lnTo>
                  <a:pt x="694" y="524"/>
                </a:lnTo>
                <a:lnTo>
                  <a:pt x="694" y="524"/>
                </a:lnTo>
                <a:lnTo>
                  <a:pt x="696" y="526"/>
                </a:lnTo>
                <a:lnTo>
                  <a:pt x="696" y="526"/>
                </a:lnTo>
                <a:lnTo>
                  <a:pt x="694" y="529"/>
                </a:lnTo>
                <a:lnTo>
                  <a:pt x="694" y="529"/>
                </a:lnTo>
                <a:lnTo>
                  <a:pt x="691" y="529"/>
                </a:lnTo>
                <a:lnTo>
                  <a:pt x="691" y="529"/>
                </a:lnTo>
                <a:lnTo>
                  <a:pt x="689" y="531"/>
                </a:lnTo>
                <a:lnTo>
                  <a:pt x="689" y="531"/>
                </a:lnTo>
                <a:lnTo>
                  <a:pt x="684" y="531"/>
                </a:lnTo>
                <a:lnTo>
                  <a:pt x="684" y="531"/>
                </a:lnTo>
                <a:lnTo>
                  <a:pt x="684" y="531"/>
                </a:lnTo>
                <a:lnTo>
                  <a:pt x="681" y="531"/>
                </a:lnTo>
                <a:lnTo>
                  <a:pt x="681" y="531"/>
                </a:lnTo>
                <a:lnTo>
                  <a:pt x="674" y="536"/>
                </a:lnTo>
                <a:lnTo>
                  <a:pt x="674" y="536"/>
                </a:lnTo>
                <a:lnTo>
                  <a:pt x="674" y="539"/>
                </a:lnTo>
                <a:lnTo>
                  <a:pt x="674" y="539"/>
                </a:lnTo>
                <a:lnTo>
                  <a:pt x="679" y="544"/>
                </a:lnTo>
                <a:lnTo>
                  <a:pt x="679" y="544"/>
                </a:lnTo>
                <a:lnTo>
                  <a:pt x="681" y="541"/>
                </a:lnTo>
                <a:lnTo>
                  <a:pt x="681" y="541"/>
                </a:lnTo>
                <a:lnTo>
                  <a:pt x="679" y="539"/>
                </a:lnTo>
                <a:lnTo>
                  <a:pt x="679" y="539"/>
                </a:lnTo>
                <a:lnTo>
                  <a:pt x="681" y="536"/>
                </a:lnTo>
                <a:lnTo>
                  <a:pt x="681" y="536"/>
                </a:lnTo>
                <a:lnTo>
                  <a:pt x="684" y="539"/>
                </a:lnTo>
                <a:lnTo>
                  <a:pt x="684" y="539"/>
                </a:lnTo>
                <a:lnTo>
                  <a:pt x="681" y="544"/>
                </a:lnTo>
                <a:lnTo>
                  <a:pt x="681" y="544"/>
                </a:lnTo>
                <a:lnTo>
                  <a:pt x="686" y="546"/>
                </a:lnTo>
                <a:lnTo>
                  <a:pt x="686" y="546"/>
                </a:lnTo>
                <a:lnTo>
                  <a:pt x="689" y="544"/>
                </a:lnTo>
                <a:lnTo>
                  <a:pt x="689" y="544"/>
                </a:lnTo>
                <a:lnTo>
                  <a:pt x="689" y="546"/>
                </a:lnTo>
                <a:lnTo>
                  <a:pt x="689" y="546"/>
                </a:lnTo>
                <a:lnTo>
                  <a:pt x="689" y="548"/>
                </a:lnTo>
                <a:lnTo>
                  <a:pt x="689" y="548"/>
                </a:lnTo>
                <a:lnTo>
                  <a:pt x="691" y="551"/>
                </a:lnTo>
                <a:lnTo>
                  <a:pt x="691" y="551"/>
                </a:lnTo>
                <a:lnTo>
                  <a:pt x="694" y="553"/>
                </a:lnTo>
                <a:lnTo>
                  <a:pt x="694" y="553"/>
                </a:lnTo>
                <a:lnTo>
                  <a:pt x="696" y="556"/>
                </a:lnTo>
                <a:lnTo>
                  <a:pt x="696" y="556"/>
                </a:lnTo>
                <a:lnTo>
                  <a:pt x="699" y="558"/>
                </a:lnTo>
                <a:lnTo>
                  <a:pt x="699" y="558"/>
                </a:lnTo>
                <a:lnTo>
                  <a:pt x="701" y="556"/>
                </a:lnTo>
                <a:lnTo>
                  <a:pt x="701" y="556"/>
                </a:lnTo>
                <a:lnTo>
                  <a:pt x="701" y="558"/>
                </a:lnTo>
                <a:lnTo>
                  <a:pt x="701" y="558"/>
                </a:lnTo>
                <a:lnTo>
                  <a:pt x="703" y="561"/>
                </a:lnTo>
                <a:lnTo>
                  <a:pt x="703" y="561"/>
                </a:lnTo>
                <a:lnTo>
                  <a:pt x="706" y="561"/>
                </a:lnTo>
                <a:lnTo>
                  <a:pt x="706" y="561"/>
                </a:lnTo>
                <a:lnTo>
                  <a:pt x="708" y="561"/>
                </a:lnTo>
                <a:lnTo>
                  <a:pt x="708" y="561"/>
                </a:lnTo>
                <a:lnTo>
                  <a:pt x="713" y="558"/>
                </a:lnTo>
                <a:lnTo>
                  <a:pt x="713" y="558"/>
                </a:lnTo>
                <a:lnTo>
                  <a:pt x="716" y="558"/>
                </a:lnTo>
                <a:lnTo>
                  <a:pt x="716" y="558"/>
                </a:lnTo>
                <a:lnTo>
                  <a:pt x="718" y="556"/>
                </a:lnTo>
                <a:lnTo>
                  <a:pt x="718" y="556"/>
                </a:lnTo>
                <a:lnTo>
                  <a:pt x="721" y="558"/>
                </a:lnTo>
                <a:lnTo>
                  <a:pt x="721" y="558"/>
                </a:lnTo>
                <a:close/>
                <a:moveTo>
                  <a:pt x="1036" y="536"/>
                </a:moveTo>
                <a:lnTo>
                  <a:pt x="1036" y="536"/>
                </a:lnTo>
                <a:lnTo>
                  <a:pt x="1036" y="534"/>
                </a:lnTo>
                <a:lnTo>
                  <a:pt x="1036" y="534"/>
                </a:lnTo>
                <a:lnTo>
                  <a:pt x="1033" y="531"/>
                </a:lnTo>
                <a:lnTo>
                  <a:pt x="1033" y="531"/>
                </a:lnTo>
                <a:lnTo>
                  <a:pt x="1036" y="529"/>
                </a:lnTo>
                <a:lnTo>
                  <a:pt x="1036" y="529"/>
                </a:lnTo>
                <a:lnTo>
                  <a:pt x="1038" y="529"/>
                </a:lnTo>
                <a:lnTo>
                  <a:pt x="1038" y="529"/>
                </a:lnTo>
                <a:lnTo>
                  <a:pt x="1041" y="529"/>
                </a:lnTo>
                <a:lnTo>
                  <a:pt x="1041" y="529"/>
                </a:lnTo>
                <a:lnTo>
                  <a:pt x="1041" y="531"/>
                </a:lnTo>
                <a:lnTo>
                  <a:pt x="1041" y="531"/>
                </a:lnTo>
                <a:lnTo>
                  <a:pt x="1043" y="531"/>
                </a:lnTo>
                <a:lnTo>
                  <a:pt x="1043" y="531"/>
                </a:lnTo>
                <a:lnTo>
                  <a:pt x="1045" y="531"/>
                </a:lnTo>
                <a:lnTo>
                  <a:pt x="1045" y="531"/>
                </a:lnTo>
                <a:lnTo>
                  <a:pt x="1043" y="534"/>
                </a:lnTo>
                <a:lnTo>
                  <a:pt x="1043" y="534"/>
                </a:lnTo>
                <a:lnTo>
                  <a:pt x="1041" y="536"/>
                </a:lnTo>
                <a:lnTo>
                  <a:pt x="1041" y="536"/>
                </a:lnTo>
                <a:lnTo>
                  <a:pt x="1038" y="534"/>
                </a:lnTo>
                <a:lnTo>
                  <a:pt x="1038" y="534"/>
                </a:lnTo>
                <a:lnTo>
                  <a:pt x="1038" y="536"/>
                </a:lnTo>
                <a:lnTo>
                  <a:pt x="1038" y="536"/>
                </a:lnTo>
                <a:lnTo>
                  <a:pt x="1036" y="536"/>
                </a:lnTo>
                <a:lnTo>
                  <a:pt x="1036" y="536"/>
                </a:lnTo>
                <a:lnTo>
                  <a:pt x="1036" y="536"/>
                </a:lnTo>
                <a:close/>
                <a:moveTo>
                  <a:pt x="1028" y="807"/>
                </a:moveTo>
                <a:lnTo>
                  <a:pt x="1028" y="807"/>
                </a:lnTo>
                <a:lnTo>
                  <a:pt x="1026" y="807"/>
                </a:lnTo>
                <a:lnTo>
                  <a:pt x="1026" y="807"/>
                </a:lnTo>
                <a:lnTo>
                  <a:pt x="1023" y="804"/>
                </a:lnTo>
                <a:lnTo>
                  <a:pt x="1023" y="804"/>
                </a:lnTo>
                <a:lnTo>
                  <a:pt x="1018" y="804"/>
                </a:lnTo>
                <a:lnTo>
                  <a:pt x="1018" y="804"/>
                </a:lnTo>
                <a:lnTo>
                  <a:pt x="1016" y="802"/>
                </a:lnTo>
                <a:lnTo>
                  <a:pt x="1016" y="802"/>
                </a:lnTo>
                <a:lnTo>
                  <a:pt x="1013" y="802"/>
                </a:lnTo>
                <a:lnTo>
                  <a:pt x="1013" y="802"/>
                </a:lnTo>
                <a:lnTo>
                  <a:pt x="1011" y="799"/>
                </a:lnTo>
                <a:lnTo>
                  <a:pt x="1011" y="799"/>
                </a:lnTo>
                <a:lnTo>
                  <a:pt x="1009" y="797"/>
                </a:lnTo>
                <a:lnTo>
                  <a:pt x="1009" y="797"/>
                </a:lnTo>
                <a:lnTo>
                  <a:pt x="1006" y="794"/>
                </a:lnTo>
                <a:lnTo>
                  <a:pt x="1006" y="794"/>
                </a:lnTo>
                <a:lnTo>
                  <a:pt x="1006" y="794"/>
                </a:lnTo>
                <a:lnTo>
                  <a:pt x="1004" y="794"/>
                </a:lnTo>
                <a:lnTo>
                  <a:pt x="1004" y="794"/>
                </a:lnTo>
                <a:lnTo>
                  <a:pt x="1001" y="794"/>
                </a:lnTo>
                <a:lnTo>
                  <a:pt x="1001" y="794"/>
                </a:lnTo>
                <a:lnTo>
                  <a:pt x="999" y="794"/>
                </a:lnTo>
                <a:lnTo>
                  <a:pt x="999" y="794"/>
                </a:lnTo>
                <a:lnTo>
                  <a:pt x="996" y="792"/>
                </a:lnTo>
                <a:lnTo>
                  <a:pt x="996" y="792"/>
                </a:lnTo>
                <a:lnTo>
                  <a:pt x="996" y="789"/>
                </a:lnTo>
                <a:lnTo>
                  <a:pt x="996" y="789"/>
                </a:lnTo>
                <a:lnTo>
                  <a:pt x="994" y="789"/>
                </a:lnTo>
                <a:lnTo>
                  <a:pt x="994" y="789"/>
                </a:lnTo>
                <a:lnTo>
                  <a:pt x="989" y="787"/>
                </a:lnTo>
                <a:lnTo>
                  <a:pt x="989" y="787"/>
                </a:lnTo>
                <a:lnTo>
                  <a:pt x="991" y="785"/>
                </a:lnTo>
                <a:lnTo>
                  <a:pt x="991" y="785"/>
                </a:lnTo>
                <a:lnTo>
                  <a:pt x="989" y="785"/>
                </a:lnTo>
                <a:lnTo>
                  <a:pt x="989" y="785"/>
                </a:lnTo>
                <a:lnTo>
                  <a:pt x="986" y="785"/>
                </a:lnTo>
                <a:lnTo>
                  <a:pt x="986" y="785"/>
                </a:lnTo>
                <a:lnTo>
                  <a:pt x="986" y="782"/>
                </a:lnTo>
                <a:lnTo>
                  <a:pt x="986" y="782"/>
                </a:lnTo>
                <a:lnTo>
                  <a:pt x="986" y="780"/>
                </a:lnTo>
                <a:lnTo>
                  <a:pt x="986" y="780"/>
                </a:lnTo>
                <a:lnTo>
                  <a:pt x="989" y="780"/>
                </a:lnTo>
                <a:lnTo>
                  <a:pt x="989" y="780"/>
                </a:lnTo>
                <a:lnTo>
                  <a:pt x="986" y="777"/>
                </a:lnTo>
                <a:lnTo>
                  <a:pt x="986" y="777"/>
                </a:lnTo>
                <a:lnTo>
                  <a:pt x="984" y="777"/>
                </a:lnTo>
                <a:lnTo>
                  <a:pt x="984" y="777"/>
                </a:lnTo>
                <a:lnTo>
                  <a:pt x="984" y="780"/>
                </a:lnTo>
                <a:lnTo>
                  <a:pt x="984" y="780"/>
                </a:lnTo>
                <a:lnTo>
                  <a:pt x="981" y="777"/>
                </a:lnTo>
                <a:lnTo>
                  <a:pt x="981" y="777"/>
                </a:lnTo>
                <a:lnTo>
                  <a:pt x="981" y="777"/>
                </a:lnTo>
                <a:lnTo>
                  <a:pt x="979" y="777"/>
                </a:lnTo>
                <a:lnTo>
                  <a:pt x="979" y="777"/>
                </a:lnTo>
                <a:lnTo>
                  <a:pt x="974" y="775"/>
                </a:lnTo>
                <a:lnTo>
                  <a:pt x="974" y="775"/>
                </a:lnTo>
                <a:lnTo>
                  <a:pt x="974" y="775"/>
                </a:lnTo>
                <a:lnTo>
                  <a:pt x="972" y="772"/>
                </a:lnTo>
                <a:lnTo>
                  <a:pt x="972" y="772"/>
                </a:lnTo>
                <a:lnTo>
                  <a:pt x="969" y="770"/>
                </a:lnTo>
                <a:lnTo>
                  <a:pt x="969" y="770"/>
                </a:lnTo>
                <a:lnTo>
                  <a:pt x="969" y="767"/>
                </a:lnTo>
                <a:lnTo>
                  <a:pt x="969" y="767"/>
                </a:lnTo>
                <a:lnTo>
                  <a:pt x="967" y="767"/>
                </a:lnTo>
                <a:lnTo>
                  <a:pt x="967" y="767"/>
                </a:lnTo>
                <a:lnTo>
                  <a:pt x="964" y="765"/>
                </a:lnTo>
                <a:lnTo>
                  <a:pt x="964" y="765"/>
                </a:lnTo>
                <a:lnTo>
                  <a:pt x="964" y="762"/>
                </a:lnTo>
                <a:lnTo>
                  <a:pt x="964" y="762"/>
                </a:lnTo>
                <a:lnTo>
                  <a:pt x="962" y="760"/>
                </a:lnTo>
                <a:lnTo>
                  <a:pt x="962" y="760"/>
                </a:lnTo>
                <a:lnTo>
                  <a:pt x="959" y="758"/>
                </a:lnTo>
                <a:lnTo>
                  <a:pt x="959" y="758"/>
                </a:lnTo>
                <a:lnTo>
                  <a:pt x="962" y="758"/>
                </a:lnTo>
                <a:lnTo>
                  <a:pt x="962" y="758"/>
                </a:lnTo>
                <a:lnTo>
                  <a:pt x="964" y="758"/>
                </a:lnTo>
                <a:lnTo>
                  <a:pt x="964" y="758"/>
                </a:lnTo>
                <a:lnTo>
                  <a:pt x="972" y="753"/>
                </a:lnTo>
                <a:lnTo>
                  <a:pt x="972" y="753"/>
                </a:lnTo>
                <a:lnTo>
                  <a:pt x="972" y="753"/>
                </a:lnTo>
                <a:lnTo>
                  <a:pt x="967" y="753"/>
                </a:lnTo>
                <a:lnTo>
                  <a:pt x="967" y="753"/>
                </a:lnTo>
                <a:lnTo>
                  <a:pt x="964" y="750"/>
                </a:lnTo>
                <a:lnTo>
                  <a:pt x="964" y="750"/>
                </a:lnTo>
                <a:lnTo>
                  <a:pt x="964" y="745"/>
                </a:lnTo>
                <a:lnTo>
                  <a:pt x="964" y="745"/>
                </a:lnTo>
                <a:lnTo>
                  <a:pt x="964" y="745"/>
                </a:lnTo>
                <a:lnTo>
                  <a:pt x="964" y="745"/>
                </a:lnTo>
                <a:lnTo>
                  <a:pt x="962" y="748"/>
                </a:lnTo>
                <a:lnTo>
                  <a:pt x="962" y="748"/>
                </a:lnTo>
                <a:lnTo>
                  <a:pt x="962" y="750"/>
                </a:lnTo>
                <a:lnTo>
                  <a:pt x="962" y="750"/>
                </a:lnTo>
                <a:lnTo>
                  <a:pt x="959" y="748"/>
                </a:lnTo>
                <a:lnTo>
                  <a:pt x="959" y="748"/>
                </a:lnTo>
                <a:lnTo>
                  <a:pt x="962" y="745"/>
                </a:lnTo>
                <a:lnTo>
                  <a:pt x="962" y="745"/>
                </a:lnTo>
                <a:lnTo>
                  <a:pt x="962" y="740"/>
                </a:lnTo>
                <a:lnTo>
                  <a:pt x="962" y="740"/>
                </a:lnTo>
                <a:lnTo>
                  <a:pt x="959" y="745"/>
                </a:lnTo>
                <a:lnTo>
                  <a:pt x="959" y="745"/>
                </a:lnTo>
                <a:lnTo>
                  <a:pt x="957" y="743"/>
                </a:lnTo>
                <a:lnTo>
                  <a:pt x="957" y="743"/>
                </a:lnTo>
                <a:lnTo>
                  <a:pt x="957" y="740"/>
                </a:lnTo>
                <a:lnTo>
                  <a:pt x="957" y="740"/>
                </a:lnTo>
                <a:lnTo>
                  <a:pt x="954" y="740"/>
                </a:lnTo>
                <a:lnTo>
                  <a:pt x="954" y="740"/>
                </a:lnTo>
                <a:lnTo>
                  <a:pt x="954" y="738"/>
                </a:lnTo>
                <a:lnTo>
                  <a:pt x="954" y="738"/>
                </a:lnTo>
                <a:lnTo>
                  <a:pt x="954" y="735"/>
                </a:lnTo>
                <a:lnTo>
                  <a:pt x="954" y="735"/>
                </a:lnTo>
                <a:lnTo>
                  <a:pt x="954" y="730"/>
                </a:lnTo>
                <a:lnTo>
                  <a:pt x="954" y="730"/>
                </a:lnTo>
                <a:lnTo>
                  <a:pt x="952" y="730"/>
                </a:lnTo>
                <a:lnTo>
                  <a:pt x="952" y="730"/>
                </a:lnTo>
                <a:lnTo>
                  <a:pt x="952" y="728"/>
                </a:lnTo>
                <a:lnTo>
                  <a:pt x="952" y="728"/>
                </a:lnTo>
                <a:lnTo>
                  <a:pt x="954" y="723"/>
                </a:lnTo>
                <a:lnTo>
                  <a:pt x="954" y="723"/>
                </a:lnTo>
                <a:lnTo>
                  <a:pt x="954" y="723"/>
                </a:lnTo>
                <a:lnTo>
                  <a:pt x="949" y="728"/>
                </a:lnTo>
                <a:lnTo>
                  <a:pt x="949" y="728"/>
                </a:lnTo>
                <a:lnTo>
                  <a:pt x="949" y="730"/>
                </a:lnTo>
                <a:lnTo>
                  <a:pt x="949" y="730"/>
                </a:lnTo>
                <a:lnTo>
                  <a:pt x="947" y="728"/>
                </a:lnTo>
                <a:lnTo>
                  <a:pt x="947" y="728"/>
                </a:lnTo>
                <a:lnTo>
                  <a:pt x="949" y="723"/>
                </a:lnTo>
                <a:lnTo>
                  <a:pt x="949" y="723"/>
                </a:lnTo>
                <a:lnTo>
                  <a:pt x="947" y="723"/>
                </a:lnTo>
                <a:lnTo>
                  <a:pt x="947" y="723"/>
                </a:lnTo>
                <a:lnTo>
                  <a:pt x="945" y="723"/>
                </a:lnTo>
                <a:lnTo>
                  <a:pt x="945" y="723"/>
                </a:lnTo>
                <a:lnTo>
                  <a:pt x="945" y="723"/>
                </a:lnTo>
                <a:lnTo>
                  <a:pt x="942" y="728"/>
                </a:lnTo>
                <a:lnTo>
                  <a:pt x="942" y="728"/>
                </a:lnTo>
                <a:lnTo>
                  <a:pt x="940" y="730"/>
                </a:lnTo>
                <a:lnTo>
                  <a:pt x="940" y="730"/>
                </a:lnTo>
                <a:lnTo>
                  <a:pt x="940" y="726"/>
                </a:lnTo>
                <a:lnTo>
                  <a:pt x="940" y="726"/>
                </a:lnTo>
                <a:lnTo>
                  <a:pt x="942" y="723"/>
                </a:lnTo>
                <a:lnTo>
                  <a:pt x="942" y="723"/>
                </a:lnTo>
                <a:lnTo>
                  <a:pt x="942" y="721"/>
                </a:lnTo>
                <a:lnTo>
                  <a:pt x="942" y="721"/>
                </a:lnTo>
                <a:lnTo>
                  <a:pt x="942" y="718"/>
                </a:lnTo>
                <a:lnTo>
                  <a:pt x="942" y="718"/>
                </a:lnTo>
                <a:lnTo>
                  <a:pt x="940" y="721"/>
                </a:lnTo>
                <a:lnTo>
                  <a:pt x="940" y="721"/>
                </a:lnTo>
                <a:lnTo>
                  <a:pt x="937" y="723"/>
                </a:lnTo>
                <a:lnTo>
                  <a:pt x="937" y="723"/>
                </a:lnTo>
                <a:lnTo>
                  <a:pt x="937" y="723"/>
                </a:lnTo>
                <a:lnTo>
                  <a:pt x="935" y="726"/>
                </a:lnTo>
                <a:lnTo>
                  <a:pt x="935" y="726"/>
                </a:lnTo>
                <a:lnTo>
                  <a:pt x="935" y="728"/>
                </a:lnTo>
                <a:lnTo>
                  <a:pt x="935" y="728"/>
                </a:lnTo>
                <a:lnTo>
                  <a:pt x="930" y="726"/>
                </a:lnTo>
                <a:lnTo>
                  <a:pt x="930" y="726"/>
                </a:lnTo>
                <a:lnTo>
                  <a:pt x="927" y="723"/>
                </a:lnTo>
                <a:lnTo>
                  <a:pt x="927" y="723"/>
                </a:lnTo>
                <a:lnTo>
                  <a:pt x="925" y="723"/>
                </a:lnTo>
                <a:lnTo>
                  <a:pt x="925" y="723"/>
                </a:lnTo>
                <a:lnTo>
                  <a:pt x="922" y="718"/>
                </a:lnTo>
                <a:lnTo>
                  <a:pt x="922" y="718"/>
                </a:lnTo>
                <a:lnTo>
                  <a:pt x="922" y="718"/>
                </a:lnTo>
                <a:lnTo>
                  <a:pt x="920" y="721"/>
                </a:lnTo>
                <a:lnTo>
                  <a:pt x="920" y="721"/>
                </a:lnTo>
                <a:lnTo>
                  <a:pt x="920" y="723"/>
                </a:lnTo>
                <a:lnTo>
                  <a:pt x="920" y="723"/>
                </a:lnTo>
                <a:lnTo>
                  <a:pt x="920" y="726"/>
                </a:lnTo>
                <a:lnTo>
                  <a:pt x="920" y="726"/>
                </a:lnTo>
                <a:lnTo>
                  <a:pt x="918" y="726"/>
                </a:lnTo>
                <a:lnTo>
                  <a:pt x="918" y="726"/>
                </a:lnTo>
                <a:lnTo>
                  <a:pt x="915" y="726"/>
                </a:lnTo>
                <a:lnTo>
                  <a:pt x="915" y="726"/>
                </a:lnTo>
                <a:lnTo>
                  <a:pt x="913" y="726"/>
                </a:lnTo>
                <a:lnTo>
                  <a:pt x="913" y="726"/>
                </a:lnTo>
                <a:lnTo>
                  <a:pt x="910" y="728"/>
                </a:lnTo>
                <a:lnTo>
                  <a:pt x="910" y="728"/>
                </a:lnTo>
                <a:lnTo>
                  <a:pt x="908" y="726"/>
                </a:lnTo>
                <a:lnTo>
                  <a:pt x="908" y="726"/>
                </a:lnTo>
                <a:lnTo>
                  <a:pt x="905" y="728"/>
                </a:lnTo>
                <a:lnTo>
                  <a:pt x="905" y="728"/>
                </a:lnTo>
                <a:lnTo>
                  <a:pt x="903" y="728"/>
                </a:lnTo>
                <a:lnTo>
                  <a:pt x="903" y="728"/>
                </a:lnTo>
                <a:lnTo>
                  <a:pt x="898" y="728"/>
                </a:lnTo>
                <a:lnTo>
                  <a:pt x="898" y="728"/>
                </a:lnTo>
                <a:lnTo>
                  <a:pt x="900" y="726"/>
                </a:lnTo>
                <a:lnTo>
                  <a:pt x="900" y="726"/>
                </a:lnTo>
                <a:lnTo>
                  <a:pt x="895" y="721"/>
                </a:lnTo>
                <a:lnTo>
                  <a:pt x="895" y="721"/>
                </a:lnTo>
                <a:lnTo>
                  <a:pt x="895" y="723"/>
                </a:lnTo>
                <a:lnTo>
                  <a:pt x="895" y="723"/>
                </a:lnTo>
                <a:lnTo>
                  <a:pt x="893" y="721"/>
                </a:lnTo>
                <a:lnTo>
                  <a:pt x="893" y="721"/>
                </a:lnTo>
                <a:lnTo>
                  <a:pt x="890" y="713"/>
                </a:lnTo>
                <a:lnTo>
                  <a:pt x="890" y="713"/>
                </a:lnTo>
                <a:lnTo>
                  <a:pt x="890" y="711"/>
                </a:lnTo>
                <a:lnTo>
                  <a:pt x="890" y="711"/>
                </a:lnTo>
                <a:lnTo>
                  <a:pt x="893" y="708"/>
                </a:lnTo>
                <a:lnTo>
                  <a:pt x="893" y="708"/>
                </a:lnTo>
                <a:lnTo>
                  <a:pt x="893" y="706"/>
                </a:lnTo>
                <a:lnTo>
                  <a:pt x="893" y="706"/>
                </a:lnTo>
                <a:lnTo>
                  <a:pt x="895" y="703"/>
                </a:lnTo>
                <a:lnTo>
                  <a:pt x="895" y="703"/>
                </a:lnTo>
                <a:lnTo>
                  <a:pt x="900" y="703"/>
                </a:lnTo>
                <a:lnTo>
                  <a:pt x="900" y="703"/>
                </a:lnTo>
                <a:lnTo>
                  <a:pt x="900" y="701"/>
                </a:lnTo>
                <a:lnTo>
                  <a:pt x="900" y="701"/>
                </a:lnTo>
                <a:lnTo>
                  <a:pt x="903" y="701"/>
                </a:lnTo>
                <a:lnTo>
                  <a:pt x="903" y="701"/>
                </a:lnTo>
                <a:lnTo>
                  <a:pt x="905" y="701"/>
                </a:lnTo>
                <a:lnTo>
                  <a:pt x="905" y="701"/>
                </a:lnTo>
                <a:lnTo>
                  <a:pt x="905" y="698"/>
                </a:lnTo>
                <a:lnTo>
                  <a:pt x="905" y="698"/>
                </a:lnTo>
                <a:lnTo>
                  <a:pt x="905" y="696"/>
                </a:lnTo>
                <a:lnTo>
                  <a:pt x="905" y="696"/>
                </a:lnTo>
                <a:lnTo>
                  <a:pt x="905" y="694"/>
                </a:lnTo>
                <a:lnTo>
                  <a:pt x="905" y="694"/>
                </a:lnTo>
                <a:lnTo>
                  <a:pt x="905" y="694"/>
                </a:lnTo>
                <a:lnTo>
                  <a:pt x="908" y="694"/>
                </a:lnTo>
                <a:lnTo>
                  <a:pt x="908" y="694"/>
                </a:lnTo>
                <a:lnTo>
                  <a:pt x="908" y="694"/>
                </a:lnTo>
                <a:lnTo>
                  <a:pt x="908" y="691"/>
                </a:lnTo>
                <a:lnTo>
                  <a:pt x="908" y="691"/>
                </a:lnTo>
                <a:lnTo>
                  <a:pt x="908" y="691"/>
                </a:lnTo>
                <a:lnTo>
                  <a:pt x="910" y="696"/>
                </a:lnTo>
                <a:lnTo>
                  <a:pt x="910" y="696"/>
                </a:lnTo>
                <a:lnTo>
                  <a:pt x="915" y="696"/>
                </a:lnTo>
                <a:lnTo>
                  <a:pt x="915" y="696"/>
                </a:lnTo>
                <a:lnTo>
                  <a:pt x="918" y="698"/>
                </a:lnTo>
                <a:lnTo>
                  <a:pt x="918" y="698"/>
                </a:lnTo>
                <a:lnTo>
                  <a:pt x="920" y="701"/>
                </a:lnTo>
                <a:lnTo>
                  <a:pt x="920" y="701"/>
                </a:lnTo>
                <a:lnTo>
                  <a:pt x="922" y="701"/>
                </a:lnTo>
                <a:lnTo>
                  <a:pt x="922" y="701"/>
                </a:lnTo>
                <a:lnTo>
                  <a:pt x="925" y="703"/>
                </a:lnTo>
                <a:lnTo>
                  <a:pt x="925" y="703"/>
                </a:lnTo>
                <a:lnTo>
                  <a:pt x="927" y="701"/>
                </a:lnTo>
                <a:lnTo>
                  <a:pt x="927" y="701"/>
                </a:lnTo>
                <a:lnTo>
                  <a:pt x="930" y="701"/>
                </a:lnTo>
                <a:lnTo>
                  <a:pt x="930" y="701"/>
                </a:lnTo>
                <a:lnTo>
                  <a:pt x="930" y="703"/>
                </a:lnTo>
                <a:lnTo>
                  <a:pt x="930" y="703"/>
                </a:lnTo>
                <a:lnTo>
                  <a:pt x="932" y="703"/>
                </a:lnTo>
                <a:lnTo>
                  <a:pt x="932" y="703"/>
                </a:lnTo>
                <a:lnTo>
                  <a:pt x="935" y="703"/>
                </a:lnTo>
                <a:lnTo>
                  <a:pt x="935" y="703"/>
                </a:lnTo>
                <a:lnTo>
                  <a:pt x="937" y="701"/>
                </a:lnTo>
                <a:lnTo>
                  <a:pt x="937" y="701"/>
                </a:lnTo>
                <a:lnTo>
                  <a:pt x="940" y="698"/>
                </a:lnTo>
                <a:lnTo>
                  <a:pt x="940" y="698"/>
                </a:lnTo>
                <a:lnTo>
                  <a:pt x="942" y="698"/>
                </a:lnTo>
                <a:lnTo>
                  <a:pt x="942" y="698"/>
                </a:lnTo>
                <a:lnTo>
                  <a:pt x="942" y="698"/>
                </a:lnTo>
                <a:lnTo>
                  <a:pt x="942" y="701"/>
                </a:lnTo>
                <a:lnTo>
                  <a:pt x="942" y="701"/>
                </a:lnTo>
                <a:lnTo>
                  <a:pt x="945" y="701"/>
                </a:lnTo>
                <a:lnTo>
                  <a:pt x="945" y="701"/>
                </a:lnTo>
                <a:lnTo>
                  <a:pt x="947" y="698"/>
                </a:lnTo>
                <a:lnTo>
                  <a:pt x="947" y="698"/>
                </a:lnTo>
                <a:lnTo>
                  <a:pt x="949" y="696"/>
                </a:lnTo>
                <a:lnTo>
                  <a:pt x="949" y="696"/>
                </a:lnTo>
                <a:lnTo>
                  <a:pt x="952" y="696"/>
                </a:lnTo>
                <a:lnTo>
                  <a:pt x="952" y="696"/>
                </a:lnTo>
                <a:lnTo>
                  <a:pt x="952" y="696"/>
                </a:lnTo>
                <a:lnTo>
                  <a:pt x="952" y="701"/>
                </a:lnTo>
                <a:lnTo>
                  <a:pt x="952" y="701"/>
                </a:lnTo>
                <a:lnTo>
                  <a:pt x="954" y="703"/>
                </a:lnTo>
                <a:lnTo>
                  <a:pt x="954" y="703"/>
                </a:lnTo>
                <a:lnTo>
                  <a:pt x="954" y="701"/>
                </a:lnTo>
                <a:lnTo>
                  <a:pt x="954" y="701"/>
                </a:lnTo>
                <a:lnTo>
                  <a:pt x="954" y="698"/>
                </a:lnTo>
                <a:lnTo>
                  <a:pt x="954" y="698"/>
                </a:lnTo>
                <a:lnTo>
                  <a:pt x="957" y="698"/>
                </a:lnTo>
                <a:lnTo>
                  <a:pt x="957" y="698"/>
                </a:lnTo>
                <a:lnTo>
                  <a:pt x="959" y="698"/>
                </a:lnTo>
                <a:lnTo>
                  <a:pt x="959" y="698"/>
                </a:lnTo>
                <a:lnTo>
                  <a:pt x="957" y="691"/>
                </a:lnTo>
                <a:lnTo>
                  <a:pt x="957" y="691"/>
                </a:lnTo>
                <a:lnTo>
                  <a:pt x="954" y="686"/>
                </a:lnTo>
                <a:lnTo>
                  <a:pt x="954" y="686"/>
                </a:lnTo>
                <a:lnTo>
                  <a:pt x="954" y="684"/>
                </a:lnTo>
                <a:lnTo>
                  <a:pt x="954" y="684"/>
                </a:lnTo>
                <a:lnTo>
                  <a:pt x="952" y="681"/>
                </a:lnTo>
                <a:lnTo>
                  <a:pt x="952" y="681"/>
                </a:lnTo>
                <a:lnTo>
                  <a:pt x="954" y="679"/>
                </a:lnTo>
                <a:lnTo>
                  <a:pt x="954" y="679"/>
                </a:lnTo>
                <a:lnTo>
                  <a:pt x="954" y="676"/>
                </a:lnTo>
                <a:lnTo>
                  <a:pt x="954" y="676"/>
                </a:lnTo>
                <a:lnTo>
                  <a:pt x="957" y="676"/>
                </a:lnTo>
                <a:lnTo>
                  <a:pt x="957" y="676"/>
                </a:lnTo>
                <a:lnTo>
                  <a:pt x="962" y="671"/>
                </a:lnTo>
                <a:lnTo>
                  <a:pt x="962" y="671"/>
                </a:lnTo>
                <a:lnTo>
                  <a:pt x="967" y="669"/>
                </a:lnTo>
                <a:lnTo>
                  <a:pt x="967" y="669"/>
                </a:lnTo>
                <a:lnTo>
                  <a:pt x="969" y="669"/>
                </a:lnTo>
                <a:lnTo>
                  <a:pt x="969" y="669"/>
                </a:lnTo>
                <a:lnTo>
                  <a:pt x="972" y="664"/>
                </a:lnTo>
                <a:lnTo>
                  <a:pt x="972" y="664"/>
                </a:lnTo>
                <a:lnTo>
                  <a:pt x="974" y="664"/>
                </a:lnTo>
                <a:lnTo>
                  <a:pt x="974" y="664"/>
                </a:lnTo>
                <a:lnTo>
                  <a:pt x="977" y="667"/>
                </a:lnTo>
                <a:lnTo>
                  <a:pt x="977" y="667"/>
                </a:lnTo>
                <a:lnTo>
                  <a:pt x="979" y="664"/>
                </a:lnTo>
                <a:lnTo>
                  <a:pt x="979" y="664"/>
                </a:lnTo>
                <a:lnTo>
                  <a:pt x="979" y="664"/>
                </a:lnTo>
                <a:lnTo>
                  <a:pt x="977" y="662"/>
                </a:lnTo>
                <a:lnTo>
                  <a:pt x="977" y="662"/>
                </a:lnTo>
                <a:lnTo>
                  <a:pt x="977" y="659"/>
                </a:lnTo>
                <a:lnTo>
                  <a:pt x="977" y="659"/>
                </a:lnTo>
                <a:lnTo>
                  <a:pt x="981" y="657"/>
                </a:lnTo>
                <a:lnTo>
                  <a:pt x="981" y="657"/>
                </a:lnTo>
                <a:lnTo>
                  <a:pt x="981" y="654"/>
                </a:lnTo>
                <a:lnTo>
                  <a:pt x="981" y="654"/>
                </a:lnTo>
                <a:lnTo>
                  <a:pt x="984" y="652"/>
                </a:lnTo>
                <a:lnTo>
                  <a:pt x="984" y="652"/>
                </a:lnTo>
                <a:lnTo>
                  <a:pt x="989" y="654"/>
                </a:lnTo>
                <a:lnTo>
                  <a:pt x="989" y="654"/>
                </a:lnTo>
                <a:lnTo>
                  <a:pt x="991" y="652"/>
                </a:lnTo>
                <a:lnTo>
                  <a:pt x="991" y="652"/>
                </a:lnTo>
                <a:lnTo>
                  <a:pt x="994" y="649"/>
                </a:lnTo>
                <a:lnTo>
                  <a:pt x="994" y="649"/>
                </a:lnTo>
                <a:lnTo>
                  <a:pt x="991" y="647"/>
                </a:lnTo>
                <a:lnTo>
                  <a:pt x="991" y="647"/>
                </a:lnTo>
                <a:lnTo>
                  <a:pt x="994" y="644"/>
                </a:lnTo>
                <a:lnTo>
                  <a:pt x="994" y="644"/>
                </a:lnTo>
                <a:lnTo>
                  <a:pt x="994" y="639"/>
                </a:lnTo>
                <a:lnTo>
                  <a:pt x="994" y="639"/>
                </a:lnTo>
                <a:lnTo>
                  <a:pt x="994" y="639"/>
                </a:lnTo>
                <a:lnTo>
                  <a:pt x="994" y="637"/>
                </a:lnTo>
                <a:lnTo>
                  <a:pt x="994" y="637"/>
                </a:lnTo>
                <a:lnTo>
                  <a:pt x="994" y="635"/>
                </a:lnTo>
                <a:lnTo>
                  <a:pt x="994" y="635"/>
                </a:lnTo>
                <a:lnTo>
                  <a:pt x="994" y="632"/>
                </a:lnTo>
                <a:lnTo>
                  <a:pt x="994" y="632"/>
                </a:lnTo>
                <a:lnTo>
                  <a:pt x="994" y="630"/>
                </a:lnTo>
                <a:lnTo>
                  <a:pt x="994" y="630"/>
                </a:lnTo>
                <a:lnTo>
                  <a:pt x="991" y="630"/>
                </a:lnTo>
                <a:lnTo>
                  <a:pt x="991" y="630"/>
                </a:lnTo>
                <a:lnTo>
                  <a:pt x="991" y="627"/>
                </a:lnTo>
                <a:lnTo>
                  <a:pt x="991" y="627"/>
                </a:lnTo>
                <a:lnTo>
                  <a:pt x="994" y="622"/>
                </a:lnTo>
                <a:lnTo>
                  <a:pt x="994" y="622"/>
                </a:lnTo>
                <a:lnTo>
                  <a:pt x="996" y="622"/>
                </a:lnTo>
                <a:lnTo>
                  <a:pt x="996" y="622"/>
                </a:lnTo>
                <a:lnTo>
                  <a:pt x="996" y="620"/>
                </a:lnTo>
                <a:lnTo>
                  <a:pt x="996" y="620"/>
                </a:lnTo>
                <a:lnTo>
                  <a:pt x="999" y="617"/>
                </a:lnTo>
                <a:lnTo>
                  <a:pt x="999" y="617"/>
                </a:lnTo>
                <a:lnTo>
                  <a:pt x="996" y="617"/>
                </a:lnTo>
                <a:lnTo>
                  <a:pt x="996" y="617"/>
                </a:lnTo>
                <a:lnTo>
                  <a:pt x="996" y="617"/>
                </a:lnTo>
                <a:lnTo>
                  <a:pt x="994" y="617"/>
                </a:lnTo>
                <a:lnTo>
                  <a:pt x="994" y="617"/>
                </a:lnTo>
                <a:lnTo>
                  <a:pt x="994" y="620"/>
                </a:lnTo>
                <a:lnTo>
                  <a:pt x="994" y="620"/>
                </a:lnTo>
                <a:lnTo>
                  <a:pt x="994" y="620"/>
                </a:lnTo>
                <a:lnTo>
                  <a:pt x="994" y="620"/>
                </a:lnTo>
                <a:lnTo>
                  <a:pt x="994" y="615"/>
                </a:lnTo>
                <a:lnTo>
                  <a:pt x="994" y="615"/>
                </a:lnTo>
                <a:lnTo>
                  <a:pt x="991" y="615"/>
                </a:lnTo>
                <a:lnTo>
                  <a:pt x="991" y="615"/>
                </a:lnTo>
                <a:lnTo>
                  <a:pt x="986" y="615"/>
                </a:lnTo>
                <a:lnTo>
                  <a:pt x="986" y="615"/>
                </a:lnTo>
                <a:lnTo>
                  <a:pt x="984" y="612"/>
                </a:lnTo>
                <a:lnTo>
                  <a:pt x="984" y="612"/>
                </a:lnTo>
                <a:lnTo>
                  <a:pt x="984" y="612"/>
                </a:lnTo>
                <a:lnTo>
                  <a:pt x="989" y="610"/>
                </a:lnTo>
                <a:lnTo>
                  <a:pt x="989" y="610"/>
                </a:lnTo>
                <a:lnTo>
                  <a:pt x="989" y="607"/>
                </a:lnTo>
                <a:lnTo>
                  <a:pt x="989" y="607"/>
                </a:lnTo>
                <a:lnTo>
                  <a:pt x="986" y="607"/>
                </a:lnTo>
                <a:lnTo>
                  <a:pt x="986" y="607"/>
                </a:lnTo>
                <a:lnTo>
                  <a:pt x="986" y="605"/>
                </a:lnTo>
                <a:lnTo>
                  <a:pt x="986" y="605"/>
                </a:lnTo>
                <a:lnTo>
                  <a:pt x="986" y="603"/>
                </a:lnTo>
                <a:lnTo>
                  <a:pt x="986" y="603"/>
                </a:lnTo>
                <a:lnTo>
                  <a:pt x="984" y="600"/>
                </a:lnTo>
                <a:lnTo>
                  <a:pt x="984" y="600"/>
                </a:lnTo>
                <a:lnTo>
                  <a:pt x="984" y="600"/>
                </a:lnTo>
                <a:lnTo>
                  <a:pt x="984" y="603"/>
                </a:lnTo>
                <a:lnTo>
                  <a:pt x="984" y="603"/>
                </a:lnTo>
                <a:lnTo>
                  <a:pt x="984" y="605"/>
                </a:lnTo>
                <a:lnTo>
                  <a:pt x="984" y="605"/>
                </a:lnTo>
                <a:lnTo>
                  <a:pt x="984" y="605"/>
                </a:lnTo>
                <a:lnTo>
                  <a:pt x="979" y="607"/>
                </a:lnTo>
                <a:lnTo>
                  <a:pt x="979" y="607"/>
                </a:lnTo>
                <a:lnTo>
                  <a:pt x="979" y="605"/>
                </a:lnTo>
                <a:lnTo>
                  <a:pt x="979" y="605"/>
                </a:lnTo>
                <a:lnTo>
                  <a:pt x="977" y="603"/>
                </a:lnTo>
                <a:lnTo>
                  <a:pt x="977" y="603"/>
                </a:lnTo>
                <a:lnTo>
                  <a:pt x="977" y="600"/>
                </a:lnTo>
                <a:lnTo>
                  <a:pt x="977" y="600"/>
                </a:lnTo>
                <a:lnTo>
                  <a:pt x="979" y="598"/>
                </a:lnTo>
                <a:lnTo>
                  <a:pt x="979" y="598"/>
                </a:lnTo>
                <a:lnTo>
                  <a:pt x="979" y="595"/>
                </a:lnTo>
                <a:lnTo>
                  <a:pt x="979" y="595"/>
                </a:lnTo>
                <a:lnTo>
                  <a:pt x="974" y="595"/>
                </a:lnTo>
                <a:lnTo>
                  <a:pt x="974" y="595"/>
                </a:lnTo>
                <a:lnTo>
                  <a:pt x="974" y="595"/>
                </a:lnTo>
                <a:lnTo>
                  <a:pt x="977" y="595"/>
                </a:lnTo>
                <a:lnTo>
                  <a:pt x="977" y="595"/>
                </a:lnTo>
                <a:lnTo>
                  <a:pt x="979" y="593"/>
                </a:lnTo>
                <a:lnTo>
                  <a:pt x="979" y="593"/>
                </a:lnTo>
                <a:lnTo>
                  <a:pt x="977" y="593"/>
                </a:lnTo>
                <a:lnTo>
                  <a:pt x="977" y="593"/>
                </a:lnTo>
                <a:lnTo>
                  <a:pt x="977" y="590"/>
                </a:lnTo>
                <a:lnTo>
                  <a:pt x="977" y="590"/>
                </a:lnTo>
                <a:lnTo>
                  <a:pt x="979" y="590"/>
                </a:lnTo>
                <a:lnTo>
                  <a:pt x="979" y="590"/>
                </a:lnTo>
                <a:lnTo>
                  <a:pt x="979" y="588"/>
                </a:lnTo>
                <a:lnTo>
                  <a:pt x="979" y="588"/>
                </a:lnTo>
                <a:lnTo>
                  <a:pt x="979" y="588"/>
                </a:lnTo>
                <a:lnTo>
                  <a:pt x="977" y="590"/>
                </a:lnTo>
                <a:lnTo>
                  <a:pt x="977" y="590"/>
                </a:lnTo>
                <a:lnTo>
                  <a:pt x="974" y="593"/>
                </a:lnTo>
                <a:lnTo>
                  <a:pt x="974" y="593"/>
                </a:lnTo>
                <a:lnTo>
                  <a:pt x="972" y="593"/>
                </a:lnTo>
                <a:lnTo>
                  <a:pt x="972" y="593"/>
                </a:lnTo>
                <a:lnTo>
                  <a:pt x="972" y="593"/>
                </a:lnTo>
                <a:lnTo>
                  <a:pt x="969" y="590"/>
                </a:lnTo>
                <a:lnTo>
                  <a:pt x="969" y="590"/>
                </a:lnTo>
                <a:lnTo>
                  <a:pt x="969" y="590"/>
                </a:lnTo>
                <a:lnTo>
                  <a:pt x="967" y="593"/>
                </a:lnTo>
                <a:lnTo>
                  <a:pt x="967" y="593"/>
                </a:lnTo>
                <a:lnTo>
                  <a:pt x="964" y="593"/>
                </a:lnTo>
                <a:lnTo>
                  <a:pt x="964" y="593"/>
                </a:lnTo>
                <a:lnTo>
                  <a:pt x="962" y="595"/>
                </a:lnTo>
                <a:lnTo>
                  <a:pt x="962" y="595"/>
                </a:lnTo>
                <a:lnTo>
                  <a:pt x="959" y="595"/>
                </a:lnTo>
                <a:lnTo>
                  <a:pt x="959" y="595"/>
                </a:lnTo>
                <a:lnTo>
                  <a:pt x="959" y="595"/>
                </a:lnTo>
                <a:lnTo>
                  <a:pt x="957" y="595"/>
                </a:lnTo>
                <a:lnTo>
                  <a:pt x="957" y="595"/>
                </a:lnTo>
                <a:lnTo>
                  <a:pt x="957" y="595"/>
                </a:lnTo>
                <a:lnTo>
                  <a:pt x="957" y="595"/>
                </a:lnTo>
                <a:lnTo>
                  <a:pt x="957" y="593"/>
                </a:lnTo>
                <a:lnTo>
                  <a:pt x="957" y="593"/>
                </a:lnTo>
                <a:lnTo>
                  <a:pt x="957" y="590"/>
                </a:lnTo>
                <a:lnTo>
                  <a:pt x="957" y="590"/>
                </a:lnTo>
                <a:lnTo>
                  <a:pt x="957" y="590"/>
                </a:lnTo>
                <a:lnTo>
                  <a:pt x="959" y="588"/>
                </a:lnTo>
                <a:lnTo>
                  <a:pt x="959" y="588"/>
                </a:lnTo>
                <a:lnTo>
                  <a:pt x="959" y="588"/>
                </a:lnTo>
                <a:lnTo>
                  <a:pt x="962" y="588"/>
                </a:lnTo>
                <a:lnTo>
                  <a:pt x="962" y="588"/>
                </a:lnTo>
                <a:lnTo>
                  <a:pt x="964" y="588"/>
                </a:lnTo>
                <a:lnTo>
                  <a:pt x="964" y="588"/>
                </a:lnTo>
                <a:lnTo>
                  <a:pt x="964" y="588"/>
                </a:lnTo>
                <a:lnTo>
                  <a:pt x="967" y="588"/>
                </a:lnTo>
                <a:lnTo>
                  <a:pt x="967" y="588"/>
                </a:lnTo>
                <a:lnTo>
                  <a:pt x="969" y="585"/>
                </a:lnTo>
                <a:lnTo>
                  <a:pt x="969" y="585"/>
                </a:lnTo>
                <a:lnTo>
                  <a:pt x="969" y="583"/>
                </a:lnTo>
                <a:lnTo>
                  <a:pt x="969" y="583"/>
                </a:lnTo>
                <a:lnTo>
                  <a:pt x="969" y="580"/>
                </a:lnTo>
                <a:lnTo>
                  <a:pt x="969" y="580"/>
                </a:lnTo>
                <a:lnTo>
                  <a:pt x="967" y="578"/>
                </a:lnTo>
                <a:lnTo>
                  <a:pt x="967" y="578"/>
                </a:lnTo>
                <a:lnTo>
                  <a:pt x="964" y="578"/>
                </a:lnTo>
                <a:lnTo>
                  <a:pt x="964" y="578"/>
                </a:lnTo>
                <a:lnTo>
                  <a:pt x="962" y="576"/>
                </a:lnTo>
                <a:lnTo>
                  <a:pt x="962" y="576"/>
                </a:lnTo>
                <a:lnTo>
                  <a:pt x="962" y="573"/>
                </a:lnTo>
                <a:lnTo>
                  <a:pt x="962" y="573"/>
                </a:lnTo>
                <a:lnTo>
                  <a:pt x="962" y="573"/>
                </a:lnTo>
                <a:lnTo>
                  <a:pt x="962" y="571"/>
                </a:lnTo>
                <a:lnTo>
                  <a:pt x="962" y="571"/>
                </a:lnTo>
                <a:lnTo>
                  <a:pt x="959" y="571"/>
                </a:lnTo>
                <a:lnTo>
                  <a:pt x="959" y="571"/>
                </a:lnTo>
                <a:lnTo>
                  <a:pt x="959" y="571"/>
                </a:lnTo>
                <a:lnTo>
                  <a:pt x="957" y="568"/>
                </a:lnTo>
                <a:lnTo>
                  <a:pt x="957" y="568"/>
                </a:lnTo>
                <a:lnTo>
                  <a:pt x="957" y="566"/>
                </a:lnTo>
                <a:lnTo>
                  <a:pt x="957" y="566"/>
                </a:lnTo>
                <a:lnTo>
                  <a:pt x="959" y="566"/>
                </a:lnTo>
                <a:lnTo>
                  <a:pt x="959" y="566"/>
                </a:lnTo>
                <a:lnTo>
                  <a:pt x="959" y="568"/>
                </a:lnTo>
                <a:lnTo>
                  <a:pt x="959" y="568"/>
                </a:lnTo>
                <a:lnTo>
                  <a:pt x="962" y="566"/>
                </a:lnTo>
                <a:lnTo>
                  <a:pt x="962" y="566"/>
                </a:lnTo>
                <a:lnTo>
                  <a:pt x="962" y="566"/>
                </a:lnTo>
                <a:lnTo>
                  <a:pt x="964" y="563"/>
                </a:lnTo>
                <a:lnTo>
                  <a:pt x="964" y="563"/>
                </a:lnTo>
                <a:lnTo>
                  <a:pt x="959" y="563"/>
                </a:lnTo>
                <a:lnTo>
                  <a:pt x="959" y="563"/>
                </a:lnTo>
                <a:lnTo>
                  <a:pt x="959" y="561"/>
                </a:lnTo>
                <a:lnTo>
                  <a:pt x="959" y="561"/>
                </a:lnTo>
                <a:lnTo>
                  <a:pt x="957" y="561"/>
                </a:lnTo>
                <a:lnTo>
                  <a:pt x="957" y="561"/>
                </a:lnTo>
                <a:lnTo>
                  <a:pt x="957" y="561"/>
                </a:lnTo>
                <a:lnTo>
                  <a:pt x="954" y="558"/>
                </a:lnTo>
                <a:lnTo>
                  <a:pt x="954" y="558"/>
                </a:lnTo>
                <a:lnTo>
                  <a:pt x="952" y="561"/>
                </a:lnTo>
                <a:lnTo>
                  <a:pt x="952" y="561"/>
                </a:lnTo>
                <a:lnTo>
                  <a:pt x="952" y="561"/>
                </a:lnTo>
                <a:lnTo>
                  <a:pt x="952" y="561"/>
                </a:lnTo>
                <a:lnTo>
                  <a:pt x="954" y="556"/>
                </a:lnTo>
                <a:lnTo>
                  <a:pt x="954" y="556"/>
                </a:lnTo>
                <a:lnTo>
                  <a:pt x="957" y="551"/>
                </a:lnTo>
                <a:lnTo>
                  <a:pt x="957" y="551"/>
                </a:lnTo>
                <a:lnTo>
                  <a:pt x="957" y="551"/>
                </a:lnTo>
                <a:lnTo>
                  <a:pt x="957" y="546"/>
                </a:lnTo>
                <a:lnTo>
                  <a:pt x="957" y="546"/>
                </a:lnTo>
                <a:lnTo>
                  <a:pt x="957" y="544"/>
                </a:lnTo>
                <a:lnTo>
                  <a:pt x="957" y="544"/>
                </a:lnTo>
                <a:lnTo>
                  <a:pt x="959" y="541"/>
                </a:lnTo>
                <a:lnTo>
                  <a:pt x="959" y="541"/>
                </a:lnTo>
                <a:lnTo>
                  <a:pt x="957" y="539"/>
                </a:lnTo>
                <a:lnTo>
                  <a:pt x="957" y="539"/>
                </a:lnTo>
                <a:lnTo>
                  <a:pt x="954" y="541"/>
                </a:lnTo>
                <a:lnTo>
                  <a:pt x="954" y="541"/>
                </a:lnTo>
                <a:lnTo>
                  <a:pt x="954" y="541"/>
                </a:lnTo>
                <a:lnTo>
                  <a:pt x="952" y="541"/>
                </a:lnTo>
                <a:lnTo>
                  <a:pt x="952" y="541"/>
                </a:lnTo>
                <a:lnTo>
                  <a:pt x="952" y="544"/>
                </a:lnTo>
                <a:lnTo>
                  <a:pt x="952" y="544"/>
                </a:lnTo>
                <a:lnTo>
                  <a:pt x="949" y="541"/>
                </a:lnTo>
                <a:lnTo>
                  <a:pt x="949" y="541"/>
                </a:lnTo>
                <a:lnTo>
                  <a:pt x="947" y="539"/>
                </a:lnTo>
                <a:lnTo>
                  <a:pt x="947" y="539"/>
                </a:lnTo>
                <a:lnTo>
                  <a:pt x="947" y="536"/>
                </a:lnTo>
                <a:lnTo>
                  <a:pt x="947" y="536"/>
                </a:lnTo>
                <a:lnTo>
                  <a:pt x="945" y="534"/>
                </a:lnTo>
                <a:lnTo>
                  <a:pt x="945" y="534"/>
                </a:lnTo>
                <a:lnTo>
                  <a:pt x="945" y="534"/>
                </a:lnTo>
                <a:lnTo>
                  <a:pt x="945" y="529"/>
                </a:lnTo>
                <a:lnTo>
                  <a:pt x="945" y="529"/>
                </a:lnTo>
                <a:lnTo>
                  <a:pt x="947" y="529"/>
                </a:lnTo>
                <a:lnTo>
                  <a:pt x="947" y="529"/>
                </a:lnTo>
                <a:lnTo>
                  <a:pt x="947" y="526"/>
                </a:lnTo>
                <a:lnTo>
                  <a:pt x="947" y="526"/>
                </a:lnTo>
                <a:lnTo>
                  <a:pt x="947" y="526"/>
                </a:lnTo>
                <a:lnTo>
                  <a:pt x="947" y="521"/>
                </a:lnTo>
                <a:lnTo>
                  <a:pt x="947" y="521"/>
                </a:lnTo>
                <a:lnTo>
                  <a:pt x="945" y="524"/>
                </a:lnTo>
                <a:lnTo>
                  <a:pt x="945" y="524"/>
                </a:lnTo>
                <a:lnTo>
                  <a:pt x="945" y="524"/>
                </a:lnTo>
                <a:lnTo>
                  <a:pt x="942" y="529"/>
                </a:lnTo>
                <a:lnTo>
                  <a:pt x="942" y="529"/>
                </a:lnTo>
                <a:lnTo>
                  <a:pt x="942" y="531"/>
                </a:lnTo>
                <a:lnTo>
                  <a:pt x="942" y="531"/>
                </a:lnTo>
                <a:lnTo>
                  <a:pt x="940" y="529"/>
                </a:lnTo>
                <a:lnTo>
                  <a:pt x="940" y="529"/>
                </a:lnTo>
                <a:lnTo>
                  <a:pt x="940" y="529"/>
                </a:lnTo>
                <a:lnTo>
                  <a:pt x="940" y="529"/>
                </a:lnTo>
                <a:lnTo>
                  <a:pt x="937" y="531"/>
                </a:lnTo>
                <a:lnTo>
                  <a:pt x="937" y="531"/>
                </a:lnTo>
                <a:lnTo>
                  <a:pt x="937" y="531"/>
                </a:lnTo>
                <a:lnTo>
                  <a:pt x="937" y="534"/>
                </a:lnTo>
                <a:lnTo>
                  <a:pt x="937" y="534"/>
                </a:lnTo>
                <a:lnTo>
                  <a:pt x="940" y="536"/>
                </a:lnTo>
                <a:lnTo>
                  <a:pt x="940" y="536"/>
                </a:lnTo>
                <a:lnTo>
                  <a:pt x="940" y="536"/>
                </a:lnTo>
                <a:lnTo>
                  <a:pt x="942" y="544"/>
                </a:lnTo>
                <a:lnTo>
                  <a:pt x="942" y="544"/>
                </a:lnTo>
                <a:lnTo>
                  <a:pt x="945" y="544"/>
                </a:lnTo>
                <a:lnTo>
                  <a:pt x="945" y="544"/>
                </a:lnTo>
                <a:lnTo>
                  <a:pt x="945" y="546"/>
                </a:lnTo>
                <a:lnTo>
                  <a:pt x="945" y="546"/>
                </a:lnTo>
                <a:lnTo>
                  <a:pt x="945" y="548"/>
                </a:lnTo>
                <a:lnTo>
                  <a:pt x="945" y="548"/>
                </a:lnTo>
                <a:lnTo>
                  <a:pt x="942" y="553"/>
                </a:lnTo>
                <a:lnTo>
                  <a:pt x="942" y="553"/>
                </a:lnTo>
                <a:lnTo>
                  <a:pt x="940" y="553"/>
                </a:lnTo>
                <a:lnTo>
                  <a:pt x="940" y="553"/>
                </a:lnTo>
                <a:lnTo>
                  <a:pt x="932" y="553"/>
                </a:lnTo>
                <a:lnTo>
                  <a:pt x="932" y="553"/>
                </a:lnTo>
                <a:lnTo>
                  <a:pt x="932" y="553"/>
                </a:lnTo>
                <a:lnTo>
                  <a:pt x="930" y="553"/>
                </a:lnTo>
                <a:lnTo>
                  <a:pt x="930" y="553"/>
                </a:lnTo>
                <a:lnTo>
                  <a:pt x="925" y="551"/>
                </a:lnTo>
                <a:lnTo>
                  <a:pt x="925" y="551"/>
                </a:lnTo>
                <a:lnTo>
                  <a:pt x="927" y="551"/>
                </a:lnTo>
                <a:lnTo>
                  <a:pt x="927" y="551"/>
                </a:lnTo>
                <a:lnTo>
                  <a:pt x="927" y="548"/>
                </a:lnTo>
                <a:lnTo>
                  <a:pt x="927" y="548"/>
                </a:lnTo>
                <a:lnTo>
                  <a:pt x="922" y="548"/>
                </a:lnTo>
                <a:lnTo>
                  <a:pt x="922" y="548"/>
                </a:lnTo>
                <a:lnTo>
                  <a:pt x="918" y="546"/>
                </a:lnTo>
                <a:lnTo>
                  <a:pt x="918" y="546"/>
                </a:lnTo>
                <a:lnTo>
                  <a:pt x="913" y="544"/>
                </a:lnTo>
                <a:lnTo>
                  <a:pt x="913" y="544"/>
                </a:lnTo>
                <a:lnTo>
                  <a:pt x="915" y="551"/>
                </a:lnTo>
                <a:lnTo>
                  <a:pt x="915" y="551"/>
                </a:lnTo>
                <a:lnTo>
                  <a:pt x="915" y="553"/>
                </a:lnTo>
                <a:lnTo>
                  <a:pt x="915" y="553"/>
                </a:lnTo>
                <a:lnTo>
                  <a:pt x="915" y="553"/>
                </a:lnTo>
                <a:lnTo>
                  <a:pt x="913" y="553"/>
                </a:lnTo>
                <a:lnTo>
                  <a:pt x="913" y="553"/>
                </a:lnTo>
                <a:lnTo>
                  <a:pt x="910" y="551"/>
                </a:lnTo>
                <a:lnTo>
                  <a:pt x="910" y="551"/>
                </a:lnTo>
                <a:lnTo>
                  <a:pt x="908" y="548"/>
                </a:lnTo>
                <a:lnTo>
                  <a:pt x="908" y="548"/>
                </a:lnTo>
                <a:lnTo>
                  <a:pt x="908" y="548"/>
                </a:lnTo>
                <a:lnTo>
                  <a:pt x="908" y="546"/>
                </a:lnTo>
                <a:lnTo>
                  <a:pt x="908" y="546"/>
                </a:lnTo>
                <a:lnTo>
                  <a:pt x="905" y="544"/>
                </a:lnTo>
                <a:lnTo>
                  <a:pt x="905" y="544"/>
                </a:lnTo>
                <a:lnTo>
                  <a:pt x="903" y="541"/>
                </a:lnTo>
                <a:lnTo>
                  <a:pt x="903" y="541"/>
                </a:lnTo>
                <a:lnTo>
                  <a:pt x="900" y="539"/>
                </a:lnTo>
                <a:lnTo>
                  <a:pt x="900" y="539"/>
                </a:lnTo>
                <a:lnTo>
                  <a:pt x="900" y="539"/>
                </a:lnTo>
                <a:lnTo>
                  <a:pt x="898" y="534"/>
                </a:lnTo>
                <a:lnTo>
                  <a:pt x="898" y="534"/>
                </a:lnTo>
                <a:lnTo>
                  <a:pt x="895" y="534"/>
                </a:lnTo>
                <a:lnTo>
                  <a:pt x="895" y="534"/>
                </a:lnTo>
                <a:lnTo>
                  <a:pt x="893" y="534"/>
                </a:lnTo>
                <a:lnTo>
                  <a:pt x="893" y="534"/>
                </a:lnTo>
                <a:lnTo>
                  <a:pt x="890" y="531"/>
                </a:lnTo>
                <a:lnTo>
                  <a:pt x="890" y="531"/>
                </a:lnTo>
                <a:lnTo>
                  <a:pt x="893" y="534"/>
                </a:lnTo>
                <a:lnTo>
                  <a:pt x="893" y="534"/>
                </a:lnTo>
                <a:lnTo>
                  <a:pt x="898" y="539"/>
                </a:lnTo>
                <a:lnTo>
                  <a:pt x="898" y="539"/>
                </a:lnTo>
                <a:lnTo>
                  <a:pt x="900" y="541"/>
                </a:lnTo>
                <a:lnTo>
                  <a:pt x="900" y="541"/>
                </a:lnTo>
                <a:lnTo>
                  <a:pt x="900" y="544"/>
                </a:lnTo>
                <a:lnTo>
                  <a:pt x="900" y="544"/>
                </a:lnTo>
                <a:lnTo>
                  <a:pt x="903" y="546"/>
                </a:lnTo>
                <a:lnTo>
                  <a:pt x="903" y="546"/>
                </a:lnTo>
                <a:lnTo>
                  <a:pt x="905" y="546"/>
                </a:lnTo>
                <a:lnTo>
                  <a:pt x="905" y="546"/>
                </a:lnTo>
                <a:lnTo>
                  <a:pt x="903" y="548"/>
                </a:lnTo>
                <a:lnTo>
                  <a:pt x="903" y="548"/>
                </a:lnTo>
                <a:lnTo>
                  <a:pt x="903" y="548"/>
                </a:lnTo>
                <a:lnTo>
                  <a:pt x="900" y="548"/>
                </a:lnTo>
                <a:lnTo>
                  <a:pt x="900" y="548"/>
                </a:lnTo>
                <a:lnTo>
                  <a:pt x="895" y="546"/>
                </a:lnTo>
                <a:lnTo>
                  <a:pt x="895" y="546"/>
                </a:lnTo>
                <a:lnTo>
                  <a:pt x="895" y="548"/>
                </a:lnTo>
                <a:lnTo>
                  <a:pt x="895" y="548"/>
                </a:lnTo>
                <a:lnTo>
                  <a:pt x="893" y="546"/>
                </a:lnTo>
                <a:lnTo>
                  <a:pt x="893" y="546"/>
                </a:lnTo>
                <a:lnTo>
                  <a:pt x="890" y="544"/>
                </a:lnTo>
                <a:lnTo>
                  <a:pt x="890" y="544"/>
                </a:lnTo>
                <a:lnTo>
                  <a:pt x="888" y="541"/>
                </a:lnTo>
                <a:lnTo>
                  <a:pt x="888" y="541"/>
                </a:lnTo>
                <a:lnTo>
                  <a:pt x="883" y="541"/>
                </a:lnTo>
                <a:lnTo>
                  <a:pt x="883" y="541"/>
                </a:lnTo>
                <a:lnTo>
                  <a:pt x="881" y="544"/>
                </a:lnTo>
                <a:lnTo>
                  <a:pt x="881" y="544"/>
                </a:lnTo>
                <a:lnTo>
                  <a:pt x="878" y="541"/>
                </a:lnTo>
                <a:lnTo>
                  <a:pt x="878" y="541"/>
                </a:lnTo>
                <a:lnTo>
                  <a:pt x="876" y="541"/>
                </a:lnTo>
                <a:lnTo>
                  <a:pt x="876" y="541"/>
                </a:lnTo>
                <a:lnTo>
                  <a:pt x="873" y="541"/>
                </a:lnTo>
                <a:lnTo>
                  <a:pt x="873" y="541"/>
                </a:lnTo>
                <a:lnTo>
                  <a:pt x="871" y="539"/>
                </a:lnTo>
                <a:lnTo>
                  <a:pt x="871" y="539"/>
                </a:lnTo>
                <a:lnTo>
                  <a:pt x="868" y="536"/>
                </a:lnTo>
                <a:lnTo>
                  <a:pt x="868" y="536"/>
                </a:lnTo>
                <a:lnTo>
                  <a:pt x="868" y="534"/>
                </a:lnTo>
                <a:lnTo>
                  <a:pt x="868" y="534"/>
                </a:lnTo>
                <a:lnTo>
                  <a:pt x="873" y="531"/>
                </a:lnTo>
                <a:lnTo>
                  <a:pt x="873" y="531"/>
                </a:lnTo>
                <a:lnTo>
                  <a:pt x="873" y="529"/>
                </a:lnTo>
                <a:lnTo>
                  <a:pt x="873" y="529"/>
                </a:lnTo>
                <a:lnTo>
                  <a:pt x="873" y="529"/>
                </a:lnTo>
                <a:lnTo>
                  <a:pt x="871" y="529"/>
                </a:lnTo>
                <a:lnTo>
                  <a:pt x="871" y="529"/>
                </a:lnTo>
                <a:lnTo>
                  <a:pt x="868" y="531"/>
                </a:lnTo>
                <a:lnTo>
                  <a:pt x="868" y="531"/>
                </a:lnTo>
                <a:lnTo>
                  <a:pt x="866" y="534"/>
                </a:lnTo>
                <a:lnTo>
                  <a:pt x="866" y="534"/>
                </a:lnTo>
                <a:lnTo>
                  <a:pt x="866" y="534"/>
                </a:lnTo>
                <a:lnTo>
                  <a:pt x="863" y="534"/>
                </a:lnTo>
                <a:lnTo>
                  <a:pt x="863" y="534"/>
                </a:lnTo>
                <a:lnTo>
                  <a:pt x="861" y="531"/>
                </a:lnTo>
                <a:lnTo>
                  <a:pt x="861" y="531"/>
                </a:lnTo>
                <a:lnTo>
                  <a:pt x="858" y="531"/>
                </a:lnTo>
                <a:lnTo>
                  <a:pt x="858" y="531"/>
                </a:lnTo>
                <a:lnTo>
                  <a:pt x="861" y="534"/>
                </a:lnTo>
                <a:lnTo>
                  <a:pt x="861" y="534"/>
                </a:lnTo>
                <a:lnTo>
                  <a:pt x="861" y="536"/>
                </a:lnTo>
                <a:lnTo>
                  <a:pt x="861" y="536"/>
                </a:lnTo>
                <a:lnTo>
                  <a:pt x="856" y="536"/>
                </a:lnTo>
                <a:lnTo>
                  <a:pt x="856" y="536"/>
                </a:lnTo>
                <a:lnTo>
                  <a:pt x="851" y="531"/>
                </a:lnTo>
                <a:lnTo>
                  <a:pt x="851" y="531"/>
                </a:lnTo>
                <a:lnTo>
                  <a:pt x="851" y="529"/>
                </a:lnTo>
                <a:lnTo>
                  <a:pt x="851" y="529"/>
                </a:lnTo>
                <a:lnTo>
                  <a:pt x="849" y="526"/>
                </a:lnTo>
                <a:lnTo>
                  <a:pt x="849" y="526"/>
                </a:lnTo>
                <a:lnTo>
                  <a:pt x="849" y="524"/>
                </a:lnTo>
                <a:lnTo>
                  <a:pt x="849" y="524"/>
                </a:lnTo>
                <a:lnTo>
                  <a:pt x="854" y="521"/>
                </a:lnTo>
                <a:lnTo>
                  <a:pt x="854" y="521"/>
                </a:lnTo>
                <a:lnTo>
                  <a:pt x="856" y="519"/>
                </a:lnTo>
                <a:lnTo>
                  <a:pt x="856" y="519"/>
                </a:lnTo>
                <a:lnTo>
                  <a:pt x="856" y="519"/>
                </a:lnTo>
                <a:lnTo>
                  <a:pt x="854" y="519"/>
                </a:lnTo>
                <a:lnTo>
                  <a:pt x="854" y="519"/>
                </a:lnTo>
                <a:lnTo>
                  <a:pt x="849" y="521"/>
                </a:lnTo>
                <a:lnTo>
                  <a:pt x="849" y="521"/>
                </a:lnTo>
                <a:lnTo>
                  <a:pt x="849" y="524"/>
                </a:lnTo>
                <a:lnTo>
                  <a:pt x="849" y="524"/>
                </a:lnTo>
                <a:lnTo>
                  <a:pt x="846" y="524"/>
                </a:lnTo>
                <a:lnTo>
                  <a:pt x="846" y="524"/>
                </a:lnTo>
                <a:lnTo>
                  <a:pt x="846" y="521"/>
                </a:lnTo>
                <a:lnTo>
                  <a:pt x="846" y="521"/>
                </a:lnTo>
                <a:lnTo>
                  <a:pt x="846" y="519"/>
                </a:lnTo>
                <a:lnTo>
                  <a:pt x="846" y="519"/>
                </a:lnTo>
                <a:lnTo>
                  <a:pt x="844" y="519"/>
                </a:lnTo>
                <a:lnTo>
                  <a:pt x="844" y="519"/>
                </a:lnTo>
                <a:lnTo>
                  <a:pt x="844" y="519"/>
                </a:lnTo>
                <a:lnTo>
                  <a:pt x="844" y="521"/>
                </a:lnTo>
                <a:lnTo>
                  <a:pt x="844" y="521"/>
                </a:lnTo>
                <a:lnTo>
                  <a:pt x="844" y="521"/>
                </a:lnTo>
                <a:lnTo>
                  <a:pt x="844" y="524"/>
                </a:lnTo>
                <a:lnTo>
                  <a:pt x="844" y="524"/>
                </a:lnTo>
                <a:lnTo>
                  <a:pt x="841" y="524"/>
                </a:lnTo>
                <a:lnTo>
                  <a:pt x="841" y="524"/>
                </a:lnTo>
                <a:lnTo>
                  <a:pt x="839" y="521"/>
                </a:lnTo>
                <a:lnTo>
                  <a:pt x="839" y="521"/>
                </a:lnTo>
                <a:lnTo>
                  <a:pt x="836" y="521"/>
                </a:lnTo>
                <a:lnTo>
                  <a:pt x="836" y="521"/>
                </a:lnTo>
                <a:lnTo>
                  <a:pt x="834" y="521"/>
                </a:lnTo>
                <a:lnTo>
                  <a:pt x="834" y="521"/>
                </a:lnTo>
                <a:lnTo>
                  <a:pt x="834" y="524"/>
                </a:lnTo>
                <a:lnTo>
                  <a:pt x="834" y="524"/>
                </a:lnTo>
                <a:lnTo>
                  <a:pt x="831" y="524"/>
                </a:lnTo>
                <a:lnTo>
                  <a:pt x="831" y="524"/>
                </a:lnTo>
                <a:lnTo>
                  <a:pt x="829" y="521"/>
                </a:lnTo>
                <a:lnTo>
                  <a:pt x="829" y="521"/>
                </a:lnTo>
                <a:lnTo>
                  <a:pt x="829" y="519"/>
                </a:lnTo>
                <a:lnTo>
                  <a:pt x="829" y="519"/>
                </a:lnTo>
                <a:lnTo>
                  <a:pt x="829" y="519"/>
                </a:lnTo>
                <a:lnTo>
                  <a:pt x="831" y="519"/>
                </a:lnTo>
                <a:lnTo>
                  <a:pt x="831" y="519"/>
                </a:lnTo>
                <a:lnTo>
                  <a:pt x="831" y="519"/>
                </a:lnTo>
                <a:lnTo>
                  <a:pt x="829" y="516"/>
                </a:lnTo>
                <a:lnTo>
                  <a:pt x="829" y="516"/>
                </a:lnTo>
                <a:lnTo>
                  <a:pt x="824" y="514"/>
                </a:lnTo>
                <a:lnTo>
                  <a:pt x="824" y="514"/>
                </a:lnTo>
                <a:lnTo>
                  <a:pt x="824" y="512"/>
                </a:lnTo>
                <a:lnTo>
                  <a:pt x="824" y="512"/>
                </a:lnTo>
                <a:lnTo>
                  <a:pt x="824" y="507"/>
                </a:lnTo>
                <a:lnTo>
                  <a:pt x="824" y="507"/>
                </a:lnTo>
                <a:lnTo>
                  <a:pt x="824" y="504"/>
                </a:lnTo>
                <a:lnTo>
                  <a:pt x="824" y="504"/>
                </a:lnTo>
                <a:lnTo>
                  <a:pt x="824" y="499"/>
                </a:lnTo>
                <a:lnTo>
                  <a:pt x="824" y="499"/>
                </a:lnTo>
                <a:lnTo>
                  <a:pt x="824" y="497"/>
                </a:lnTo>
                <a:lnTo>
                  <a:pt x="824" y="497"/>
                </a:lnTo>
                <a:lnTo>
                  <a:pt x="826" y="497"/>
                </a:lnTo>
                <a:lnTo>
                  <a:pt x="826" y="497"/>
                </a:lnTo>
                <a:lnTo>
                  <a:pt x="826" y="494"/>
                </a:lnTo>
                <a:lnTo>
                  <a:pt x="826" y="494"/>
                </a:lnTo>
                <a:lnTo>
                  <a:pt x="824" y="492"/>
                </a:lnTo>
                <a:lnTo>
                  <a:pt x="824" y="492"/>
                </a:lnTo>
                <a:lnTo>
                  <a:pt x="826" y="489"/>
                </a:lnTo>
                <a:lnTo>
                  <a:pt x="826" y="489"/>
                </a:lnTo>
                <a:lnTo>
                  <a:pt x="829" y="492"/>
                </a:lnTo>
                <a:lnTo>
                  <a:pt x="829" y="492"/>
                </a:lnTo>
                <a:lnTo>
                  <a:pt x="829" y="492"/>
                </a:lnTo>
                <a:lnTo>
                  <a:pt x="834" y="492"/>
                </a:lnTo>
                <a:lnTo>
                  <a:pt x="834" y="492"/>
                </a:lnTo>
                <a:lnTo>
                  <a:pt x="836" y="494"/>
                </a:lnTo>
                <a:lnTo>
                  <a:pt x="836" y="494"/>
                </a:lnTo>
                <a:lnTo>
                  <a:pt x="839" y="497"/>
                </a:lnTo>
                <a:lnTo>
                  <a:pt x="839" y="497"/>
                </a:lnTo>
                <a:lnTo>
                  <a:pt x="844" y="499"/>
                </a:lnTo>
                <a:lnTo>
                  <a:pt x="844" y="499"/>
                </a:lnTo>
                <a:lnTo>
                  <a:pt x="849" y="499"/>
                </a:lnTo>
                <a:lnTo>
                  <a:pt x="849" y="499"/>
                </a:lnTo>
                <a:lnTo>
                  <a:pt x="849" y="499"/>
                </a:lnTo>
                <a:lnTo>
                  <a:pt x="854" y="499"/>
                </a:lnTo>
                <a:lnTo>
                  <a:pt x="854" y="499"/>
                </a:lnTo>
                <a:lnTo>
                  <a:pt x="851" y="497"/>
                </a:lnTo>
                <a:lnTo>
                  <a:pt x="851" y="497"/>
                </a:lnTo>
                <a:lnTo>
                  <a:pt x="851" y="494"/>
                </a:lnTo>
                <a:lnTo>
                  <a:pt x="851" y="494"/>
                </a:lnTo>
                <a:lnTo>
                  <a:pt x="849" y="492"/>
                </a:lnTo>
                <a:lnTo>
                  <a:pt x="849" y="492"/>
                </a:lnTo>
                <a:lnTo>
                  <a:pt x="846" y="489"/>
                </a:lnTo>
                <a:lnTo>
                  <a:pt x="846" y="489"/>
                </a:lnTo>
                <a:lnTo>
                  <a:pt x="844" y="489"/>
                </a:lnTo>
                <a:lnTo>
                  <a:pt x="844" y="489"/>
                </a:lnTo>
                <a:lnTo>
                  <a:pt x="839" y="487"/>
                </a:lnTo>
                <a:lnTo>
                  <a:pt x="839" y="487"/>
                </a:lnTo>
                <a:lnTo>
                  <a:pt x="839" y="487"/>
                </a:lnTo>
                <a:lnTo>
                  <a:pt x="834" y="485"/>
                </a:lnTo>
                <a:lnTo>
                  <a:pt x="834" y="485"/>
                </a:lnTo>
                <a:lnTo>
                  <a:pt x="831" y="485"/>
                </a:lnTo>
                <a:lnTo>
                  <a:pt x="831" y="485"/>
                </a:lnTo>
                <a:lnTo>
                  <a:pt x="826" y="482"/>
                </a:lnTo>
                <a:lnTo>
                  <a:pt x="826" y="482"/>
                </a:lnTo>
                <a:lnTo>
                  <a:pt x="824" y="480"/>
                </a:lnTo>
                <a:lnTo>
                  <a:pt x="824" y="480"/>
                </a:lnTo>
                <a:lnTo>
                  <a:pt x="824" y="475"/>
                </a:lnTo>
                <a:lnTo>
                  <a:pt x="824" y="475"/>
                </a:lnTo>
                <a:lnTo>
                  <a:pt x="829" y="472"/>
                </a:lnTo>
                <a:lnTo>
                  <a:pt x="829" y="472"/>
                </a:lnTo>
                <a:lnTo>
                  <a:pt x="826" y="470"/>
                </a:lnTo>
                <a:lnTo>
                  <a:pt x="826" y="470"/>
                </a:lnTo>
                <a:lnTo>
                  <a:pt x="829" y="467"/>
                </a:lnTo>
                <a:lnTo>
                  <a:pt x="829" y="467"/>
                </a:lnTo>
                <a:lnTo>
                  <a:pt x="831" y="467"/>
                </a:lnTo>
                <a:lnTo>
                  <a:pt x="831" y="467"/>
                </a:lnTo>
                <a:lnTo>
                  <a:pt x="831" y="462"/>
                </a:lnTo>
                <a:lnTo>
                  <a:pt x="831" y="462"/>
                </a:lnTo>
                <a:lnTo>
                  <a:pt x="831" y="457"/>
                </a:lnTo>
                <a:lnTo>
                  <a:pt x="831" y="457"/>
                </a:lnTo>
                <a:lnTo>
                  <a:pt x="834" y="455"/>
                </a:lnTo>
                <a:lnTo>
                  <a:pt x="834" y="455"/>
                </a:lnTo>
                <a:lnTo>
                  <a:pt x="836" y="455"/>
                </a:lnTo>
                <a:lnTo>
                  <a:pt x="836" y="455"/>
                </a:lnTo>
                <a:lnTo>
                  <a:pt x="836" y="453"/>
                </a:lnTo>
                <a:lnTo>
                  <a:pt x="836" y="453"/>
                </a:lnTo>
                <a:lnTo>
                  <a:pt x="841" y="450"/>
                </a:lnTo>
                <a:lnTo>
                  <a:pt x="841" y="450"/>
                </a:lnTo>
                <a:lnTo>
                  <a:pt x="844" y="450"/>
                </a:lnTo>
                <a:lnTo>
                  <a:pt x="844" y="450"/>
                </a:lnTo>
                <a:lnTo>
                  <a:pt x="844" y="448"/>
                </a:lnTo>
                <a:lnTo>
                  <a:pt x="844" y="448"/>
                </a:lnTo>
                <a:lnTo>
                  <a:pt x="844" y="448"/>
                </a:lnTo>
                <a:lnTo>
                  <a:pt x="841" y="448"/>
                </a:lnTo>
                <a:lnTo>
                  <a:pt x="841" y="448"/>
                </a:lnTo>
                <a:lnTo>
                  <a:pt x="841" y="445"/>
                </a:lnTo>
                <a:lnTo>
                  <a:pt x="841" y="445"/>
                </a:lnTo>
                <a:lnTo>
                  <a:pt x="844" y="440"/>
                </a:lnTo>
                <a:lnTo>
                  <a:pt x="844" y="440"/>
                </a:lnTo>
                <a:lnTo>
                  <a:pt x="846" y="438"/>
                </a:lnTo>
                <a:lnTo>
                  <a:pt x="846" y="438"/>
                </a:lnTo>
                <a:lnTo>
                  <a:pt x="849" y="435"/>
                </a:lnTo>
                <a:lnTo>
                  <a:pt x="849" y="435"/>
                </a:lnTo>
                <a:lnTo>
                  <a:pt x="851" y="433"/>
                </a:lnTo>
                <a:lnTo>
                  <a:pt x="851" y="433"/>
                </a:lnTo>
                <a:lnTo>
                  <a:pt x="851" y="433"/>
                </a:lnTo>
                <a:lnTo>
                  <a:pt x="854" y="433"/>
                </a:lnTo>
                <a:lnTo>
                  <a:pt x="854" y="433"/>
                </a:lnTo>
                <a:lnTo>
                  <a:pt x="854" y="428"/>
                </a:lnTo>
                <a:lnTo>
                  <a:pt x="854" y="428"/>
                </a:lnTo>
                <a:lnTo>
                  <a:pt x="856" y="428"/>
                </a:lnTo>
                <a:lnTo>
                  <a:pt x="856" y="428"/>
                </a:lnTo>
                <a:lnTo>
                  <a:pt x="856" y="430"/>
                </a:lnTo>
                <a:lnTo>
                  <a:pt x="856" y="430"/>
                </a:lnTo>
                <a:lnTo>
                  <a:pt x="858" y="428"/>
                </a:lnTo>
                <a:lnTo>
                  <a:pt x="858" y="428"/>
                </a:lnTo>
                <a:lnTo>
                  <a:pt x="858" y="425"/>
                </a:lnTo>
                <a:lnTo>
                  <a:pt x="858" y="425"/>
                </a:lnTo>
                <a:lnTo>
                  <a:pt x="861" y="421"/>
                </a:lnTo>
                <a:lnTo>
                  <a:pt x="861" y="421"/>
                </a:lnTo>
                <a:lnTo>
                  <a:pt x="863" y="421"/>
                </a:lnTo>
                <a:lnTo>
                  <a:pt x="863" y="421"/>
                </a:lnTo>
                <a:lnTo>
                  <a:pt x="863" y="418"/>
                </a:lnTo>
                <a:lnTo>
                  <a:pt x="863" y="418"/>
                </a:lnTo>
                <a:lnTo>
                  <a:pt x="866" y="416"/>
                </a:lnTo>
                <a:lnTo>
                  <a:pt x="866" y="416"/>
                </a:lnTo>
                <a:lnTo>
                  <a:pt x="868" y="416"/>
                </a:lnTo>
                <a:lnTo>
                  <a:pt x="868" y="416"/>
                </a:lnTo>
                <a:lnTo>
                  <a:pt x="871" y="413"/>
                </a:lnTo>
                <a:lnTo>
                  <a:pt x="871" y="413"/>
                </a:lnTo>
                <a:lnTo>
                  <a:pt x="873" y="413"/>
                </a:lnTo>
                <a:lnTo>
                  <a:pt x="873" y="413"/>
                </a:lnTo>
                <a:lnTo>
                  <a:pt x="876" y="413"/>
                </a:lnTo>
                <a:lnTo>
                  <a:pt x="876" y="413"/>
                </a:lnTo>
                <a:lnTo>
                  <a:pt x="873" y="411"/>
                </a:lnTo>
                <a:lnTo>
                  <a:pt x="873" y="411"/>
                </a:lnTo>
                <a:lnTo>
                  <a:pt x="876" y="408"/>
                </a:lnTo>
                <a:lnTo>
                  <a:pt x="876" y="408"/>
                </a:lnTo>
                <a:lnTo>
                  <a:pt x="881" y="406"/>
                </a:lnTo>
                <a:lnTo>
                  <a:pt x="881" y="406"/>
                </a:lnTo>
                <a:lnTo>
                  <a:pt x="886" y="401"/>
                </a:lnTo>
                <a:lnTo>
                  <a:pt x="886" y="401"/>
                </a:lnTo>
                <a:lnTo>
                  <a:pt x="893" y="398"/>
                </a:lnTo>
                <a:lnTo>
                  <a:pt x="893" y="398"/>
                </a:lnTo>
                <a:lnTo>
                  <a:pt x="900" y="398"/>
                </a:lnTo>
                <a:lnTo>
                  <a:pt x="900" y="398"/>
                </a:lnTo>
                <a:lnTo>
                  <a:pt x="903" y="396"/>
                </a:lnTo>
                <a:lnTo>
                  <a:pt x="903" y="396"/>
                </a:lnTo>
                <a:lnTo>
                  <a:pt x="905" y="396"/>
                </a:lnTo>
                <a:lnTo>
                  <a:pt x="905" y="396"/>
                </a:lnTo>
                <a:lnTo>
                  <a:pt x="908" y="396"/>
                </a:lnTo>
                <a:lnTo>
                  <a:pt x="908" y="396"/>
                </a:lnTo>
                <a:lnTo>
                  <a:pt x="910" y="396"/>
                </a:lnTo>
                <a:lnTo>
                  <a:pt x="910" y="396"/>
                </a:lnTo>
                <a:lnTo>
                  <a:pt x="915" y="396"/>
                </a:lnTo>
                <a:lnTo>
                  <a:pt x="915" y="396"/>
                </a:lnTo>
                <a:lnTo>
                  <a:pt x="918" y="398"/>
                </a:lnTo>
                <a:lnTo>
                  <a:pt x="918" y="398"/>
                </a:lnTo>
                <a:lnTo>
                  <a:pt x="925" y="403"/>
                </a:lnTo>
                <a:lnTo>
                  <a:pt x="925" y="403"/>
                </a:lnTo>
                <a:lnTo>
                  <a:pt x="925" y="403"/>
                </a:lnTo>
                <a:lnTo>
                  <a:pt x="925" y="406"/>
                </a:lnTo>
                <a:lnTo>
                  <a:pt x="925" y="406"/>
                </a:lnTo>
                <a:lnTo>
                  <a:pt x="920" y="408"/>
                </a:lnTo>
                <a:lnTo>
                  <a:pt x="920" y="408"/>
                </a:lnTo>
                <a:lnTo>
                  <a:pt x="915" y="411"/>
                </a:lnTo>
                <a:lnTo>
                  <a:pt x="915" y="411"/>
                </a:lnTo>
                <a:lnTo>
                  <a:pt x="913" y="411"/>
                </a:lnTo>
                <a:lnTo>
                  <a:pt x="913" y="411"/>
                </a:lnTo>
                <a:lnTo>
                  <a:pt x="910" y="413"/>
                </a:lnTo>
                <a:lnTo>
                  <a:pt x="910" y="413"/>
                </a:lnTo>
                <a:lnTo>
                  <a:pt x="908" y="416"/>
                </a:lnTo>
                <a:lnTo>
                  <a:pt x="908" y="416"/>
                </a:lnTo>
                <a:lnTo>
                  <a:pt x="905" y="416"/>
                </a:lnTo>
                <a:lnTo>
                  <a:pt x="905" y="416"/>
                </a:lnTo>
                <a:lnTo>
                  <a:pt x="900" y="423"/>
                </a:lnTo>
                <a:lnTo>
                  <a:pt x="900" y="423"/>
                </a:lnTo>
                <a:lnTo>
                  <a:pt x="893" y="428"/>
                </a:lnTo>
                <a:lnTo>
                  <a:pt x="893" y="428"/>
                </a:lnTo>
                <a:lnTo>
                  <a:pt x="890" y="433"/>
                </a:lnTo>
                <a:lnTo>
                  <a:pt x="890" y="433"/>
                </a:lnTo>
                <a:lnTo>
                  <a:pt x="888" y="433"/>
                </a:lnTo>
                <a:lnTo>
                  <a:pt x="888" y="433"/>
                </a:lnTo>
                <a:lnTo>
                  <a:pt x="886" y="438"/>
                </a:lnTo>
                <a:lnTo>
                  <a:pt x="886" y="438"/>
                </a:lnTo>
                <a:lnTo>
                  <a:pt x="883" y="443"/>
                </a:lnTo>
                <a:lnTo>
                  <a:pt x="883" y="443"/>
                </a:lnTo>
                <a:lnTo>
                  <a:pt x="886" y="445"/>
                </a:lnTo>
                <a:lnTo>
                  <a:pt x="886" y="445"/>
                </a:lnTo>
                <a:lnTo>
                  <a:pt x="888" y="448"/>
                </a:lnTo>
                <a:lnTo>
                  <a:pt x="888" y="448"/>
                </a:lnTo>
                <a:lnTo>
                  <a:pt x="888" y="450"/>
                </a:lnTo>
                <a:lnTo>
                  <a:pt x="888" y="450"/>
                </a:lnTo>
                <a:lnTo>
                  <a:pt x="886" y="453"/>
                </a:lnTo>
                <a:lnTo>
                  <a:pt x="886" y="453"/>
                </a:lnTo>
                <a:lnTo>
                  <a:pt x="883" y="455"/>
                </a:lnTo>
                <a:lnTo>
                  <a:pt x="883" y="455"/>
                </a:lnTo>
                <a:lnTo>
                  <a:pt x="881" y="457"/>
                </a:lnTo>
                <a:lnTo>
                  <a:pt x="881" y="457"/>
                </a:lnTo>
                <a:lnTo>
                  <a:pt x="878" y="460"/>
                </a:lnTo>
                <a:lnTo>
                  <a:pt x="878" y="460"/>
                </a:lnTo>
                <a:lnTo>
                  <a:pt x="878" y="465"/>
                </a:lnTo>
                <a:lnTo>
                  <a:pt x="878" y="465"/>
                </a:lnTo>
                <a:lnTo>
                  <a:pt x="876" y="465"/>
                </a:lnTo>
                <a:lnTo>
                  <a:pt x="876" y="465"/>
                </a:lnTo>
                <a:lnTo>
                  <a:pt x="876" y="467"/>
                </a:lnTo>
                <a:lnTo>
                  <a:pt x="876" y="467"/>
                </a:lnTo>
                <a:lnTo>
                  <a:pt x="878" y="470"/>
                </a:lnTo>
                <a:lnTo>
                  <a:pt x="878" y="470"/>
                </a:lnTo>
                <a:lnTo>
                  <a:pt x="878" y="475"/>
                </a:lnTo>
                <a:lnTo>
                  <a:pt x="878" y="475"/>
                </a:lnTo>
                <a:lnTo>
                  <a:pt x="878" y="477"/>
                </a:lnTo>
                <a:lnTo>
                  <a:pt x="878" y="477"/>
                </a:lnTo>
                <a:lnTo>
                  <a:pt x="878" y="482"/>
                </a:lnTo>
                <a:lnTo>
                  <a:pt x="878" y="482"/>
                </a:lnTo>
                <a:lnTo>
                  <a:pt x="881" y="485"/>
                </a:lnTo>
                <a:lnTo>
                  <a:pt x="881" y="485"/>
                </a:lnTo>
                <a:lnTo>
                  <a:pt x="883" y="487"/>
                </a:lnTo>
                <a:lnTo>
                  <a:pt x="883" y="487"/>
                </a:lnTo>
                <a:lnTo>
                  <a:pt x="886" y="487"/>
                </a:lnTo>
                <a:lnTo>
                  <a:pt x="886" y="487"/>
                </a:lnTo>
                <a:lnTo>
                  <a:pt x="886" y="492"/>
                </a:lnTo>
                <a:lnTo>
                  <a:pt x="886" y="492"/>
                </a:lnTo>
                <a:lnTo>
                  <a:pt x="883" y="494"/>
                </a:lnTo>
                <a:lnTo>
                  <a:pt x="883" y="494"/>
                </a:lnTo>
                <a:lnTo>
                  <a:pt x="883" y="492"/>
                </a:lnTo>
                <a:lnTo>
                  <a:pt x="883" y="492"/>
                </a:lnTo>
                <a:lnTo>
                  <a:pt x="881" y="492"/>
                </a:lnTo>
                <a:lnTo>
                  <a:pt x="881" y="492"/>
                </a:lnTo>
                <a:lnTo>
                  <a:pt x="881" y="492"/>
                </a:lnTo>
                <a:lnTo>
                  <a:pt x="878" y="492"/>
                </a:lnTo>
                <a:lnTo>
                  <a:pt x="878" y="492"/>
                </a:lnTo>
                <a:lnTo>
                  <a:pt x="878" y="494"/>
                </a:lnTo>
                <a:lnTo>
                  <a:pt x="878" y="494"/>
                </a:lnTo>
                <a:lnTo>
                  <a:pt x="876" y="494"/>
                </a:lnTo>
                <a:lnTo>
                  <a:pt x="876" y="494"/>
                </a:lnTo>
                <a:lnTo>
                  <a:pt x="876" y="494"/>
                </a:lnTo>
                <a:lnTo>
                  <a:pt x="878" y="497"/>
                </a:lnTo>
                <a:lnTo>
                  <a:pt x="878" y="497"/>
                </a:lnTo>
                <a:lnTo>
                  <a:pt x="881" y="497"/>
                </a:lnTo>
                <a:lnTo>
                  <a:pt x="881" y="497"/>
                </a:lnTo>
                <a:lnTo>
                  <a:pt x="881" y="497"/>
                </a:lnTo>
                <a:lnTo>
                  <a:pt x="883" y="497"/>
                </a:lnTo>
                <a:lnTo>
                  <a:pt x="883" y="497"/>
                </a:lnTo>
                <a:lnTo>
                  <a:pt x="881" y="499"/>
                </a:lnTo>
                <a:lnTo>
                  <a:pt x="881" y="499"/>
                </a:lnTo>
                <a:lnTo>
                  <a:pt x="878" y="504"/>
                </a:lnTo>
                <a:lnTo>
                  <a:pt x="878" y="504"/>
                </a:lnTo>
                <a:lnTo>
                  <a:pt x="878" y="507"/>
                </a:lnTo>
                <a:lnTo>
                  <a:pt x="878" y="507"/>
                </a:lnTo>
                <a:lnTo>
                  <a:pt x="878" y="509"/>
                </a:lnTo>
                <a:lnTo>
                  <a:pt x="878" y="509"/>
                </a:lnTo>
                <a:lnTo>
                  <a:pt x="883" y="504"/>
                </a:lnTo>
                <a:lnTo>
                  <a:pt x="883" y="504"/>
                </a:lnTo>
                <a:lnTo>
                  <a:pt x="883" y="504"/>
                </a:lnTo>
                <a:lnTo>
                  <a:pt x="886" y="497"/>
                </a:lnTo>
                <a:lnTo>
                  <a:pt x="886" y="497"/>
                </a:lnTo>
                <a:lnTo>
                  <a:pt x="886" y="497"/>
                </a:lnTo>
                <a:lnTo>
                  <a:pt x="888" y="489"/>
                </a:lnTo>
                <a:lnTo>
                  <a:pt x="888" y="489"/>
                </a:lnTo>
                <a:lnTo>
                  <a:pt x="888" y="489"/>
                </a:lnTo>
                <a:lnTo>
                  <a:pt x="890" y="487"/>
                </a:lnTo>
                <a:lnTo>
                  <a:pt x="890" y="487"/>
                </a:lnTo>
                <a:lnTo>
                  <a:pt x="890" y="485"/>
                </a:lnTo>
                <a:lnTo>
                  <a:pt x="890" y="485"/>
                </a:lnTo>
                <a:lnTo>
                  <a:pt x="890" y="482"/>
                </a:lnTo>
                <a:lnTo>
                  <a:pt x="890" y="482"/>
                </a:lnTo>
                <a:lnTo>
                  <a:pt x="890" y="480"/>
                </a:lnTo>
                <a:lnTo>
                  <a:pt x="890" y="480"/>
                </a:lnTo>
                <a:lnTo>
                  <a:pt x="888" y="480"/>
                </a:lnTo>
                <a:lnTo>
                  <a:pt x="888" y="480"/>
                </a:lnTo>
                <a:lnTo>
                  <a:pt x="888" y="477"/>
                </a:lnTo>
                <a:lnTo>
                  <a:pt x="888" y="477"/>
                </a:lnTo>
                <a:lnTo>
                  <a:pt x="888" y="475"/>
                </a:lnTo>
                <a:lnTo>
                  <a:pt x="888" y="475"/>
                </a:lnTo>
                <a:lnTo>
                  <a:pt x="886" y="475"/>
                </a:lnTo>
                <a:lnTo>
                  <a:pt x="886" y="475"/>
                </a:lnTo>
                <a:lnTo>
                  <a:pt x="886" y="470"/>
                </a:lnTo>
                <a:lnTo>
                  <a:pt x="886" y="470"/>
                </a:lnTo>
                <a:lnTo>
                  <a:pt x="886" y="467"/>
                </a:lnTo>
                <a:lnTo>
                  <a:pt x="886" y="467"/>
                </a:lnTo>
                <a:lnTo>
                  <a:pt x="883" y="462"/>
                </a:lnTo>
                <a:lnTo>
                  <a:pt x="883" y="462"/>
                </a:lnTo>
                <a:lnTo>
                  <a:pt x="886" y="462"/>
                </a:lnTo>
                <a:lnTo>
                  <a:pt x="886" y="462"/>
                </a:lnTo>
                <a:lnTo>
                  <a:pt x="886" y="465"/>
                </a:lnTo>
                <a:lnTo>
                  <a:pt x="886" y="465"/>
                </a:lnTo>
                <a:lnTo>
                  <a:pt x="888" y="465"/>
                </a:lnTo>
                <a:lnTo>
                  <a:pt x="888" y="465"/>
                </a:lnTo>
                <a:lnTo>
                  <a:pt x="890" y="462"/>
                </a:lnTo>
                <a:lnTo>
                  <a:pt x="890" y="462"/>
                </a:lnTo>
                <a:lnTo>
                  <a:pt x="893" y="460"/>
                </a:lnTo>
                <a:lnTo>
                  <a:pt x="893" y="460"/>
                </a:lnTo>
                <a:lnTo>
                  <a:pt x="893" y="457"/>
                </a:lnTo>
                <a:lnTo>
                  <a:pt x="893" y="457"/>
                </a:lnTo>
                <a:lnTo>
                  <a:pt x="893" y="455"/>
                </a:lnTo>
                <a:lnTo>
                  <a:pt x="893" y="455"/>
                </a:lnTo>
                <a:lnTo>
                  <a:pt x="895" y="457"/>
                </a:lnTo>
                <a:lnTo>
                  <a:pt x="895" y="457"/>
                </a:lnTo>
                <a:lnTo>
                  <a:pt x="898" y="460"/>
                </a:lnTo>
                <a:lnTo>
                  <a:pt x="898" y="460"/>
                </a:lnTo>
                <a:lnTo>
                  <a:pt x="898" y="462"/>
                </a:lnTo>
                <a:lnTo>
                  <a:pt x="898" y="462"/>
                </a:lnTo>
                <a:lnTo>
                  <a:pt x="898" y="465"/>
                </a:lnTo>
                <a:lnTo>
                  <a:pt x="898" y="465"/>
                </a:lnTo>
                <a:lnTo>
                  <a:pt x="900" y="462"/>
                </a:lnTo>
                <a:lnTo>
                  <a:pt x="900" y="462"/>
                </a:lnTo>
                <a:lnTo>
                  <a:pt x="900" y="457"/>
                </a:lnTo>
                <a:lnTo>
                  <a:pt x="900" y="457"/>
                </a:lnTo>
                <a:lnTo>
                  <a:pt x="903" y="455"/>
                </a:lnTo>
                <a:lnTo>
                  <a:pt x="903" y="455"/>
                </a:lnTo>
                <a:lnTo>
                  <a:pt x="905" y="455"/>
                </a:lnTo>
                <a:lnTo>
                  <a:pt x="905" y="455"/>
                </a:lnTo>
                <a:lnTo>
                  <a:pt x="905" y="455"/>
                </a:lnTo>
                <a:lnTo>
                  <a:pt x="905" y="453"/>
                </a:lnTo>
                <a:lnTo>
                  <a:pt x="905" y="453"/>
                </a:lnTo>
                <a:lnTo>
                  <a:pt x="908" y="453"/>
                </a:lnTo>
                <a:lnTo>
                  <a:pt x="908" y="453"/>
                </a:lnTo>
                <a:lnTo>
                  <a:pt x="908" y="450"/>
                </a:lnTo>
                <a:lnTo>
                  <a:pt x="908" y="450"/>
                </a:lnTo>
                <a:lnTo>
                  <a:pt x="905" y="450"/>
                </a:lnTo>
                <a:lnTo>
                  <a:pt x="905" y="450"/>
                </a:lnTo>
                <a:lnTo>
                  <a:pt x="900" y="455"/>
                </a:lnTo>
                <a:lnTo>
                  <a:pt x="900" y="455"/>
                </a:lnTo>
                <a:lnTo>
                  <a:pt x="898" y="455"/>
                </a:lnTo>
                <a:lnTo>
                  <a:pt x="898" y="455"/>
                </a:lnTo>
                <a:lnTo>
                  <a:pt x="898" y="450"/>
                </a:lnTo>
                <a:lnTo>
                  <a:pt x="898" y="450"/>
                </a:lnTo>
                <a:lnTo>
                  <a:pt x="895" y="450"/>
                </a:lnTo>
                <a:lnTo>
                  <a:pt x="895" y="450"/>
                </a:lnTo>
                <a:lnTo>
                  <a:pt x="895" y="448"/>
                </a:lnTo>
                <a:lnTo>
                  <a:pt x="895" y="448"/>
                </a:lnTo>
                <a:lnTo>
                  <a:pt x="900" y="445"/>
                </a:lnTo>
                <a:lnTo>
                  <a:pt x="900" y="445"/>
                </a:lnTo>
                <a:lnTo>
                  <a:pt x="898" y="443"/>
                </a:lnTo>
                <a:lnTo>
                  <a:pt x="898" y="443"/>
                </a:lnTo>
                <a:lnTo>
                  <a:pt x="898" y="440"/>
                </a:lnTo>
                <a:lnTo>
                  <a:pt x="898" y="440"/>
                </a:lnTo>
                <a:lnTo>
                  <a:pt x="900" y="435"/>
                </a:lnTo>
                <a:lnTo>
                  <a:pt x="900" y="435"/>
                </a:lnTo>
                <a:lnTo>
                  <a:pt x="900" y="433"/>
                </a:lnTo>
                <a:lnTo>
                  <a:pt x="900" y="433"/>
                </a:lnTo>
                <a:lnTo>
                  <a:pt x="903" y="430"/>
                </a:lnTo>
                <a:lnTo>
                  <a:pt x="903" y="430"/>
                </a:lnTo>
                <a:lnTo>
                  <a:pt x="908" y="430"/>
                </a:lnTo>
                <a:lnTo>
                  <a:pt x="908" y="430"/>
                </a:lnTo>
                <a:lnTo>
                  <a:pt x="910" y="433"/>
                </a:lnTo>
                <a:lnTo>
                  <a:pt x="910" y="433"/>
                </a:lnTo>
                <a:lnTo>
                  <a:pt x="910" y="435"/>
                </a:lnTo>
                <a:lnTo>
                  <a:pt x="910" y="435"/>
                </a:lnTo>
                <a:lnTo>
                  <a:pt x="915" y="438"/>
                </a:lnTo>
                <a:lnTo>
                  <a:pt x="915" y="438"/>
                </a:lnTo>
                <a:lnTo>
                  <a:pt x="915" y="440"/>
                </a:lnTo>
                <a:lnTo>
                  <a:pt x="915" y="440"/>
                </a:lnTo>
                <a:lnTo>
                  <a:pt x="918" y="440"/>
                </a:lnTo>
                <a:lnTo>
                  <a:pt x="918" y="440"/>
                </a:lnTo>
                <a:lnTo>
                  <a:pt x="918" y="440"/>
                </a:lnTo>
                <a:lnTo>
                  <a:pt x="915" y="438"/>
                </a:lnTo>
                <a:lnTo>
                  <a:pt x="915" y="438"/>
                </a:lnTo>
                <a:lnTo>
                  <a:pt x="913" y="435"/>
                </a:lnTo>
                <a:lnTo>
                  <a:pt x="913" y="435"/>
                </a:lnTo>
                <a:lnTo>
                  <a:pt x="910" y="430"/>
                </a:lnTo>
                <a:lnTo>
                  <a:pt x="910" y="430"/>
                </a:lnTo>
                <a:lnTo>
                  <a:pt x="910" y="430"/>
                </a:lnTo>
                <a:lnTo>
                  <a:pt x="908" y="430"/>
                </a:lnTo>
                <a:lnTo>
                  <a:pt x="908" y="430"/>
                </a:lnTo>
                <a:lnTo>
                  <a:pt x="905" y="428"/>
                </a:lnTo>
                <a:lnTo>
                  <a:pt x="905" y="428"/>
                </a:lnTo>
                <a:lnTo>
                  <a:pt x="905" y="428"/>
                </a:lnTo>
                <a:lnTo>
                  <a:pt x="913" y="428"/>
                </a:lnTo>
                <a:lnTo>
                  <a:pt x="913" y="428"/>
                </a:lnTo>
                <a:lnTo>
                  <a:pt x="913" y="425"/>
                </a:lnTo>
                <a:lnTo>
                  <a:pt x="913" y="425"/>
                </a:lnTo>
                <a:lnTo>
                  <a:pt x="913" y="425"/>
                </a:lnTo>
                <a:lnTo>
                  <a:pt x="918" y="430"/>
                </a:lnTo>
                <a:lnTo>
                  <a:pt x="918" y="430"/>
                </a:lnTo>
                <a:lnTo>
                  <a:pt x="922" y="433"/>
                </a:lnTo>
                <a:lnTo>
                  <a:pt x="922" y="433"/>
                </a:lnTo>
                <a:lnTo>
                  <a:pt x="925" y="433"/>
                </a:lnTo>
                <a:lnTo>
                  <a:pt x="925" y="433"/>
                </a:lnTo>
                <a:lnTo>
                  <a:pt x="920" y="430"/>
                </a:lnTo>
                <a:lnTo>
                  <a:pt x="920" y="430"/>
                </a:lnTo>
                <a:lnTo>
                  <a:pt x="918" y="425"/>
                </a:lnTo>
                <a:lnTo>
                  <a:pt x="918" y="425"/>
                </a:lnTo>
                <a:lnTo>
                  <a:pt x="915" y="423"/>
                </a:lnTo>
                <a:lnTo>
                  <a:pt x="915" y="423"/>
                </a:lnTo>
                <a:lnTo>
                  <a:pt x="915" y="423"/>
                </a:lnTo>
                <a:lnTo>
                  <a:pt x="915" y="418"/>
                </a:lnTo>
                <a:lnTo>
                  <a:pt x="915" y="418"/>
                </a:lnTo>
                <a:lnTo>
                  <a:pt x="920" y="418"/>
                </a:lnTo>
                <a:lnTo>
                  <a:pt x="920" y="418"/>
                </a:lnTo>
                <a:lnTo>
                  <a:pt x="922" y="418"/>
                </a:lnTo>
                <a:lnTo>
                  <a:pt x="922" y="418"/>
                </a:lnTo>
                <a:lnTo>
                  <a:pt x="920" y="421"/>
                </a:lnTo>
                <a:lnTo>
                  <a:pt x="920" y="421"/>
                </a:lnTo>
                <a:lnTo>
                  <a:pt x="922" y="423"/>
                </a:lnTo>
                <a:lnTo>
                  <a:pt x="922" y="423"/>
                </a:lnTo>
                <a:lnTo>
                  <a:pt x="922" y="423"/>
                </a:lnTo>
                <a:lnTo>
                  <a:pt x="922" y="421"/>
                </a:lnTo>
                <a:lnTo>
                  <a:pt x="922" y="421"/>
                </a:lnTo>
                <a:lnTo>
                  <a:pt x="925" y="418"/>
                </a:lnTo>
                <a:lnTo>
                  <a:pt x="925" y="418"/>
                </a:lnTo>
                <a:lnTo>
                  <a:pt x="927" y="418"/>
                </a:lnTo>
                <a:lnTo>
                  <a:pt x="927" y="418"/>
                </a:lnTo>
                <a:lnTo>
                  <a:pt x="930" y="421"/>
                </a:lnTo>
                <a:lnTo>
                  <a:pt x="930" y="421"/>
                </a:lnTo>
                <a:lnTo>
                  <a:pt x="930" y="423"/>
                </a:lnTo>
                <a:lnTo>
                  <a:pt x="930" y="423"/>
                </a:lnTo>
                <a:lnTo>
                  <a:pt x="932" y="425"/>
                </a:lnTo>
                <a:lnTo>
                  <a:pt x="932" y="425"/>
                </a:lnTo>
                <a:lnTo>
                  <a:pt x="932" y="425"/>
                </a:lnTo>
                <a:lnTo>
                  <a:pt x="932" y="423"/>
                </a:lnTo>
                <a:lnTo>
                  <a:pt x="932" y="423"/>
                </a:lnTo>
                <a:lnTo>
                  <a:pt x="930" y="418"/>
                </a:lnTo>
                <a:lnTo>
                  <a:pt x="930" y="418"/>
                </a:lnTo>
                <a:lnTo>
                  <a:pt x="932" y="418"/>
                </a:lnTo>
                <a:lnTo>
                  <a:pt x="932" y="418"/>
                </a:lnTo>
                <a:lnTo>
                  <a:pt x="940" y="416"/>
                </a:lnTo>
                <a:lnTo>
                  <a:pt x="940" y="416"/>
                </a:lnTo>
                <a:lnTo>
                  <a:pt x="945" y="413"/>
                </a:lnTo>
                <a:lnTo>
                  <a:pt x="945" y="413"/>
                </a:lnTo>
                <a:lnTo>
                  <a:pt x="947" y="413"/>
                </a:lnTo>
                <a:lnTo>
                  <a:pt x="947" y="413"/>
                </a:lnTo>
                <a:lnTo>
                  <a:pt x="949" y="411"/>
                </a:lnTo>
                <a:lnTo>
                  <a:pt x="949" y="411"/>
                </a:lnTo>
                <a:lnTo>
                  <a:pt x="954" y="413"/>
                </a:lnTo>
                <a:lnTo>
                  <a:pt x="954" y="413"/>
                </a:lnTo>
                <a:lnTo>
                  <a:pt x="959" y="413"/>
                </a:lnTo>
                <a:lnTo>
                  <a:pt x="959" y="413"/>
                </a:lnTo>
                <a:lnTo>
                  <a:pt x="964" y="413"/>
                </a:lnTo>
                <a:lnTo>
                  <a:pt x="964" y="413"/>
                </a:lnTo>
                <a:lnTo>
                  <a:pt x="964" y="416"/>
                </a:lnTo>
                <a:lnTo>
                  <a:pt x="964" y="416"/>
                </a:lnTo>
                <a:lnTo>
                  <a:pt x="964" y="416"/>
                </a:lnTo>
                <a:lnTo>
                  <a:pt x="964" y="423"/>
                </a:lnTo>
                <a:lnTo>
                  <a:pt x="964" y="423"/>
                </a:lnTo>
                <a:lnTo>
                  <a:pt x="962" y="425"/>
                </a:lnTo>
                <a:lnTo>
                  <a:pt x="962" y="425"/>
                </a:lnTo>
                <a:lnTo>
                  <a:pt x="962" y="428"/>
                </a:lnTo>
                <a:lnTo>
                  <a:pt x="962" y="428"/>
                </a:lnTo>
                <a:lnTo>
                  <a:pt x="959" y="430"/>
                </a:lnTo>
                <a:lnTo>
                  <a:pt x="959" y="430"/>
                </a:lnTo>
                <a:lnTo>
                  <a:pt x="959" y="433"/>
                </a:lnTo>
                <a:lnTo>
                  <a:pt x="959" y="433"/>
                </a:lnTo>
                <a:lnTo>
                  <a:pt x="962" y="435"/>
                </a:lnTo>
                <a:lnTo>
                  <a:pt x="962" y="435"/>
                </a:lnTo>
                <a:lnTo>
                  <a:pt x="964" y="438"/>
                </a:lnTo>
                <a:lnTo>
                  <a:pt x="964" y="438"/>
                </a:lnTo>
                <a:lnTo>
                  <a:pt x="962" y="438"/>
                </a:lnTo>
                <a:lnTo>
                  <a:pt x="962" y="438"/>
                </a:lnTo>
                <a:lnTo>
                  <a:pt x="959" y="443"/>
                </a:lnTo>
                <a:lnTo>
                  <a:pt x="959" y="443"/>
                </a:lnTo>
                <a:lnTo>
                  <a:pt x="957" y="445"/>
                </a:lnTo>
                <a:lnTo>
                  <a:pt x="957" y="445"/>
                </a:lnTo>
                <a:lnTo>
                  <a:pt x="957" y="448"/>
                </a:lnTo>
                <a:lnTo>
                  <a:pt x="957" y="448"/>
                </a:lnTo>
                <a:lnTo>
                  <a:pt x="959" y="450"/>
                </a:lnTo>
                <a:lnTo>
                  <a:pt x="959" y="450"/>
                </a:lnTo>
                <a:lnTo>
                  <a:pt x="959" y="453"/>
                </a:lnTo>
                <a:lnTo>
                  <a:pt x="959" y="453"/>
                </a:lnTo>
                <a:lnTo>
                  <a:pt x="957" y="455"/>
                </a:lnTo>
                <a:lnTo>
                  <a:pt x="957" y="455"/>
                </a:lnTo>
                <a:lnTo>
                  <a:pt x="954" y="455"/>
                </a:lnTo>
                <a:lnTo>
                  <a:pt x="954" y="455"/>
                </a:lnTo>
                <a:lnTo>
                  <a:pt x="954" y="457"/>
                </a:lnTo>
                <a:lnTo>
                  <a:pt x="954" y="457"/>
                </a:lnTo>
                <a:lnTo>
                  <a:pt x="952" y="457"/>
                </a:lnTo>
                <a:lnTo>
                  <a:pt x="952" y="457"/>
                </a:lnTo>
                <a:lnTo>
                  <a:pt x="949" y="460"/>
                </a:lnTo>
                <a:lnTo>
                  <a:pt x="949" y="460"/>
                </a:lnTo>
                <a:lnTo>
                  <a:pt x="947" y="462"/>
                </a:lnTo>
                <a:lnTo>
                  <a:pt x="947" y="462"/>
                </a:lnTo>
                <a:lnTo>
                  <a:pt x="945" y="465"/>
                </a:lnTo>
                <a:lnTo>
                  <a:pt x="945" y="465"/>
                </a:lnTo>
                <a:lnTo>
                  <a:pt x="947" y="465"/>
                </a:lnTo>
                <a:lnTo>
                  <a:pt x="947" y="465"/>
                </a:lnTo>
                <a:lnTo>
                  <a:pt x="949" y="462"/>
                </a:lnTo>
                <a:lnTo>
                  <a:pt x="949" y="462"/>
                </a:lnTo>
                <a:lnTo>
                  <a:pt x="954" y="460"/>
                </a:lnTo>
                <a:lnTo>
                  <a:pt x="954" y="460"/>
                </a:lnTo>
                <a:lnTo>
                  <a:pt x="954" y="460"/>
                </a:lnTo>
                <a:lnTo>
                  <a:pt x="957" y="457"/>
                </a:lnTo>
                <a:lnTo>
                  <a:pt x="957" y="457"/>
                </a:lnTo>
                <a:lnTo>
                  <a:pt x="954" y="460"/>
                </a:lnTo>
                <a:lnTo>
                  <a:pt x="954" y="460"/>
                </a:lnTo>
                <a:lnTo>
                  <a:pt x="954" y="462"/>
                </a:lnTo>
                <a:lnTo>
                  <a:pt x="954" y="462"/>
                </a:lnTo>
                <a:lnTo>
                  <a:pt x="949" y="467"/>
                </a:lnTo>
                <a:lnTo>
                  <a:pt x="949" y="467"/>
                </a:lnTo>
                <a:lnTo>
                  <a:pt x="947" y="467"/>
                </a:lnTo>
                <a:lnTo>
                  <a:pt x="947" y="467"/>
                </a:lnTo>
                <a:lnTo>
                  <a:pt x="947" y="470"/>
                </a:lnTo>
                <a:lnTo>
                  <a:pt x="947" y="470"/>
                </a:lnTo>
                <a:lnTo>
                  <a:pt x="947" y="472"/>
                </a:lnTo>
                <a:lnTo>
                  <a:pt x="947" y="472"/>
                </a:lnTo>
                <a:lnTo>
                  <a:pt x="947" y="472"/>
                </a:lnTo>
                <a:lnTo>
                  <a:pt x="945" y="472"/>
                </a:lnTo>
                <a:lnTo>
                  <a:pt x="945" y="472"/>
                </a:lnTo>
                <a:lnTo>
                  <a:pt x="942" y="472"/>
                </a:lnTo>
                <a:lnTo>
                  <a:pt x="942" y="472"/>
                </a:lnTo>
                <a:lnTo>
                  <a:pt x="942" y="475"/>
                </a:lnTo>
                <a:lnTo>
                  <a:pt x="942" y="475"/>
                </a:lnTo>
                <a:lnTo>
                  <a:pt x="945" y="475"/>
                </a:lnTo>
                <a:lnTo>
                  <a:pt x="945" y="475"/>
                </a:lnTo>
                <a:lnTo>
                  <a:pt x="945" y="475"/>
                </a:lnTo>
                <a:lnTo>
                  <a:pt x="945" y="477"/>
                </a:lnTo>
                <a:lnTo>
                  <a:pt x="945" y="477"/>
                </a:lnTo>
                <a:lnTo>
                  <a:pt x="942" y="480"/>
                </a:lnTo>
                <a:lnTo>
                  <a:pt x="942" y="480"/>
                </a:lnTo>
                <a:lnTo>
                  <a:pt x="945" y="480"/>
                </a:lnTo>
                <a:lnTo>
                  <a:pt x="945" y="480"/>
                </a:lnTo>
                <a:lnTo>
                  <a:pt x="947" y="477"/>
                </a:lnTo>
                <a:lnTo>
                  <a:pt x="947" y="477"/>
                </a:lnTo>
                <a:lnTo>
                  <a:pt x="949" y="477"/>
                </a:lnTo>
                <a:lnTo>
                  <a:pt x="949" y="477"/>
                </a:lnTo>
                <a:lnTo>
                  <a:pt x="952" y="475"/>
                </a:lnTo>
                <a:lnTo>
                  <a:pt x="952" y="475"/>
                </a:lnTo>
                <a:lnTo>
                  <a:pt x="952" y="472"/>
                </a:lnTo>
                <a:lnTo>
                  <a:pt x="952" y="472"/>
                </a:lnTo>
                <a:lnTo>
                  <a:pt x="954" y="470"/>
                </a:lnTo>
                <a:lnTo>
                  <a:pt x="954" y="470"/>
                </a:lnTo>
                <a:lnTo>
                  <a:pt x="954" y="467"/>
                </a:lnTo>
                <a:lnTo>
                  <a:pt x="954" y="467"/>
                </a:lnTo>
                <a:lnTo>
                  <a:pt x="957" y="470"/>
                </a:lnTo>
                <a:lnTo>
                  <a:pt x="957" y="470"/>
                </a:lnTo>
                <a:lnTo>
                  <a:pt x="957" y="472"/>
                </a:lnTo>
                <a:lnTo>
                  <a:pt x="957" y="472"/>
                </a:lnTo>
                <a:lnTo>
                  <a:pt x="957" y="475"/>
                </a:lnTo>
                <a:lnTo>
                  <a:pt x="957" y="475"/>
                </a:lnTo>
                <a:lnTo>
                  <a:pt x="957" y="470"/>
                </a:lnTo>
                <a:lnTo>
                  <a:pt x="957" y="470"/>
                </a:lnTo>
                <a:lnTo>
                  <a:pt x="957" y="467"/>
                </a:lnTo>
                <a:lnTo>
                  <a:pt x="957" y="467"/>
                </a:lnTo>
                <a:lnTo>
                  <a:pt x="957" y="465"/>
                </a:lnTo>
                <a:lnTo>
                  <a:pt x="957" y="465"/>
                </a:lnTo>
                <a:lnTo>
                  <a:pt x="959" y="465"/>
                </a:lnTo>
                <a:lnTo>
                  <a:pt x="959" y="465"/>
                </a:lnTo>
                <a:lnTo>
                  <a:pt x="962" y="465"/>
                </a:lnTo>
                <a:lnTo>
                  <a:pt x="962" y="465"/>
                </a:lnTo>
                <a:lnTo>
                  <a:pt x="962" y="467"/>
                </a:lnTo>
                <a:lnTo>
                  <a:pt x="962" y="467"/>
                </a:lnTo>
                <a:lnTo>
                  <a:pt x="962" y="470"/>
                </a:lnTo>
                <a:lnTo>
                  <a:pt x="962" y="470"/>
                </a:lnTo>
                <a:lnTo>
                  <a:pt x="964" y="467"/>
                </a:lnTo>
                <a:lnTo>
                  <a:pt x="964" y="467"/>
                </a:lnTo>
                <a:lnTo>
                  <a:pt x="967" y="465"/>
                </a:lnTo>
                <a:lnTo>
                  <a:pt x="967" y="465"/>
                </a:lnTo>
                <a:lnTo>
                  <a:pt x="967" y="467"/>
                </a:lnTo>
                <a:lnTo>
                  <a:pt x="967" y="467"/>
                </a:lnTo>
                <a:lnTo>
                  <a:pt x="969" y="470"/>
                </a:lnTo>
                <a:lnTo>
                  <a:pt x="969" y="470"/>
                </a:lnTo>
                <a:lnTo>
                  <a:pt x="969" y="472"/>
                </a:lnTo>
                <a:lnTo>
                  <a:pt x="969" y="472"/>
                </a:lnTo>
                <a:lnTo>
                  <a:pt x="964" y="477"/>
                </a:lnTo>
                <a:lnTo>
                  <a:pt x="964" y="477"/>
                </a:lnTo>
                <a:lnTo>
                  <a:pt x="962" y="480"/>
                </a:lnTo>
                <a:lnTo>
                  <a:pt x="962" y="480"/>
                </a:lnTo>
                <a:lnTo>
                  <a:pt x="962" y="482"/>
                </a:lnTo>
                <a:lnTo>
                  <a:pt x="962" y="482"/>
                </a:lnTo>
                <a:lnTo>
                  <a:pt x="964" y="482"/>
                </a:lnTo>
                <a:lnTo>
                  <a:pt x="964" y="482"/>
                </a:lnTo>
                <a:lnTo>
                  <a:pt x="967" y="485"/>
                </a:lnTo>
                <a:lnTo>
                  <a:pt x="967" y="485"/>
                </a:lnTo>
                <a:lnTo>
                  <a:pt x="969" y="482"/>
                </a:lnTo>
                <a:lnTo>
                  <a:pt x="969" y="482"/>
                </a:lnTo>
                <a:lnTo>
                  <a:pt x="967" y="480"/>
                </a:lnTo>
                <a:lnTo>
                  <a:pt x="967" y="480"/>
                </a:lnTo>
                <a:lnTo>
                  <a:pt x="969" y="477"/>
                </a:lnTo>
                <a:lnTo>
                  <a:pt x="969" y="477"/>
                </a:lnTo>
                <a:lnTo>
                  <a:pt x="972" y="475"/>
                </a:lnTo>
                <a:lnTo>
                  <a:pt x="972" y="475"/>
                </a:lnTo>
                <a:lnTo>
                  <a:pt x="972" y="480"/>
                </a:lnTo>
                <a:lnTo>
                  <a:pt x="972" y="480"/>
                </a:lnTo>
                <a:lnTo>
                  <a:pt x="972" y="482"/>
                </a:lnTo>
                <a:lnTo>
                  <a:pt x="972" y="482"/>
                </a:lnTo>
                <a:lnTo>
                  <a:pt x="974" y="480"/>
                </a:lnTo>
                <a:lnTo>
                  <a:pt x="974" y="480"/>
                </a:lnTo>
                <a:lnTo>
                  <a:pt x="974" y="475"/>
                </a:lnTo>
                <a:lnTo>
                  <a:pt x="974" y="475"/>
                </a:lnTo>
                <a:lnTo>
                  <a:pt x="972" y="472"/>
                </a:lnTo>
                <a:lnTo>
                  <a:pt x="972" y="472"/>
                </a:lnTo>
                <a:lnTo>
                  <a:pt x="972" y="467"/>
                </a:lnTo>
                <a:lnTo>
                  <a:pt x="972" y="467"/>
                </a:lnTo>
                <a:lnTo>
                  <a:pt x="972" y="467"/>
                </a:lnTo>
                <a:lnTo>
                  <a:pt x="977" y="467"/>
                </a:lnTo>
                <a:lnTo>
                  <a:pt x="977" y="467"/>
                </a:lnTo>
                <a:lnTo>
                  <a:pt x="974" y="470"/>
                </a:lnTo>
                <a:lnTo>
                  <a:pt x="974" y="470"/>
                </a:lnTo>
                <a:lnTo>
                  <a:pt x="974" y="472"/>
                </a:lnTo>
                <a:lnTo>
                  <a:pt x="974" y="472"/>
                </a:lnTo>
                <a:lnTo>
                  <a:pt x="977" y="472"/>
                </a:lnTo>
                <a:lnTo>
                  <a:pt x="977" y="472"/>
                </a:lnTo>
                <a:lnTo>
                  <a:pt x="979" y="472"/>
                </a:lnTo>
                <a:lnTo>
                  <a:pt x="979" y="472"/>
                </a:lnTo>
                <a:lnTo>
                  <a:pt x="984" y="477"/>
                </a:lnTo>
                <a:lnTo>
                  <a:pt x="984" y="477"/>
                </a:lnTo>
                <a:lnTo>
                  <a:pt x="984" y="480"/>
                </a:lnTo>
                <a:lnTo>
                  <a:pt x="984" y="480"/>
                </a:lnTo>
                <a:lnTo>
                  <a:pt x="986" y="480"/>
                </a:lnTo>
                <a:lnTo>
                  <a:pt x="986" y="480"/>
                </a:lnTo>
                <a:lnTo>
                  <a:pt x="989" y="480"/>
                </a:lnTo>
                <a:lnTo>
                  <a:pt x="989" y="480"/>
                </a:lnTo>
                <a:lnTo>
                  <a:pt x="991" y="480"/>
                </a:lnTo>
                <a:lnTo>
                  <a:pt x="991" y="480"/>
                </a:lnTo>
                <a:lnTo>
                  <a:pt x="989" y="477"/>
                </a:lnTo>
                <a:lnTo>
                  <a:pt x="989" y="477"/>
                </a:lnTo>
                <a:lnTo>
                  <a:pt x="986" y="477"/>
                </a:lnTo>
                <a:lnTo>
                  <a:pt x="986" y="477"/>
                </a:lnTo>
                <a:lnTo>
                  <a:pt x="986" y="475"/>
                </a:lnTo>
                <a:lnTo>
                  <a:pt x="986" y="475"/>
                </a:lnTo>
                <a:lnTo>
                  <a:pt x="981" y="470"/>
                </a:lnTo>
                <a:lnTo>
                  <a:pt x="981" y="470"/>
                </a:lnTo>
                <a:lnTo>
                  <a:pt x="979" y="470"/>
                </a:lnTo>
                <a:lnTo>
                  <a:pt x="979" y="470"/>
                </a:lnTo>
                <a:lnTo>
                  <a:pt x="977" y="467"/>
                </a:lnTo>
                <a:lnTo>
                  <a:pt x="977" y="467"/>
                </a:lnTo>
                <a:lnTo>
                  <a:pt x="981" y="462"/>
                </a:lnTo>
                <a:lnTo>
                  <a:pt x="981" y="462"/>
                </a:lnTo>
                <a:lnTo>
                  <a:pt x="984" y="462"/>
                </a:lnTo>
                <a:lnTo>
                  <a:pt x="984" y="462"/>
                </a:lnTo>
                <a:lnTo>
                  <a:pt x="986" y="460"/>
                </a:lnTo>
                <a:lnTo>
                  <a:pt x="986" y="460"/>
                </a:lnTo>
                <a:lnTo>
                  <a:pt x="991" y="460"/>
                </a:lnTo>
                <a:lnTo>
                  <a:pt x="991" y="460"/>
                </a:lnTo>
                <a:lnTo>
                  <a:pt x="996" y="460"/>
                </a:lnTo>
                <a:lnTo>
                  <a:pt x="996" y="460"/>
                </a:lnTo>
                <a:lnTo>
                  <a:pt x="996" y="462"/>
                </a:lnTo>
                <a:lnTo>
                  <a:pt x="996" y="462"/>
                </a:lnTo>
                <a:lnTo>
                  <a:pt x="999" y="462"/>
                </a:lnTo>
                <a:lnTo>
                  <a:pt x="999" y="462"/>
                </a:lnTo>
                <a:lnTo>
                  <a:pt x="1001" y="462"/>
                </a:lnTo>
                <a:lnTo>
                  <a:pt x="1001" y="462"/>
                </a:lnTo>
                <a:lnTo>
                  <a:pt x="1001" y="465"/>
                </a:lnTo>
                <a:lnTo>
                  <a:pt x="1001" y="465"/>
                </a:lnTo>
                <a:lnTo>
                  <a:pt x="1004" y="467"/>
                </a:lnTo>
                <a:lnTo>
                  <a:pt x="1004" y="467"/>
                </a:lnTo>
                <a:lnTo>
                  <a:pt x="1006" y="467"/>
                </a:lnTo>
                <a:lnTo>
                  <a:pt x="1006" y="467"/>
                </a:lnTo>
                <a:lnTo>
                  <a:pt x="1006" y="470"/>
                </a:lnTo>
                <a:lnTo>
                  <a:pt x="1006" y="470"/>
                </a:lnTo>
                <a:lnTo>
                  <a:pt x="1009" y="470"/>
                </a:lnTo>
                <a:lnTo>
                  <a:pt x="1009" y="470"/>
                </a:lnTo>
                <a:lnTo>
                  <a:pt x="1009" y="470"/>
                </a:lnTo>
                <a:lnTo>
                  <a:pt x="1011" y="470"/>
                </a:lnTo>
                <a:lnTo>
                  <a:pt x="1011" y="470"/>
                </a:lnTo>
                <a:lnTo>
                  <a:pt x="1013" y="472"/>
                </a:lnTo>
                <a:lnTo>
                  <a:pt x="1013" y="472"/>
                </a:lnTo>
                <a:lnTo>
                  <a:pt x="1016" y="475"/>
                </a:lnTo>
                <a:lnTo>
                  <a:pt x="1016" y="475"/>
                </a:lnTo>
                <a:lnTo>
                  <a:pt x="1016" y="475"/>
                </a:lnTo>
                <a:lnTo>
                  <a:pt x="1016" y="477"/>
                </a:lnTo>
                <a:lnTo>
                  <a:pt x="1016" y="477"/>
                </a:lnTo>
                <a:lnTo>
                  <a:pt x="1016" y="480"/>
                </a:lnTo>
                <a:lnTo>
                  <a:pt x="1016" y="480"/>
                </a:lnTo>
                <a:lnTo>
                  <a:pt x="1016" y="482"/>
                </a:lnTo>
                <a:lnTo>
                  <a:pt x="1016" y="482"/>
                </a:lnTo>
                <a:lnTo>
                  <a:pt x="1013" y="485"/>
                </a:lnTo>
                <a:lnTo>
                  <a:pt x="1013" y="485"/>
                </a:lnTo>
                <a:lnTo>
                  <a:pt x="1011" y="485"/>
                </a:lnTo>
                <a:lnTo>
                  <a:pt x="1011" y="485"/>
                </a:lnTo>
                <a:lnTo>
                  <a:pt x="1009" y="485"/>
                </a:lnTo>
                <a:lnTo>
                  <a:pt x="1009" y="485"/>
                </a:lnTo>
                <a:lnTo>
                  <a:pt x="1004" y="485"/>
                </a:lnTo>
                <a:lnTo>
                  <a:pt x="1004" y="485"/>
                </a:lnTo>
                <a:lnTo>
                  <a:pt x="1001" y="489"/>
                </a:lnTo>
                <a:lnTo>
                  <a:pt x="1001" y="489"/>
                </a:lnTo>
                <a:lnTo>
                  <a:pt x="1006" y="485"/>
                </a:lnTo>
                <a:lnTo>
                  <a:pt x="1006" y="485"/>
                </a:lnTo>
                <a:lnTo>
                  <a:pt x="1011" y="485"/>
                </a:lnTo>
                <a:lnTo>
                  <a:pt x="1011" y="485"/>
                </a:lnTo>
                <a:lnTo>
                  <a:pt x="1011" y="487"/>
                </a:lnTo>
                <a:lnTo>
                  <a:pt x="1011" y="487"/>
                </a:lnTo>
                <a:lnTo>
                  <a:pt x="1009" y="489"/>
                </a:lnTo>
                <a:lnTo>
                  <a:pt x="1009" y="489"/>
                </a:lnTo>
                <a:lnTo>
                  <a:pt x="1006" y="492"/>
                </a:lnTo>
                <a:lnTo>
                  <a:pt x="1006" y="492"/>
                </a:lnTo>
                <a:lnTo>
                  <a:pt x="1004" y="497"/>
                </a:lnTo>
                <a:lnTo>
                  <a:pt x="1004" y="497"/>
                </a:lnTo>
                <a:lnTo>
                  <a:pt x="1001" y="497"/>
                </a:lnTo>
                <a:lnTo>
                  <a:pt x="1001" y="497"/>
                </a:lnTo>
                <a:lnTo>
                  <a:pt x="999" y="499"/>
                </a:lnTo>
                <a:lnTo>
                  <a:pt x="999" y="499"/>
                </a:lnTo>
                <a:lnTo>
                  <a:pt x="999" y="499"/>
                </a:lnTo>
                <a:lnTo>
                  <a:pt x="999" y="502"/>
                </a:lnTo>
                <a:lnTo>
                  <a:pt x="999" y="502"/>
                </a:lnTo>
                <a:lnTo>
                  <a:pt x="1006" y="494"/>
                </a:lnTo>
                <a:lnTo>
                  <a:pt x="1006" y="494"/>
                </a:lnTo>
                <a:lnTo>
                  <a:pt x="1009" y="492"/>
                </a:lnTo>
                <a:lnTo>
                  <a:pt x="1009" y="492"/>
                </a:lnTo>
                <a:lnTo>
                  <a:pt x="1011" y="489"/>
                </a:lnTo>
                <a:lnTo>
                  <a:pt x="1011" y="489"/>
                </a:lnTo>
                <a:lnTo>
                  <a:pt x="1013" y="487"/>
                </a:lnTo>
                <a:lnTo>
                  <a:pt x="1013" y="487"/>
                </a:lnTo>
                <a:lnTo>
                  <a:pt x="1018" y="487"/>
                </a:lnTo>
                <a:lnTo>
                  <a:pt x="1018" y="487"/>
                </a:lnTo>
                <a:lnTo>
                  <a:pt x="1018" y="489"/>
                </a:lnTo>
                <a:lnTo>
                  <a:pt x="1018" y="489"/>
                </a:lnTo>
                <a:lnTo>
                  <a:pt x="1021" y="489"/>
                </a:lnTo>
                <a:lnTo>
                  <a:pt x="1021" y="489"/>
                </a:lnTo>
                <a:lnTo>
                  <a:pt x="1021" y="492"/>
                </a:lnTo>
                <a:lnTo>
                  <a:pt x="1021" y="492"/>
                </a:lnTo>
                <a:lnTo>
                  <a:pt x="1021" y="494"/>
                </a:lnTo>
                <a:lnTo>
                  <a:pt x="1021" y="494"/>
                </a:lnTo>
                <a:lnTo>
                  <a:pt x="1021" y="497"/>
                </a:lnTo>
                <a:lnTo>
                  <a:pt x="1021" y="497"/>
                </a:lnTo>
                <a:lnTo>
                  <a:pt x="1016" y="497"/>
                </a:lnTo>
                <a:lnTo>
                  <a:pt x="1016" y="497"/>
                </a:lnTo>
                <a:lnTo>
                  <a:pt x="1016" y="499"/>
                </a:lnTo>
                <a:lnTo>
                  <a:pt x="1016" y="499"/>
                </a:lnTo>
                <a:lnTo>
                  <a:pt x="1011" y="502"/>
                </a:lnTo>
                <a:lnTo>
                  <a:pt x="1011" y="502"/>
                </a:lnTo>
                <a:lnTo>
                  <a:pt x="1011" y="499"/>
                </a:lnTo>
                <a:lnTo>
                  <a:pt x="1011" y="499"/>
                </a:lnTo>
                <a:lnTo>
                  <a:pt x="1009" y="499"/>
                </a:lnTo>
                <a:lnTo>
                  <a:pt x="1009" y="499"/>
                </a:lnTo>
                <a:lnTo>
                  <a:pt x="1006" y="502"/>
                </a:lnTo>
                <a:lnTo>
                  <a:pt x="1006" y="502"/>
                </a:lnTo>
                <a:lnTo>
                  <a:pt x="1009" y="502"/>
                </a:lnTo>
                <a:lnTo>
                  <a:pt x="1009" y="502"/>
                </a:lnTo>
                <a:lnTo>
                  <a:pt x="1011" y="504"/>
                </a:lnTo>
                <a:lnTo>
                  <a:pt x="1011" y="504"/>
                </a:lnTo>
                <a:lnTo>
                  <a:pt x="1004" y="507"/>
                </a:lnTo>
                <a:lnTo>
                  <a:pt x="1004" y="507"/>
                </a:lnTo>
                <a:lnTo>
                  <a:pt x="1006" y="507"/>
                </a:lnTo>
                <a:lnTo>
                  <a:pt x="1006" y="507"/>
                </a:lnTo>
                <a:lnTo>
                  <a:pt x="1009" y="504"/>
                </a:lnTo>
                <a:lnTo>
                  <a:pt x="1009" y="504"/>
                </a:lnTo>
                <a:lnTo>
                  <a:pt x="1011" y="504"/>
                </a:lnTo>
                <a:lnTo>
                  <a:pt x="1011" y="504"/>
                </a:lnTo>
                <a:lnTo>
                  <a:pt x="1013" y="502"/>
                </a:lnTo>
                <a:lnTo>
                  <a:pt x="1013" y="502"/>
                </a:lnTo>
                <a:lnTo>
                  <a:pt x="1013" y="504"/>
                </a:lnTo>
                <a:lnTo>
                  <a:pt x="1013" y="504"/>
                </a:lnTo>
                <a:lnTo>
                  <a:pt x="1013" y="507"/>
                </a:lnTo>
                <a:lnTo>
                  <a:pt x="1013" y="507"/>
                </a:lnTo>
                <a:lnTo>
                  <a:pt x="1009" y="507"/>
                </a:lnTo>
                <a:lnTo>
                  <a:pt x="1009" y="507"/>
                </a:lnTo>
                <a:lnTo>
                  <a:pt x="1006" y="509"/>
                </a:lnTo>
                <a:lnTo>
                  <a:pt x="1006" y="509"/>
                </a:lnTo>
                <a:lnTo>
                  <a:pt x="1009" y="509"/>
                </a:lnTo>
                <a:lnTo>
                  <a:pt x="1009" y="509"/>
                </a:lnTo>
                <a:lnTo>
                  <a:pt x="1011" y="509"/>
                </a:lnTo>
                <a:lnTo>
                  <a:pt x="1011" y="509"/>
                </a:lnTo>
                <a:lnTo>
                  <a:pt x="1009" y="512"/>
                </a:lnTo>
                <a:lnTo>
                  <a:pt x="1009" y="512"/>
                </a:lnTo>
                <a:lnTo>
                  <a:pt x="1006" y="514"/>
                </a:lnTo>
                <a:lnTo>
                  <a:pt x="1006" y="514"/>
                </a:lnTo>
                <a:lnTo>
                  <a:pt x="1004" y="516"/>
                </a:lnTo>
                <a:lnTo>
                  <a:pt x="1004" y="516"/>
                </a:lnTo>
                <a:lnTo>
                  <a:pt x="1004" y="516"/>
                </a:lnTo>
                <a:lnTo>
                  <a:pt x="1009" y="514"/>
                </a:lnTo>
                <a:lnTo>
                  <a:pt x="1009" y="514"/>
                </a:lnTo>
                <a:lnTo>
                  <a:pt x="1011" y="509"/>
                </a:lnTo>
                <a:lnTo>
                  <a:pt x="1011" y="509"/>
                </a:lnTo>
                <a:lnTo>
                  <a:pt x="1013" y="507"/>
                </a:lnTo>
                <a:lnTo>
                  <a:pt x="1013" y="507"/>
                </a:lnTo>
                <a:lnTo>
                  <a:pt x="1018" y="504"/>
                </a:lnTo>
                <a:lnTo>
                  <a:pt x="1018" y="504"/>
                </a:lnTo>
                <a:lnTo>
                  <a:pt x="1018" y="504"/>
                </a:lnTo>
                <a:lnTo>
                  <a:pt x="1018" y="507"/>
                </a:lnTo>
                <a:lnTo>
                  <a:pt x="1018" y="507"/>
                </a:lnTo>
                <a:lnTo>
                  <a:pt x="1021" y="504"/>
                </a:lnTo>
                <a:lnTo>
                  <a:pt x="1021" y="504"/>
                </a:lnTo>
                <a:lnTo>
                  <a:pt x="1021" y="504"/>
                </a:lnTo>
                <a:lnTo>
                  <a:pt x="1026" y="502"/>
                </a:lnTo>
                <a:lnTo>
                  <a:pt x="1026" y="502"/>
                </a:lnTo>
                <a:lnTo>
                  <a:pt x="1026" y="502"/>
                </a:lnTo>
                <a:lnTo>
                  <a:pt x="1026" y="502"/>
                </a:lnTo>
                <a:lnTo>
                  <a:pt x="1023" y="507"/>
                </a:lnTo>
                <a:lnTo>
                  <a:pt x="1023" y="507"/>
                </a:lnTo>
                <a:lnTo>
                  <a:pt x="1016" y="509"/>
                </a:lnTo>
                <a:lnTo>
                  <a:pt x="1016" y="509"/>
                </a:lnTo>
                <a:lnTo>
                  <a:pt x="1016" y="512"/>
                </a:lnTo>
                <a:lnTo>
                  <a:pt x="1016" y="512"/>
                </a:lnTo>
                <a:lnTo>
                  <a:pt x="1016" y="512"/>
                </a:lnTo>
                <a:lnTo>
                  <a:pt x="1016" y="514"/>
                </a:lnTo>
                <a:lnTo>
                  <a:pt x="1016" y="514"/>
                </a:lnTo>
                <a:lnTo>
                  <a:pt x="1013" y="516"/>
                </a:lnTo>
                <a:lnTo>
                  <a:pt x="1013" y="516"/>
                </a:lnTo>
                <a:lnTo>
                  <a:pt x="1013" y="519"/>
                </a:lnTo>
                <a:lnTo>
                  <a:pt x="1013" y="519"/>
                </a:lnTo>
                <a:lnTo>
                  <a:pt x="1016" y="519"/>
                </a:lnTo>
                <a:lnTo>
                  <a:pt x="1016" y="519"/>
                </a:lnTo>
                <a:lnTo>
                  <a:pt x="1016" y="516"/>
                </a:lnTo>
                <a:lnTo>
                  <a:pt x="1016" y="516"/>
                </a:lnTo>
                <a:lnTo>
                  <a:pt x="1018" y="514"/>
                </a:lnTo>
                <a:lnTo>
                  <a:pt x="1018" y="514"/>
                </a:lnTo>
                <a:lnTo>
                  <a:pt x="1021" y="509"/>
                </a:lnTo>
                <a:lnTo>
                  <a:pt x="1021" y="509"/>
                </a:lnTo>
                <a:lnTo>
                  <a:pt x="1026" y="509"/>
                </a:lnTo>
                <a:lnTo>
                  <a:pt x="1026" y="509"/>
                </a:lnTo>
                <a:lnTo>
                  <a:pt x="1026" y="509"/>
                </a:lnTo>
                <a:lnTo>
                  <a:pt x="1026" y="512"/>
                </a:lnTo>
                <a:lnTo>
                  <a:pt x="1026" y="512"/>
                </a:lnTo>
                <a:lnTo>
                  <a:pt x="1023" y="514"/>
                </a:lnTo>
                <a:lnTo>
                  <a:pt x="1023" y="514"/>
                </a:lnTo>
                <a:lnTo>
                  <a:pt x="1021" y="516"/>
                </a:lnTo>
                <a:lnTo>
                  <a:pt x="1021" y="516"/>
                </a:lnTo>
                <a:lnTo>
                  <a:pt x="1018" y="519"/>
                </a:lnTo>
                <a:lnTo>
                  <a:pt x="1018" y="519"/>
                </a:lnTo>
                <a:lnTo>
                  <a:pt x="1016" y="524"/>
                </a:lnTo>
                <a:lnTo>
                  <a:pt x="1016" y="524"/>
                </a:lnTo>
                <a:lnTo>
                  <a:pt x="1016" y="524"/>
                </a:lnTo>
                <a:lnTo>
                  <a:pt x="1016" y="526"/>
                </a:lnTo>
                <a:lnTo>
                  <a:pt x="1016" y="526"/>
                </a:lnTo>
                <a:lnTo>
                  <a:pt x="1018" y="524"/>
                </a:lnTo>
                <a:lnTo>
                  <a:pt x="1018" y="524"/>
                </a:lnTo>
                <a:lnTo>
                  <a:pt x="1018" y="521"/>
                </a:lnTo>
                <a:lnTo>
                  <a:pt x="1018" y="521"/>
                </a:lnTo>
                <a:lnTo>
                  <a:pt x="1023" y="516"/>
                </a:lnTo>
                <a:lnTo>
                  <a:pt x="1023" y="516"/>
                </a:lnTo>
                <a:lnTo>
                  <a:pt x="1026" y="516"/>
                </a:lnTo>
                <a:lnTo>
                  <a:pt x="1026" y="516"/>
                </a:lnTo>
                <a:lnTo>
                  <a:pt x="1026" y="519"/>
                </a:lnTo>
                <a:lnTo>
                  <a:pt x="1026" y="519"/>
                </a:lnTo>
                <a:lnTo>
                  <a:pt x="1028" y="519"/>
                </a:lnTo>
                <a:lnTo>
                  <a:pt x="1028" y="519"/>
                </a:lnTo>
                <a:lnTo>
                  <a:pt x="1028" y="521"/>
                </a:lnTo>
                <a:lnTo>
                  <a:pt x="1028" y="521"/>
                </a:lnTo>
                <a:lnTo>
                  <a:pt x="1026" y="521"/>
                </a:lnTo>
                <a:lnTo>
                  <a:pt x="1026" y="521"/>
                </a:lnTo>
                <a:lnTo>
                  <a:pt x="1023" y="526"/>
                </a:lnTo>
                <a:lnTo>
                  <a:pt x="1023" y="526"/>
                </a:lnTo>
                <a:lnTo>
                  <a:pt x="1021" y="529"/>
                </a:lnTo>
                <a:lnTo>
                  <a:pt x="1021" y="529"/>
                </a:lnTo>
                <a:lnTo>
                  <a:pt x="1023" y="529"/>
                </a:lnTo>
                <a:lnTo>
                  <a:pt x="1023" y="529"/>
                </a:lnTo>
                <a:lnTo>
                  <a:pt x="1023" y="526"/>
                </a:lnTo>
                <a:lnTo>
                  <a:pt x="1023" y="526"/>
                </a:lnTo>
                <a:lnTo>
                  <a:pt x="1026" y="524"/>
                </a:lnTo>
                <a:lnTo>
                  <a:pt x="1026" y="524"/>
                </a:lnTo>
                <a:lnTo>
                  <a:pt x="1026" y="521"/>
                </a:lnTo>
                <a:lnTo>
                  <a:pt x="1026" y="521"/>
                </a:lnTo>
                <a:lnTo>
                  <a:pt x="1031" y="521"/>
                </a:lnTo>
                <a:lnTo>
                  <a:pt x="1031" y="521"/>
                </a:lnTo>
                <a:lnTo>
                  <a:pt x="1031" y="516"/>
                </a:lnTo>
                <a:lnTo>
                  <a:pt x="1031" y="516"/>
                </a:lnTo>
                <a:lnTo>
                  <a:pt x="1031" y="516"/>
                </a:lnTo>
                <a:lnTo>
                  <a:pt x="1033" y="514"/>
                </a:lnTo>
                <a:lnTo>
                  <a:pt x="1033" y="514"/>
                </a:lnTo>
                <a:lnTo>
                  <a:pt x="1033" y="512"/>
                </a:lnTo>
                <a:lnTo>
                  <a:pt x="1033" y="512"/>
                </a:lnTo>
                <a:lnTo>
                  <a:pt x="1036" y="509"/>
                </a:lnTo>
                <a:lnTo>
                  <a:pt x="1036" y="509"/>
                </a:lnTo>
                <a:lnTo>
                  <a:pt x="1036" y="509"/>
                </a:lnTo>
                <a:lnTo>
                  <a:pt x="1038" y="507"/>
                </a:lnTo>
                <a:lnTo>
                  <a:pt x="1038" y="507"/>
                </a:lnTo>
                <a:lnTo>
                  <a:pt x="1038" y="504"/>
                </a:lnTo>
                <a:lnTo>
                  <a:pt x="1038" y="504"/>
                </a:lnTo>
                <a:lnTo>
                  <a:pt x="1038" y="504"/>
                </a:lnTo>
                <a:lnTo>
                  <a:pt x="1041" y="509"/>
                </a:lnTo>
                <a:lnTo>
                  <a:pt x="1041" y="509"/>
                </a:lnTo>
                <a:lnTo>
                  <a:pt x="1043" y="512"/>
                </a:lnTo>
                <a:lnTo>
                  <a:pt x="1043" y="512"/>
                </a:lnTo>
                <a:lnTo>
                  <a:pt x="1045" y="514"/>
                </a:lnTo>
                <a:lnTo>
                  <a:pt x="1045" y="514"/>
                </a:lnTo>
                <a:lnTo>
                  <a:pt x="1048" y="516"/>
                </a:lnTo>
                <a:lnTo>
                  <a:pt x="1048" y="516"/>
                </a:lnTo>
                <a:lnTo>
                  <a:pt x="1048" y="519"/>
                </a:lnTo>
                <a:lnTo>
                  <a:pt x="1048" y="519"/>
                </a:lnTo>
                <a:lnTo>
                  <a:pt x="1050" y="521"/>
                </a:lnTo>
                <a:lnTo>
                  <a:pt x="1050" y="521"/>
                </a:lnTo>
                <a:lnTo>
                  <a:pt x="1050" y="524"/>
                </a:lnTo>
                <a:lnTo>
                  <a:pt x="1050" y="524"/>
                </a:lnTo>
                <a:lnTo>
                  <a:pt x="1048" y="526"/>
                </a:lnTo>
                <a:lnTo>
                  <a:pt x="1048" y="526"/>
                </a:lnTo>
                <a:lnTo>
                  <a:pt x="1045" y="529"/>
                </a:lnTo>
                <a:lnTo>
                  <a:pt x="1045" y="529"/>
                </a:lnTo>
                <a:lnTo>
                  <a:pt x="1043" y="529"/>
                </a:lnTo>
                <a:lnTo>
                  <a:pt x="1043" y="529"/>
                </a:lnTo>
                <a:lnTo>
                  <a:pt x="1043" y="529"/>
                </a:lnTo>
                <a:lnTo>
                  <a:pt x="1038" y="526"/>
                </a:lnTo>
                <a:lnTo>
                  <a:pt x="1038" y="526"/>
                </a:lnTo>
                <a:lnTo>
                  <a:pt x="1038" y="526"/>
                </a:lnTo>
                <a:lnTo>
                  <a:pt x="1036" y="526"/>
                </a:lnTo>
                <a:lnTo>
                  <a:pt x="1036" y="526"/>
                </a:lnTo>
                <a:lnTo>
                  <a:pt x="1036" y="529"/>
                </a:lnTo>
                <a:lnTo>
                  <a:pt x="1036" y="529"/>
                </a:lnTo>
                <a:lnTo>
                  <a:pt x="1033" y="531"/>
                </a:lnTo>
                <a:lnTo>
                  <a:pt x="1033" y="531"/>
                </a:lnTo>
                <a:lnTo>
                  <a:pt x="1031" y="531"/>
                </a:lnTo>
                <a:lnTo>
                  <a:pt x="1031" y="531"/>
                </a:lnTo>
                <a:lnTo>
                  <a:pt x="1028" y="531"/>
                </a:lnTo>
                <a:lnTo>
                  <a:pt x="1028" y="531"/>
                </a:lnTo>
                <a:lnTo>
                  <a:pt x="1028" y="534"/>
                </a:lnTo>
                <a:lnTo>
                  <a:pt x="1028" y="534"/>
                </a:lnTo>
                <a:lnTo>
                  <a:pt x="1031" y="534"/>
                </a:lnTo>
                <a:lnTo>
                  <a:pt x="1031" y="534"/>
                </a:lnTo>
                <a:lnTo>
                  <a:pt x="1033" y="534"/>
                </a:lnTo>
                <a:lnTo>
                  <a:pt x="1033" y="534"/>
                </a:lnTo>
                <a:lnTo>
                  <a:pt x="1033" y="536"/>
                </a:lnTo>
                <a:lnTo>
                  <a:pt x="1033" y="536"/>
                </a:lnTo>
                <a:lnTo>
                  <a:pt x="1031" y="539"/>
                </a:lnTo>
                <a:lnTo>
                  <a:pt x="1031" y="539"/>
                </a:lnTo>
                <a:lnTo>
                  <a:pt x="1028" y="539"/>
                </a:lnTo>
                <a:lnTo>
                  <a:pt x="1028" y="539"/>
                </a:lnTo>
                <a:lnTo>
                  <a:pt x="1026" y="541"/>
                </a:lnTo>
                <a:lnTo>
                  <a:pt x="1026" y="541"/>
                </a:lnTo>
                <a:lnTo>
                  <a:pt x="1028" y="541"/>
                </a:lnTo>
                <a:lnTo>
                  <a:pt x="1028" y="541"/>
                </a:lnTo>
                <a:lnTo>
                  <a:pt x="1031" y="539"/>
                </a:lnTo>
                <a:lnTo>
                  <a:pt x="1031" y="539"/>
                </a:lnTo>
                <a:lnTo>
                  <a:pt x="1036" y="539"/>
                </a:lnTo>
                <a:lnTo>
                  <a:pt x="1036" y="539"/>
                </a:lnTo>
                <a:lnTo>
                  <a:pt x="1038" y="539"/>
                </a:lnTo>
                <a:lnTo>
                  <a:pt x="1038" y="539"/>
                </a:lnTo>
                <a:lnTo>
                  <a:pt x="1041" y="536"/>
                </a:lnTo>
                <a:lnTo>
                  <a:pt x="1041" y="536"/>
                </a:lnTo>
                <a:lnTo>
                  <a:pt x="1043" y="536"/>
                </a:lnTo>
                <a:lnTo>
                  <a:pt x="1043" y="536"/>
                </a:lnTo>
                <a:lnTo>
                  <a:pt x="1045" y="539"/>
                </a:lnTo>
                <a:lnTo>
                  <a:pt x="1045" y="539"/>
                </a:lnTo>
                <a:lnTo>
                  <a:pt x="1045" y="539"/>
                </a:lnTo>
                <a:lnTo>
                  <a:pt x="1045" y="541"/>
                </a:lnTo>
                <a:lnTo>
                  <a:pt x="1045" y="541"/>
                </a:lnTo>
                <a:lnTo>
                  <a:pt x="1045" y="539"/>
                </a:lnTo>
                <a:lnTo>
                  <a:pt x="1045" y="539"/>
                </a:lnTo>
                <a:lnTo>
                  <a:pt x="1045" y="536"/>
                </a:lnTo>
                <a:lnTo>
                  <a:pt x="1045" y="536"/>
                </a:lnTo>
                <a:lnTo>
                  <a:pt x="1045" y="534"/>
                </a:lnTo>
                <a:lnTo>
                  <a:pt x="1045" y="534"/>
                </a:lnTo>
                <a:lnTo>
                  <a:pt x="1048" y="531"/>
                </a:lnTo>
                <a:lnTo>
                  <a:pt x="1048" y="531"/>
                </a:lnTo>
                <a:lnTo>
                  <a:pt x="1053" y="529"/>
                </a:lnTo>
                <a:lnTo>
                  <a:pt x="1053" y="529"/>
                </a:lnTo>
                <a:lnTo>
                  <a:pt x="1053" y="531"/>
                </a:lnTo>
                <a:lnTo>
                  <a:pt x="1053" y="531"/>
                </a:lnTo>
                <a:lnTo>
                  <a:pt x="1053" y="531"/>
                </a:lnTo>
                <a:lnTo>
                  <a:pt x="1053" y="534"/>
                </a:lnTo>
                <a:lnTo>
                  <a:pt x="1053" y="534"/>
                </a:lnTo>
                <a:lnTo>
                  <a:pt x="1053" y="536"/>
                </a:lnTo>
                <a:lnTo>
                  <a:pt x="1053" y="536"/>
                </a:lnTo>
                <a:lnTo>
                  <a:pt x="1050" y="541"/>
                </a:lnTo>
                <a:lnTo>
                  <a:pt x="1050" y="541"/>
                </a:lnTo>
                <a:lnTo>
                  <a:pt x="1045" y="541"/>
                </a:lnTo>
                <a:lnTo>
                  <a:pt x="1045" y="541"/>
                </a:lnTo>
                <a:lnTo>
                  <a:pt x="1045" y="544"/>
                </a:lnTo>
                <a:lnTo>
                  <a:pt x="1045" y="544"/>
                </a:lnTo>
                <a:lnTo>
                  <a:pt x="1043" y="546"/>
                </a:lnTo>
                <a:lnTo>
                  <a:pt x="1043" y="546"/>
                </a:lnTo>
                <a:lnTo>
                  <a:pt x="1041" y="546"/>
                </a:lnTo>
                <a:lnTo>
                  <a:pt x="1041" y="546"/>
                </a:lnTo>
                <a:lnTo>
                  <a:pt x="1038" y="544"/>
                </a:lnTo>
                <a:lnTo>
                  <a:pt x="1038" y="544"/>
                </a:lnTo>
                <a:lnTo>
                  <a:pt x="1038" y="544"/>
                </a:lnTo>
                <a:lnTo>
                  <a:pt x="1036" y="546"/>
                </a:lnTo>
                <a:lnTo>
                  <a:pt x="1036" y="546"/>
                </a:lnTo>
                <a:lnTo>
                  <a:pt x="1036" y="548"/>
                </a:lnTo>
                <a:lnTo>
                  <a:pt x="1036" y="548"/>
                </a:lnTo>
                <a:lnTo>
                  <a:pt x="1033" y="551"/>
                </a:lnTo>
                <a:lnTo>
                  <a:pt x="1033" y="551"/>
                </a:lnTo>
                <a:lnTo>
                  <a:pt x="1033" y="553"/>
                </a:lnTo>
                <a:lnTo>
                  <a:pt x="1033" y="553"/>
                </a:lnTo>
                <a:lnTo>
                  <a:pt x="1031" y="556"/>
                </a:lnTo>
                <a:lnTo>
                  <a:pt x="1031" y="556"/>
                </a:lnTo>
                <a:lnTo>
                  <a:pt x="1033" y="556"/>
                </a:lnTo>
                <a:lnTo>
                  <a:pt x="1033" y="556"/>
                </a:lnTo>
                <a:lnTo>
                  <a:pt x="1036" y="551"/>
                </a:lnTo>
                <a:lnTo>
                  <a:pt x="1036" y="551"/>
                </a:lnTo>
                <a:lnTo>
                  <a:pt x="1038" y="546"/>
                </a:lnTo>
                <a:lnTo>
                  <a:pt x="1038" y="546"/>
                </a:lnTo>
                <a:lnTo>
                  <a:pt x="1041" y="546"/>
                </a:lnTo>
                <a:lnTo>
                  <a:pt x="1041" y="546"/>
                </a:lnTo>
                <a:lnTo>
                  <a:pt x="1041" y="546"/>
                </a:lnTo>
                <a:lnTo>
                  <a:pt x="1043" y="548"/>
                </a:lnTo>
                <a:lnTo>
                  <a:pt x="1043" y="548"/>
                </a:lnTo>
                <a:lnTo>
                  <a:pt x="1043" y="548"/>
                </a:lnTo>
                <a:lnTo>
                  <a:pt x="1041" y="551"/>
                </a:lnTo>
                <a:lnTo>
                  <a:pt x="1041" y="551"/>
                </a:lnTo>
                <a:lnTo>
                  <a:pt x="1041" y="553"/>
                </a:lnTo>
                <a:lnTo>
                  <a:pt x="1041" y="553"/>
                </a:lnTo>
                <a:lnTo>
                  <a:pt x="1036" y="558"/>
                </a:lnTo>
                <a:lnTo>
                  <a:pt x="1036" y="558"/>
                </a:lnTo>
                <a:lnTo>
                  <a:pt x="1033" y="558"/>
                </a:lnTo>
                <a:lnTo>
                  <a:pt x="1033" y="558"/>
                </a:lnTo>
                <a:lnTo>
                  <a:pt x="1033" y="561"/>
                </a:lnTo>
                <a:lnTo>
                  <a:pt x="1033" y="561"/>
                </a:lnTo>
                <a:lnTo>
                  <a:pt x="1038" y="558"/>
                </a:lnTo>
                <a:lnTo>
                  <a:pt x="1038" y="558"/>
                </a:lnTo>
                <a:lnTo>
                  <a:pt x="1043" y="551"/>
                </a:lnTo>
                <a:lnTo>
                  <a:pt x="1043" y="551"/>
                </a:lnTo>
                <a:lnTo>
                  <a:pt x="1045" y="546"/>
                </a:lnTo>
                <a:lnTo>
                  <a:pt x="1045" y="546"/>
                </a:lnTo>
                <a:lnTo>
                  <a:pt x="1045" y="546"/>
                </a:lnTo>
                <a:lnTo>
                  <a:pt x="1048" y="544"/>
                </a:lnTo>
                <a:lnTo>
                  <a:pt x="1048" y="544"/>
                </a:lnTo>
                <a:lnTo>
                  <a:pt x="1048" y="544"/>
                </a:lnTo>
                <a:lnTo>
                  <a:pt x="1053" y="541"/>
                </a:lnTo>
                <a:lnTo>
                  <a:pt x="1053" y="541"/>
                </a:lnTo>
                <a:lnTo>
                  <a:pt x="1058" y="539"/>
                </a:lnTo>
                <a:lnTo>
                  <a:pt x="1058" y="539"/>
                </a:lnTo>
                <a:lnTo>
                  <a:pt x="1060" y="539"/>
                </a:lnTo>
                <a:lnTo>
                  <a:pt x="1060" y="539"/>
                </a:lnTo>
                <a:lnTo>
                  <a:pt x="1060" y="539"/>
                </a:lnTo>
                <a:lnTo>
                  <a:pt x="1058" y="541"/>
                </a:lnTo>
                <a:lnTo>
                  <a:pt x="1058" y="541"/>
                </a:lnTo>
                <a:lnTo>
                  <a:pt x="1055" y="544"/>
                </a:lnTo>
                <a:lnTo>
                  <a:pt x="1055" y="544"/>
                </a:lnTo>
                <a:lnTo>
                  <a:pt x="1053" y="544"/>
                </a:lnTo>
                <a:lnTo>
                  <a:pt x="1053" y="544"/>
                </a:lnTo>
                <a:lnTo>
                  <a:pt x="1050" y="546"/>
                </a:lnTo>
                <a:lnTo>
                  <a:pt x="1050" y="546"/>
                </a:lnTo>
                <a:lnTo>
                  <a:pt x="1050" y="548"/>
                </a:lnTo>
                <a:lnTo>
                  <a:pt x="1050" y="548"/>
                </a:lnTo>
                <a:lnTo>
                  <a:pt x="1050" y="548"/>
                </a:lnTo>
                <a:lnTo>
                  <a:pt x="1053" y="546"/>
                </a:lnTo>
                <a:lnTo>
                  <a:pt x="1053" y="546"/>
                </a:lnTo>
                <a:lnTo>
                  <a:pt x="1055" y="546"/>
                </a:lnTo>
                <a:lnTo>
                  <a:pt x="1055" y="546"/>
                </a:lnTo>
                <a:lnTo>
                  <a:pt x="1058" y="544"/>
                </a:lnTo>
                <a:lnTo>
                  <a:pt x="1058" y="544"/>
                </a:lnTo>
                <a:lnTo>
                  <a:pt x="1060" y="544"/>
                </a:lnTo>
                <a:lnTo>
                  <a:pt x="1060" y="544"/>
                </a:lnTo>
                <a:lnTo>
                  <a:pt x="1063" y="541"/>
                </a:lnTo>
                <a:lnTo>
                  <a:pt x="1063" y="541"/>
                </a:lnTo>
                <a:lnTo>
                  <a:pt x="1065" y="541"/>
                </a:lnTo>
                <a:lnTo>
                  <a:pt x="1065" y="541"/>
                </a:lnTo>
                <a:lnTo>
                  <a:pt x="1068" y="541"/>
                </a:lnTo>
                <a:lnTo>
                  <a:pt x="1068" y="541"/>
                </a:lnTo>
                <a:lnTo>
                  <a:pt x="1068" y="544"/>
                </a:lnTo>
                <a:lnTo>
                  <a:pt x="1068" y="544"/>
                </a:lnTo>
                <a:lnTo>
                  <a:pt x="1070" y="548"/>
                </a:lnTo>
                <a:lnTo>
                  <a:pt x="1070" y="548"/>
                </a:lnTo>
                <a:lnTo>
                  <a:pt x="1072" y="551"/>
                </a:lnTo>
                <a:lnTo>
                  <a:pt x="1072" y="551"/>
                </a:lnTo>
                <a:lnTo>
                  <a:pt x="1075" y="551"/>
                </a:lnTo>
                <a:lnTo>
                  <a:pt x="1075" y="551"/>
                </a:lnTo>
                <a:lnTo>
                  <a:pt x="1075" y="553"/>
                </a:lnTo>
                <a:lnTo>
                  <a:pt x="1075" y="553"/>
                </a:lnTo>
                <a:lnTo>
                  <a:pt x="1075" y="556"/>
                </a:lnTo>
                <a:lnTo>
                  <a:pt x="1075" y="556"/>
                </a:lnTo>
                <a:lnTo>
                  <a:pt x="1072" y="558"/>
                </a:lnTo>
                <a:lnTo>
                  <a:pt x="1072" y="558"/>
                </a:lnTo>
                <a:lnTo>
                  <a:pt x="1070" y="558"/>
                </a:lnTo>
                <a:lnTo>
                  <a:pt x="1070" y="558"/>
                </a:lnTo>
                <a:lnTo>
                  <a:pt x="1072" y="556"/>
                </a:lnTo>
                <a:lnTo>
                  <a:pt x="1072" y="556"/>
                </a:lnTo>
                <a:lnTo>
                  <a:pt x="1070" y="556"/>
                </a:lnTo>
                <a:lnTo>
                  <a:pt x="1070" y="556"/>
                </a:lnTo>
                <a:lnTo>
                  <a:pt x="1070" y="556"/>
                </a:lnTo>
                <a:lnTo>
                  <a:pt x="1068" y="558"/>
                </a:lnTo>
                <a:lnTo>
                  <a:pt x="1068" y="558"/>
                </a:lnTo>
                <a:lnTo>
                  <a:pt x="1065" y="561"/>
                </a:lnTo>
                <a:lnTo>
                  <a:pt x="1065" y="561"/>
                </a:lnTo>
                <a:lnTo>
                  <a:pt x="1060" y="561"/>
                </a:lnTo>
                <a:lnTo>
                  <a:pt x="1060" y="561"/>
                </a:lnTo>
                <a:lnTo>
                  <a:pt x="1058" y="561"/>
                </a:lnTo>
                <a:lnTo>
                  <a:pt x="1058" y="561"/>
                </a:lnTo>
                <a:lnTo>
                  <a:pt x="1055" y="561"/>
                </a:lnTo>
                <a:lnTo>
                  <a:pt x="1055" y="561"/>
                </a:lnTo>
                <a:lnTo>
                  <a:pt x="1050" y="563"/>
                </a:lnTo>
                <a:lnTo>
                  <a:pt x="1050" y="563"/>
                </a:lnTo>
                <a:lnTo>
                  <a:pt x="1048" y="566"/>
                </a:lnTo>
                <a:lnTo>
                  <a:pt x="1048" y="566"/>
                </a:lnTo>
                <a:lnTo>
                  <a:pt x="1045" y="566"/>
                </a:lnTo>
                <a:lnTo>
                  <a:pt x="1045" y="566"/>
                </a:lnTo>
                <a:lnTo>
                  <a:pt x="1048" y="566"/>
                </a:lnTo>
                <a:lnTo>
                  <a:pt x="1048" y="566"/>
                </a:lnTo>
                <a:lnTo>
                  <a:pt x="1048" y="568"/>
                </a:lnTo>
                <a:lnTo>
                  <a:pt x="1048" y="568"/>
                </a:lnTo>
                <a:lnTo>
                  <a:pt x="1048" y="568"/>
                </a:lnTo>
                <a:lnTo>
                  <a:pt x="1043" y="571"/>
                </a:lnTo>
                <a:lnTo>
                  <a:pt x="1043" y="571"/>
                </a:lnTo>
                <a:lnTo>
                  <a:pt x="1043" y="571"/>
                </a:lnTo>
                <a:lnTo>
                  <a:pt x="1048" y="571"/>
                </a:lnTo>
                <a:lnTo>
                  <a:pt x="1048" y="571"/>
                </a:lnTo>
                <a:lnTo>
                  <a:pt x="1050" y="568"/>
                </a:lnTo>
                <a:lnTo>
                  <a:pt x="1050" y="568"/>
                </a:lnTo>
                <a:lnTo>
                  <a:pt x="1055" y="563"/>
                </a:lnTo>
                <a:lnTo>
                  <a:pt x="1055" y="563"/>
                </a:lnTo>
                <a:lnTo>
                  <a:pt x="1058" y="563"/>
                </a:lnTo>
                <a:lnTo>
                  <a:pt x="1058" y="563"/>
                </a:lnTo>
                <a:lnTo>
                  <a:pt x="1060" y="563"/>
                </a:lnTo>
                <a:lnTo>
                  <a:pt x="1060" y="563"/>
                </a:lnTo>
                <a:lnTo>
                  <a:pt x="1063" y="563"/>
                </a:lnTo>
                <a:lnTo>
                  <a:pt x="1063" y="563"/>
                </a:lnTo>
                <a:lnTo>
                  <a:pt x="1065" y="563"/>
                </a:lnTo>
                <a:lnTo>
                  <a:pt x="1065" y="563"/>
                </a:lnTo>
                <a:lnTo>
                  <a:pt x="1065" y="566"/>
                </a:lnTo>
                <a:lnTo>
                  <a:pt x="1065" y="566"/>
                </a:lnTo>
                <a:lnTo>
                  <a:pt x="1065" y="568"/>
                </a:lnTo>
                <a:lnTo>
                  <a:pt x="1065" y="568"/>
                </a:lnTo>
                <a:lnTo>
                  <a:pt x="1063" y="568"/>
                </a:lnTo>
                <a:lnTo>
                  <a:pt x="1063" y="568"/>
                </a:lnTo>
                <a:lnTo>
                  <a:pt x="1060" y="571"/>
                </a:lnTo>
                <a:lnTo>
                  <a:pt x="1060" y="571"/>
                </a:lnTo>
                <a:lnTo>
                  <a:pt x="1058" y="571"/>
                </a:lnTo>
                <a:lnTo>
                  <a:pt x="1058" y="571"/>
                </a:lnTo>
                <a:lnTo>
                  <a:pt x="1055" y="571"/>
                </a:lnTo>
                <a:lnTo>
                  <a:pt x="1055" y="571"/>
                </a:lnTo>
                <a:lnTo>
                  <a:pt x="1055" y="576"/>
                </a:lnTo>
                <a:lnTo>
                  <a:pt x="1055" y="576"/>
                </a:lnTo>
                <a:lnTo>
                  <a:pt x="1053" y="576"/>
                </a:lnTo>
                <a:lnTo>
                  <a:pt x="1053" y="576"/>
                </a:lnTo>
                <a:lnTo>
                  <a:pt x="1050" y="573"/>
                </a:lnTo>
                <a:lnTo>
                  <a:pt x="1050" y="573"/>
                </a:lnTo>
                <a:lnTo>
                  <a:pt x="1048" y="576"/>
                </a:lnTo>
                <a:lnTo>
                  <a:pt x="1048" y="576"/>
                </a:lnTo>
                <a:lnTo>
                  <a:pt x="1045" y="578"/>
                </a:lnTo>
                <a:lnTo>
                  <a:pt x="1045" y="578"/>
                </a:lnTo>
                <a:lnTo>
                  <a:pt x="1048" y="578"/>
                </a:lnTo>
                <a:lnTo>
                  <a:pt x="1048" y="578"/>
                </a:lnTo>
                <a:lnTo>
                  <a:pt x="1050" y="576"/>
                </a:lnTo>
                <a:lnTo>
                  <a:pt x="1050" y="576"/>
                </a:lnTo>
                <a:lnTo>
                  <a:pt x="1053" y="576"/>
                </a:lnTo>
                <a:lnTo>
                  <a:pt x="1053" y="576"/>
                </a:lnTo>
                <a:lnTo>
                  <a:pt x="1053" y="578"/>
                </a:lnTo>
                <a:lnTo>
                  <a:pt x="1053" y="578"/>
                </a:lnTo>
                <a:lnTo>
                  <a:pt x="1055" y="576"/>
                </a:lnTo>
                <a:lnTo>
                  <a:pt x="1055" y="576"/>
                </a:lnTo>
                <a:lnTo>
                  <a:pt x="1058" y="573"/>
                </a:lnTo>
                <a:lnTo>
                  <a:pt x="1058" y="573"/>
                </a:lnTo>
                <a:lnTo>
                  <a:pt x="1060" y="571"/>
                </a:lnTo>
                <a:lnTo>
                  <a:pt x="1060" y="571"/>
                </a:lnTo>
                <a:lnTo>
                  <a:pt x="1063" y="573"/>
                </a:lnTo>
                <a:lnTo>
                  <a:pt x="1063" y="573"/>
                </a:lnTo>
                <a:lnTo>
                  <a:pt x="1065" y="573"/>
                </a:lnTo>
                <a:lnTo>
                  <a:pt x="1065" y="573"/>
                </a:lnTo>
                <a:lnTo>
                  <a:pt x="1068" y="571"/>
                </a:lnTo>
                <a:lnTo>
                  <a:pt x="1068" y="571"/>
                </a:lnTo>
                <a:lnTo>
                  <a:pt x="1070" y="568"/>
                </a:lnTo>
                <a:lnTo>
                  <a:pt x="1070" y="568"/>
                </a:lnTo>
                <a:lnTo>
                  <a:pt x="1072" y="568"/>
                </a:lnTo>
                <a:lnTo>
                  <a:pt x="1072" y="568"/>
                </a:lnTo>
                <a:lnTo>
                  <a:pt x="1072" y="566"/>
                </a:lnTo>
                <a:lnTo>
                  <a:pt x="1072" y="566"/>
                </a:lnTo>
                <a:lnTo>
                  <a:pt x="1070" y="566"/>
                </a:lnTo>
                <a:lnTo>
                  <a:pt x="1070" y="566"/>
                </a:lnTo>
                <a:lnTo>
                  <a:pt x="1072" y="563"/>
                </a:lnTo>
                <a:lnTo>
                  <a:pt x="1072" y="563"/>
                </a:lnTo>
                <a:lnTo>
                  <a:pt x="1072" y="561"/>
                </a:lnTo>
                <a:lnTo>
                  <a:pt x="1072" y="561"/>
                </a:lnTo>
                <a:lnTo>
                  <a:pt x="1075" y="561"/>
                </a:lnTo>
                <a:lnTo>
                  <a:pt x="1075" y="561"/>
                </a:lnTo>
                <a:lnTo>
                  <a:pt x="1075" y="561"/>
                </a:lnTo>
                <a:lnTo>
                  <a:pt x="1077" y="561"/>
                </a:lnTo>
                <a:lnTo>
                  <a:pt x="1077" y="561"/>
                </a:lnTo>
                <a:lnTo>
                  <a:pt x="1077" y="563"/>
                </a:lnTo>
                <a:lnTo>
                  <a:pt x="1077" y="563"/>
                </a:lnTo>
                <a:lnTo>
                  <a:pt x="1080" y="571"/>
                </a:lnTo>
                <a:lnTo>
                  <a:pt x="1080" y="571"/>
                </a:lnTo>
                <a:lnTo>
                  <a:pt x="1080" y="573"/>
                </a:lnTo>
                <a:lnTo>
                  <a:pt x="1080" y="573"/>
                </a:lnTo>
                <a:lnTo>
                  <a:pt x="1082" y="576"/>
                </a:lnTo>
                <a:lnTo>
                  <a:pt x="1082" y="576"/>
                </a:lnTo>
                <a:lnTo>
                  <a:pt x="1082" y="578"/>
                </a:lnTo>
                <a:lnTo>
                  <a:pt x="1082" y="578"/>
                </a:lnTo>
                <a:lnTo>
                  <a:pt x="1080" y="580"/>
                </a:lnTo>
                <a:lnTo>
                  <a:pt x="1080" y="580"/>
                </a:lnTo>
                <a:lnTo>
                  <a:pt x="1077" y="580"/>
                </a:lnTo>
                <a:lnTo>
                  <a:pt x="1077" y="580"/>
                </a:lnTo>
                <a:lnTo>
                  <a:pt x="1075" y="578"/>
                </a:lnTo>
                <a:lnTo>
                  <a:pt x="1075" y="578"/>
                </a:lnTo>
                <a:lnTo>
                  <a:pt x="1070" y="578"/>
                </a:lnTo>
                <a:lnTo>
                  <a:pt x="1070" y="578"/>
                </a:lnTo>
                <a:lnTo>
                  <a:pt x="1068" y="580"/>
                </a:lnTo>
                <a:lnTo>
                  <a:pt x="1068" y="580"/>
                </a:lnTo>
                <a:lnTo>
                  <a:pt x="1068" y="580"/>
                </a:lnTo>
                <a:lnTo>
                  <a:pt x="1065" y="580"/>
                </a:lnTo>
                <a:lnTo>
                  <a:pt x="1065" y="580"/>
                </a:lnTo>
                <a:lnTo>
                  <a:pt x="1063" y="580"/>
                </a:lnTo>
                <a:lnTo>
                  <a:pt x="1063" y="580"/>
                </a:lnTo>
                <a:lnTo>
                  <a:pt x="1060" y="580"/>
                </a:lnTo>
                <a:lnTo>
                  <a:pt x="1060" y="580"/>
                </a:lnTo>
                <a:lnTo>
                  <a:pt x="1060" y="583"/>
                </a:lnTo>
                <a:lnTo>
                  <a:pt x="1060" y="583"/>
                </a:lnTo>
                <a:lnTo>
                  <a:pt x="1055" y="583"/>
                </a:lnTo>
                <a:lnTo>
                  <a:pt x="1055" y="583"/>
                </a:lnTo>
                <a:lnTo>
                  <a:pt x="1058" y="585"/>
                </a:lnTo>
                <a:lnTo>
                  <a:pt x="1058" y="585"/>
                </a:lnTo>
                <a:lnTo>
                  <a:pt x="1063" y="583"/>
                </a:lnTo>
                <a:lnTo>
                  <a:pt x="1063" y="583"/>
                </a:lnTo>
                <a:lnTo>
                  <a:pt x="1065" y="585"/>
                </a:lnTo>
                <a:lnTo>
                  <a:pt x="1065" y="585"/>
                </a:lnTo>
                <a:lnTo>
                  <a:pt x="1070" y="588"/>
                </a:lnTo>
                <a:lnTo>
                  <a:pt x="1070" y="588"/>
                </a:lnTo>
                <a:lnTo>
                  <a:pt x="1070" y="590"/>
                </a:lnTo>
                <a:lnTo>
                  <a:pt x="1070" y="590"/>
                </a:lnTo>
                <a:lnTo>
                  <a:pt x="1072" y="588"/>
                </a:lnTo>
                <a:lnTo>
                  <a:pt x="1072" y="588"/>
                </a:lnTo>
                <a:lnTo>
                  <a:pt x="1075" y="588"/>
                </a:lnTo>
                <a:lnTo>
                  <a:pt x="1075" y="588"/>
                </a:lnTo>
                <a:lnTo>
                  <a:pt x="1075" y="590"/>
                </a:lnTo>
                <a:lnTo>
                  <a:pt x="1075" y="590"/>
                </a:lnTo>
                <a:lnTo>
                  <a:pt x="1077" y="590"/>
                </a:lnTo>
                <a:lnTo>
                  <a:pt x="1077" y="590"/>
                </a:lnTo>
                <a:lnTo>
                  <a:pt x="1082" y="593"/>
                </a:lnTo>
                <a:lnTo>
                  <a:pt x="1082" y="593"/>
                </a:lnTo>
                <a:lnTo>
                  <a:pt x="1082" y="595"/>
                </a:lnTo>
                <a:lnTo>
                  <a:pt x="1082" y="595"/>
                </a:lnTo>
                <a:lnTo>
                  <a:pt x="1082" y="598"/>
                </a:lnTo>
                <a:lnTo>
                  <a:pt x="1082" y="598"/>
                </a:lnTo>
                <a:lnTo>
                  <a:pt x="1082" y="600"/>
                </a:lnTo>
                <a:lnTo>
                  <a:pt x="1082" y="600"/>
                </a:lnTo>
                <a:lnTo>
                  <a:pt x="1082" y="600"/>
                </a:lnTo>
                <a:lnTo>
                  <a:pt x="1080" y="600"/>
                </a:lnTo>
                <a:lnTo>
                  <a:pt x="1080" y="600"/>
                </a:lnTo>
                <a:lnTo>
                  <a:pt x="1077" y="598"/>
                </a:lnTo>
                <a:lnTo>
                  <a:pt x="1077" y="598"/>
                </a:lnTo>
                <a:lnTo>
                  <a:pt x="1077" y="598"/>
                </a:lnTo>
                <a:lnTo>
                  <a:pt x="1075" y="600"/>
                </a:lnTo>
                <a:lnTo>
                  <a:pt x="1075" y="600"/>
                </a:lnTo>
                <a:lnTo>
                  <a:pt x="1075" y="600"/>
                </a:lnTo>
                <a:lnTo>
                  <a:pt x="1072" y="598"/>
                </a:lnTo>
                <a:lnTo>
                  <a:pt x="1072" y="598"/>
                </a:lnTo>
                <a:lnTo>
                  <a:pt x="1072" y="598"/>
                </a:lnTo>
                <a:lnTo>
                  <a:pt x="1070" y="598"/>
                </a:lnTo>
                <a:lnTo>
                  <a:pt x="1070" y="598"/>
                </a:lnTo>
                <a:lnTo>
                  <a:pt x="1068" y="595"/>
                </a:lnTo>
                <a:lnTo>
                  <a:pt x="1068" y="595"/>
                </a:lnTo>
                <a:lnTo>
                  <a:pt x="1065" y="593"/>
                </a:lnTo>
                <a:lnTo>
                  <a:pt x="1065" y="593"/>
                </a:lnTo>
                <a:lnTo>
                  <a:pt x="1063" y="593"/>
                </a:lnTo>
                <a:lnTo>
                  <a:pt x="1063" y="593"/>
                </a:lnTo>
                <a:lnTo>
                  <a:pt x="1060" y="595"/>
                </a:lnTo>
                <a:lnTo>
                  <a:pt x="1060" y="595"/>
                </a:lnTo>
                <a:lnTo>
                  <a:pt x="1058" y="593"/>
                </a:lnTo>
                <a:lnTo>
                  <a:pt x="1058" y="593"/>
                </a:lnTo>
                <a:lnTo>
                  <a:pt x="1060" y="595"/>
                </a:lnTo>
                <a:lnTo>
                  <a:pt x="1060" y="595"/>
                </a:lnTo>
                <a:lnTo>
                  <a:pt x="1063" y="595"/>
                </a:lnTo>
                <a:lnTo>
                  <a:pt x="1063" y="595"/>
                </a:lnTo>
                <a:lnTo>
                  <a:pt x="1065" y="595"/>
                </a:lnTo>
                <a:lnTo>
                  <a:pt x="1065" y="595"/>
                </a:lnTo>
                <a:lnTo>
                  <a:pt x="1063" y="598"/>
                </a:lnTo>
                <a:lnTo>
                  <a:pt x="1063" y="598"/>
                </a:lnTo>
                <a:lnTo>
                  <a:pt x="1060" y="598"/>
                </a:lnTo>
                <a:lnTo>
                  <a:pt x="1060" y="598"/>
                </a:lnTo>
                <a:lnTo>
                  <a:pt x="1058" y="598"/>
                </a:lnTo>
                <a:lnTo>
                  <a:pt x="1058" y="598"/>
                </a:lnTo>
                <a:lnTo>
                  <a:pt x="1055" y="598"/>
                </a:lnTo>
                <a:lnTo>
                  <a:pt x="1055" y="598"/>
                </a:lnTo>
                <a:lnTo>
                  <a:pt x="1053" y="600"/>
                </a:lnTo>
                <a:lnTo>
                  <a:pt x="1053" y="600"/>
                </a:lnTo>
                <a:lnTo>
                  <a:pt x="1053" y="603"/>
                </a:lnTo>
                <a:lnTo>
                  <a:pt x="1053" y="603"/>
                </a:lnTo>
                <a:lnTo>
                  <a:pt x="1055" y="603"/>
                </a:lnTo>
                <a:lnTo>
                  <a:pt x="1055" y="603"/>
                </a:lnTo>
                <a:lnTo>
                  <a:pt x="1055" y="600"/>
                </a:lnTo>
                <a:lnTo>
                  <a:pt x="1055" y="600"/>
                </a:lnTo>
                <a:lnTo>
                  <a:pt x="1060" y="600"/>
                </a:lnTo>
                <a:lnTo>
                  <a:pt x="1060" y="600"/>
                </a:lnTo>
                <a:lnTo>
                  <a:pt x="1063" y="598"/>
                </a:lnTo>
                <a:lnTo>
                  <a:pt x="1063" y="598"/>
                </a:lnTo>
                <a:lnTo>
                  <a:pt x="1063" y="598"/>
                </a:lnTo>
                <a:lnTo>
                  <a:pt x="1065" y="600"/>
                </a:lnTo>
                <a:lnTo>
                  <a:pt x="1065" y="600"/>
                </a:lnTo>
                <a:lnTo>
                  <a:pt x="1065" y="603"/>
                </a:lnTo>
                <a:lnTo>
                  <a:pt x="1065" y="603"/>
                </a:lnTo>
                <a:lnTo>
                  <a:pt x="1068" y="603"/>
                </a:lnTo>
                <a:lnTo>
                  <a:pt x="1068" y="603"/>
                </a:lnTo>
                <a:lnTo>
                  <a:pt x="1068" y="603"/>
                </a:lnTo>
                <a:lnTo>
                  <a:pt x="1068" y="605"/>
                </a:lnTo>
                <a:lnTo>
                  <a:pt x="1068" y="605"/>
                </a:lnTo>
                <a:lnTo>
                  <a:pt x="1065" y="605"/>
                </a:lnTo>
                <a:lnTo>
                  <a:pt x="1065" y="605"/>
                </a:lnTo>
                <a:lnTo>
                  <a:pt x="1063" y="605"/>
                </a:lnTo>
                <a:lnTo>
                  <a:pt x="1063" y="605"/>
                </a:lnTo>
                <a:lnTo>
                  <a:pt x="1060" y="605"/>
                </a:lnTo>
                <a:lnTo>
                  <a:pt x="1060" y="605"/>
                </a:lnTo>
                <a:lnTo>
                  <a:pt x="1060" y="603"/>
                </a:lnTo>
                <a:lnTo>
                  <a:pt x="1060" y="603"/>
                </a:lnTo>
                <a:lnTo>
                  <a:pt x="1058" y="603"/>
                </a:lnTo>
                <a:lnTo>
                  <a:pt x="1058" y="603"/>
                </a:lnTo>
                <a:lnTo>
                  <a:pt x="1058" y="605"/>
                </a:lnTo>
                <a:lnTo>
                  <a:pt x="1058" y="605"/>
                </a:lnTo>
                <a:lnTo>
                  <a:pt x="1060" y="605"/>
                </a:lnTo>
                <a:lnTo>
                  <a:pt x="1060" y="605"/>
                </a:lnTo>
                <a:lnTo>
                  <a:pt x="1063" y="607"/>
                </a:lnTo>
                <a:lnTo>
                  <a:pt x="1063" y="607"/>
                </a:lnTo>
                <a:lnTo>
                  <a:pt x="1063" y="607"/>
                </a:lnTo>
                <a:lnTo>
                  <a:pt x="1063" y="610"/>
                </a:lnTo>
                <a:lnTo>
                  <a:pt x="1063" y="610"/>
                </a:lnTo>
                <a:lnTo>
                  <a:pt x="1065" y="610"/>
                </a:lnTo>
                <a:lnTo>
                  <a:pt x="1065" y="610"/>
                </a:lnTo>
                <a:lnTo>
                  <a:pt x="1063" y="612"/>
                </a:lnTo>
                <a:lnTo>
                  <a:pt x="1063" y="612"/>
                </a:lnTo>
                <a:lnTo>
                  <a:pt x="1058" y="610"/>
                </a:lnTo>
                <a:lnTo>
                  <a:pt x="1058" y="610"/>
                </a:lnTo>
                <a:lnTo>
                  <a:pt x="1053" y="610"/>
                </a:lnTo>
                <a:lnTo>
                  <a:pt x="1053" y="610"/>
                </a:lnTo>
                <a:lnTo>
                  <a:pt x="1048" y="607"/>
                </a:lnTo>
                <a:lnTo>
                  <a:pt x="1048" y="607"/>
                </a:lnTo>
                <a:lnTo>
                  <a:pt x="1045" y="607"/>
                </a:lnTo>
                <a:lnTo>
                  <a:pt x="1045" y="607"/>
                </a:lnTo>
                <a:lnTo>
                  <a:pt x="1045" y="607"/>
                </a:lnTo>
                <a:lnTo>
                  <a:pt x="1050" y="610"/>
                </a:lnTo>
                <a:lnTo>
                  <a:pt x="1050" y="610"/>
                </a:lnTo>
                <a:lnTo>
                  <a:pt x="1058" y="612"/>
                </a:lnTo>
                <a:lnTo>
                  <a:pt x="1058" y="612"/>
                </a:lnTo>
                <a:lnTo>
                  <a:pt x="1058" y="615"/>
                </a:lnTo>
                <a:lnTo>
                  <a:pt x="1058" y="615"/>
                </a:lnTo>
                <a:lnTo>
                  <a:pt x="1058" y="615"/>
                </a:lnTo>
                <a:lnTo>
                  <a:pt x="1053" y="612"/>
                </a:lnTo>
                <a:lnTo>
                  <a:pt x="1053" y="612"/>
                </a:lnTo>
                <a:lnTo>
                  <a:pt x="1050" y="612"/>
                </a:lnTo>
                <a:lnTo>
                  <a:pt x="1050" y="612"/>
                </a:lnTo>
                <a:lnTo>
                  <a:pt x="1048" y="615"/>
                </a:lnTo>
                <a:lnTo>
                  <a:pt x="1048" y="615"/>
                </a:lnTo>
                <a:lnTo>
                  <a:pt x="1050" y="615"/>
                </a:lnTo>
                <a:lnTo>
                  <a:pt x="1050" y="615"/>
                </a:lnTo>
                <a:lnTo>
                  <a:pt x="1053" y="615"/>
                </a:lnTo>
                <a:lnTo>
                  <a:pt x="1053" y="615"/>
                </a:lnTo>
                <a:lnTo>
                  <a:pt x="1053" y="617"/>
                </a:lnTo>
                <a:lnTo>
                  <a:pt x="1053" y="617"/>
                </a:lnTo>
                <a:lnTo>
                  <a:pt x="1055" y="617"/>
                </a:lnTo>
                <a:lnTo>
                  <a:pt x="1055" y="617"/>
                </a:lnTo>
                <a:lnTo>
                  <a:pt x="1055" y="617"/>
                </a:lnTo>
                <a:lnTo>
                  <a:pt x="1055" y="620"/>
                </a:lnTo>
                <a:lnTo>
                  <a:pt x="1055" y="620"/>
                </a:lnTo>
                <a:lnTo>
                  <a:pt x="1058" y="622"/>
                </a:lnTo>
                <a:lnTo>
                  <a:pt x="1058" y="622"/>
                </a:lnTo>
                <a:lnTo>
                  <a:pt x="1058" y="620"/>
                </a:lnTo>
                <a:lnTo>
                  <a:pt x="1058" y="620"/>
                </a:lnTo>
                <a:lnTo>
                  <a:pt x="1058" y="620"/>
                </a:lnTo>
                <a:lnTo>
                  <a:pt x="1060" y="620"/>
                </a:lnTo>
                <a:lnTo>
                  <a:pt x="1060" y="620"/>
                </a:lnTo>
                <a:lnTo>
                  <a:pt x="1060" y="620"/>
                </a:lnTo>
                <a:lnTo>
                  <a:pt x="1060" y="622"/>
                </a:lnTo>
                <a:lnTo>
                  <a:pt x="1060" y="622"/>
                </a:lnTo>
                <a:lnTo>
                  <a:pt x="1060" y="622"/>
                </a:lnTo>
                <a:lnTo>
                  <a:pt x="1063" y="622"/>
                </a:lnTo>
                <a:lnTo>
                  <a:pt x="1063" y="622"/>
                </a:lnTo>
                <a:lnTo>
                  <a:pt x="1063" y="620"/>
                </a:lnTo>
                <a:lnTo>
                  <a:pt x="1063" y="620"/>
                </a:lnTo>
                <a:lnTo>
                  <a:pt x="1065" y="620"/>
                </a:lnTo>
                <a:lnTo>
                  <a:pt x="1065" y="620"/>
                </a:lnTo>
                <a:lnTo>
                  <a:pt x="1068" y="622"/>
                </a:lnTo>
                <a:lnTo>
                  <a:pt x="1068" y="622"/>
                </a:lnTo>
                <a:lnTo>
                  <a:pt x="1070" y="622"/>
                </a:lnTo>
                <a:lnTo>
                  <a:pt x="1070" y="622"/>
                </a:lnTo>
                <a:lnTo>
                  <a:pt x="1072" y="622"/>
                </a:lnTo>
                <a:lnTo>
                  <a:pt x="1072" y="622"/>
                </a:lnTo>
                <a:lnTo>
                  <a:pt x="1070" y="625"/>
                </a:lnTo>
                <a:lnTo>
                  <a:pt x="1070" y="625"/>
                </a:lnTo>
                <a:lnTo>
                  <a:pt x="1070" y="627"/>
                </a:lnTo>
                <a:lnTo>
                  <a:pt x="1070" y="627"/>
                </a:lnTo>
                <a:lnTo>
                  <a:pt x="1068" y="625"/>
                </a:lnTo>
                <a:lnTo>
                  <a:pt x="1068" y="625"/>
                </a:lnTo>
                <a:lnTo>
                  <a:pt x="1068" y="625"/>
                </a:lnTo>
                <a:lnTo>
                  <a:pt x="1063" y="625"/>
                </a:lnTo>
                <a:lnTo>
                  <a:pt x="1063" y="625"/>
                </a:lnTo>
                <a:lnTo>
                  <a:pt x="1058" y="627"/>
                </a:lnTo>
                <a:lnTo>
                  <a:pt x="1058" y="627"/>
                </a:lnTo>
                <a:lnTo>
                  <a:pt x="1058" y="630"/>
                </a:lnTo>
                <a:lnTo>
                  <a:pt x="1058" y="630"/>
                </a:lnTo>
                <a:lnTo>
                  <a:pt x="1060" y="627"/>
                </a:lnTo>
                <a:lnTo>
                  <a:pt x="1060" y="627"/>
                </a:lnTo>
                <a:lnTo>
                  <a:pt x="1063" y="627"/>
                </a:lnTo>
                <a:lnTo>
                  <a:pt x="1063" y="627"/>
                </a:lnTo>
                <a:lnTo>
                  <a:pt x="1068" y="627"/>
                </a:lnTo>
                <a:lnTo>
                  <a:pt x="1068" y="627"/>
                </a:lnTo>
                <a:lnTo>
                  <a:pt x="1065" y="627"/>
                </a:lnTo>
                <a:lnTo>
                  <a:pt x="1065" y="627"/>
                </a:lnTo>
                <a:lnTo>
                  <a:pt x="1063" y="630"/>
                </a:lnTo>
                <a:lnTo>
                  <a:pt x="1063" y="630"/>
                </a:lnTo>
                <a:lnTo>
                  <a:pt x="1065" y="630"/>
                </a:lnTo>
                <a:lnTo>
                  <a:pt x="1065" y="630"/>
                </a:lnTo>
                <a:lnTo>
                  <a:pt x="1070" y="630"/>
                </a:lnTo>
                <a:lnTo>
                  <a:pt x="1070" y="630"/>
                </a:lnTo>
                <a:lnTo>
                  <a:pt x="1070" y="630"/>
                </a:lnTo>
                <a:lnTo>
                  <a:pt x="1070" y="632"/>
                </a:lnTo>
                <a:lnTo>
                  <a:pt x="1070" y="632"/>
                </a:lnTo>
                <a:lnTo>
                  <a:pt x="1072" y="632"/>
                </a:lnTo>
                <a:lnTo>
                  <a:pt x="1072" y="632"/>
                </a:lnTo>
                <a:lnTo>
                  <a:pt x="1072" y="635"/>
                </a:lnTo>
                <a:lnTo>
                  <a:pt x="1072" y="635"/>
                </a:lnTo>
                <a:lnTo>
                  <a:pt x="1072" y="637"/>
                </a:lnTo>
                <a:lnTo>
                  <a:pt x="1072" y="637"/>
                </a:lnTo>
                <a:lnTo>
                  <a:pt x="1070" y="639"/>
                </a:lnTo>
                <a:lnTo>
                  <a:pt x="1070" y="639"/>
                </a:lnTo>
                <a:lnTo>
                  <a:pt x="1070" y="642"/>
                </a:lnTo>
                <a:lnTo>
                  <a:pt x="1070" y="642"/>
                </a:lnTo>
                <a:lnTo>
                  <a:pt x="1072" y="639"/>
                </a:lnTo>
                <a:lnTo>
                  <a:pt x="1072" y="639"/>
                </a:lnTo>
                <a:lnTo>
                  <a:pt x="1072" y="639"/>
                </a:lnTo>
                <a:lnTo>
                  <a:pt x="1075" y="637"/>
                </a:lnTo>
                <a:lnTo>
                  <a:pt x="1075" y="637"/>
                </a:lnTo>
                <a:lnTo>
                  <a:pt x="1077" y="637"/>
                </a:lnTo>
                <a:lnTo>
                  <a:pt x="1077" y="637"/>
                </a:lnTo>
                <a:lnTo>
                  <a:pt x="1077" y="639"/>
                </a:lnTo>
                <a:lnTo>
                  <a:pt x="1077" y="639"/>
                </a:lnTo>
                <a:lnTo>
                  <a:pt x="1075" y="639"/>
                </a:lnTo>
                <a:lnTo>
                  <a:pt x="1075" y="639"/>
                </a:lnTo>
                <a:lnTo>
                  <a:pt x="1072" y="644"/>
                </a:lnTo>
                <a:lnTo>
                  <a:pt x="1072" y="644"/>
                </a:lnTo>
                <a:lnTo>
                  <a:pt x="1072" y="647"/>
                </a:lnTo>
                <a:lnTo>
                  <a:pt x="1072" y="647"/>
                </a:lnTo>
                <a:lnTo>
                  <a:pt x="1072" y="649"/>
                </a:lnTo>
                <a:lnTo>
                  <a:pt x="1072" y="649"/>
                </a:lnTo>
                <a:lnTo>
                  <a:pt x="1072" y="649"/>
                </a:lnTo>
                <a:lnTo>
                  <a:pt x="1075" y="644"/>
                </a:lnTo>
                <a:lnTo>
                  <a:pt x="1075" y="644"/>
                </a:lnTo>
                <a:lnTo>
                  <a:pt x="1075" y="644"/>
                </a:lnTo>
                <a:lnTo>
                  <a:pt x="1077" y="642"/>
                </a:lnTo>
                <a:lnTo>
                  <a:pt x="1077" y="642"/>
                </a:lnTo>
                <a:lnTo>
                  <a:pt x="1080" y="639"/>
                </a:lnTo>
                <a:lnTo>
                  <a:pt x="1080" y="639"/>
                </a:lnTo>
                <a:lnTo>
                  <a:pt x="1080" y="639"/>
                </a:lnTo>
                <a:lnTo>
                  <a:pt x="1080" y="637"/>
                </a:lnTo>
                <a:lnTo>
                  <a:pt x="1080" y="637"/>
                </a:lnTo>
                <a:lnTo>
                  <a:pt x="1082" y="637"/>
                </a:lnTo>
                <a:lnTo>
                  <a:pt x="1082" y="637"/>
                </a:lnTo>
                <a:lnTo>
                  <a:pt x="1082" y="637"/>
                </a:lnTo>
                <a:lnTo>
                  <a:pt x="1082" y="639"/>
                </a:lnTo>
                <a:lnTo>
                  <a:pt x="1082" y="639"/>
                </a:lnTo>
                <a:lnTo>
                  <a:pt x="1080" y="642"/>
                </a:lnTo>
                <a:lnTo>
                  <a:pt x="1080" y="642"/>
                </a:lnTo>
                <a:lnTo>
                  <a:pt x="1077" y="644"/>
                </a:lnTo>
                <a:lnTo>
                  <a:pt x="1077" y="644"/>
                </a:lnTo>
                <a:lnTo>
                  <a:pt x="1077" y="647"/>
                </a:lnTo>
                <a:lnTo>
                  <a:pt x="1077" y="647"/>
                </a:lnTo>
                <a:lnTo>
                  <a:pt x="1080" y="649"/>
                </a:lnTo>
                <a:lnTo>
                  <a:pt x="1080" y="649"/>
                </a:lnTo>
                <a:lnTo>
                  <a:pt x="1080" y="649"/>
                </a:lnTo>
                <a:lnTo>
                  <a:pt x="1080" y="647"/>
                </a:lnTo>
                <a:lnTo>
                  <a:pt x="1080" y="647"/>
                </a:lnTo>
                <a:lnTo>
                  <a:pt x="1080" y="644"/>
                </a:lnTo>
                <a:lnTo>
                  <a:pt x="1080" y="644"/>
                </a:lnTo>
                <a:lnTo>
                  <a:pt x="1082" y="642"/>
                </a:lnTo>
                <a:lnTo>
                  <a:pt x="1082" y="642"/>
                </a:lnTo>
                <a:lnTo>
                  <a:pt x="1085" y="642"/>
                </a:lnTo>
                <a:lnTo>
                  <a:pt x="1085" y="642"/>
                </a:lnTo>
                <a:lnTo>
                  <a:pt x="1087" y="637"/>
                </a:lnTo>
                <a:lnTo>
                  <a:pt x="1087" y="637"/>
                </a:lnTo>
                <a:lnTo>
                  <a:pt x="1090" y="637"/>
                </a:lnTo>
                <a:lnTo>
                  <a:pt x="1090" y="637"/>
                </a:lnTo>
                <a:lnTo>
                  <a:pt x="1090" y="637"/>
                </a:lnTo>
                <a:lnTo>
                  <a:pt x="1090" y="639"/>
                </a:lnTo>
                <a:lnTo>
                  <a:pt x="1090" y="639"/>
                </a:lnTo>
                <a:lnTo>
                  <a:pt x="1090" y="642"/>
                </a:lnTo>
                <a:lnTo>
                  <a:pt x="1090" y="642"/>
                </a:lnTo>
                <a:lnTo>
                  <a:pt x="1085" y="642"/>
                </a:lnTo>
                <a:lnTo>
                  <a:pt x="1085" y="642"/>
                </a:lnTo>
                <a:lnTo>
                  <a:pt x="1085" y="644"/>
                </a:lnTo>
                <a:lnTo>
                  <a:pt x="1085" y="644"/>
                </a:lnTo>
                <a:lnTo>
                  <a:pt x="1085" y="647"/>
                </a:lnTo>
                <a:lnTo>
                  <a:pt x="1085" y="647"/>
                </a:lnTo>
                <a:lnTo>
                  <a:pt x="1085" y="649"/>
                </a:lnTo>
                <a:lnTo>
                  <a:pt x="1085" y="649"/>
                </a:lnTo>
                <a:lnTo>
                  <a:pt x="1085" y="647"/>
                </a:lnTo>
                <a:lnTo>
                  <a:pt x="1085" y="647"/>
                </a:lnTo>
                <a:lnTo>
                  <a:pt x="1087" y="649"/>
                </a:lnTo>
                <a:lnTo>
                  <a:pt x="1087" y="649"/>
                </a:lnTo>
                <a:lnTo>
                  <a:pt x="1090" y="647"/>
                </a:lnTo>
                <a:lnTo>
                  <a:pt x="1090" y="647"/>
                </a:lnTo>
                <a:lnTo>
                  <a:pt x="1092" y="647"/>
                </a:lnTo>
                <a:lnTo>
                  <a:pt x="1092" y="647"/>
                </a:lnTo>
                <a:lnTo>
                  <a:pt x="1092" y="647"/>
                </a:lnTo>
                <a:lnTo>
                  <a:pt x="1095" y="652"/>
                </a:lnTo>
                <a:lnTo>
                  <a:pt x="1095" y="652"/>
                </a:lnTo>
                <a:lnTo>
                  <a:pt x="1095" y="652"/>
                </a:lnTo>
                <a:lnTo>
                  <a:pt x="1092" y="654"/>
                </a:lnTo>
                <a:lnTo>
                  <a:pt x="1092" y="654"/>
                </a:lnTo>
                <a:lnTo>
                  <a:pt x="1092" y="654"/>
                </a:lnTo>
                <a:lnTo>
                  <a:pt x="1092" y="654"/>
                </a:lnTo>
                <a:lnTo>
                  <a:pt x="1095" y="657"/>
                </a:lnTo>
                <a:lnTo>
                  <a:pt x="1095" y="657"/>
                </a:lnTo>
                <a:lnTo>
                  <a:pt x="1092" y="659"/>
                </a:lnTo>
                <a:lnTo>
                  <a:pt x="1092" y="659"/>
                </a:lnTo>
                <a:lnTo>
                  <a:pt x="1090" y="659"/>
                </a:lnTo>
                <a:lnTo>
                  <a:pt x="1090" y="659"/>
                </a:lnTo>
                <a:lnTo>
                  <a:pt x="1092" y="659"/>
                </a:lnTo>
                <a:lnTo>
                  <a:pt x="1092" y="659"/>
                </a:lnTo>
                <a:lnTo>
                  <a:pt x="1095" y="662"/>
                </a:lnTo>
                <a:lnTo>
                  <a:pt x="1095" y="662"/>
                </a:lnTo>
                <a:lnTo>
                  <a:pt x="1090" y="662"/>
                </a:lnTo>
                <a:lnTo>
                  <a:pt x="1090" y="662"/>
                </a:lnTo>
                <a:lnTo>
                  <a:pt x="1087" y="662"/>
                </a:lnTo>
                <a:lnTo>
                  <a:pt x="1087" y="662"/>
                </a:lnTo>
                <a:lnTo>
                  <a:pt x="1087" y="664"/>
                </a:lnTo>
                <a:lnTo>
                  <a:pt x="1087" y="664"/>
                </a:lnTo>
                <a:lnTo>
                  <a:pt x="1090" y="662"/>
                </a:lnTo>
                <a:lnTo>
                  <a:pt x="1090" y="662"/>
                </a:lnTo>
                <a:lnTo>
                  <a:pt x="1095" y="664"/>
                </a:lnTo>
                <a:lnTo>
                  <a:pt x="1095" y="664"/>
                </a:lnTo>
                <a:lnTo>
                  <a:pt x="1095" y="662"/>
                </a:lnTo>
                <a:lnTo>
                  <a:pt x="1095" y="662"/>
                </a:lnTo>
                <a:lnTo>
                  <a:pt x="1100" y="662"/>
                </a:lnTo>
                <a:lnTo>
                  <a:pt x="1100" y="662"/>
                </a:lnTo>
                <a:lnTo>
                  <a:pt x="1100" y="662"/>
                </a:lnTo>
                <a:lnTo>
                  <a:pt x="1097" y="664"/>
                </a:lnTo>
                <a:lnTo>
                  <a:pt x="1097" y="664"/>
                </a:lnTo>
                <a:lnTo>
                  <a:pt x="1095" y="669"/>
                </a:lnTo>
                <a:lnTo>
                  <a:pt x="1095" y="669"/>
                </a:lnTo>
                <a:lnTo>
                  <a:pt x="1100" y="667"/>
                </a:lnTo>
                <a:lnTo>
                  <a:pt x="1100" y="667"/>
                </a:lnTo>
                <a:lnTo>
                  <a:pt x="1100" y="664"/>
                </a:lnTo>
                <a:lnTo>
                  <a:pt x="1100" y="664"/>
                </a:lnTo>
                <a:lnTo>
                  <a:pt x="1102" y="662"/>
                </a:lnTo>
                <a:lnTo>
                  <a:pt x="1102" y="662"/>
                </a:lnTo>
                <a:lnTo>
                  <a:pt x="1104" y="662"/>
                </a:lnTo>
                <a:lnTo>
                  <a:pt x="1104" y="662"/>
                </a:lnTo>
                <a:lnTo>
                  <a:pt x="1107" y="662"/>
                </a:lnTo>
                <a:lnTo>
                  <a:pt x="1107" y="662"/>
                </a:lnTo>
                <a:lnTo>
                  <a:pt x="1107" y="662"/>
                </a:lnTo>
                <a:lnTo>
                  <a:pt x="1104" y="664"/>
                </a:lnTo>
                <a:lnTo>
                  <a:pt x="1104" y="664"/>
                </a:lnTo>
                <a:lnTo>
                  <a:pt x="1104" y="664"/>
                </a:lnTo>
                <a:lnTo>
                  <a:pt x="1102" y="667"/>
                </a:lnTo>
                <a:lnTo>
                  <a:pt x="1102" y="667"/>
                </a:lnTo>
                <a:lnTo>
                  <a:pt x="1102" y="669"/>
                </a:lnTo>
                <a:lnTo>
                  <a:pt x="1102" y="669"/>
                </a:lnTo>
                <a:lnTo>
                  <a:pt x="1097" y="671"/>
                </a:lnTo>
                <a:lnTo>
                  <a:pt x="1097" y="671"/>
                </a:lnTo>
                <a:lnTo>
                  <a:pt x="1097" y="674"/>
                </a:lnTo>
                <a:lnTo>
                  <a:pt x="1097" y="674"/>
                </a:lnTo>
                <a:lnTo>
                  <a:pt x="1097" y="676"/>
                </a:lnTo>
                <a:lnTo>
                  <a:pt x="1097" y="676"/>
                </a:lnTo>
                <a:lnTo>
                  <a:pt x="1100" y="676"/>
                </a:lnTo>
                <a:lnTo>
                  <a:pt x="1100" y="676"/>
                </a:lnTo>
                <a:lnTo>
                  <a:pt x="1100" y="674"/>
                </a:lnTo>
                <a:lnTo>
                  <a:pt x="1100" y="674"/>
                </a:lnTo>
                <a:lnTo>
                  <a:pt x="1100" y="671"/>
                </a:lnTo>
                <a:lnTo>
                  <a:pt x="1100" y="671"/>
                </a:lnTo>
                <a:lnTo>
                  <a:pt x="1104" y="669"/>
                </a:lnTo>
                <a:lnTo>
                  <a:pt x="1104" y="669"/>
                </a:lnTo>
                <a:lnTo>
                  <a:pt x="1107" y="669"/>
                </a:lnTo>
                <a:lnTo>
                  <a:pt x="1107" y="669"/>
                </a:lnTo>
                <a:lnTo>
                  <a:pt x="1107" y="669"/>
                </a:lnTo>
                <a:lnTo>
                  <a:pt x="1104" y="674"/>
                </a:lnTo>
                <a:lnTo>
                  <a:pt x="1104" y="674"/>
                </a:lnTo>
                <a:lnTo>
                  <a:pt x="1104" y="676"/>
                </a:lnTo>
                <a:lnTo>
                  <a:pt x="1104" y="676"/>
                </a:lnTo>
                <a:lnTo>
                  <a:pt x="1102" y="679"/>
                </a:lnTo>
                <a:lnTo>
                  <a:pt x="1102" y="679"/>
                </a:lnTo>
                <a:lnTo>
                  <a:pt x="1104" y="676"/>
                </a:lnTo>
                <a:lnTo>
                  <a:pt x="1104" y="676"/>
                </a:lnTo>
                <a:lnTo>
                  <a:pt x="1107" y="674"/>
                </a:lnTo>
                <a:lnTo>
                  <a:pt x="1107" y="674"/>
                </a:lnTo>
                <a:lnTo>
                  <a:pt x="1107" y="671"/>
                </a:lnTo>
                <a:lnTo>
                  <a:pt x="1107" y="671"/>
                </a:lnTo>
                <a:lnTo>
                  <a:pt x="1107" y="671"/>
                </a:lnTo>
                <a:lnTo>
                  <a:pt x="1109" y="671"/>
                </a:lnTo>
                <a:lnTo>
                  <a:pt x="1109" y="671"/>
                </a:lnTo>
                <a:lnTo>
                  <a:pt x="1109" y="676"/>
                </a:lnTo>
                <a:lnTo>
                  <a:pt x="1109" y="676"/>
                </a:lnTo>
                <a:lnTo>
                  <a:pt x="1112" y="676"/>
                </a:lnTo>
                <a:lnTo>
                  <a:pt x="1112" y="676"/>
                </a:lnTo>
                <a:lnTo>
                  <a:pt x="1112" y="676"/>
                </a:lnTo>
                <a:lnTo>
                  <a:pt x="1112" y="674"/>
                </a:lnTo>
                <a:lnTo>
                  <a:pt x="1112" y="674"/>
                </a:lnTo>
                <a:lnTo>
                  <a:pt x="1112" y="671"/>
                </a:lnTo>
                <a:lnTo>
                  <a:pt x="1112" y="671"/>
                </a:lnTo>
                <a:lnTo>
                  <a:pt x="1117" y="671"/>
                </a:lnTo>
                <a:lnTo>
                  <a:pt x="1117" y="671"/>
                </a:lnTo>
                <a:lnTo>
                  <a:pt x="1117" y="671"/>
                </a:lnTo>
                <a:lnTo>
                  <a:pt x="1117" y="674"/>
                </a:lnTo>
                <a:lnTo>
                  <a:pt x="1117" y="674"/>
                </a:lnTo>
                <a:lnTo>
                  <a:pt x="1117" y="674"/>
                </a:lnTo>
                <a:lnTo>
                  <a:pt x="1119" y="674"/>
                </a:lnTo>
                <a:lnTo>
                  <a:pt x="1119" y="674"/>
                </a:lnTo>
                <a:lnTo>
                  <a:pt x="1119" y="674"/>
                </a:lnTo>
                <a:lnTo>
                  <a:pt x="1119" y="679"/>
                </a:lnTo>
                <a:lnTo>
                  <a:pt x="1119" y="679"/>
                </a:lnTo>
                <a:lnTo>
                  <a:pt x="1122" y="679"/>
                </a:lnTo>
                <a:lnTo>
                  <a:pt x="1122" y="679"/>
                </a:lnTo>
                <a:lnTo>
                  <a:pt x="1122" y="679"/>
                </a:lnTo>
                <a:lnTo>
                  <a:pt x="1124" y="681"/>
                </a:lnTo>
                <a:lnTo>
                  <a:pt x="1124" y="681"/>
                </a:lnTo>
                <a:lnTo>
                  <a:pt x="1124" y="684"/>
                </a:lnTo>
                <a:lnTo>
                  <a:pt x="1124" y="684"/>
                </a:lnTo>
                <a:lnTo>
                  <a:pt x="1124" y="684"/>
                </a:lnTo>
                <a:lnTo>
                  <a:pt x="1124" y="686"/>
                </a:lnTo>
                <a:lnTo>
                  <a:pt x="1124" y="686"/>
                </a:lnTo>
                <a:lnTo>
                  <a:pt x="1124" y="686"/>
                </a:lnTo>
                <a:lnTo>
                  <a:pt x="1119" y="686"/>
                </a:lnTo>
                <a:lnTo>
                  <a:pt x="1119" y="686"/>
                </a:lnTo>
                <a:lnTo>
                  <a:pt x="1119" y="684"/>
                </a:lnTo>
                <a:lnTo>
                  <a:pt x="1119" y="684"/>
                </a:lnTo>
                <a:lnTo>
                  <a:pt x="1119" y="684"/>
                </a:lnTo>
                <a:lnTo>
                  <a:pt x="1117" y="681"/>
                </a:lnTo>
                <a:lnTo>
                  <a:pt x="1117" y="681"/>
                </a:lnTo>
                <a:lnTo>
                  <a:pt x="1117" y="681"/>
                </a:lnTo>
                <a:lnTo>
                  <a:pt x="1114" y="681"/>
                </a:lnTo>
                <a:lnTo>
                  <a:pt x="1114" y="681"/>
                </a:lnTo>
                <a:lnTo>
                  <a:pt x="1114" y="684"/>
                </a:lnTo>
                <a:lnTo>
                  <a:pt x="1114" y="684"/>
                </a:lnTo>
                <a:lnTo>
                  <a:pt x="1114" y="684"/>
                </a:lnTo>
                <a:lnTo>
                  <a:pt x="1117" y="684"/>
                </a:lnTo>
                <a:lnTo>
                  <a:pt x="1117" y="684"/>
                </a:lnTo>
                <a:lnTo>
                  <a:pt x="1117" y="686"/>
                </a:lnTo>
                <a:lnTo>
                  <a:pt x="1117" y="686"/>
                </a:lnTo>
                <a:lnTo>
                  <a:pt x="1117" y="686"/>
                </a:lnTo>
                <a:lnTo>
                  <a:pt x="1119" y="686"/>
                </a:lnTo>
                <a:lnTo>
                  <a:pt x="1119" y="686"/>
                </a:lnTo>
                <a:lnTo>
                  <a:pt x="1119" y="689"/>
                </a:lnTo>
                <a:lnTo>
                  <a:pt x="1119" y="689"/>
                </a:lnTo>
                <a:lnTo>
                  <a:pt x="1117" y="689"/>
                </a:lnTo>
                <a:lnTo>
                  <a:pt x="1117" y="689"/>
                </a:lnTo>
                <a:lnTo>
                  <a:pt x="1114" y="689"/>
                </a:lnTo>
                <a:lnTo>
                  <a:pt x="1114" y="689"/>
                </a:lnTo>
                <a:lnTo>
                  <a:pt x="1114" y="689"/>
                </a:lnTo>
                <a:lnTo>
                  <a:pt x="1114" y="691"/>
                </a:lnTo>
                <a:lnTo>
                  <a:pt x="1114" y="691"/>
                </a:lnTo>
                <a:lnTo>
                  <a:pt x="1119" y="691"/>
                </a:lnTo>
                <a:lnTo>
                  <a:pt x="1119" y="691"/>
                </a:lnTo>
                <a:lnTo>
                  <a:pt x="1119" y="691"/>
                </a:lnTo>
                <a:lnTo>
                  <a:pt x="1119" y="691"/>
                </a:lnTo>
                <a:lnTo>
                  <a:pt x="1119" y="694"/>
                </a:lnTo>
                <a:lnTo>
                  <a:pt x="1119" y="694"/>
                </a:lnTo>
                <a:lnTo>
                  <a:pt x="1117" y="694"/>
                </a:lnTo>
                <a:lnTo>
                  <a:pt x="1117" y="694"/>
                </a:lnTo>
                <a:lnTo>
                  <a:pt x="1114" y="694"/>
                </a:lnTo>
                <a:lnTo>
                  <a:pt x="1114" y="694"/>
                </a:lnTo>
                <a:lnTo>
                  <a:pt x="1112" y="694"/>
                </a:lnTo>
                <a:lnTo>
                  <a:pt x="1112" y="694"/>
                </a:lnTo>
                <a:lnTo>
                  <a:pt x="1109" y="694"/>
                </a:lnTo>
                <a:lnTo>
                  <a:pt x="1109" y="694"/>
                </a:lnTo>
                <a:lnTo>
                  <a:pt x="1109" y="691"/>
                </a:lnTo>
                <a:lnTo>
                  <a:pt x="1109" y="691"/>
                </a:lnTo>
                <a:lnTo>
                  <a:pt x="1109" y="689"/>
                </a:lnTo>
                <a:lnTo>
                  <a:pt x="1109" y="689"/>
                </a:lnTo>
                <a:lnTo>
                  <a:pt x="1107" y="689"/>
                </a:lnTo>
                <a:lnTo>
                  <a:pt x="1107" y="689"/>
                </a:lnTo>
                <a:lnTo>
                  <a:pt x="1107" y="686"/>
                </a:lnTo>
                <a:lnTo>
                  <a:pt x="1107" y="686"/>
                </a:lnTo>
                <a:lnTo>
                  <a:pt x="1104" y="686"/>
                </a:lnTo>
                <a:lnTo>
                  <a:pt x="1104" y="686"/>
                </a:lnTo>
                <a:lnTo>
                  <a:pt x="1104" y="689"/>
                </a:lnTo>
                <a:lnTo>
                  <a:pt x="1104" y="689"/>
                </a:lnTo>
                <a:lnTo>
                  <a:pt x="1107" y="691"/>
                </a:lnTo>
                <a:lnTo>
                  <a:pt x="1107" y="691"/>
                </a:lnTo>
                <a:lnTo>
                  <a:pt x="1107" y="691"/>
                </a:lnTo>
                <a:lnTo>
                  <a:pt x="1107" y="694"/>
                </a:lnTo>
                <a:lnTo>
                  <a:pt x="1107" y="694"/>
                </a:lnTo>
                <a:lnTo>
                  <a:pt x="1104" y="694"/>
                </a:lnTo>
                <a:lnTo>
                  <a:pt x="1104" y="694"/>
                </a:lnTo>
                <a:lnTo>
                  <a:pt x="1102" y="691"/>
                </a:lnTo>
                <a:lnTo>
                  <a:pt x="1102" y="691"/>
                </a:lnTo>
                <a:lnTo>
                  <a:pt x="1102" y="691"/>
                </a:lnTo>
                <a:lnTo>
                  <a:pt x="1102" y="694"/>
                </a:lnTo>
                <a:lnTo>
                  <a:pt x="1102" y="694"/>
                </a:lnTo>
                <a:lnTo>
                  <a:pt x="1104" y="696"/>
                </a:lnTo>
                <a:lnTo>
                  <a:pt x="1104" y="696"/>
                </a:lnTo>
                <a:lnTo>
                  <a:pt x="1107" y="696"/>
                </a:lnTo>
                <a:lnTo>
                  <a:pt x="1107" y="696"/>
                </a:lnTo>
                <a:lnTo>
                  <a:pt x="1107" y="696"/>
                </a:lnTo>
                <a:lnTo>
                  <a:pt x="1109" y="696"/>
                </a:lnTo>
                <a:lnTo>
                  <a:pt x="1109" y="696"/>
                </a:lnTo>
                <a:lnTo>
                  <a:pt x="1109" y="698"/>
                </a:lnTo>
                <a:lnTo>
                  <a:pt x="1109" y="698"/>
                </a:lnTo>
                <a:lnTo>
                  <a:pt x="1109" y="701"/>
                </a:lnTo>
                <a:lnTo>
                  <a:pt x="1109" y="701"/>
                </a:lnTo>
                <a:lnTo>
                  <a:pt x="1104" y="701"/>
                </a:lnTo>
                <a:lnTo>
                  <a:pt x="1104" y="701"/>
                </a:lnTo>
                <a:lnTo>
                  <a:pt x="1104" y="698"/>
                </a:lnTo>
                <a:lnTo>
                  <a:pt x="1104" y="698"/>
                </a:lnTo>
                <a:lnTo>
                  <a:pt x="1102" y="696"/>
                </a:lnTo>
                <a:lnTo>
                  <a:pt x="1102" y="696"/>
                </a:lnTo>
                <a:lnTo>
                  <a:pt x="1100" y="696"/>
                </a:lnTo>
                <a:lnTo>
                  <a:pt x="1100" y="696"/>
                </a:lnTo>
                <a:lnTo>
                  <a:pt x="1100" y="696"/>
                </a:lnTo>
                <a:lnTo>
                  <a:pt x="1100" y="696"/>
                </a:lnTo>
                <a:lnTo>
                  <a:pt x="1102" y="698"/>
                </a:lnTo>
                <a:lnTo>
                  <a:pt x="1102" y="698"/>
                </a:lnTo>
                <a:lnTo>
                  <a:pt x="1104" y="701"/>
                </a:lnTo>
                <a:lnTo>
                  <a:pt x="1104" y="701"/>
                </a:lnTo>
                <a:lnTo>
                  <a:pt x="1104" y="706"/>
                </a:lnTo>
                <a:lnTo>
                  <a:pt x="1104" y="706"/>
                </a:lnTo>
                <a:lnTo>
                  <a:pt x="1102" y="706"/>
                </a:lnTo>
                <a:lnTo>
                  <a:pt x="1102" y="706"/>
                </a:lnTo>
                <a:lnTo>
                  <a:pt x="1102" y="706"/>
                </a:lnTo>
                <a:lnTo>
                  <a:pt x="1100" y="703"/>
                </a:lnTo>
                <a:lnTo>
                  <a:pt x="1100" y="703"/>
                </a:lnTo>
                <a:lnTo>
                  <a:pt x="1100" y="703"/>
                </a:lnTo>
                <a:lnTo>
                  <a:pt x="1097" y="703"/>
                </a:lnTo>
                <a:lnTo>
                  <a:pt x="1097" y="703"/>
                </a:lnTo>
                <a:lnTo>
                  <a:pt x="1097" y="703"/>
                </a:lnTo>
                <a:lnTo>
                  <a:pt x="1097" y="703"/>
                </a:lnTo>
                <a:lnTo>
                  <a:pt x="1097" y="706"/>
                </a:lnTo>
                <a:lnTo>
                  <a:pt x="1097" y="706"/>
                </a:lnTo>
                <a:lnTo>
                  <a:pt x="1097" y="711"/>
                </a:lnTo>
                <a:lnTo>
                  <a:pt x="1097" y="711"/>
                </a:lnTo>
                <a:lnTo>
                  <a:pt x="1097" y="711"/>
                </a:lnTo>
                <a:lnTo>
                  <a:pt x="1095" y="711"/>
                </a:lnTo>
                <a:lnTo>
                  <a:pt x="1095" y="711"/>
                </a:lnTo>
                <a:lnTo>
                  <a:pt x="1095" y="711"/>
                </a:lnTo>
                <a:lnTo>
                  <a:pt x="1095" y="708"/>
                </a:lnTo>
                <a:lnTo>
                  <a:pt x="1095" y="708"/>
                </a:lnTo>
                <a:lnTo>
                  <a:pt x="1095" y="708"/>
                </a:lnTo>
                <a:lnTo>
                  <a:pt x="1092" y="708"/>
                </a:lnTo>
                <a:lnTo>
                  <a:pt x="1092" y="708"/>
                </a:lnTo>
                <a:lnTo>
                  <a:pt x="1092" y="711"/>
                </a:lnTo>
                <a:lnTo>
                  <a:pt x="1092" y="711"/>
                </a:lnTo>
                <a:lnTo>
                  <a:pt x="1090" y="708"/>
                </a:lnTo>
                <a:lnTo>
                  <a:pt x="1090" y="708"/>
                </a:lnTo>
                <a:lnTo>
                  <a:pt x="1090" y="708"/>
                </a:lnTo>
                <a:lnTo>
                  <a:pt x="1090" y="706"/>
                </a:lnTo>
                <a:lnTo>
                  <a:pt x="1090" y="706"/>
                </a:lnTo>
                <a:lnTo>
                  <a:pt x="1090" y="703"/>
                </a:lnTo>
                <a:lnTo>
                  <a:pt x="1090" y="703"/>
                </a:lnTo>
                <a:lnTo>
                  <a:pt x="1090" y="701"/>
                </a:lnTo>
                <a:lnTo>
                  <a:pt x="1090" y="701"/>
                </a:lnTo>
                <a:lnTo>
                  <a:pt x="1087" y="703"/>
                </a:lnTo>
                <a:lnTo>
                  <a:pt x="1087" y="703"/>
                </a:lnTo>
                <a:lnTo>
                  <a:pt x="1087" y="708"/>
                </a:lnTo>
                <a:lnTo>
                  <a:pt x="1087" y="708"/>
                </a:lnTo>
                <a:lnTo>
                  <a:pt x="1087" y="708"/>
                </a:lnTo>
                <a:lnTo>
                  <a:pt x="1085" y="708"/>
                </a:lnTo>
                <a:lnTo>
                  <a:pt x="1085" y="708"/>
                </a:lnTo>
                <a:lnTo>
                  <a:pt x="1085" y="708"/>
                </a:lnTo>
                <a:lnTo>
                  <a:pt x="1087" y="711"/>
                </a:lnTo>
                <a:lnTo>
                  <a:pt x="1087" y="711"/>
                </a:lnTo>
                <a:lnTo>
                  <a:pt x="1087" y="711"/>
                </a:lnTo>
                <a:lnTo>
                  <a:pt x="1087" y="713"/>
                </a:lnTo>
                <a:lnTo>
                  <a:pt x="1087" y="713"/>
                </a:lnTo>
                <a:lnTo>
                  <a:pt x="1085" y="713"/>
                </a:lnTo>
                <a:lnTo>
                  <a:pt x="1085" y="713"/>
                </a:lnTo>
                <a:lnTo>
                  <a:pt x="1085" y="711"/>
                </a:lnTo>
                <a:lnTo>
                  <a:pt x="1085" y="711"/>
                </a:lnTo>
                <a:lnTo>
                  <a:pt x="1082" y="713"/>
                </a:lnTo>
                <a:lnTo>
                  <a:pt x="1082" y="713"/>
                </a:lnTo>
                <a:lnTo>
                  <a:pt x="1085" y="713"/>
                </a:lnTo>
                <a:lnTo>
                  <a:pt x="1085" y="713"/>
                </a:lnTo>
                <a:lnTo>
                  <a:pt x="1087" y="713"/>
                </a:lnTo>
                <a:lnTo>
                  <a:pt x="1087" y="713"/>
                </a:lnTo>
                <a:lnTo>
                  <a:pt x="1087" y="716"/>
                </a:lnTo>
                <a:lnTo>
                  <a:pt x="1087" y="716"/>
                </a:lnTo>
                <a:lnTo>
                  <a:pt x="1087" y="718"/>
                </a:lnTo>
                <a:lnTo>
                  <a:pt x="1087" y="718"/>
                </a:lnTo>
                <a:lnTo>
                  <a:pt x="1085" y="718"/>
                </a:lnTo>
                <a:lnTo>
                  <a:pt x="1085" y="718"/>
                </a:lnTo>
                <a:lnTo>
                  <a:pt x="1085" y="718"/>
                </a:lnTo>
                <a:lnTo>
                  <a:pt x="1085" y="721"/>
                </a:lnTo>
                <a:lnTo>
                  <a:pt x="1085" y="721"/>
                </a:lnTo>
                <a:lnTo>
                  <a:pt x="1085" y="723"/>
                </a:lnTo>
                <a:lnTo>
                  <a:pt x="1085" y="723"/>
                </a:lnTo>
                <a:lnTo>
                  <a:pt x="1085" y="723"/>
                </a:lnTo>
                <a:lnTo>
                  <a:pt x="1085" y="721"/>
                </a:lnTo>
                <a:lnTo>
                  <a:pt x="1085" y="721"/>
                </a:lnTo>
                <a:lnTo>
                  <a:pt x="1082" y="723"/>
                </a:lnTo>
                <a:lnTo>
                  <a:pt x="1082" y="723"/>
                </a:lnTo>
                <a:lnTo>
                  <a:pt x="1085" y="723"/>
                </a:lnTo>
                <a:lnTo>
                  <a:pt x="1085" y="723"/>
                </a:lnTo>
                <a:lnTo>
                  <a:pt x="1085" y="726"/>
                </a:lnTo>
                <a:lnTo>
                  <a:pt x="1085" y="726"/>
                </a:lnTo>
                <a:lnTo>
                  <a:pt x="1085" y="728"/>
                </a:lnTo>
                <a:lnTo>
                  <a:pt x="1085" y="728"/>
                </a:lnTo>
                <a:lnTo>
                  <a:pt x="1082" y="728"/>
                </a:lnTo>
                <a:lnTo>
                  <a:pt x="1082" y="728"/>
                </a:lnTo>
                <a:lnTo>
                  <a:pt x="1082" y="730"/>
                </a:lnTo>
                <a:lnTo>
                  <a:pt x="1082" y="730"/>
                </a:lnTo>
                <a:lnTo>
                  <a:pt x="1080" y="730"/>
                </a:lnTo>
                <a:lnTo>
                  <a:pt x="1080" y="730"/>
                </a:lnTo>
                <a:lnTo>
                  <a:pt x="1080" y="728"/>
                </a:lnTo>
                <a:lnTo>
                  <a:pt x="1080" y="728"/>
                </a:lnTo>
                <a:lnTo>
                  <a:pt x="1080" y="728"/>
                </a:lnTo>
                <a:lnTo>
                  <a:pt x="1080" y="726"/>
                </a:lnTo>
                <a:lnTo>
                  <a:pt x="1080" y="726"/>
                </a:lnTo>
                <a:lnTo>
                  <a:pt x="1077" y="726"/>
                </a:lnTo>
                <a:lnTo>
                  <a:pt x="1077" y="726"/>
                </a:lnTo>
                <a:lnTo>
                  <a:pt x="1077" y="726"/>
                </a:lnTo>
                <a:lnTo>
                  <a:pt x="1077" y="723"/>
                </a:lnTo>
                <a:lnTo>
                  <a:pt x="1077" y="723"/>
                </a:lnTo>
                <a:lnTo>
                  <a:pt x="1077" y="723"/>
                </a:lnTo>
                <a:lnTo>
                  <a:pt x="1077" y="723"/>
                </a:lnTo>
                <a:lnTo>
                  <a:pt x="1075" y="723"/>
                </a:lnTo>
                <a:lnTo>
                  <a:pt x="1075" y="723"/>
                </a:lnTo>
                <a:lnTo>
                  <a:pt x="1075" y="726"/>
                </a:lnTo>
                <a:lnTo>
                  <a:pt x="1075" y="726"/>
                </a:lnTo>
                <a:lnTo>
                  <a:pt x="1072" y="726"/>
                </a:lnTo>
                <a:lnTo>
                  <a:pt x="1072" y="726"/>
                </a:lnTo>
                <a:lnTo>
                  <a:pt x="1072" y="723"/>
                </a:lnTo>
                <a:lnTo>
                  <a:pt x="1072" y="723"/>
                </a:lnTo>
                <a:lnTo>
                  <a:pt x="1072" y="721"/>
                </a:lnTo>
                <a:lnTo>
                  <a:pt x="1072" y="721"/>
                </a:lnTo>
                <a:lnTo>
                  <a:pt x="1072" y="721"/>
                </a:lnTo>
                <a:lnTo>
                  <a:pt x="1072" y="718"/>
                </a:lnTo>
                <a:lnTo>
                  <a:pt x="1072" y="718"/>
                </a:lnTo>
                <a:lnTo>
                  <a:pt x="1072" y="718"/>
                </a:lnTo>
                <a:lnTo>
                  <a:pt x="1072" y="718"/>
                </a:lnTo>
                <a:lnTo>
                  <a:pt x="1072" y="716"/>
                </a:lnTo>
                <a:lnTo>
                  <a:pt x="1072" y="716"/>
                </a:lnTo>
                <a:lnTo>
                  <a:pt x="1072" y="716"/>
                </a:lnTo>
                <a:lnTo>
                  <a:pt x="1072" y="718"/>
                </a:lnTo>
                <a:lnTo>
                  <a:pt x="1072" y="718"/>
                </a:lnTo>
                <a:lnTo>
                  <a:pt x="1070" y="721"/>
                </a:lnTo>
                <a:lnTo>
                  <a:pt x="1070" y="721"/>
                </a:lnTo>
                <a:lnTo>
                  <a:pt x="1068" y="723"/>
                </a:lnTo>
                <a:lnTo>
                  <a:pt x="1068" y="723"/>
                </a:lnTo>
                <a:lnTo>
                  <a:pt x="1068" y="721"/>
                </a:lnTo>
                <a:lnTo>
                  <a:pt x="1068" y="721"/>
                </a:lnTo>
                <a:lnTo>
                  <a:pt x="1068" y="721"/>
                </a:lnTo>
                <a:lnTo>
                  <a:pt x="1068" y="718"/>
                </a:lnTo>
                <a:lnTo>
                  <a:pt x="1068" y="718"/>
                </a:lnTo>
                <a:lnTo>
                  <a:pt x="1068" y="716"/>
                </a:lnTo>
                <a:lnTo>
                  <a:pt x="1068" y="716"/>
                </a:lnTo>
                <a:lnTo>
                  <a:pt x="1068" y="716"/>
                </a:lnTo>
                <a:lnTo>
                  <a:pt x="1070" y="713"/>
                </a:lnTo>
                <a:lnTo>
                  <a:pt x="1070" y="713"/>
                </a:lnTo>
                <a:lnTo>
                  <a:pt x="1070" y="713"/>
                </a:lnTo>
                <a:lnTo>
                  <a:pt x="1072" y="713"/>
                </a:lnTo>
                <a:lnTo>
                  <a:pt x="1072" y="713"/>
                </a:lnTo>
                <a:lnTo>
                  <a:pt x="1070" y="711"/>
                </a:lnTo>
                <a:lnTo>
                  <a:pt x="1070" y="711"/>
                </a:lnTo>
                <a:lnTo>
                  <a:pt x="1070" y="711"/>
                </a:lnTo>
                <a:lnTo>
                  <a:pt x="1068" y="711"/>
                </a:lnTo>
                <a:lnTo>
                  <a:pt x="1068" y="711"/>
                </a:lnTo>
                <a:lnTo>
                  <a:pt x="1065" y="711"/>
                </a:lnTo>
                <a:lnTo>
                  <a:pt x="1065" y="711"/>
                </a:lnTo>
                <a:lnTo>
                  <a:pt x="1065" y="711"/>
                </a:lnTo>
                <a:lnTo>
                  <a:pt x="1065" y="708"/>
                </a:lnTo>
                <a:lnTo>
                  <a:pt x="1065" y="708"/>
                </a:lnTo>
                <a:lnTo>
                  <a:pt x="1068" y="708"/>
                </a:lnTo>
                <a:lnTo>
                  <a:pt x="1068" y="708"/>
                </a:lnTo>
                <a:lnTo>
                  <a:pt x="1070" y="706"/>
                </a:lnTo>
                <a:lnTo>
                  <a:pt x="1070" y="706"/>
                </a:lnTo>
                <a:lnTo>
                  <a:pt x="1068" y="706"/>
                </a:lnTo>
                <a:lnTo>
                  <a:pt x="1068" y="706"/>
                </a:lnTo>
                <a:lnTo>
                  <a:pt x="1068" y="706"/>
                </a:lnTo>
                <a:lnTo>
                  <a:pt x="1065" y="706"/>
                </a:lnTo>
                <a:lnTo>
                  <a:pt x="1065" y="706"/>
                </a:lnTo>
                <a:lnTo>
                  <a:pt x="1065" y="706"/>
                </a:lnTo>
                <a:lnTo>
                  <a:pt x="1068" y="703"/>
                </a:lnTo>
                <a:lnTo>
                  <a:pt x="1068" y="703"/>
                </a:lnTo>
                <a:lnTo>
                  <a:pt x="1068" y="703"/>
                </a:lnTo>
                <a:lnTo>
                  <a:pt x="1070" y="703"/>
                </a:lnTo>
                <a:lnTo>
                  <a:pt x="1070" y="703"/>
                </a:lnTo>
                <a:lnTo>
                  <a:pt x="1068" y="701"/>
                </a:lnTo>
                <a:lnTo>
                  <a:pt x="1068" y="701"/>
                </a:lnTo>
                <a:lnTo>
                  <a:pt x="1068" y="701"/>
                </a:lnTo>
                <a:lnTo>
                  <a:pt x="1065" y="703"/>
                </a:lnTo>
                <a:lnTo>
                  <a:pt x="1065" y="703"/>
                </a:lnTo>
                <a:lnTo>
                  <a:pt x="1065" y="703"/>
                </a:lnTo>
                <a:lnTo>
                  <a:pt x="1065" y="701"/>
                </a:lnTo>
                <a:lnTo>
                  <a:pt x="1065" y="701"/>
                </a:lnTo>
                <a:lnTo>
                  <a:pt x="1068" y="698"/>
                </a:lnTo>
                <a:lnTo>
                  <a:pt x="1068" y="698"/>
                </a:lnTo>
                <a:lnTo>
                  <a:pt x="1068" y="696"/>
                </a:lnTo>
                <a:lnTo>
                  <a:pt x="1068" y="696"/>
                </a:lnTo>
                <a:lnTo>
                  <a:pt x="1070" y="696"/>
                </a:lnTo>
                <a:lnTo>
                  <a:pt x="1070" y="696"/>
                </a:lnTo>
                <a:lnTo>
                  <a:pt x="1072" y="694"/>
                </a:lnTo>
                <a:lnTo>
                  <a:pt x="1072" y="694"/>
                </a:lnTo>
                <a:lnTo>
                  <a:pt x="1075" y="694"/>
                </a:lnTo>
                <a:lnTo>
                  <a:pt x="1075" y="694"/>
                </a:lnTo>
                <a:lnTo>
                  <a:pt x="1077" y="691"/>
                </a:lnTo>
                <a:lnTo>
                  <a:pt x="1077" y="691"/>
                </a:lnTo>
                <a:lnTo>
                  <a:pt x="1080" y="689"/>
                </a:lnTo>
                <a:lnTo>
                  <a:pt x="1080" y="689"/>
                </a:lnTo>
                <a:lnTo>
                  <a:pt x="1080" y="689"/>
                </a:lnTo>
                <a:lnTo>
                  <a:pt x="1080" y="686"/>
                </a:lnTo>
                <a:lnTo>
                  <a:pt x="1080" y="686"/>
                </a:lnTo>
                <a:lnTo>
                  <a:pt x="1077" y="686"/>
                </a:lnTo>
                <a:lnTo>
                  <a:pt x="1077" y="686"/>
                </a:lnTo>
                <a:lnTo>
                  <a:pt x="1075" y="689"/>
                </a:lnTo>
                <a:lnTo>
                  <a:pt x="1075" y="689"/>
                </a:lnTo>
                <a:lnTo>
                  <a:pt x="1075" y="689"/>
                </a:lnTo>
                <a:lnTo>
                  <a:pt x="1072" y="691"/>
                </a:lnTo>
                <a:lnTo>
                  <a:pt x="1072" y="691"/>
                </a:lnTo>
                <a:lnTo>
                  <a:pt x="1070" y="694"/>
                </a:lnTo>
                <a:lnTo>
                  <a:pt x="1070" y="694"/>
                </a:lnTo>
                <a:lnTo>
                  <a:pt x="1068" y="694"/>
                </a:lnTo>
                <a:lnTo>
                  <a:pt x="1068" y="694"/>
                </a:lnTo>
                <a:lnTo>
                  <a:pt x="1063" y="696"/>
                </a:lnTo>
                <a:lnTo>
                  <a:pt x="1063" y="696"/>
                </a:lnTo>
                <a:lnTo>
                  <a:pt x="1060" y="696"/>
                </a:lnTo>
                <a:lnTo>
                  <a:pt x="1060" y="696"/>
                </a:lnTo>
                <a:lnTo>
                  <a:pt x="1058" y="696"/>
                </a:lnTo>
                <a:lnTo>
                  <a:pt x="1058" y="696"/>
                </a:lnTo>
                <a:lnTo>
                  <a:pt x="1058" y="696"/>
                </a:lnTo>
                <a:lnTo>
                  <a:pt x="1063" y="691"/>
                </a:lnTo>
                <a:lnTo>
                  <a:pt x="1063" y="691"/>
                </a:lnTo>
                <a:lnTo>
                  <a:pt x="1065" y="689"/>
                </a:lnTo>
                <a:lnTo>
                  <a:pt x="1065" y="689"/>
                </a:lnTo>
                <a:lnTo>
                  <a:pt x="1068" y="689"/>
                </a:lnTo>
                <a:lnTo>
                  <a:pt x="1068" y="689"/>
                </a:lnTo>
                <a:lnTo>
                  <a:pt x="1068" y="686"/>
                </a:lnTo>
                <a:lnTo>
                  <a:pt x="1068" y="686"/>
                </a:lnTo>
                <a:lnTo>
                  <a:pt x="1068" y="684"/>
                </a:lnTo>
                <a:lnTo>
                  <a:pt x="1068" y="684"/>
                </a:lnTo>
                <a:lnTo>
                  <a:pt x="1065" y="686"/>
                </a:lnTo>
                <a:lnTo>
                  <a:pt x="1065" y="686"/>
                </a:lnTo>
                <a:lnTo>
                  <a:pt x="1060" y="691"/>
                </a:lnTo>
                <a:lnTo>
                  <a:pt x="1060" y="691"/>
                </a:lnTo>
                <a:lnTo>
                  <a:pt x="1058" y="691"/>
                </a:lnTo>
                <a:lnTo>
                  <a:pt x="1058" y="691"/>
                </a:lnTo>
                <a:lnTo>
                  <a:pt x="1055" y="691"/>
                </a:lnTo>
                <a:lnTo>
                  <a:pt x="1055" y="691"/>
                </a:lnTo>
                <a:lnTo>
                  <a:pt x="1055" y="691"/>
                </a:lnTo>
                <a:lnTo>
                  <a:pt x="1055" y="689"/>
                </a:lnTo>
                <a:lnTo>
                  <a:pt x="1055" y="689"/>
                </a:lnTo>
                <a:lnTo>
                  <a:pt x="1055" y="686"/>
                </a:lnTo>
                <a:lnTo>
                  <a:pt x="1055" y="686"/>
                </a:lnTo>
                <a:lnTo>
                  <a:pt x="1053" y="689"/>
                </a:lnTo>
                <a:lnTo>
                  <a:pt x="1053" y="689"/>
                </a:lnTo>
                <a:lnTo>
                  <a:pt x="1053" y="686"/>
                </a:lnTo>
                <a:lnTo>
                  <a:pt x="1053" y="686"/>
                </a:lnTo>
                <a:lnTo>
                  <a:pt x="1053" y="686"/>
                </a:lnTo>
                <a:lnTo>
                  <a:pt x="1055" y="686"/>
                </a:lnTo>
                <a:lnTo>
                  <a:pt x="1055" y="686"/>
                </a:lnTo>
                <a:lnTo>
                  <a:pt x="1055" y="684"/>
                </a:lnTo>
                <a:lnTo>
                  <a:pt x="1055" y="684"/>
                </a:lnTo>
                <a:lnTo>
                  <a:pt x="1053" y="684"/>
                </a:lnTo>
                <a:lnTo>
                  <a:pt x="1053" y="684"/>
                </a:lnTo>
                <a:lnTo>
                  <a:pt x="1053" y="684"/>
                </a:lnTo>
                <a:lnTo>
                  <a:pt x="1050" y="681"/>
                </a:lnTo>
                <a:lnTo>
                  <a:pt x="1050" y="681"/>
                </a:lnTo>
                <a:lnTo>
                  <a:pt x="1053" y="679"/>
                </a:lnTo>
                <a:lnTo>
                  <a:pt x="1053" y="679"/>
                </a:lnTo>
                <a:lnTo>
                  <a:pt x="1053" y="679"/>
                </a:lnTo>
                <a:lnTo>
                  <a:pt x="1053" y="676"/>
                </a:lnTo>
                <a:lnTo>
                  <a:pt x="1053" y="676"/>
                </a:lnTo>
                <a:lnTo>
                  <a:pt x="1050" y="676"/>
                </a:lnTo>
                <a:lnTo>
                  <a:pt x="1050" y="676"/>
                </a:lnTo>
                <a:lnTo>
                  <a:pt x="1050" y="674"/>
                </a:lnTo>
                <a:lnTo>
                  <a:pt x="1050" y="674"/>
                </a:lnTo>
                <a:lnTo>
                  <a:pt x="1050" y="674"/>
                </a:lnTo>
                <a:lnTo>
                  <a:pt x="1050" y="676"/>
                </a:lnTo>
                <a:lnTo>
                  <a:pt x="1050" y="676"/>
                </a:lnTo>
                <a:lnTo>
                  <a:pt x="1050" y="679"/>
                </a:lnTo>
                <a:lnTo>
                  <a:pt x="1050" y="679"/>
                </a:lnTo>
                <a:lnTo>
                  <a:pt x="1048" y="679"/>
                </a:lnTo>
                <a:lnTo>
                  <a:pt x="1048" y="679"/>
                </a:lnTo>
                <a:lnTo>
                  <a:pt x="1045" y="679"/>
                </a:lnTo>
                <a:lnTo>
                  <a:pt x="1045" y="679"/>
                </a:lnTo>
                <a:lnTo>
                  <a:pt x="1045" y="676"/>
                </a:lnTo>
                <a:lnTo>
                  <a:pt x="1045" y="676"/>
                </a:lnTo>
                <a:lnTo>
                  <a:pt x="1043" y="676"/>
                </a:lnTo>
                <a:lnTo>
                  <a:pt x="1043" y="676"/>
                </a:lnTo>
                <a:lnTo>
                  <a:pt x="1045" y="679"/>
                </a:lnTo>
                <a:lnTo>
                  <a:pt x="1045" y="679"/>
                </a:lnTo>
                <a:lnTo>
                  <a:pt x="1048" y="681"/>
                </a:lnTo>
                <a:lnTo>
                  <a:pt x="1048" y="681"/>
                </a:lnTo>
                <a:lnTo>
                  <a:pt x="1048" y="684"/>
                </a:lnTo>
                <a:lnTo>
                  <a:pt x="1048" y="684"/>
                </a:lnTo>
                <a:lnTo>
                  <a:pt x="1045" y="684"/>
                </a:lnTo>
                <a:lnTo>
                  <a:pt x="1045" y="684"/>
                </a:lnTo>
                <a:lnTo>
                  <a:pt x="1045" y="684"/>
                </a:lnTo>
                <a:lnTo>
                  <a:pt x="1045" y="684"/>
                </a:lnTo>
                <a:lnTo>
                  <a:pt x="1043" y="686"/>
                </a:lnTo>
                <a:lnTo>
                  <a:pt x="1043" y="686"/>
                </a:lnTo>
                <a:lnTo>
                  <a:pt x="1041" y="684"/>
                </a:lnTo>
                <a:lnTo>
                  <a:pt x="1041" y="684"/>
                </a:lnTo>
                <a:lnTo>
                  <a:pt x="1041" y="681"/>
                </a:lnTo>
                <a:lnTo>
                  <a:pt x="1041" y="681"/>
                </a:lnTo>
                <a:lnTo>
                  <a:pt x="1041" y="679"/>
                </a:lnTo>
                <a:lnTo>
                  <a:pt x="1041" y="679"/>
                </a:lnTo>
                <a:lnTo>
                  <a:pt x="1038" y="681"/>
                </a:lnTo>
                <a:lnTo>
                  <a:pt x="1038" y="681"/>
                </a:lnTo>
                <a:lnTo>
                  <a:pt x="1041" y="681"/>
                </a:lnTo>
                <a:lnTo>
                  <a:pt x="1041" y="681"/>
                </a:lnTo>
                <a:lnTo>
                  <a:pt x="1041" y="684"/>
                </a:lnTo>
                <a:lnTo>
                  <a:pt x="1041" y="684"/>
                </a:lnTo>
                <a:lnTo>
                  <a:pt x="1041" y="686"/>
                </a:lnTo>
                <a:lnTo>
                  <a:pt x="1041" y="686"/>
                </a:lnTo>
                <a:lnTo>
                  <a:pt x="1041" y="686"/>
                </a:lnTo>
                <a:lnTo>
                  <a:pt x="1043" y="689"/>
                </a:lnTo>
                <a:lnTo>
                  <a:pt x="1043" y="689"/>
                </a:lnTo>
                <a:lnTo>
                  <a:pt x="1045" y="691"/>
                </a:lnTo>
                <a:lnTo>
                  <a:pt x="1045" y="691"/>
                </a:lnTo>
                <a:lnTo>
                  <a:pt x="1043" y="694"/>
                </a:lnTo>
                <a:lnTo>
                  <a:pt x="1043" y="694"/>
                </a:lnTo>
                <a:lnTo>
                  <a:pt x="1045" y="694"/>
                </a:lnTo>
                <a:lnTo>
                  <a:pt x="1045" y="694"/>
                </a:lnTo>
                <a:lnTo>
                  <a:pt x="1045" y="696"/>
                </a:lnTo>
                <a:lnTo>
                  <a:pt x="1045" y="696"/>
                </a:lnTo>
                <a:lnTo>
                  <a:pt x="1043" y="696"/>
                </a:lnTo>
                <a:lnTo>
                  <a:pt x="1043" y="696"/>
                </a:lnTo>
                <a:lnTo>
                  <a:pt x="1041" y="696"/>
                </a:lnTo>
                <a:lnTo>
                  <a:pt x="1041" y="696"/>
                </a:lnTo>
                <a:lnTo>
                  <a:pt x="1038" y="694"/>
                </a:lnTo>
                <a:lnTo>
                  <a:pt x="1038" y="694"/>
                </a:lnTo>
                <a:lnTo>
                  <a:pt x="1038" y="696"/>
                </a:lnTo>
                <a:lnTo>
                  <a:pt x="1038" y="696"/>
                </a:lnTo>
                <a:lnTo>
                  <a:pt x="1038" y="696"/>
                </a:lnTo>
                <a:lnTo>
                  <a:pt x="1033" y="694"/>
                </a:lnTo>
                <a:lnTo>
                  <a:pt x="1033" y="694"/>
                </a:lnTo>
                <a:lnTo>
                  <a:pt x="1033" y="691"/>
                </a:lnTo>
                <a:lnTo>
                  <a:pt x="1033" y="691"/>
                </a:lnTo>
                <a:lnTo>
                  <a:pt x="1036" y="689"/>
                </a:lnTo>
                <a:lnTo>
                  <a:pt x="1036" y="689"/>
                </a:lnTo>
                <a:lnTo>
                  <a:pt x="1033" y="686"/>
                </a:lnTo>
                <a:lnTo>
                  <a:pt x="1033" y="686"/>
                </a:lnTo>
                <a:lnTo>
                  <a:pt x="1031" y="686"/>
                </a:lnTo>
                <a:lnTo>
                  <a:pt x="1031" y="686"/>
                </a:lnTo>
                <a:lnTo>
                  <a:pt x="1028" y="686"/>
                </a:lnTo>
                <a:lnTo>
                  <a:pt x="1028" y="686"/>
                </a:lnTo>
                <a:lnTo>
                  <a:pt x="1028" y="684"/>
                </a:lnTo>
                <a:lnTo>
                  <a:pt x="1028" y="684"/>
                </a:lnTo>
                <a:lnTo>
                  <a:pt x="1028" y="681"/>
                </a:lnTo>
                <a:lnTo>
                  <a:pt x="1028" y="681"/>
                </a:lnTo>
                <a:lnTo>
                  <a:pt x="1026" y="684"/>
                </a:lnTo>
                <a:lnTo>
                  <a:pt x="1026" y="684"/>
                </a:lnTo>
                <a:lnTo>
                  <a:pt x="1023" y="684"/>
                </a:lnTo>
                <a:lnTo>
                  <a:pt x="1023" y="684"/>
                </a:lnTo>
                <a:lnTo>
                  <a:pt x="1021" y="684"/>
                </a:lnTo>
                <a:lnTo>
                  <a:pt x="1021" y="684"/>
                </a:lnTo>
                <a:lnTo>
                  <a:pt x="1021" y="686"/>
                </a:lnTo>
                <a:lnTo>
                  <a:pt x="1021" y="686"/>
                </a:lnTo>
                <a:lnTo>
                  <a:pt x="1026" y="686"/>
                </a:lnTo>
                <a:lnTo>
                  <a:pt x="1026" y="686"/>
                </a:lnTo>
                <a:lnTo>
                  <a:pt x="1028" y="686"/>
                </a:lnTo>
                <a:lnTo>
                  <a:pt x="1028" y="686"/>
                </a:lnTo>
                <a:lnTo>
                  <a:pt x="1031" y="689"/>
                </a:lnTo>
                <a:lnTo>
                  <a:pt x="1031" y="689"/>
                </a:lnTo>
                <a:lnTo>
                  <a:pt x="1031" y="691"/>
                </a:lnTo>
                <a:lnTo>
                  <a:pt x="1031" y="691"/>
                </a:lnTo>
                <a:lnTo>
                  <a:pt x="1028" y="694"/>
                </a:lnTo>
                <a:lnTo>
                  <a:pt x="1028" y="694"/>
                </a:lnTo>
                <a:lnTo>
                  <a:pt x="1028" y="694"/>
                </a:lnTo>
                <a:lnTo>
                  <a:pt x="1031" y="694"/>
                </a:lnTo>
                <a:lnTo>
                  <a:pt x="1031" y="694"/>
                </a:lnTo>
                <a:lnTo>
                  <a:pt x="1031" y="696"/>
                </a:lnTo>
                <a:lnTo>
                  <a:pt x="1031" y="696"/>
                </a:lnTo>
                <a:lnTo>
                  <a:pt x="1031" y="696"/>
                </a:lnTo>
                <a:lnTo>
                  <a:pt x="1031" y="698"/>
                </a:lnTo>
                <a:lnTo>
                  <a:pt x="1031" y="698"/>
                </a:lnTo>
                <a:lnTo>
                  <a:pt x="1036" y="698"/>
                </a:lnTo>
                <a:lnTo>
                  <a:pt x="1036" y="698"/>
                </a:lnTo>
                <a:lnTo>
                  <a:pt x="1036" y="698"/>
                </a:lnTo>
                <a:lnTo>
                  <a:pt x="1033" y="701"/>
                </a:lnTo>
                <a:lnTo>
                  <a:pt x="1033" y="701"/>
                </a:lnTo>
                <a:lnTo>
                  <a:pt x="1028" y="706"/>
                </a:lnTo>
                <a:lnTo>
                  <a:pt x="1028" y="706"/>
                </a:lnTo>
                <a:lnTo>
                  <a:pt x="1026" y="708"/>
                </a:lnTo>
                <a:lnTo>
                  <a:pt x="1026" y="708"/>
                </a:lnTo>
                <a:lnTo>
                  <a:pt x="1031" y="706"/>
                </a:lnTo>
                <a:lnTo>
                  <a:pt x="1031" y="706"/>
                </a:lnTo>
                <a:lnTo>
                  <a:pt x="1033" y="703"/>
                </a:lnTo>
                <a:lnTo>
                  <a:pt x="1033" y="703"/>
                </a:lnTo>
                <a:lnTo>
                  <a:pt x="1033" y="703"/>
                </a:lnTo>
                <a:lnTo>
                  <a:pt x="1038" y="703"/>
                </a:lnTo>
                <a:lnTo>
                  <a:pt x="1038" y="703"/>
                </a:lnTo>
                <a:lnTo>
                  <a:pt x="1041" y="703"/>
                </a:lnTo>
                <a:lnTo>
                  <a:pt x="1041" y="703"/>
                </a:lnTo>
                <a:lnTo>
                  <a:pt x="1041" y="706"/>
                </a:lnTo>
                <a:lnTo>
                  <a:pt x="1041" y="706"/>
                </a:lnTo>
                <a:lnTo>
                  <a:pt x="1038" y="706"/>
                </a:lnTo>
                <a:lnTo>
                  <a:pt x="1038" y="706"/>
                </a:lnTo>
                <a:lnTo>
                  <a:pt x="1036" y="708"/>
                </a:lnTo>
                <a:lnTo>
                  <a:pt x="1036" y="708"/>
                </a:lnTo>
                <a:lnTo>
                  <a:pt x="1036" y="708"/>
                </a:lnTo>
                <a:lnTo>
                  <a:pt x="1038" y="711"/>
                </a:lnTo>
                <a:lnTo>
                  <a:pt x="1038" y="711"/>
                </a:lnTo>
                <a:lnTo>
                  <a:pt x="1041" y="711"/>
                </a:lnTo>
                <a:lnTo>
                  <a:pt x="1041" y="711"/>
                </a:lnTo>
                <a:lnTo>
                  <a:pt x="1041" y="713"/>
                </a:lnTo>
                <a:lnTo>
                  <a:pt x="1041" y="713"/>
                </a:lnTo>
                <a:lnTo>
                  <a:pt x="1036" y="713"/>
                </a:lnTo>
                <a:lnTo>
                  <a:pt x="1036" y="713"/>
                </a:lnTo>
                <a:lnTo>
                  <a:pt x="1036" y="713"/>
                </a:lnTo>
                <a:lnTo>
                  <a:pt x="1038" y="716"/>
                </a:lnTo>
                <a:lnTo>
                  <a:pt x="1038" y="716"/>
                </a:lnTo>
                <a:lnTo>
                  <a:pt x="1038" y="716"/>
                </a:lnTo>
                <a:lnTo>
                  <a:pt x="1038" y="716"/>
                </a:lnTo>
                <a:lnTo>
                  <a:pt x="1038" y="718"/>
                </a:lnTo>
                <a:lnTo>
                  <a:pt x="1038" y="718"/>
                </a:lnTo>
                <a:lnTo>
                  <a:pt x="1038" y="718"/>
                </a:lnTo>
                <a:lnTo>
                  <a:pt x="1038" y="721"/>
                </a:lnTo>
                <a:lnTo>
                  <a:pt x="1038" y="721"/>
                </a:lnTo>
                <a:lnTo>
                  <a:pt x="1041" y="721"/>
                </a:lnTo>
                <a:lnTo>
                  <a:pt x="1041" y="721"/>
                </a:lnTo>
                <a:lnTo>
                  <a:pt x="1041" y="723"/>
                </a:lnTo>
                <a:lnTo>
                  <a:pt x="1041" y="723"/>
                </a:lnTo>
                <a:lnTo>
                  <a:pt x="1041" y="726"/>
                </a:lnTo>
                <a:lnTo>
                  <a:pt x="1041" y="726"/>
                </a:lnTo>
                <a:lnTo>
                  <a:pt x="1041" y="726"/>
                </a:lnTo>
                <a:lnTo>
                  <a:pt x="1043" y="726"/>
                </a:lnTo>
                <a:lnTo>
                  <a:pt x="1043" y="726"/>
                </a:lnTo>
                <a:lnTo>
                  <a:pt x="1043" y="723"/>
                </a:lnTo>
                <a:lnTo>
                  <a:pt x="1043" y="723"/>
                </a:lnTo>
                <a:lnTo>
                  <a:pt x="1043" y="721"/>
                </a:lnTo>
                <a:lnTo>
                  <a:pt x="1043" y="721"/>
                </a:lnTo>
                <a:lnTo>
                  <a:pt x="1045" y="723"/>
                </a:lnTo>
                <a:lnTo>
                  <a:pt x="1045" y="723"/>
                </a:lnTo>
                <a:lnTo>
                  <a:pt x="1045" y="726"/>
                </a:lnTo>
                <a:lnTo>
                  <a:pt x="1045" y="726"/>
                </a:lnTo>
                <a:lnTo>
                  <a:pt x="1048" y="728"/>
                </a:lnTo>
                <a:lnTo>
                  <a:pt x="1048" y="728"/>
                </a:lnTo>
                <a:lnTo>
                  <a:pt x="1045" y="728"/>
                </a:lnTo>
                <a:lnTo>
                  <a:pt x="1045" y="728"/>
                </a:lnTo>
                <a:lnTo>
                  <a:pt x="1045" y="730"/>
                </a:lnTo>
                <a:lnTo>
                  <a:pt x="1045" y="730"/>
                </a:lnTo>
                <a:lnTo>
                  <a:pt x="1045" y="730"/>
                </a:lnTo>
                <a:lnTo>
                  <a:pt x="1048" y="730"/>
                </a:lnTo>
                <a:lnTo>
                  <a:pt x="1048" y="730"/>
                </a:lnTo>
                <a:lnTo>
                  <a:pt x="1050" y="730"/>
                </a:lnTo>
                <a:lnTo>
                  <a:pt x="1050" y="730"/>
                </a:lnTo>
                <a:lnTo>
                  <a:pt x="1050" y="733"/>
                </a:lnTo>
                <a:lnTo>
                  <a:pt x="1050" y="733"/>
                </a:lnTo>
                <a:lnTo>
                  <a:pt x="1050" y="730"/>
                </a:lnTo>
                <a:lnTo>
                  <a:pt x="1050" y="730"/>
                </a:lnTo>
                <a:lnTo>
                  <a:pt x="1050" y="728"/>
                </a:lnTo>
                <a:lnTo>
                  <a:pt x="1050" y="728"/>
                </a:lnTo>
                <a:lnTo>
                  <a:pt x="1053" y="728"/>
                </a:lnTo>
                <a:lnTo>
                  <a:pt x="1053" y="728"/>
                </a:lnTo>
                <a:lnTo>
                  <a:pt x="1053" y="730"/>
                </a:lnTo>
                <a:lnTo>
                  <a:pt x="1053" y="730"/>
                </a:lnTo>
                <a:lnTo>
                  <a:pt x="1053" y="733"/>
                </a:lnTo>
                <a:lnTo>
                  <a:pt x="1053" y="733"/>
                </a:lnTo>
                <a:lnTo>
                  <a:pt x="1050" y="735"/>
                </a:lnTo>
                <a:lnTo>
                  <a:pt x="1050" y="735"/>
                </a:lnTo>
                <a:lnTo>
                  <a:pt x="1050" y="738"/>
                </a:lnTo>
                <a:lnTo>
                  <a:pt x="1050" y="738"/>
                </a:lnTo>
                <a:lnTo>
                  <a:pt x="1050" y="738"/>
                </a:lnTo>
                <a:lnTo>
                  <a:pt x="1053" y="740"/>
                </a:lnTo>
                <a:lnTo>
                  <a:pt x="1053" y="740"/>
                </a:lnTo>
                <a:lnTo>
                  <a:pt x="1055" y="738"/>
                </a:lnTo>
                <a:lnTo>
                  <a:pt x="1055" y="738"/>
                </a:lnTo>
                <a:lnTo>
                  <a:pt x="1058" y="738"/>
                </a:lnTo>
                <a:lnTo>
                  <a:pt x="1058" y="738"/>
                </a:lnTo>
                <a:lnTo>
                  <a:pt x="1058" y="738"/>
                </a:lnTo>
                <a:lnTo>
                  <a:pt x="1055" y="740"/>
                </a:lnTo>
                <a:lnTo>
                  <a:pt x="1055" y="740"/>
                </a:lnTo>
                <a:lnTo>
                  <a:pt x="1055" y="743"/>
                </a:lnTo>
                <a:lnTo>
                  <a:pt x="1055" y="743"/>
                </a:lnTo>
                <a:lnTo>
                  <a:pt x="1053" y="743"/>
                </a:lnTo>
                <a:lnTo>
                  <a:pt x="1053" y="743"/>
                </a:lnTo>
                <a:lnTo>
                  <a:pt x="1053" y="745"/>
                </a:lnTo>
                <a:lnTo>
                  <a:pt x="1053" y="745"/>
                </a:lnTo>
                <a:lnTo>
                  <a:pt x="1055" y="748"/>
                </a:lnTo>
                <a:lnTo>
                  <a:pt x="1055" y="748"/>
                </a:lnTo>
                <a:lnTo>
                  <a:pt x="1055" y="750"/>
                </a:lnTo>
                <a:lnTo>
                  <a:pt x="1055" y="750"/>
                </a:lnTo>
                <a:lnTo>
                  <a:pt x="1058" y="750"/>
                </a:lnTo>
                <a:lnTo>
                  <a:pt x="1058" y="750"/>
                </a:lnTo>
                <a:lnTo>
                  <a:pt x="1058" y="755"/>
                </a:lnTo>
                <a:lnTo>
                  <a:pt x="1058" y="755"/>
                </a:lnTo>
                <a:lnTo>
                  <a:pt x="1060" y="760"/>
                </a:lnTo>
                <a:lnTo>
                  <a:pt x="1060" y="760"/>
                </a:lnTo>
                <a:lnTo>
                  <a:pt x="1063" y="760"/>
                </a:lnTo>
                <a:lnTo>
                  <a:pt x="1063" y="760"/>
                </a:lnTo>
                <a:lnTo>
                  <a:pt x="1060" y="762"/>
                </a:lnTo>
                <a:lnTo>
                  <a:pt x="1060" y="762"/>
                </a:lnTo>
                <a:lnTo>
                  <a:pt x="1060" y="765"/>
                </a:lnTo>
                <a:lnTo>
                  <a:pt x="1060" y="765"/>
                </a:lnTo>
                <a:lnTo>
                  <a:pt x="1058" y="770"/>
                </a:lnTo>
                <a:lnTo>
                  <a:pt x="1058" y="770"/>
                </a:lnTo>
                <a:lnTo>
                  <a:pt x="1058" y="772"/>
                </a:lnTo>
                <a:lnTo>
                  <a:pt x="1058" y="772"/>
                </a:lnTo>
                <a:lnTo>
                  <a:pt x="1058" y="772"/>
                </a:lnTo>
                <a:lnTo>
                  <a:pt x="1053" y="767"/>
                </a:lnTo>
                <a:lnTo>
                  <a:pt x="1053" y="767"/>
                </a:lnTo>
                <a:lnTo>
                  <a:pt x="1053" y="765"/>
                </a:lnTo>
                <a:lnTo>
                  <a:pt x="1053" y="765"/>
                </a:lnTo>
                <a:lnTo>
                  <a:pt x="1053" y="762"/>
                </a:lnTo>
                <a:lnTo>
                  <a:pt x="1053" y="762"/>
                </a:lnTo>
                <a:lnTo>
                  <a:pt x="1053" y="758"/>
                </a:lnTo>
                <a:lnTo>
                  <a:pt x="1053" y="758"/>
                </a:lnTo>
                <a:lnTo>
                  <a:pt x="1053" y="762"/>
                </a:lnTo>
                <a:lnTo>
                  <a:pt x="1053" y="762"/>
                </a:lnTo>
                <a:lnTo>
                  <a:pt x="1050" y="765"/>
                </a:lnTo>
                <a:lnTo>
                  <a:pt x="1050" y="765"/>
                </a:lnTo>
                <a:lnTo>
                  <a:pt x="1053" y="770"/>
                </a:lnTo>
                <a:lnTo>
                  <a:pt x="1053" y="770"/>
                </a:lnTo>
                <a:lnTo>
                  <a:pt x="1053" y="775"/>
                </a:lnTo>
                <a:lnTo>
                  <a:pt x="1053" y="775"/>
                </a:lnTo>
                <a:lnTo>
                  <a:pt x="1053" y="777"/>
                </a:lnTo>
                <a:lnTo>
                  <a:pt x="1053" y="777"/>
                </a:lnTo>
                <a:lnTo>
                  <a:pt x="1053" y="782"/>
                </a:lnTo>
                <a:lnTo>
                  <a:pt x="1053" y="782"/>
                </a:lnTo>
                <a:lnTo>
                  <a:pt x="1053" y="782"/>
                </a:lnTo>
                <a:lnTo>
                  <a:pt x="1050" y="782"/>
                </a:lnTo>
                <a:lnTo>
                  <a:pt x="1050" y="782"/>
                </a:lnTo>
                <a:lnTo>
                  <a:pt x="1048" y="780"/>
                </a:lnTo>
                <a:lnTo>
                  <a:pt x="1048" y="780"/>
                </a:lnTo>
                <a:lnTo>
                  <a:pt x="1045" y="780"/>
                </a:lnTo>
                <a:lnTo>
                  <a:pt x="1045" y="780"/>
                </a:lnTo>
                <a:lnTo>
                  <a:pt x="1048" y="785"/>
                </a:lnTo>
                <a:lnTo>
                  <a:pt x="1048" y="785"/>
                </a:lnTo>
                <a:lnTo>
                  <a:pt x="1048" y="789"/>
                </a:lnTo>
                <a:lnTo>
                  <a:pt x="1048" y="789"/>
                </a:lnTo>
                <a:lnTo>
                  <a:pt x="1048" y="789"/>
                </a:lnTo>
                <a:lnTo>
                  <a:pt x="1048" y="792"/>
                </a:lnTo>
                <a:lnTo>
                  <a:pt x="1048" y="792"/>
                </a:lnTo>
                <a:lnTo>
                  <a:pt x="1045" y="792"/>
                </a:lnTo>
                <a:lnTo>
                  <a:pt x="1045" y="792"/>
                </a:lnTo>
                <a:lnTo>
                  <a:pt x="1043" y="789"/>
                </a:lnTo>
                <a:lnTo>
                  <a:pt x="1043" y="789"/>
                </a:lnTo>
                <a:lnTo>
                  <a:pt x="1043" y="785"/>
                </a:lnTo>
                <a:lnTo>
                  <a:pt x="1043" y="785"/>
                </a:lnTo>
                <a:lnTo>
                  <a:pt x="1043" y="782"/>
                </a:lnTo>
                <a:lnTo>
                  <a:pt x="1043" y="782"/>
                </a:lnTo>
                <a:lnTo>
                  <a:pt x="1043" y="780"/>
                </a:lnTo>
                <a:lnTo>
                  <a:pt x="1043" y="780"/>
                </a:lnTo>
                <a:lnTo>
                  <a:pt x="1043" y="782"/>
                </a:lnTo>
                <a:lnTo>
                  <a:pt x="1043" y="782"/>
                </a:lnTo>
                <a:lnTo>
                  <a:pt x="1041" y="782"/>
                </a:lnTo>
                <a:lnTo>
                  <a:pt x="1041" y="782"/>
                </a:lnTo>
                <a:lnTo>
                  <a:pt x="1038" y="780"/>
                </a:lnTo>
                <a:lnTo>
                  <a:pt x="1038" y="780"/>
                </a:lnTo>
                <a:lnTo>
                  <a:pt x="1038" y="775"/>
                </a:lnTo>
                <a:lnTo>
                  <a:pt x="1038" y="775"/>
                </a:lnTo>
                <a:lnTo>
                  <a:pt x="1038" y="777"/>
                </a:lnTo>
                <a:lnTo>
                  <a:pt x="1038" y="777"/>
                </a:lnTo>
                <a:lnTo>
                  <a:pt x="1038" y="780"/>
                </a:lnTo>
                <a:lnTo>
                  <a:pt x="1038" y="780"/>
                </a:lnTo>
                <a:lnTo>
                  <a:pt x="1036" y="777"/>
                </a:lnTo>
                <a:lnTo>
                  <a:pt x="1036" y="777"/>
                </a:lnTo>
                <a:lnTo>
                  <a:pt x="1036" y="777"/>
                </a:lnTo>
                <a:lnTo>
                  <a:pt x="1036" y="772"/>
                </a:lnTo>
                <a:lnTo>
                  <a:pt x="1036" y="772"/>
                </a:lnTo>
                <a:lnTo>
                  <a:pt x="1033" y="772"/>
                </a:lnTo>
                <a:lnTo>
                  <a:pt x="1033" y="772"/>
                </a:lnTo>
                <a:lnTo>
                  <a:pt x="1033" y="775"/>
                </a:lnTo>
                <a:lnTo>
                  <a:pt x="1033" y="775"/>
                </a:lnTo>
                <a:lnTo>
                  <a:pt x="1036" y="775"/>
                </a:lnTo>
                <a:lnTo>
                  <a:pt x="1036" y="775"/>
                </a:lnTo>
                <a:lnTo>
                  <a:pt x="1033" y="777"/>
                </a:lnTo>
                <a:lnTo>
                  <a:pt x="1033" y="777"/>
                </a:lnTo>
                <a:lnTo>
                  <a:pt x="1033" y="777"/>
                </a:lnTo>
                <a:lnTo>
                  <a:pt x="1031" y="775"/>
                </a:lnTo>
                <a:lnTo>
                  <a:pt x="1031" y="775"/>
                </a:lnTo>
                <a:lnTo>
                  <a:pt x="1031" y="772"/>
                </a:lnTo>
                <a:lnTo>
                  <a:pt x="1031" y="772"/>
                </a:lnTo>
                <a:lnTo>
                  <a:pt x="1031" y="770"/>
                </a:lnTo>
                <a:lnTo>
                  <a:pt x="1031" y="770"/>
                </a:lnTo>
                <a:lnTo>
                  <a:pt x="1028" y="765"/>
                </a:lnTo>
                <a:lnTo>
                  <a:pt x="1028" y="765"/>
                </a:lnTo>
                <a:lnTo>
                  <a:pt x="1028" y="765"/>
                </a:lnTo>
                <a:lnTo>
                  <a:pt x="1028" y="767"/>
                </a:lnTo>
                <a:lnTo>
                  <a:pt x="1028" y="767"/>
                </a:lnTo>
                <a:lnTo>
                  <a:pt x="1028" y="772"/>
                </a:lnTo>
                <a:lnTo>
                  <a:pt x="1028" y="772"/>
                </a:lnTo>
                <a:lnTo>
                  <a:pt x="1028" y="775"/>
                </a:lnTo>
                <a:lnTo>
                  <a:pt x="1028" y="775"/>
                </a:lnTo>
                <a:lnTo>
                  <a:pt x="1028" y="775"/>
                </a:lnTo>
                <a:lnTo>
                  <a:pt x="1026" y="770"/>
                </a:lnTo>
                <a:lnTo>
                  <a:pt x="1026" y="770"/>
                </a:lnTo>
                <a:lnTo>
                  <a:pt x="1023" y="770"/>
                </a:lnTo>
                <a:lnTo>
                  <a:pt x="1023" y="770"/>
                </a:lnTo>
                <a:lnTo>
                  <a:pt x="1023" y="767"/>
                </a:lnTo>
                <a:lnTo>
                  <a:pt x="1023" y="767"/>
                </a:lnTo>
                <a:lnTo>
                  <a:pt x="1021" y="767"/>
                </a:lnTo>
                <a:lnTo>
                  <a:pt x="1021" y="767"/>
                </a:lnTo>
                <a:lnTo>
                  <a:pt x="1021" y="762"/>
                </a:lnTo>
                <a:lnTo>
                  <a:pt x="1021" y="762"/>
                </a:lnTo>
                <a:lnTo>
                  <a:pt x="1018" y="760"/>
                </a:lnTo>
                <a:lnTo>
                  <a:pt x="1018" y="760"/>
                </a:lnTo>
                <a:lnTo>
                  <a:pt x="1018" y="760"/>
                </a:lnTo>
                <a:lnTo>
                  <a:pt x="1018" y="758"/>
                </a:lnTo>
                <a:lnTo>
                  <a:pt x="1018" y="758"/>
                </a:lnTo>
                <a:lnTo>
                  <a:pt x="1016" y="758"/>
                </a:lnTo>
                <a:lnTo>
                  <a:pt x="1016" y="758"/>
                </a:lnTo>
                <a:lnTo>
                  <a:pt x="1016" y="760"/>
                </a:lnTo>
                <a:lnTo>
                  <a:pt x="1016" y="760"/>
                </a:lnTo>
                <a:lnTo>
                  <a:pt x="1016" y="762"/>
                </a:lnTo>
                <a:lnTo>
                  <a:pt x="1016" y="762"/>
                </a:lnTo>
                <a:lnTo>
                  <a:pt x="1016" y="765"/>
                </a:lnTo>
                <a:lnTo>
                  <a:pt x="1016" y="765"/>
                </a:lnTo>
                <a:lnTo>
                  <a:pt x="1016" y="765"/>
                </a:lnTo>
                <a:lnTo>
                  <a:pt x="1016" y="762"/>
                </a:lnTo>
                <a:lnTo>
                  <a:pt x="1016" y="762"/>
                </a:lnTo>
                <a:lnTo>
                  <a:pt x="1013" y="760"/>
                </a:lnTo>
                <a:lnTo>
                  <a:pt x="1013" y="760"/>
                </a:lnTo>
                <a:lnTo>
                  <a:pt x="1011" y="760"/>
                </a:lnTo>
                <a:lnTo>
                  <a:pt x="1011" y="760"/>
                </a:lnTo>
                <a:lnTo>
                  <a:pt x="1009" y="755"/>
                </a:lnTo>
                <a:lnTo>
                  <a:pt x="1009" y="755"/>
                </a:lnTo>
                <a:lnTo>
                  <a:pt x="1009" y="753"/>
                </a:lnTo>
                <a:lnTo>
                  <a:pt x="1009" y="753"/>
                </a:lnTo>
                <a:lnTo>
                  <a:pt x="1006" y="753"/>
                </a:lnTo>
                <a:lnTo>
                  <a:pt x="1006" y="753"/>
                </a:lnTo>
                <a:lnTo>
                  <a:pt x="1004" y="753"/>
                </a:lnTo>
                <a:lnTo>
                  <a:pt x="1004" y="753"/>
                </a:lnTo>
                <a:lnTo>
                  <a:pt x="1001" y="753"/>
                </a:lnTo>
                <a:lnTo>
                  <a:pt x="1001" y="753"/>
                </a:lnTo>
                <a:lnTo>
                  <a:pt x="1001" y="755"/>
                </a:lnTo>
                <a:lnTo>
                  <a:pt x="1001" y="755"/>
                </a:lnTo>
                <a:lnTo>
                  <a:pt x="1004" y="760"/>
                </a:lnTo>
                <a:lnTo>
                  <a:pt x="1004" y="760"/>
                </a:lnTo>
                <a:lnTo>
                  <a:pt x="1006" y="762"/>
                </a:lnTo>
                <a:lnTo>
                  <a:pt x="1006" y="762"/>
                </a:lnTo>
                <a:lnTo>
                  <a:pt x="1006" y="765"/>
                </a:lnTo>
                <a:lnTo>
                  <a:pt x="1006" y="765"/>
                </a:lnTo>
                <a:lnTo>
                  <a:pt x="1006" y="765"/>
                </a:lnTo>
                <a:lnTo>
                  <a:pt x="1009" y="770"/>
                </a:lnTo>
                <a:lnTo>
                  <a:pt x="1009" y="770"/>
                </a:lnTo>
                <a:lnTo>
                  <a:pt x="1009" y="770"/>
                </a:lnTo>
                <a:lnTo>
                  <a:pt x="1013" y="770"/>
                </a:lnTo>
                <a:lnTo>
                  <a:pt x="1013" y="770"/>
                </a:lnTo>
                <a:lnTo>
                  <a:pt x="1013" y="772"/>
                </a:lnTo>
                <a:lnTo>
                  <a:pt x="1013" y="772"/>
                </a:lnTo>
                <a:lnTo>
                  <a:pt x="1013" y="775"/>
                </a:lnTo>
                <a:lnTo>
                  <a:pt x="1013" y="775"/>
                </a:lnTo>
                <a:lnTo>
                  <a:pt x="1016" y="775"/>
                </a:lnTo>
                <a:lnTo>
                  <a:pt x="1016" y="775"/>
                </a:lnTo>
                <a:lnTo>
                  <a:pt x="1016" y="775"/>
                </a:lnTo>
                <a:lnTo>
                  <a:pt x="1016" y="777"/>
                </a:lnTo>
                <a:lnTo>
                  <a:pt x="1016" y="777"/>
                </a:lnTo>
                <a:lnTo>
                  <a:pt x="1018" y="777"/>
                </a:lnTo>
                <a:lnTo>
                  <a:pt x="1018" y="777"/>
                </a:lnTo>
                <a:lnTo>
                  <a:pt x="1018" y="780"/>
                </a:lnTo>
                <a:lnTo>
                  <a:pt x="1018" y="780"/>
                </a:lnTo>
                <a:lnTo>
                  <a:pt x="1021" y="782"/>
                </a:lnTo>
                <a:lnTo>
                  <a:pt x="1021" y="782"/>
                </a:lnTo>
                <a:lnTo>
                  <a:pt x="1021" y="785"/>
                </a:lnTo>
                <a:lnTo>
                  <a:pt x="1021" y="785"/>
                </a:lnTo>
                <a:lnTo>
                  <a:pt x="1023" y="785"/>
                </a:lnTo>
                <a:lnTo>
                  <a:pt x="1023" y="785"/>
                </a:lnTo>
                <a:lnTo>
                  <a:pt x="1023" y="785"/>
                </a:lnTo>
                <a:lnTo>
                  <a:pt x="1026" y="787"/>
                </a:lnTo>
                <a:lnTo>
                  <a:pt x="1026" y="787"/>
                </a:lnTo>
                <a:lnTo>
                  <a:pt x="1023" y="792"/>
                </a:lnTo>
                <a:lnTo>
                  <a:pt x="1023" y="792"/>
                </a:lnTo>
                <a:lnTo>
                  <a:pt x="1023" y="792"/>
                </a:lnTo>
                <a:lnTo>
                  <a:pt x="1026" y="792"/>
                </a:lnTo>
                <a:lnTo>
                  <a:pt x="1026" y="792"/>
                </a:lnTo>
                <a:lnTo>
                  <a:pt x="1026" y="794"/>
                </a:lnTo>
                <a:lnTo>
                  <a:pt x="1026" y="794"/>
                </a:lnTo>
                <a:lnTo>
                  <a:pt x="1028" y="792"/>
                </a:lnTo>
                <a:lnTo>
                  <a:pt x="1028" y="792"/>
                </a:lnTo>
                <a:lnTo>
                  <a:pt x="1028" y="792"/>
                </a:lnTo>
                <a:lnTo>
                  <a:pt x="1028" y="797"/>
                </a:lnTo>
                <a:lnTo>
                  <a:pt x="1028" y="797"/>
                </a:lnTo>
                <a:lnTo>
                  <a:pt x="1028" y="797"/>
                </a:lnTo>
                <a:lnTo>
                  <a:pt x="1031" y="797"/>
                </a:lnTo>
                <a:lnTo>
                  <a:pt x="1031" y="797"/>
                </a:lnTo>
                <a:lnTo>
                  <a:pt x="1031" y="797"/>
                </a:lnTo>
                <a:lnTo>
                  <a:pt x="1031" y="799"/>
                </a:lnTo>
                <a:lnTo>
                  <a:pt x="1031" y="799"/>
                </a:lnTo>
                <a:lnTo>
                  <a:pt x="1028" y="799"/>
                </a:lnTo>
                <a:lnTo>
                  <a:pt x="1028" y="799"/>
                </a:lnTo>
                <a:lnTo>
                  <a:pt x="1026" y="799"/>
                </a:lnTo>
                <a:lnTo>
                  <a:pt x="1026" y="799"/>
                </a:lnTo>
                <a:lnTo>
                  <a:pt x="1028" y="802"/>
                </a:lnTo>
                <a:lnTo>
                  <a:pt x="1028" y="802"/>
                </a:lnTo>
                <a:lnTo>
                  <a:pt x="1028" y="804"/>
                </a:lnTo>
                <a:lnTo>
                  <a:pt x="1028" y="804"/>
                </a:lnTo>
                <a:lnTo>
                  <a:pt x="1028" y="807"/>
                </a:lnTo>
                <a:lnTo>
                  <a:pt x="1028" y="807"/>
                </a:lnTo>
                <a:lnTo>
                  <a:pt x="1028" y="807"/>
                </a:lnTo>
                <a:close/>
                <a:moveTo>
                  <a:pt x="770" y="730"/>
                </a:moveTo>
                <a:lnTo>
                  <a:pt x="772" y="730"/>
                </a:lnTo>
                <a:lnTo>
                  <a:pt x="772" y="730"/>
                </a:lnTo>
                <a:lnTo>
                  <a:pt x="772" y="728"/>
                </a:lnTo>
                <a:lnTo>
                  <a:pt x="772" y="728"/>
                </a:lnTo>
                <a:lnTo>
                  <a:pt x="775" y="728"/>
                </a:lnTo>
                <a:lnTo>
                  <a:pt x="775" y="728"/>
                </a:lnTo>
                <a:lnTo>
                  <a:pt x="775" y="728"/>
                </a:lnTo>
                <a:lnTo>
                  <a:pt x="777" y="730"/>
                </a:lnTo>
                <a:lnTo>
                  <a:pt x="777" y="730"/>
                </a:lnTo>
                <a:lnTo>
                  <a:pt x="780" y="730"/>
                </a:lnTo>
                <a:lnTo>
                  <a:pt x="780" y="730"/>
                </a:lnTo>
                <a:lnTo>
                  <a:pt x="780" y="728"/>
                </a:lnTo>
                <a:lnTo>
                  <a:pt x="780" y="728"/>
                </a:lnTo>
                <a:lnTo>
                  <a:pt x="782" y="728"/>
                </a:lnTo>
                <a:lnTo>
                  <a:pt x="782" y="728"/>
                </a:lnTo>
                <a:lnTo>
                  <a:pt x="785" y="730"/>
                </a:lnTo>
                <a:lnTo>
                  <a:pt x="785" y="730"/>
                </a:lnTo>
                <a:lnTo>
                  <a:pt x="785" y="733"/>
                </a:lnTo>
                <a:lnTo>
                  <a:pt x="785" y="733"/>
                </a:lnTo>
                <a:lnTo>
                  <a:pt x="782" y="735"/>
                </a:lnTo>
                <a:lnTo>
                  <a:pt x="782" y="735"/>
                </a:lnTo>
                <a:lnTo>
                  <a:pt x="782" y="738"/>
                </a:lnTo>
                <a:lnTo>
                  <a:pt x="782" y="738"/>
                </a:lnTo>
                <a:lnTo>
                  <a:pt x="780" y="740"/>
                </a:lnTo>
                <a:lnTo>
                  <a:pt x="780" y="740"/>
                </a:lnTo>
                <a:lnTo>
                  <a:pt x="780" y="743"/>
                </a:lnTo>
                <a:lnTo>
                  <a:pt x="780" y="743"/>
                </a:lnTo>
                <a:lnTo>
                  <a:pt x="782" y="745"/>
                </a:lnTo>
                <a:lnTo>
                  <a:pt x="782" y="745"/>
                </a:lnTo>
                <a:lnTo>
                  <a:pt x="782" y="745"/>
                </a:lnTo>
                <a:lnTo>
                  <a:pt x="785" y="745"/>
                </a:lnTo>
                <a:lnTo>
                  <a:pt x="785" y="745"/>
                </a:lnTo>
                <a:lnTo>
                  <a:pt x="787" y="745"/>
                </a:lnTo>
                <a:lnTo>
                  <a:pt x="787" y="745"/>
                </a:lnTo>
                <a:lnTo>
                  <a:pt x="787" y="743"/>
                </a:lnTo>
                <a:lnTo>
                  <a:pt x="787" y="743"/>
                </a:lnTo>
                <a:lnTo>
                  <a:pt x="790" y="745"/>
                </a:lnTo>
                <a:lnTo>
                  <a:pt x="790" y="745"/>
                </a:lnTo>
                <a:lnTo>
                  <a:pt x="792" y="743"/>
                </a:lnTo>
                <a:lnTo>
                  <a:pt x="792" y="743"/>
                </a:lnTo>
                <a:lnTo>
                  <a:pt x="795" y="740"/>
                </a:lnTo>
                <a:lnTo>
                  <a:pt x="795" y="740"/>
                </a:lnTo>
                <a:lnTo>
                  <a:pt x="795" y="743"/>
                </a:lnTo>
                <a:lnTo>
                  <a:pt x="795" y="743"/>
                </a:lnTo>
                <a:lnTo>
                  <a:pt x="797" y="740"/>
                </a:lnTo>
                <a:lnTo>
                  <a:pt x="797" y="740"/>
                </a:lnTo>
                <a:lnTo>
                  <a:pt x="799" y="735"/>
                </a:lnTo>
                <a:lnTo>
                  <a:pt x="799" y="735"/>
                </a:lnTo>
                <a:lnTo>
                  <a:pt x="802" y="733"/>
                </a:lnTo>
                <a:lnTo>
                  <a:pt x="802" y="733"/>
                </a:lnTo>
                <a:lnTo>
                  <a:pt x="802" y="733"/>
                </a:lnTo>
                <a:lnTo>
                  <a:pt x="804" y="733"/>
                </a:lnTo>
                <a:lnTo>
                  <a:pt x="804" y="733"/>
                </a:lnTo>
                <a:lnTo>
                  <a:pt x="804" y="733"/>
                </a:lnTo>
                <a:lnTo>
                  <a:pt x="807" y="730"/>
                </a:lnTo>
                <a:lnTo>
                  <a:pt x="807" y="730"/>
                </a:lnTo>
                <a:lnTo>
                  <a:pt x="809" y="730"/>
                </a:lnTo>
                <a:lnTo>
                  <a:pt x="809" y="730"/>
                </a:lnTo>
                <a:lnTo>
                  <a:pt x="812" y="730"/>
                </a:lnTo>
                <a:lnTo>
                  <a:pt x="812" y="730"/>
                </a:lnTo>
                <a:lnTo>
                  <a:pt x="812" y="728"/>
                </a:lnTo>
                <a:lnTo>
                  <a:pt x="812" y="728"/>
                </a:lnTo>
                <a:lnTo>
                  <a:pt x="812" y="723"/>
                </a:lnTo>
                <a:lnTo>
                  <a:pt x="812" y="723"/>
                </a:lnTo>
                <a:lnTo>
                  <a:pt x="814" y="721"/>
                </a:lnTo>
                <a:lnTo>
                  <a:pt x="814" y="721"/>
                </a:lnTo>
                <a:lnTo>
                  <a:pt x="814" y="718"/>
                </a:lnTo>
                <a:lnTo>
                  <a:pt x="814" y="718"/>
                </a:lnTo>
                <a:lnTo>
                  <a:pt x="817" y="718"/>
                </a:lnTo>
                <a:lnTo>
                  <a:pt x="817" y="718"/>
                </a:lnTo>
                <a:lnTo>
                  <a:pt x="819" y="721"/>
                </a:lnTo>
                <a:lnTo>
                  <a:pt x="819" y="721"/>
                </a:lnTo>
                <a:lnTo>
                  <a:pt x="819" y="718"/>
                </a:lnTo>
                <a:lnTo>
                  <a:pt x="819" y="718"/>
                </a:lnTo>
                <a:lnTo>
                  <a:pt x="822" y="718"/>
                </a:lnTo>
                <a:lnTo>
                  <a:pt x="822" y="718"/>
                </a:lnTo>
                <a:lnTo>
                  <a:pt x="824" y="718"/>
                </a:lnTo>
                <a:lnTo>
                  <a:pt x="824" y="718"/>
                </a:lnTo>
                <a:lnTo>
                  <a:pt x="824" y="721"/>
                </a:lnTo>
                <a:lnTo>
                  <a:pt x="824" y="721"/>
                </a:lnTo>
                <a:lnTo>
                  <a:pt x="822" y="723"/>
                </a:lnTo>
                <a:lnTo>
                  <a:pt x="822" y="723"/>
                </a:lnTo>
                <a:lnTo>
                  <a:pt x="819" y="726"/>
                </a:lnTo>
                <a:lnTo>
                  <a:pt x="819" y="726"/>
                </a:lnTo>
                <a:lnTo>
                  <a:pt x="822" y="726"/>
                </a:lnTo>
                <a:lnTo>
                  <a:pt x="822" y="726"/>
                </a:lnTo>
                <a:lnTo>
                  <a:pt x="826" y="726"/>
                </a:lnTo>
                <a:lnTo>
                  <a:pt x="826" y="726"/>
                </a:lnTo>
                <a:lnTo>
                  <a:pt x="829" y="728"/>
                </a:lnTo>
                <a:lnTo>
                  <a:pt x="829" y="728"/>
                </a:lnTo>
                <a:lnTo>
                  <a:pt x="829" y="730"/>
                </a:lnTo>
                <a:lnTo>
                  <a:pt x="829" y="730"/>
                </a:lnTo>
                <a:lnTo>
                  <a:pt x="829" y="733"/>
                </a:lnTo>
                <a:lnTo>
                  <a:pt x="829" y="733"/>
                </a:lnTo>
                <a:lnTo>
                  <a:pt x="826" y="733"/>
                </a:lnTo>
                <a:lnTo>
                  <a:pt x="826" y="733"/>
                </a:lnTo>
                <a:lnTo>
                  <a:pt x="826" y="735"/>
                </a:lnTo>
                <a:lnTo>
                  <a:pt x="826" y="735"/>
                </a:lnTo>
                <a:lnTo>
                  <a:pt x="826" y="738"/>
                </a:lnTo>
                <a:lnTo>
                  <a:pt x="826" y="738"/>
                </a:lnTo>
                <a:lnTo>
                  <a:pt x="829" y="735"/>
                </a:lnTo>
                <a:lnTo>
                  <a:pt x="829" y="735"/>
                </a:lnTo>
                <a:lnTo>
                  <a:pt x="831" y="735"/>
                </a:lnTo>
                <a:lnTo>
                  <a:pt x="831" y="735"/>
                </a:lnTo>
                <a:lnTo>
                  <a:pt x="831" y="738"/>
                </a:lnTo>
                <a:lnTo>
                  <a:pt x="831" y="738"/>
                </a:lnTo>
                <a:lnTo>
                  <a:pt x="834" y="738"/>
                </a:lnTo>
                <a:lnTo>
                  <a:pt x="834" y="738"/>
                </a:lnTo>
                <a:lnTo>
                  <a:pt x="834" y="738"/>
                </a:lnTo>
                <a:lnTo>
                  <a:pt x="836" y="738"/>
                </a:lnTo>
                <a:lnTo>
                  <a:pt x="836" y="738"/>
                </a:lnTo>
                <a:lnTo>
                  <a:pt x="839" y="740"/>
                </a:lnTo>
                <a:lnTo>
                  <a:pt x="839" y="740"/>
                </a:lnTo>
                <a:lnTo>
                  <a:pt x="841" y="740"/>
                </a:lnTo>
                <a:lnTo>
                  <a:pt x="841" y="740"/>
                </a:lnTo>
                <a:lnTo>
                  <a:pt x="844" y="743"/>
                </a:lnTo>
                <a:lnTo>
                  <a:pt x="844" y="743"/>
                </a:lnTo>
                <a:lnTo>
                  <a:pt x="846" y="743"/>
                </a:lnTo>
                <a:lnTo>
                  <a:pt x="846" y="743"/>
                </a:lnTo>
                <a:lnTo>
                  <a:pt x="849" y="738"/>
                </a:lnTo>
                <a:lnTo>
                  <a:pt x="849" y="738"/>
                </a:lnTo>
                <a:lnTo>
                  <a:pt x="849" y="738"/>
                </a:lnTo>
                <a:lnTo>
                  <a:pt x="851" y="735"/>
                </a:lnTo>
                <a:lnTo>
                  <a:pt x="851" y="735"/>
                </a:lnTo>
                <a:lnTo>
                  <a:pt x="854" y="735"/>
                </a:lnTo>
                <a:lnTo>
                  <a:pt x="854" y="735"/>
                </a:lnTo>
                <a:lnTo>
                  <a:pt x="856" y="733"/>
                </a:lnTo>
                <a:lnTo>
                  <a:pt x="856" y="733"/>
                </a:lnTo>
                <a:lnTo>
                  <a:pt x="854" y="733"/>
                </a:lnTo>
                <a:lnTo>
                  <a:pt x="854" y="733"/>
                </a:lnTo>
                <a:lnTo>
                  <a:pt x="851" y="730"/>
                </a:lnTo>
                <a:lnTo>
                  <a:pt x="851" y="730"/>
                </a:lnTo>
                <a:lnTo>
                  <a:pt x="854" y="730"/>
                </a:lnTo>
                <a:lnTo>
                  <a:pt x="854" y="730"/>
                </a:lnTo>
                <a:lnTo>
                  <a:pt x="854" y="728"/>
                </a:lnTo>
                <a:lnTo>
                  <a:pt x="854" y="728"/>
                </a:lnTo>
                <a:lnTo>
                  <a:pt x="854" y="728"/>
                </a:lnTo>
                <a:lnTo>
                  <a:pt x="851" y="726"/>
                </a:lnTo>
                <a:lnTo>
                  <a:pt x="851" y="726"/>
                </a:lnTo>
                <a:lnTo>
                  <a:pt x="851" y="726"/>
                </a:lnTo>
                <a:lnTo>
                  <a:pt x="851" y="728"/>
                </a:lnTo>
                <a:lnTo>
                  <a:pt x="851" y="728"/>
                </a:lnTo>
                <a:lnTo>
                  <a:pt x="849" y="728"/>
                </a:lnTo>
                <a:lnTo>
                  <a:pt x="849" y="728"/>
                </a:lnTo>
                <a:lnTo>
                  <a:pt x="849" y="728"/>
                </a:lnTo>
                <a:lnTo>
                  <a:pt x="846" y="726"/>
                </a:lnTo>
                <a:lnTo>
                  <a:pt x="846" y="726"/>
                </a:lnTo>
                <a:lnTo>
                  <a:pt x="846" y="726"/>
                </a:lnTo>
                <a:lnTo>
                  <a:pt x="844" y="726"/>
                </a:lnTo>
                <a:lnTo>
                  <a:pt x="844" y="726"/>
                </a:lnTo>
                <a:lnTo>
                  <a:pt x="841" y="728"/>
                </a:lnTo>
                <a:lnTo>
                  <a:pt x="841" y="728"/>
                </a:lnTo>
                <a:lnTo>
                  <a:pt x="836" y="728"/>
                </a:lnTo>
                <a:lnTo>
                  <a:pt x="836" y="728"/>
                </a:lnTo>
                <a:lnTo>
                  <a:pt x="836" y="726"/>
                </a:lnTo>
                <a:lnTo>
                  <a:pt x="836" y="726"/>
                </a:lnTo>
                <a:lnTo>
                  <a:pt x="839" y="723"/>
                </a:lnTo>
                <a:lnTo>
                  <a:pt x="839" y="723"/>
                </a:lnTo>
                <a:lnTo>
                  <a:pt x="839" y="723"/>
                </a:lnTo>
                <a:lnTo>
                  <a:pt x="841" y="723"/>
                </a:lnTo>
                <a:lnTo>
                  <a:pt x="841" y="723"/>
                </a:lnTo>
                <a:lnTo>
                  <a:pt x="841" y="721"/>
                </a:lnTo>
                <a:lnTo>
                  <a:pt x="841" y="721"/>
                </a:lnTo>
                <a:lnTo>
                  <a:pt x="841" y="718"/>
                </a:lnTo>
                <a:lnTo>
                  <a:pt x="841" y="718"/>
                </a:lnTo>
                <a:lnTo>
                  <a:pt x="841" y="716"/>
                </a:lnTo>
                <a:lnTo>
                  <a:pt x="841" y="716"/>
                </a:lnTo>
                <a:lnTo>
                  <a:pt x="841" y="713"/>
                </a:lnTo>
                <a:lnTo>
                  <a:pt x="841" y="713"/>
                </a:lnTo>
                <a:lnTo>
                  <a:pt x="841" y="713"/>
                </a:lnTo>
                <a:lnTo>
                  <a:pt x="841" y="711"/>
                </a:lnTo>
                <a:lnTo>
                  <a:pt x="841" y="711"/>
                </a:lnTo>
                <a:lnTo>
                  <a:pt x="841" y="708"/>
                </a:lnTo>
                <a:lnTo>
                  <a:pt x="841" y="708"/>
                </a:lnTo>
                <a:lnTo>
                  <a:pt x="836" y="703"/>
                </a:lnTo>
                <a:lnTo>
                  <a:pt x="836" y="703"/>
                </a:lnTo>
                <a:lnTo>
                  <a:pt x="831" y="703"/>
                </a:lnTo>
                <a:lnTo>
                  <a:pt x="831" y="703"/>
                </a:lnTo>
                <a:lnTo>
                  <a:pt x="831" y="701"/>
                </a:lnTo>
                <a:lnTo>
                  <a:pt x="831" y="701"/>
                </a:lnTo>
                <a:lnTo>
                  <a:pt x="831" y="698"/>
                </a:lnTo>
                <a:lnTo>
                  <a:pt x="831" y="698"/>
                </a:lnTo>
                <a:lnTo>
                  <a:pt x="829" y="698"/>
                </a:lnTo>
                <a:lnTo>
                  <a:pt x="829" y="698"/>
                </a:lnTo>
                <a:lnTo>
                  <a:pt x="829" y="696"/>
                </a:lnTo>
                <a:lnTo>
                  <a:pt x="829" y="696"/>
                </a:lnTo>
                <a:lnTo>
                  <a:pt x="829" y="694"/>
                </a:lnTo>
                <a:lnTo>
                  <a:pt x="829" y="694"/>
                </a:lnTo>
                <a:lnTo>
                  <a:pt x="829" y="691"/>
                </a:lnTo>
                <a:lnTo>
                  <a:pt x="829" y="691"/>
                </a:lnTo>
                <a:lnTo>
                  <a:pt x="824" y="691"/>
                </a:lnTo>
                <a:lnTo>
                  <a:pt x="824" y="691"/>
                </a:lnTo>
                <a:lnTo>
                  <a:pt x="819" y="689"/>
                </a:lnTo>
                <a:lnTo>
                  <a:pt x="819" y="689"/>
                </a:lnTo>
                <a:lnTo>
                  <a:pt x="817" y="686"/>
                </a:lnTo>
                <a:lnTo>
                  <a:pt x="817" y="686"/>
                </a:lnTo>
                <a:lnTo>
                  <a:pt x="819" y="684"/>
                </a:lnTo>
                <a:lnTo>
                  <a:pt x="819" y="684"/>
                </a:lnTo>
                <a:lnTo>
                  <a:pt x="819" y="681"/>
                </a:lnTo>
                <a:lnTo>
                  <a:pt x="819" y="681"/>
                </a:lnTo>
                <a:lnTo>
                  <a:pt x="817" y="681"/>
                </a:lnTo>
                <a:lnTo>
                  <a:pt x="817" y="681"/>
                </a:lnTo>
                <a:lnTo>
                  <a:pt x="817" y="679"/>
                </a:lnTo>
                <a:lnTo>
                  <a:pt x="817" y="679"/>
                </a:lnTo>
                <a:lnTo>
                  <a:pt x="814" y="679"/>
                </a:lnTo>
                <a:lnTo>
                  <a:pt x="814" y="679"/>
                </a:lnTo>
                <a:lnTo>
                  <a:pt x="812" y="681"/>
                </a:lnTo>
                <a:lnTo>
                  <a:pt x="812" y="681"/>
                </a:lnTo>
                <a:lnTo>
                  <a:pt x="812" y="684"/>
                </a:lnTo>
                <a:lnTo>
                  <a:pt x="812" y="684"/>
                </a:lnTo>
                <a:lnTo>
                  <a:pt x="809" y="686"/>
                </a:lnTo>
                <a:lnTo>
                  <a:pt x="809" y="686"/>
                </a:lnTo>
                <a:lnTo>
                  <a:pt x="809" y="684"/>
                </a:lnTo>
                <a:lnTo>
                  <a:pt x="809" y="684"/>
                </a:lnTo>
                <a:lnTo>
                  <a:pt x="809" y="681"/>
                </a:lnTo>
                <a:lnTo>
                  <a:pt x="809" y="681"/>
                </a:lnTo>
                <a:lnTo>
                  <a:pt x="807" y="679"/>
                </a:lnTo>
                <a:lnTo>
                  <a:pt x="807" y="679"/>
                </a:lnTo>
                <a:lnTo>
                  <a:pt x="807" y="676"/>
                </a:lnTo>
                <a:lnTo>
                  <a:pt x="807" y="676"/>
                </a:lnTo>
                <a:lnTo>
                  <a:pt x="809" y="676"/>
                </a:lnTo>
                <a:lnTo>
                  <a:pt x="809" y="676"/>
                </a:lnTo>
                <a:lnTo>
                  <a:pt x="812" y="676"/>
                </a:lnTo>
                <a:lnTo>
                  <a:pt x="812" y="676"/>
                </a:lnTo>
                <a:lnTo>
                  <a:pt x="812" y="674"/>
                </a:lnTo>
                <a:lnTo>
                  <a:pt x="812" y="674"/>
                </a:lnTo>
                <a:lnTo>
                  <a:pt x="812" y="671"/>
                </a:lnTo>
                <a:lnTo>
                  <a:pt x="812" y="671"/>
                </a:lnTo>
                <a:lnTo>
                  <a:pt x="812" y="669"/>
                </a:lnTo>
                <a:lnTo>
                  <a:pt x="812" y="669"/>
                </a:lnTo>
                <a:lnTo>
                  <a:pt x="807" y="669"/>
                </a:lnTo>
                <a:lnTo>
                  <a:pt x="807" y="669"/>
                </a:lnTo>
                <a:lnTo>
                  <a:pt x="807" y="667"/>
                </a:lnTo>
                <a:lnTo>
                  <a:pt x="807" y="667"/>
                </a:lnTo>
                <a:lnTo>
                  <a:pt x="809" y="664"/>
                </a:lnTo>
                <a:lnTo>
                  <a:pt x="809" y="664"/>
                </a:lnTo>
                <a:lnTo>
                  <a:pt x="809" y="664"/>
                </a:lnTo>
                <a:lnTo>
                  <a:pt x="802" y="667"/>
                </a:lnTo>
                <a:lnTo>
                  <a:pt x="802" y="667"/>
                </a:lnTo>
                <a:lnTo>
                  <a:pt x="799" y="669"/>
                </a:lnTo>
                <a:lnTo>
                  <a:pt x="799" y="669"/>
                </a:lnTo>
                <a:lnTo>
                  <a:pt x="797" y="674"/>
                </a:lnTo>
                <a:lnTo>
                  <a:pt x="797" y="674"/>
                </a:lnTo>
                <a:lnTo>
                  <a:pt x="795" y="679"/>
                </a:lnTo>
                <a:lnTo>
                  <a:pt x="795" y="679"/>
                </a:lnTo>
                <a:lnTo>
                  <a:pt x="795" y="681"/>
                </a:lnTo>
                <a:lnTo>
                  <a:pt x="795" y="681"/>
                </a:lnTo>
                <a:lnTo>
                  <a:pt x="792" y="684"/>
                </a:lnTo>
                <a:lnTo>
                  <a:pt x="792" y="684"/>
                </a:lnTo>
                <a:lnTo>
                  <a:pt x="792" y="686"/>
                </a:lnTo>
                <a:lnTo>
                  <a:pt x="792" y="686"/>
                </a:lnTo>
                <a:lnTo>
                  <a:pt x="790" y="691"/>
                </a:lnTo>
                <a:lnTo>
                  <a:pt x="790" y="691"/>
                </a:lnTo>
                <a:lnTo>
                  <a:pt x="790" y="694"/>
                </a:lnTo>
                <a:lnTo>
                  <a:pt x="790" y="694"/>
                </a:lnTo>
                <a:lnTo>
                  <a:pt x="790" y="694"/>
                </a:lnTo>
                <a:lnTo>
                  <a:pt x="787" y="696"/>
                </a:lnTo>
                <a:lnTo>
                  <a:pt x="787" y="696"/>
                </a:lnTo>
                <a:lnTo>
                  <a:pt x="787" y="698"/>
                </a:lnTo>
                <a:lnTo>
                  <a:pt x="787" y="698"/>
                </a:lnTo>
                <a:lnTo>
                  <a:pt x="785" y="703"/>
                </a:lnTo>
                <a:lnTo>
                  <a:pt x="785" y="703"/>
                </a:lnTo>
                <a:lnTo>
                  <a:pt x="782" y="706"/>
                </a:lnTo>
                <a:lnTo>
                  <a:pt x="782" y="706"/>
                </a:lnTo>
                <a:lnTo>
                  <a:pt x="782" y="708"/>
                </a:lnTo>
                <a:lnTo>
                  <a:pt x="782" y="708"/>
                </a:lnTo>
                <a:lnTo>
                  <a:pt x="782" y="711"/>
                </a:lnTo>
                <a:lnTo>
                  <a:pt x="782" y="711"/>
                </a:lnTo>
                <a:lnTo>
                  <a:pt x="782" y="716"/>
                </a:lnTo>
                <a:lnTo>
                  <a:pt x="782" y="716"/>
                </a:lnTo>
                <a:lnTo>
                  <a:pt x="780" y="718"/>
                </a:lnTo>
                <a:lnTo>
                  <a:pt x="780" y="718"/>
                </a:lnTo>
                <a:lnTo>
                  <a:pt x="777" y="718"/>
                </a:lnTo>
                <a:lnTo>
                  <a:pt x="777" y="718"/>
                </a:lnTo>
                <a:lnTo>
                  <a:pt x="772" y="721"/>
                </a:lnTo>
                <a:lnTo>
                  <a:pt x="772" y="721"/>
                </a:lnTo>
                <a:lnTo>
                  <a:pt x="772" y="723"/>
                </a:lnTo>
                <a:lnTo>
                  <a:pt x="772" y="723"/>
                </a:lnTo>
                <a:lnTo>
                  <a:pt x="770" y="728"/>
                </a:lnTo>
                <a:lnTo>
                  <a:pt x="770" y="728"/>
                </a:lnTo>
                <a:lnTo>
                  <a:pt x="770" y="730"/>
                </a:lnTo>
                <a:lnTo>
                  <a:pt x="770" y="730"/>
                </a:lnTo>
                <a:close/>
                <a:moveTo>
                  <a:pt x="795" y="775"/>
                </a:moveTo>
                <a:lnTo>
                  <a:pt x="797" y="777"/>
                </a:lnTo>
                <a:lnTo>
                  <a:pt x="797" y="777"/>
                </a:lnTo>
                <a:lnTo>
                  <a:pt x="797" y="777"/>
                </a:lnTo>
                <a:lnTo>
                  <a:pt x="799" y="772"/>
                </a:lnTo>
                <a:lnTo>
                  <a:pt x="799" y="772"/>
                </a:lnTo>
                <a:lnTo>
                  <a:pt x="802" y="772"/>
                </a:lnTo>
                <a:lnTo>
                  <a:pt x="802" y="772"/>
                </a:lnTo>
                <a:lnTo>
                  <a:pt x="804" y="772"/>
                </a:lnTo>
                <a:lnTo>
                  <a:pt x="804" y="772"/>
                </a:lnTo>
                <a:lnTo>
                  <a:pt x="804" y="775"/>
                </a:lnTo>
                <a:lnTo>
                  <a:pt x="804" y="775"/>
                </a:lnTo>
                <a:lnTo>
                  <a:pt x="807" y="775"/>
                </a:lnTo>
                <a:lnTo>
                  <a:pt x="807" y="775"/>
                </a:lnTo>
                <a:lnTo>
                  <a:pt x="809" y="770"/>
                </a:lnTo>
                <a:lnTo>
                  <a:pt x="809" y="770"/>
                </a:lnTo>
                <a:lnTo>
                  <a:pt x="812" y="770"/>
                </a:lnTo>
                <a:lnTo>
                  <a:pt x="812" y="770"/>
                </a:lnTo>
                <a:lnTo>
                  <a:pt x="814" y="767"/>
                </a:lnTo>
                <a:lnTo>
                  <a:pt x="814" y="767"/>
                </a:lnTo>
                <a:lnTo>
                  <a:pt x="817" y="765"/>
                </a:lnTo>
                <a:lnTo>
                  <a:pt x="817" y="765"/>
                </a:lnTo>
                <a:lnTo>
                  <a:pt x="819" y="765"/>
                </a:lnTo>
                <a:lnTo>
                  <a:pt x="819" y="765"/>
                </a:lnTo>
                <a:lnTo>
                  <a:pt x="824" y="762"/>
                </a:lnTo>
                <a:lnTo>
                  <a:pt x="824" y="762"/>
                </a:lnTo>
                <a:lnTo>
                  <a:pt x="824" y="760"/>
                </a:lnTo>
                <a:lnTo>
                  <a:pt x="824" y="760"/>
                </a:lnTo>
                <a:lnTo>
                  <a:pt x="826" y="758"/>
                </a:lnTo>
                <a:lnTo>
                  <a:pt x="826" y="758"/>
                </a:lnTo>
                <a:lnTo>
                  <a:pt x="826" y="758"/>
                </a:lnTo>
                <a:lnTo>
                  <a:pt x="822" y="758"/>
                </a:lnTo>
                <a:lnTo>
                  <a:pt x="822" y="758"/>
                </a:lnTo>
                <a:lnTo>
                  <a:pt x="822" y="755"/>
                </a:lnTo>
                <a:lnTo>
                  <a:pt x="822" y="755"/>
                </a:lnTo>
                <a:lnTo>
                  <a:pt x="819" y="755"/>
                </a:lnTo>
                <a:lnTo>
                  <a:pt x="819" y="755"/>
                </a:lnTo>
                <a:lnTo>
                  <a:pt x="817" y="758"/>
                </a:lnTo>
                <a:lnTo>
                  <a:pt x="817" y="758"/>
                </a:lnTo>
                <a:lnTo>
                  <a:pt x="817" y="755"/>
                </a:lnTo>
                <a:lnTo>
                  <a:pt x="817" y="755"/>
                </a:lnTo>
                <a:lnTo>
                  <a:pt x="814" y="758"/>
                </a:lnTo>
                <a:lnTo>
                  <a:pt x="814" y="758"/>
                </a:lnTo>
                <a:lnTo>
                  <a:pt x="812" y="758"/>
                </a:lnTo>
                <a:lnTo>
                  <a:pt x="812" y="758"/>
                </a:lnTo>
                <a:lnTo>
                  <a:pt x="809" y="758"/>
                </a:lnTo>
                <a:lnTo>
                  <a:pt x="809" y="758"/>
                </a:lnTo>
                <a:lnTo>
                  <a:pt x="809" y="755"/>
                </a:lnTo>
                <a:lnTo>
                  <a:pt x="809" y="755"/>
                </a:lnTo>
                <a:lnTo>
                  <a:pt x="807" y="755"/>
                </a:lnTo>
                <a:lnTo>
                  <a:pt x="807" y="755"/>
                </a:lnTo>
                <a:lnTo>
                  <a:pt x="804" y="755"/>
                </a:lnTo>
                <a:lnTo>
                  <a:pt x="804" y="755"/>
                </a:lnTo>
                <a:lnTo>
                  <a:pt x="802" y="760"/>
                </a:lnTo>
                <a:lnTo>
                  <a:pt x="802" y="760"/>
                </a:lnTo>
                <a:lnTo>
                  <a:pt x="802" y="762"/>
                </a:lnTo>
                <a:lnTo>
                  <a:pt x="802" y="762"/>
                </a:lnTo>
                <a:lnTo>
                  <a:pt x="799" y="762"/>
                </a:lnTo>
                <a:lnTo>
                  <a:pt x="799" y="762"/>
                </a:lnTo>
                <a:lnTo>
                  <a:pt x="795" y="765"/>
                </a:lnTo>
                <a:lnTo>
                  <a:pt x="795" y="765"/>
                </a:lnTo>
                <a:lnTo>
                  <a:pt x="795" y="767"/>
                </a:lnTo>
                <a:lnTo>
                  <a:pt x="795" y="767"/>
                </a:lnTo>
                <a:lnTo>
                  <a:pt x="795" y="767"/>
                </a:lnTo>
                <a:lnTo>
                  <a:pt x="797" y="770"/>
                </a:lnTo>
                <a:lnTo>
                  <a:pt x="797" y="770"/>
                </a:lnTo>
                <a:lnTo>
                  <a:pt x="795" y="772"/>
                </a:lnTo>
                <a:lnTo>
                  <a:pt x="795" y="772"/>
                </a:lnTo>
                <a:lnTo>
                  <a:pt x="795" y="775"/>
                </a:lnTo>
                <a:lnTo>
                  <a:pt x="795" y="775"/>
                </a:lnTo>
                <a:close/>
                <a:moveTo>
                  <a:pt x="1045" y="797"/>
                </a:moveTo>
                <a:lnTo>
                  <a:pt x="1045" y="797"/>
                </a:lnTo>
                <a:lnTo>
                  <a:pt x="1045" y="797"/>
                </a:lnTo>
                <a:lnTo>
                  <a:pt x="1048" y="797"/>
                </a:lnTo>
                <a:lnTo>
                  <a:pt x="1048" y="797"/>
                </a:lnTo>
                <a:lnTo>
                  <a:pt x="1050" y="799"/>
                </a:lnTo>
                <a:lnTo>
                  <a:pt x="1050" y="799"/>
                </a:lnTo>
                <a:lnTo>
                  <a:pt x="1053" y="797"/>
                </a:lnTo>
                <a:lnTo>
                  <a:pt x="1053" y="797"/>
                </a:lnTo>
                <a:lnTo>
                  <a:pt x="1053" y="797"/>
                </a:lnTo>
                <a:lnTo>
                  <a:pt x="1053" y="794"/>
                </a:lnTo>
                <a:lnTo>
                  <a:pt x="1053" y="794"/>
                </a:lnTo>
                <a:lnTo>
                  <a:pt x="1053" y="794"/>
                </a:lnTo>
                <a:lnTo>
                  <a:pt x="1053" y="792"/>
                </a:lnTo>
                <a:lnTo>
                  <a:pt x="1053" y="792"/>
                </a:lnTo>
                <a:lnTo>
                  <a:pt x="1050" y="794"/>
                </a:lnTo>
                <a:lnTo>
                  <a:pt x="1050" y="794"/>
                </a:lnTo>
                <a:lnTo>
                  <a:pt x="1048" y="794"/>
                </a:lnTo>
                <a:lnTo>
                  <a:pt x="1048" y="794"/>
                </a:lnTo>
                <a:lnTo>
                  <a:pt x="1045" y="797"/>
                </a:lnTo>
                <a:lnTo>
                  <a:pt x="1045" y="797"/>
                </a:lnTo>
                <a:close/>
                <a:moveTo>
                  <a:pt x="967" y="775"/>
                </a:moveTo>
                <a:lnTo>
                  <a:pt x="967" y="775"/>
                </a:lnTo>
                <a:lnTo>
                  <a:pt x="967" y="777"/>
                </a:lnTo>
                <a:lnTo>
                  <a:pt x="967" y="777"/>
                </a:lnTo>
                <a:lnTo>
                  <a:pt x="972" y="777"/>
                </a:lnTo>
                <a:lnTo>
                  <a:pt x="972" y="777"/>
                </a:lnTo>
                <a:lnTo>
                  <a:pt x="972" y="780"/>
                </a:lnTo>
                <a:lnTo>
                  <a:pt x="972" y="780"/>
                </a:lnTo>
                <a:lnTo>
                  <a:pt x="972" y="780"/>
                </a:lnTo>
                <a:lnTo>
                  <a:pt x="972" y="782"/>
                </a:lnTo>
                <a:lnTo>
                  <a:pt x="972" y="782"/>
                </a:lnTo>
                <a:lnTo>
                  <a:pt x="974" y="782"/>
                </a:lnTo>
                <a:lnTo>
                  <a:pt x="974" y="782"/>
                </a:lnTo>
                <a:lnTo>
                  <a:pt x="974" y="782"/>
                </a:lnTo>
                <a:lnTo>
                  <a:pt x="977" y="782"/>
                </a:lnTo>
                <a:lnTo>
                  <a:pt x="977" y="782"/>
                </a:lnTo>
                <a:lnTo>
                  <a:pt x="977" y="782"/>
                </a:lnTo>
                <a:lnTo>
                  <a:pt x="977" y="782"/>
                </a:lnTo>
                <a:lnTo>
                  <a:pt x="977" y="780"/>
                </a:lnTo>
                <a:lnTo>
                  <a:pt x="977" y="780"/>
                </a:lnTo>
                <a:lnTo>
                  <a:pt x="974" y="777"/>
                </a:lnTo>
                <a:lnTo>
                  <a:pt x="974" y="777"/>
                </a:lnTo>
                <a:lnTo>
                  <a:pt x="974" y="777"/>
                </a:lnTo>
                <a:lnTo>
                  <a:pt x="972" y="777"/>
                </a:lnTo>
                <a:lnTo>
                  <a:pt x="972" y="777"/>
                </a:lnTo>
                <a:lnTo>
                  <a:pt x="969" y="775"/>
                </a:lnTo>
                <a:lnTo>
                  <a:pt x="969" y="775"/>
                </a:lnTo>
                <a:lnTo>
                  <a:pt x="967" y="775"/>
                </a:lnTo>
                <a:lnTo>
                  <a:pt x="967" y="775"/>
                </a:lnTo>
                <a:lnTo>
                  <a:pt x="967" y="775"/>
                </a:lnTo>
                <a:close/>
                <a:moveTo>
                  <a:pt x="1041" y="817"/>
                </a:moveTo>
                <a:lnTo>
                  <a:pt x="1041" y="817"/>
                </a:lnTo>
                <a:lnTo>
                  <a:pt x="1038" y="814"/>
                </a:lnTo>
                <a:lnTo>
                  <a:pt x="1038" y="814"/>
                </a:lnTo>
                <a:lnTo>
                  <a:pt x="1038" y="812"/>
                </a:lnTo>
                <a:lnTo>
                  <a:pt x="1038" y="812"/>
                </a:lnTo>
                <a:lnTo>
                  <a:pt x="1038" y="812"/>
                </a:lnTo>
                <a:lnTo>
                  <a:pt x="1038" y="809"/>
                </a:lnTo>
                <a:lnTo>
                  <a:pt x="1038" y="809"/>
                </a:lnTo>
                <a:lnTo>
                  <a:pt x="1038" y="807"/>
                </a:lnTo>
                <a:lnTo>
                  <a:pt x="1038" y="807"/>
                </a:lnTo>
                <a:lnTo>
                  <a:pt x="1041" y="809"/>
                </a:lnTo>
                <a:lnTo>
                  <a:pt x="1041" y="809"/>
                </a:lnTo>
                <a:lnTo>
                  <a:pt x="1041" y="812"/>
                </a:lnTo>
                <a:lnTo>
                  <a:pt x="1041" y="812"/>
                </a:lnTo>
                <a:lnTo>
                  <a:pt x="1043" y="812"/>
                </a:lnTo>
                <a:lnTo>
                  <a:pt x="1043" y="812"/>
                </a:lnTo>
                <a:lnTo>
                  <a:pt x="1043" y="814"/>
                </a:lnTo>
                <a:lnTo>
                  <a:pt x="1043" y="814"/>
                </a:lnTo>
                <a:lnTo>
                  <a:pt x="1041" y="817"/>
                </a:lnTo>
                <a:lnTo>
                  <a:pt x="1041" y="817"/>
                </a:lnTo>
                <a:close/>
                <a:moveTo>
                  <a:pt x="1038" y="824"/>
                </a:moveTo>
                <a:lnTo>
                  <a:pt x="1038" y="824"/>
                </a:lnTo>
                <a:lnTo>
                  <a:pt x="1038" y="824"/>
                </a:lnTo>
                <a:lnTo>
                  <a:pt x="1038" y="821"/>
                </a:lnTo>
                <a:lnTo>
                  <a:pt x="1038" y="821"/>
                </a:lnTo>
                <a:lnTo>
                  <a:pt x="1036" y="821"/>
                </a:lnTo>
                <a:lnTo>
                  <a:pt x="1036" y="821"/>
                </a:lnTo>
                <a:lnTo>
                  <a:pt x="1033" y="821"/>
                </a:lnTo>
                <a:lnTo>
                  <a:pt x="1033" y="821"/>
                </a:lnTo>
                <a:lnTo>
                  <a:pt x="1033" y="819"/>
                </a:lnTo>
                <a:lnTo>
                  <a:pt x="1033" y="819"/>
                </a:lnTo>
                <a:lnTo>
                  <a:pt x="1033" y="817"/>
                </a:lnTo>
                <a:lnTo>
                  <a:pt x="1033" y="817"/>
                </a:lnTo>
                <a:lnTo>
                  <a:pt x="1033" y="817"/>
                </a:lnTo>
                <a:lnTo>
                  <a:pt x="1036" y="817"/>
                </a:lnTo>
                <a:lnTo>
                  <a:pt x="1036" y="817"/>
                </a:lnTo>
                <a:lnTo>
                  <a:pt x="1041" y="817"/>
                </a:lnTo>
                <a:lnTo>
                  <a:pt x="1041" y="817"/>
                </a:lnTo>
                <a:lnTo>
                  <a:pt x="1043" y="819"/>
                </a:lnTo>
                <a:lnTo>
                  <a:pt x="1043" y="819"/>
                </a:lnTo>
                <a:lnTo>
                  <a:pt x="1043" y="819"/>
                </a:lnTo>
                <a:lnTo>
                  <a:pt x="1041" y="821"/>
                </a:lnTo>
                <a:lnTo>
                  <a:pt x="1041" y="821"/>
                </a:lnTo>
                <a:lnTo>
                  <a:pt x="1041" y="821"/>
                </a:lnTo>
                <a:lnTo>
                  <a:pt x="1041" y="824"/>
                </a:lnTo>
                <a:lnTo>
                  <a:pt x="1041" y="824"/>
                </a:lnTo>
                <a:lnTo>
                  <a:pt x="1041" y="824"/>
                </a:lnTo>
                <a:lnTo>
                  <a:pt x="1038" y="824"/>
                </a:lnTo>
                <a:lnTo>
                  <a:pt x="1038" y="824"/>
                </a:lnTo>
                <a:close/>
                <a:moveTo>
                  <a:pt x="962" y="871"/>
                </a:moveTo>
                <a:lnTo>
                  <a:pt x="962" y="871"/>
                </a:lnTo>
                <a:lnTo>
                  <a:pt x="962" y="873"/>
                </a:lnTo>
                <a:lnTo>
                  <a:pt x="962" y="873"/>
                </a:lnTo>
                <a:lnTo>
                  <a:pt x="962" y="873"/>
                </a:lnTo>
                <a:lnTo>
                  <a:pt x="962" y="871"/>
                </a:lnTo>
                <a:lnTo>
                  <a:pt x="962" y="871"/>
                </a:lnTo>
                <a:close/>
                <a:moveTo>
                  <a:pt x="964" y="873"/>
                </a:moveTo>
                <a:lnTo>
                  <a:pt x="964" y="873"/>
                </a:lnTo>
                <a:lnTo>
                  <a:pt x="962" y="873"/>
                </a:lnTo>
                <a:lnTo>
                  <a:pt x="962" y="873"/>
                </a:lnTo>
                <a:lnTo>
                  <a:pt x="964" y="873"/>
                </a:lnTo>
                <a:lnTo>
                  <a:pt x="964" y="873"/>
                </a:lnTo>
                <a:lnTo>
                  <a:pt x="964" y="873"/>
                </a:lnTo>
                <a:close/>
                <a:moveTo>
                  <a:pt x="964" y="871"/>
                </a:moveTo>
                <a:lnTo>
                  <a:pt x="964" y="871"/>
                </a:lnTo>
                <a:lnTo>
                  <a:pt x="964" y="873"/>
                </a:lnTo>
                <a:lnTo>
                  <a:pt x="964" y="873"/>
                </a:lnTo>
                <a:lnTo>
                  <a:pt x="964" y="876"/>
                </a:lnTo>
                <a:lnTo>
                  <a:pt x="964" y="876"/>
                </a:lnTo>
                <a:lnTo>
                  <a:pt x="964" y="878"/>
                </a:lnTo>
                <a:lnTo>
                  <a:pt x="964" y="878"/>
                </a:lnTo>
                <a:lnTo>
                  <a:pt x="967" y="876"/>
                </a:lnTo>
                <a:lnTo>
                  <a:pt x="967" y="876"/>
                </a:lnTo>
                <a:lnTo>
                  <a:pt x="967" y="873"/>
                </a:lnTo>
                <a:lnTo>
                  <a:pt x="967" y="873"/>
                </a:lnTo>
                <a:lnTo>
                  <a:pt x="964" y="871"/>
                </a:lnTo>
                <a:lnTo>
                  <a:pt x="964" y="871"/>
                </a:lnTo>
                <a:close/>
                <a:moveTo>
                  <a:pt x="986" y="849"/>
                </a:moveTo>
                <a:lnTo>
                  <a:pt x="986" y="849"/>
                </a:lnTo>
                <a:lnTo>
                  <a:pt x="986" y="846"/>
                </a:lnTo>
                <a:lnTo>
                  <a:pt x="986" y="846"/>
                </a:lnTo>
                <a:lnTo>
                  <a:pt x="986" y="844"/>
                </a:lnTo>
                <a:lnTo>
                  <a:pt x="986" y="844"/>
                </a:lnTo>
                <a:lnTo>
                  <a:pt x="986" y="844"/>
                </a:lnTo>
                <a:lnTo>
                  <a:pt x="989" y="841"/>
                </a:lnTo>
                <a:lnTo>
                  <a:pt x="989" y="841"/>
                </a:lnTo>
                <a:lnTo>
                  <a:pt x="991" y="839"/>
                </a:lnTo>
                <a:lnTo>
                  <a:pt x="991" y="839"/>
                </a:lnTo>
                <a:lnTo>
                  <a:pt x="994" y="839"/>
                </a:lnTo>
                <a:lnTo>
                  <a:pt x="994" y="839"/>
                </a:lnTo>
                <a:lnTo>
                  <a:pt x="994" y="839"/>
                </a:lnTo>
                <a:lnTo>
                  <a:pt x="994" y="841"/>
                </a:lnTo>
                <a:lnTo>
                  <a:pt x="994" y="841"/>
                </a:lnTo>
                <a:lnTo>
                  <a:pt x="996" y="841"/>
                </a:lnTo>
                <a:lnTo>
                  <a:pt x="996" y="841"/>
                </a:lnTo>
                <a:lnTo>
                  <a:pt x="996" y="844"/>
                </a:lnTo>
                <a:lnTo>
                  <a:pt x="996" y="844"/>
                </a:lnTo>
                <a:lnTo>
                  <a:pt x="994" y="844"/>
                </a:lnTo>
                <a:lnTo>
                  <a:pt x="994" y="844"/>
                </a:lnTo>
                <a:lnTo>
                  <a:pt x="991" y="846"/>
                </a:lnTo>
                <a:lnTo>
                  <a:pt x="991" y="846"/>
                </a:lnTo>
                <a:lnTo>
                  <a:pt x="989" y="846"/>
                </a:lnTo>
                <a:lnTo>
                  <a:pt x="989" y="846"/>
                </a:lnTo>
                <a:lnTo>
                  <a:pt x="986" y="849"/>
                </a:lnTo>
                <a:lnTo>
                  <a:pt x="986" y="849"/>
                </a:lnTo>
                <a:lnTo>
                  <a:pt x="986" y="849"/>
                </a:lnTo>
                <a:close/>
                <a:moveTo>
                  <a:pt x="918" y="772"/>
                </a:moveTo>
                <a:lnTo>
                  <a:pt x="918" y="772"/>
                </a:lnTo>
                <a:lnTo>
                  <a:pt x="920" y="775"/>
                </a:lnTo>
                <a:lnTo>
                  <a:pt x="920" y="775"/>
                </a:lnTo>
                <a:lnTo>
                  <a:pt x="922" y="777"/>
                </a:lnTo>
                <a:lnTo>
                  <a:pt x="922" y="777"/>
                </a:lnTo>
                <a:lnTo>
                  <a:pt x="925" y="777"/>
                </a:lnTo>
                <a:lnTo>
                  <a:pt x="925" y="777"/>
                </a:lnTo>
                <a:lnTo>
                  <a:pt x="927" y="777"/>
                </a:lnTo>
                <a:lnTo>
                  <a:pt x="927" y="777"/>
                </a:lnTo>
                <a:lnTo>
                  <a:pt x="927" y="777"/>
                </a:lnTo>
                <a:lnTo>
                  <a:pt x="925" y="775"/>
                </a:lnTo>
                <a:lnTo>
                  <a:pt x="925" y="775"/>
                </a:lnTo>
                <a:lnTo>
                  <a:pt x="922" y="772"/>
                </a:lnTo>
                <a:lnTo>
                  <a:pt x="922" y="772"/>
                </a:lnTo>
                <a:lnTo>
                  <a:pt x="920" y="772"/>
                </a:lnTo>
                <a:lnTo>
                  <a:pt x="920" y="772"/>
                </a:lnTo>
                <a:lnTo>
                  <a:pt x="918" y="772"/>
                </a:lnTo>
                <a:lnTo>
                  <a:pt x="918" y="772"/>
                </a:lnTo>
                <a:close/>
                <a:moveTo>
                  <a:pt x="895" y="750"/>
                </a:moveTo>
                <a:lnTo>
                  <a:pt x="895" y="750"/>
                </a:lnTo>
                <a:lnTo>
                  <a:pt x="895" y="753"/>
                </a:lnTo>
                <a:lnTo>
                  <a:pt x="895" y="753"/>
                </a:lnTo>
                <a:lnTo>
                  <a:pt x="898" y="753"/>
                </a:lnTo>
                <a:lnTo>
                  <a:pt x="898" y="753"/>
                </a:lnTo>
                <a:lnTo>
                  <a:pt x="898" y="753"/>
                </a:lnTo>
                <a:lnTo>
                  <a:pt x="900" y="753"/>
                </a:lnTo>
                <a:lnTo>
                  <a:pt x="900" y="753"/>
                </a:lnTo>
                <a:lnTo>
                  <a:pt x="900" y="750"/>
                </a:lnTo>
                <a:lnTo>
                  <a:pt x="900" y="750"/>
                </a:lnTo>
                <a:lnTo>
                  <a:pt x="900" y="750"/>
                </a:lnTo>
                <a:lnTo>
                  <a:pt x="903" y="750"/>
                </a:lnTo>
                <a:lnTo>
                  <a:pt x="903" y="750"/>
                </a:lnTo>
                <a:lnTo>
                  <a:pt x="900" y="748"/>
                </a:lnTo>
                <a:lnTo>
                  <a:pt x="900" y="748"/>
                </a:lnTo>
                <a:lnTo>
                  <a:pt x="900" y="748"/>
                </a:lnTo>
                <a:lnTo>
                  <a:pt x="900" y="748"/>
                </a:lnTo>
                <a:lnTo>
                  <a:pt x="898" y="745"/>
                </a:lnTo>
                <a:lnTo>
                  <a:pt x="898" y="745"/>
                </a:lnTo>
                <a:lnTo>
                  <a:pt x="895" y="745"/>
                </a:lnTo>
                <a:lnTo>
                  <a:pt x="895" y="745"/>
                </a:lnTo>
                <a:lnTo>
                  <a:pt x="895" y="743"/>
                </a:lnTo>
                <a:lnTo>
                  <a:pt x="895" y="743"/>
                </a:lnTo>
                <a:lnTo>
                  <a:pt x="895" y="743"/>
                </a:lnTo>
                <a:lnTo>
                  <a:pt x="893" y="743"/>
                </a:lnTo>
                <a:lnTo>
                  <a:pt x="893" y="743"/>
                </a:lnTo>
                <a:lnTo>
                  <a:pt x="893" y="743"/>
                </a:lnTo>
                <a:lnTo>
                  <a:pt x="890" y="743"/>
                </a:lnTo>
                <a:lnTo>
                  <a:pt x="890" y="743"/>
                </a:lnTo>
                <a:lnTo>
                  <a:pt x="890" y="743"/>
                </a:lnTo>
                <a:lnTo>
                  <a:pt x="890" y="745"/>
                </a:lnTo>
                <a:lnTo>
                  <a:pt x="890" y="745"/>
                </a:lnTo>
                <a:lnTo>
                  <a:pt x="890" y="745"/>
                </a:lnTo>
                <a:lnTo>
                  <a:pt x="893" y="745"/>
                </a:lnTo>
                <a:lnTo>
                  <a:pt x="893" y="745"/>
                </a:lnTo>
                <a:lnTo>
                  <a:pt x="893" y="748"/>
                </a:lnTo>
                <a:lnTo>
                  <a:pt x="893" y="748"/>
                </a:lnTo>
                <a:lnTo>
                  <a:pt x="895" y="750"/>
                </a:lnTo>
                <a:lnTo>
                  <a:pt x="895" y="750"/>
                </a:lnTo>
                <a:lnTo>
                  <a:pt x="895" y="750"/>
                </a:lnTo>
                <a:close/>
                <a:moveTo>
                  <a:pt x="878" y="760"/>
                </a:moveTo>
                <a:lnTo>
                  <a:pt x="878" y="760"/>
                </a:lnTo>
                <a:lnTo>
                  <a:pt x="881" y="758"/>
                </a:lnTo>
                <a:lnTo>
                  <a:pt x="881" y="758"/>
                </a:lnTo>
                <a:lnTo>
                  <a:pt x="883" y="758"/>
                </a:lnTo>
                <a:lnTo>
                  <a:pt x="883" y="758"/>
                </a:lnTo>
                <a:lnTo>
                  <a:pt x="886" y="758"/>
                </a:lnTo>
                <a:lnTo>
                  <a:pt x="886" y="758"/>
                </a:lnTo>
                <a:lnTo>
                  <a:pt x="886" y="755"/>
                </a:lnTo>
                <a:lnTo>
                  <a:pt x="886" y="755"/>
                </a:lnTo>
                <a:lnTo>
                  <a:pt x="886" y="755"/>
                </a:lnTo>
                <a:lnTo>
                  <a:pt x="886" y="753"/>
                </a:lnTo>
                <a:lnTo>
                  <a:pt x="886" y="753"/>
                </a:lnTo>
                <a:lnTo>
                  <a:pt x="886" y="750"/>
                </a:lnTo>
                <a:lnTo>
                  <a:pt x="886" y="750"/>
                </a:lnTo>
                <a:lnTo>
                  <a:pt x="886" y="748"/>
                </a:lnTo>
                <a:lnTo>
                  <a:pt x="886" y="748"/>
                </a:lnTo>
                <a:lnTo>
                  <a:pt x="881" y="748"/>
                </a:lnTo>
                <a:lnTo>
                  <a:pt x="881" y="748"/>
                </a:lnTo>
                <a:lnTo>
                  <a:pt x="881" y="748"/>
                </a:lnTo>
                <a:lnTo>
                  <a:pt x="878" y="745"/>
                </a:lnTo>
                <a:lnTo>
                  <a:pt x="878" y="745"/>
                </a:lnTo>
                <a:lnTo>
                  <a:pt x="878" y="745"/>
                </a:lnTo>
                <a:lnTo>
                  <a:pt x="873" y="745"/>
                </a:lnTo>
                <a:lnTo>
                  <a:pt x="873" y="745"/>
                </a:lnTo>
                <a:lnTo>
                  <a:pt x="873" y="745"/>
                </a:lnTo>
                <a:lnTo>
                  <a:pt x="873" y="748"/>
                </a:lnTo>
                <a:lnTo>
                  <a:pt x="873" y="748"/>
                </a:lnTo>
                <a:lnTo>
                  <a:pt x="873" y="750"/>
                </a:lnTo>
                <a:lnTo>
                  <a:pt x="873" y="750"/>
                </a:lnTo>
                <a:lnTo>
                  <a:pt x="876" y="753"/>
                </a:lnTo>
                <a:lnTo>
                  <a:pt x="876" y="753"/>
                </a:lnTo>
                <a:lnTo>
                  <a:pt x="876" y="755"/>
                </a:lnTo>
                <a:lnTo>
                  <a:pt x="876" y="755"/>
                </a:lnTo>
                <a:lnTo>
                  <a:pt x="878" y="755"/>
                </a:lnTo>
                <a:lnTo>
                  <a:pt x="878" y="755"/>
                </a:lnTo>
                <a:lnTo>
                  <a:pt x="878" y="758"/>
                </a:lnTo>
                <a:lnTo>
                  <a:pt x="878" y="758"/>
                </a:lnTo>
                <a:lnTo>
                  <a:pt x="878" y="760"/>
                </a:lnTo>
                <a:lnTo>
                  <a:pt x="878" y="760"/>
                </a:lnTo>
                <a:close/>
                <a:moveTo>
                  <a:pt x="876" y="772"/>
                </a:moveTo>
                <a:lnTo>
                  <a:pt x="878" y="772"/>
                </a:lnTo>
                <a:lnTo>
                  <a:pt x="878" y="772"/>
                </a:lnTo>
                <a:lnTo>
                  <a:pt x="873" y="770"/>
                </a:lnTo>
                <a:lnTo>
                  <a:pt x="873" y="770"/>
                </a:lnTo>
                <a:lnTo>
                  <a:pt x="873" y="770"/>
                </a:lnTo>
                <a:lnTo>
                  <a:pt x="873" y="772"/>
                </a:lnTo>
                <a:lnTo>
                  <a:pt x="873" y="772"/>
                </a:lnTo>
                <a:lnTo>
                  <a:pt x="876" y="772"/>
                </a:lnTo>
                <a:lnTo>
                  <a:pt x="876" y="772"/>
                </a:lnTo>
                <a:close/>
                <a:moveTo>
                  <a:pt x="841" y="797"/>
                </a:moveTo>
                <a:lnTo>
                  <a:pt x="841" y="797"/>
                </a:lnTo>
                <a:lnTo>
                  <a:pt x="844" y="797"/>
                </a:lnTo>
                <a:lnTo>
                  <a:pt x="844" y="797"/>
                </a:lnTo>
                <a:lnTo>
                  <a:pt x="844" y="794"/>
                </a:lnTo>
                <a:lnTo>
                  <a:pt x="844" y="794"/>
                </a:lnTo>
                <a:lnTo>
                  <a:pt x="844" y="794"/>
                </a:lnTo>
                <a:lnTo>
                  <a:pt x="846" y="792"/>
                </a:lnTo>
                <a:lnTo>
                  <a:pt x="846" y="792"/>
                </a:lnTo>
                <a:lnTo>
                  <a:pt x="846" y="792"/>
                </a:lnTo>
                <a:lnTo>
                  <a:pt x="846" y="789"/>
                </a:lnTo>
                <a:lnTo>
                  <a:pt x="846" y="789"/>
                </a:lnTo>
                <a:lnTo>
                  <a:pt x="846" y="789"/>
                </a:lnTo>
                <a:lnTo>
                  <a:pt x="849" y="787"/>
                </a:lnTo>
                <a:lnTo>
                  <a:pt x="849" y="787"/>
                </a:lnTo>
                <a:lnTo>
                  <a:pt x="851" y="785"/>
                </a:lnTo>
                <a:lnTo>
                  <a:pt x="851" y="785"/>
                </a:lnTo>
                <a:lnTo>
                  <a:pt x="851" y="785"/>
                </a:lnTo>
                <a:lnTo>
                  <a:pt x="851" y="782"/>
                </a:lnTo>
                <a:lnTo>
                  <a:pt x="851" y="782"/>
                </a:lnTo>
                <a:lnTo>
                  <a:pt x="851" y="782"/>
                </a:lnTo>
                <a:lnTo>
                  <a:pt x="851" y="780"/>
                </a:lnTo>
                <a:lnTo>
                  <a:pt x="851" y="780"/>
                </a:lnTo>
                <a:lnTo>
                  <a:pt x="854" y="780"/>
                </a:lnTo>
                <a:lnTo>
                  <a:pt x="854" y="780"/>
                </a:lnTo>
                <a:lnTo>
                  <a:pt x="854" y="777"/>
                </a:lnTo>
                <a:lnTo>
                  <a:pt x="854" y="777"/>
                </a:lnTo>
                <a:lnTo>
                  <a:pt x="854" y="775"/>
                </a:lnTo>
                <a:lnTo>
                  <a:pt x="854" y="775"/>
                </a:lnTo>
                <a:lnTo>
                  <a:pt x="854" y="772"/>
                </a:lnTo>
                <a:lnTo>
                  <a:pt x="854" y="772"/>
                </a:lnTo>
                <a:lnTo>
                  <a:pt x="854" y="772"/>
                </a:lnTo>
                <a:lnTo>
                  <a:pt x="851" y="772"/>
                </a:lnTo>
                <a:lnTo>
                  <a:pt x="851" y="772"/>
                </a:lnTo>
                <a:lnTo>
                  <a:pt x="851" y="772"/>
                </a:lnTo>
                <a:lnTo>
                  <a:pt x="849" y="772"/>
                </a:lnTo>
                <a:lnTo>
                  <a:pt x="849" y="772"/>
                </a:lnTo>
                <a:lnTo>
                  <a:pt x="849" y="770"/>
                </a:lnTo>
                <a:lnTo>
                  <a:pt x="849" y="770"/>
                </a:lnTo>
                <a:lnTo>
                  <a:pt x="846" y="772"/>
                </a:lnTo>
                <a:lnTo>
                  <a:pt x="846" y="772"/>
                </a:lnTo>
                <a:lnTo>
                  <a:pt x="844" y="775"/>
                </a:lnTo>
                <a:lnTo>
                  <a:pt x="844" y="775"/>
                </a:lnTo>
                <a:lnTo>
                  <a:pt x="841" y="775"/>
                </a:lnTo>
                <a:lnTo>
                  <a:pt x="841" y="775"/>
                </a:lnTo>
                <a:lnTo>
                  <a:pt x="841" y="777"/>
                </a:lnTo>
                <a:lnTo>
                  <a:pt x="841" y="777"/>
                </a:lnTo>
                <a:lnTo>
                  <a:pt x="839" y="780"/>
                </a:lnTo>
                <a:lnTo>
                  <a:pt x="839" y="780"/>
                </a:lnTo>
                <a:lnTo>
                  <a:pt x="841" y="782"/>
                </a:lnTo>
                <a:lnTo>
                  <a:pt x="841" y="782"/>
                </a:lnTo>
                <a:lnTo>
                  <a:pt x="839" y="782"/>
                </a:lnTo>
                <a:lnTo>
                  <a:pt x="839" y="782"/>
                </a:lnTo>
                <a:lnTo>
                  <a:pt x="839" y="785"/>
                </a:lnTo>
                <a:lnTo>
                  <a:pt x="839" y="785"/>
                </a:lnTo>
                <a:lnTo>
                  <a:pt x="839" y="787"/>
                </a:lnTo>
                <a:lnTo>
                  <a:pt x="839" y="787"/>
                </a:lnTo>
                <a:lnTo>
                  <a:pt x="836" y="789"/>
                </a:lnTo>
                <a:lnTo>
                  <a:pt x="836" y="789"/>
                </a:lnTo>
                <a:lnTo>
                  <a:pt x="839" y="789"/>
                </a:lnTo>
                <a:lnTo>
                  <a:pt x="839" y="789"/>
                </a:lnTo>
                <a:lnTo>
                  <a:pt x="839" y="792"/>
                </a:lnTo>
                <a:lnTo>
                  <a:pt x="839" y="792"/>
                </a:lnTo>
                <a:lnTo>
                  <a:pt x="841" y="792"/>
                </a:lnTo>
                <a:lnTo>
                  <a:pt x="841" y="792"/>
                </a:lnTo>
                <a:lnTo>
                  <a:pt x="841" y="794"/>
                </a:lnTo>
                <a:lnTo>
                  <a:pt x="841" y="794"/>
                </a:lnTo>
                <a:lnTo>
                  <a:pt x="841" y="797"/>
                </a:lnTo>
                <a:lnTo>
                  <a:pt x="841" y="797"/>
                </a:lnTo>
                <a:close/>
                <a:moveTo>
                  <a:pt x="812" y="925"/>
                </a:moveTo>
                <a:lnTo>
                  <a:pt x="812" y="925"/>
                </a:lnTo>
                <a:lnTo>
                  <a:pt x="812" y="927"/>
                </a:lnTo>
                <a:lnTo>
                  <a:pt x="812" y="927"/>
                </a:lnTo>
                <a:lnTo>
                  <a:pt x="812" y="925"/>
                </a:lnTo>
                <a:lnTo>
                  <a:pt x="812" y="925"/>
                </a:lnTo>
                <a:lnTo>
                  <a:pt x="812" y="925"/>
                </a:lnTo>
                <a:lnTo>
                  <a:pt x="812" y="925"/>
                </a:lnTo>
                <a:close/>
                <a:moveTo>
                  <a:pt x="814" y="937"/>
                </a:moveTo>
                <a:lnTo>
                  <a:pt x="814" y="937"/>
                </a:lnTo>
                <a:lnTo>
                  <a:pt x="814" y="935"/>
                </a:lnTo>
                <a:lnTo>
                  <a:pt x="814" y="935"/>
                </a:lnTo>
                <a:lnTo>
                  <a:pt x="817" y="932"/>
                </a:lnTo>
                <a:lnTo>
                  <a:pt x="817" y="932"/>
                </a:lnTo>
                <a:lnTo>
                  <a:pt x="817" y="932"/>
                </a:lnTo>
                <a:lnTo>
                  <a:pt x="817" y="937"/>
                </a:lnTo>
                <a:lnTo>
                  <a:pt x="817" y="937"/>
                </a:lnTo>
                <a:lnTo>
                  <a:pt x="814" y="940"/>
                </a:lnTo>
                <a:lnTo>
                  <a:pt x="814" y="940"/>
                </a:lnTo>
                <a:lnTo>
                  <a:pt x="814" y="937"/>
                </a:lnTo>
                <a:lnTo>
                  <a:pt x="814" y="937"/>
                </a:lnTo>
                <a:close/>
                <a:moveTo>
                  <a:pt x="795" y="935"/>
                </a:moveTo>
                <a:lnTo>
                  <a:pt x="795" y="935"/>
                </a:lnTo>
                <a:lnTo>
                  <a:pt x="797" y="932"/>
                </a:lnTo>
                <a:lnTo>
                  <a:pt x="797" y="932"/>
                </a:lnTo>
                <a:lnTo>
                  <a:pt x="799" y="932"/>
                </a:lnTo>
                <a:lnTo>
                  <a:pt x="799" y="932"/>
                </a:lnTo>
                <a:lnTo>
                  <a:pt x="799" y="930"/>
                </a:lnTo>
                <a:lnTo>
                  <a:pt x="799" y="930"/>
                </a:lnTo>
                <a:lnTo>
                  <a:pt x="799" y="930"/>
                </a:lnTo>
                <a:lnTo>
                  <a:pt x="802" y="930"/>
                </a:lnTo>
                <a:lnTo>
                  <a:pt x="802" y="930"/>
                </a:lnTo>
                <a:lnTo>
                  <a:pt x="804" y="927"/>
                </a:lnTo>
                <a:lnTo>
                  <a:pt x="804" y="927"/>
                </a:lnTo>
                <a:lnTo>
                  <a:pt x="802" y="932"/>
                </a:lnTo>
                <a:lnTo>
                  <a:pt x="802" y="932"/>
                </a:lnTo>
                <a:lnTo>
                  <a:pt x="799" y="935"/>
                </a:lnTo>
                <a:lnTo>
                  <a:pt x="799" y="935"/>
                </a:lnTo>
                <a:lnTo>
                  <a:pt x="797" y="935"/>
                </a:lnTo>
                <a:lnTo>
                  <a:pt x="797" y="935"/>
                </a:lnTo>
                <a:lnTo>
                  <a:pt x="795" y="935"/>
                </a:lnTo>
                <a:lnTo>
                  <a:pt x="795" y="935"/>
                </a:lnTo>
                <a:close/>
                <a:moveTo>
                  <a:pt x="807" y="940"/>
                </a:moveTo>
                <a:lnTo>
                  <a:pt x="807" y="940"/>
                </a:lnTo>
                <a:lnTo>
                  <a:pt x="812" y="935"/>
                </a:lnTo>
                <a:lnTo>
                  <a:pt x="812" y="935"/>
                </a:lnTo>
                <a:lnTo>
                  <a:pt x="812" y="932"/>
                </a:lnTo>
                <a:lnTo>
                  <a:pt x="812" y="932"/>
                </a:lnTo>
                <a:lnTo>
                  <a:pt x="812" y="932"/>
                </a:lnTo>
                <a:lnTo>
                  <a:pt x="812" y="935"/>
                </a:lnTo>
                <a:lnTo>
                  <a:pt x="812" y="935"/>
                </a:lnTo>
                <a:lnTo>
                  <a:pt x="809" y="940"/>
                </a:lnTo>
                <a:lnTo>
                  <a:pt x="809" y="940"/>
                </a:lnTo>
                <a:lnTo>
                  <a:pt x="807" y="942"/>
                </a:lnTo>
                <a:lnTo>
                  <a:pt x="807" y="942"/>
                </a:lnTo>
                <a:lnTo>
                  <a:pt x="809" y="940"/>
                </a:lnTo>
                <a:lnTo>
                  <a:pt x="809" y="940"/>
                </a:lnTo>
                <a:lnTo>
                  <a:pt x="814" y="937"/>
                </a:lnTo>
                <a:lnTo>
                  <a:pt x="814" y="937"/>
                </a:lnTo>
                <a:lnTo>
                  <a:pt x="814" y="935"/>
                </a:lnTo>
                <a:lnTo>
                  <a:pt x="814" y="935"/>
                </a:lnTo>
                <a:lnTo>
                  <a:pt x="814" y="932"/>
                </a:lnTo>
                <a:lnTo>
                  <a:pt x="814" y="932"/>
                </a:lnTo>
                <a:lnTo>
                  <a:pt x="814" y="930"/>
                </a:lnTo>
                <a:lnTo>
                  <a:pt x="814" y="930"/>
                </a:lnTo>
                <a:lnTo>
                  <a:pt x="812" y="930"/>
                </a:lnTo>
                <a:lnTo>
                  <a:pt x="812" y="930"/>
                </a:lnTo>
                <a:lnTo>
                  <a:pt x="812" y="927"/>
                </a:lnTo>
                <a:lnTo>
                  <a:pt x="812" y="927"/>
                </a:lnTo>
                <a:lnTo>
                  <a:pt x="809" y="927"/>
                </a:lnTo>
                <a:lnTo>
                  <a:pt x="809" y="927"/>
                </a:lnTo>
                <a:lnTo>
                  <a:pt x="809" y="927"/>
                </a:lnTo>
                <a:lnTo>
                  <a:pt x="809" y="932"/>
                </a:lnTo>
                <a:lnTo>
                  <a:pt x="809" y="932"/>
                </a:lnTo>
                <a:lnTo>
                  <a:pt x="807" y="935"/>
                </a:lnTo>
                <a:lnTo>
                  <a:pt x="807" y="935"/>
                </a:lnTo>
                <a:lnTo>
                  <a:pt x="804" y="937"/>
                </a:lnTo>
                <a:lnTo>
                  <a:pt x="804" y="937"/>
                </a:lnTo>
                <a:lnTo>
                  <a:pt x="804" y="935"/>
                </a:lnTo>
                <a:lnTo>
                  <a:pt x="804" y="935"/>
                </a:lnTo>
                <a:lnTo>
                  <a:pt x="807" y="932"/>
                </a:lnTo>
                <a:lnTo>
                  <a:pt x="807" y="932"/>
                </a:lnTo>
                <a:lnTo>
                  <a:pt x="807" y="930"/>
                </a:lnTo>
                <a:lnTo>
                  <a:pt x="807" y="930"/>
                </a:lnTo>
                <a:lnTo>
                  <a:pt x="807" y="930"/>
                </a:lnTo>
                <a:lnTo>
                  <a:pt x="804" y="930"/>
                </a:lnTo>
                <a:lnTo>
                  <a:pt x="804" y="930"/>
                </a:lnTo>
                <a:lnTo>
                  <a:pt x="802" y="935"/>
                </a:lnTo>
                <a:lnTo>
                  <a:pt x="802" y="935"/>
                </a:lnTo>
                <a:lnTo>
                  <a:pt x="799" y="937"/>
                </a:lnTo>
                <a:lnTo>
                  <a:pt x="799" y="937"/>
                </a:lnTo>
                <a:lnTo>
                  <a:pt x="799" y="940"/>
                </a:lnTo>
                <a:lnTo>
                  <a:pt x="799" y="940"/>
                </a:lnTo>
                <a:lnTo>
                  <a:pt x="797" y="942"/>
                </a:lnTo>
                <a:lnTo>
                  <a:pt x="797" y="942"/>
                </a:lnTo>
                <a:lnTo>
                  <a:pt x="797" y="944"/>
                </a:lnTo>
                <a:lnTo>
                  <a:pt x="797" y="944"/>
                </a:lnTo>
                <a:lnTo>
                  <a:pt x="799" y="942"/>
                </a:lnTo>
                <a:lnTo>
                  <a:pt x="799" y="942"/>
                </a:lnTo>
                <a:lnTo>
                  <a:pt x="802" y="940"/>
                </a:lnTo>
                <a:lnTo>
                  <a:pt x="802" y="940"/>
                </a:lnTo>
                <a:lnTo>
                  <a:pt x="804" y="940"/>
                </a:lnTo>
                <a:lnTo>
                  <a:pt x="804" y="940"/>
                </a:lnTo>
                <a:lnTo>
                  <a:pt x="802" y="940"/>
                </a:lnTo>
                <a:lnTo>
                  <a:pt x="802" y="940"/>
                </a:lnTo>
                <a:lnTo>
                  <a:pt x="799" y="944"/>
                </a:lnTo>
                <a:lnTo>
                  <a:pt x="799" y="944"/>
                </a:lnTo>
                <a:lnTo>
                  <a:pt x="802" y="944"/>
                </a:lnTo>
                <a:lnTo>
                  <a:pt x="802" y="944"/>
                </a:lnTo>
                <a:lnTo>
                  <a:pt x="804" y="942"/>
                </a:lnTo>
                <a:lnTo>
                  <a:pt x="804" y="942"/>
                </a:lnTo>
                <a:lnTo>
                  <a:pt x="807" y="940"/>
                </a:lnTo>
                <a:lnTo>
                  <a:pt x="807" y="940"/>
                </a:lnTo>
                <a:close/>
                <a:moveTo>
                  <a:pt x="804" y="940"/>
                </a:moveTo>
                <a:lnTo>
                  <a:pt x="804" y="940"/>
                </a:lnTo>
                <a:lnTo>
                  <a:pt x="804" y="937"/>
                </a:lnTo>
                <a:lnTo>
                  <a:pt x="804" y="937"/>
                </a:lnTo>
                <a:lnTo>
                  <a:pt x="809" y="935"/>
                </a:lnTo>
                <a:lnTo>
                  <a:pt x="809" y="935"/>
                </a:lnTo>
                <a:lnTo>
                  <a:pt x="807" y="937"/>
                </a:lnTo>
                <a:lnTo>
                  <a:pt x="807" y="937"/>
                </a:lnTo>
                <a:lnTo>
                  <a:pt x="807" y="940"/>
                </a:lnTo>
                <a:lnTo>
                  <a:pt x="807" y="940"/>
                </a:lnTo>
                <a:lnTo>
                  <a:pt x="804" y="940"/>
                </a:lnTo>
                <a:lnTo>
                  <a:pt x="804" y="940"/>
                </a:lnTo>
                <a:close/>
                <a:moveTo>
                  <a:pt x="1013" y="1151"/>
                </a:moveTo>
                <a:lnTo>
                  <a:pt x="1013" y="1151"/>
                </a:lnTo>
                <a:lnTo>
                  <a:pt x="1011" y="1151"/>
                </a:lnTo>
                <a:lnTo>
                  <a:pt x="1011" y="1151"/>
                </a:lnTo>
                <a:lnTo>
                  <a:pt x="1011" y="1151"/>
                </a:lnTo>
                <a:lnTo>
                  <a:pt x="1011" y="1149"/>
                </a:lnTo>
                <a:lnTo>
                  <a:pt x="1011" y="1149"/>
                </a:lnTo>
                <a:lnTo>
                  <a:pt x="1013" y="1149"/>
                </a:lnTo>
                <a:lnTo>
                  <a:pt x="1013" y="1149"/>
                </a:lnTo>
                <a:lnTo>
                  <a:pt x="1016" y="1146"/>
                </a:lnTo>
                <a:lnTo>
                  <a:pt x="1016" y="1146"/>
                </a:lnTo>
                <a:lnTo>
                  <a:pt x="1016" y="1146"/>
                </a:lnTo>
                <a:lnTo>
                  <a:pt x="1016" y="1146"/>
                </a:lnTo>
                <a:lnTo>
                  <a:pt x="1016" y="1146"/>
                </a:lnTo>
                <a:lnTo>
                  <a:pt x="1011" y="1149"/>
                </a:lnTo>
                <a:lnTo>
                  <a:pt x="1011" y="1149"/>
                </a:lnTo>
                <a:lnTo>
                  <a:pt x="1011" y="1151"/>
                </a:lnTo>
                <a:lnTo>
                  <a:pt x="1011" y="1151"/>
                </a:lnTo>
                <a:lnTo>
                  <a:pt x="1011" y="1151"/>
                </a:lnTo>
                <a:lnTo>
                  <a:pt x="1013" y="1151"/>
                </a:lnTo>
                <a:lnTo>
                  <a:pt x="1013" y="1151"/>
                </a:lnTo>
                <a:lnTo>
                  <a:pt x="1013" y="1151"/>
                </a:lnTo>
                <a:close/>
                <a:moveTo>
                  <a:pt x="1090" y="1166"/>
                </a:moveTo>
                <a:lnTo>
                  <a:pt x="1090" y="1166"/>
                </a:lnTo>
                <a:lnTo>
                  <a:pt x="1087" y="1163"/>
                </a:lnTo>
                <a:lnTo>
                  <a:pt x="1087" y="1163"/>
                </a:lnTo>
                <a:lnTo>
                  <a:pt x="1090" y="1161"/>
                </a:lnTo>
                <a:lnTo>
                  <a:pt x="1090" y="1161"/>
                </a:lnTo>
                <a:lnTo>
                  <a:pt x="1090" y="1158"/>
                </a:lnTo>
                <a:lnTo>
                  <a:pt x="1090" y="1158"/>
                </a:lnTo>
                <a:lnTo>
                  <a:pt x="1087" y="1156"/>
                </a:lnTo>
                <a:lnTo>
                  <a:pt x="1087" y="1156"/>
                </a:lnTo>
                <a:lnTo>
                  <a:pt x="1090" y="1156"/>
                </a:lnTo>
                <a:lnTo>
                  <a:pt x="1090" y="1156"/>
                </a:lnTo>
                <a:lnTo>
                  <a:pt x="1090" y="1153"/>
                </a:lnTo>
                <a:lnTo>
                  <a:pt x="1090" y="1153"/>
                </a:lnTo>
                <a:lnTo>
                  <a:pt x="1090" y="1156"/>
                </a:lnTo>
                <a:lnTo>
                  <a:pt x="1090" y="1156"/>
                </a:lnTo>
                <a:lnTo>
                  <a:pt x="1090" y="1156"/>
                </a:lnTo>
                <a:lnTo>
                  <a:pt x="1090" y="1158"/>
                </a:lnTo>
                <a:lnTo>
                  <a:pt x="1090" y="1158"/>
                </a:lnTo>
                <a:lnTo>
                  <a:pt x="1090" y="1161"/>
                </a:lnTo>
                <a:lnTo>
                  <a:pt x="1090" y="1161"/>
                </a:lnTo>
                <a:lnTo>
                  <a:pt x="1090" y="1161"/>
                </a:lnTo>
                <a:lnTo>
                  <a:pt x="1090" y="1161"/>
                </a:lnTo>
                <a:lnTo>
                  <a:pt x="1090" y="1163"/>
                </a:lnTo>
                <a:lnTo>
                  <a:pt x="1090" y="1163"/>
                </a:lnTo>
                <a:lnTo>
                  <a:pt x="1090" y="1166"/>
                </a:lnTo>
                <a:lnTo>
                  <a:pt x="1090" y="1166"/>
                </a:lnTo>
                <a:lnTo>
                  <a:pt x="1090" y="1166"/>
                </a:lnTo>
                <a:close/>
                <a:moveTo>
                  <a:pt x="1092" y="1166"/>
                </a:moveTo>
                <a:lnTo>
                  <a:pt x="1092" y="1166"/>
                </a:lnTo>
                <a:lnTo>
                  <a:pt x="1092" y="1166"/>
                </a:lnTo>
                <a:lnTo>
                  <a:pt x="1092" y="1166"/>
                </a:lnTo>
                <a:lnTo>
                  <a:pt x="1095" y="1166"/>
                </a:lnTo>
                <a:lnTo>
                  <a:pt x="1095" y="1166"/>
                </a:lnTo>
                <a:lnTo>
                  <a:pt x="1092" y="1168"/>
                </a:lnTo>
                <a:lnTo>
                  <a:pt x="1092" y="1168"/>
                </a:lnTo>
                <a:lnTo>
                  <a:pt x="1092" y="1166"/>
                </a:lnTo>
                <a:lnTo>
                  <a:pt x="1092" y="1166"/>
                </a:lnTo>
                <a:close/>
                <a:moveTo>
                  <a:pt x="1122" y="1058"/>
                </a:moveTo>
                <a:lnTo>
                  <a:pt x="1122" y="1058"/>
                </a:lnTo>
                <a:lnTo>
                  <a:pt x="1124" y="1055"/>
                </a:lnTo>
                <a:lnTo>
                  <a:pt x="1124" y="1055"/>
                </a:lnTo>
                <a:lnTo>
                  <a:pt x="1124" y="1055"/>
                </a:lnTo>
                <a:lnTo>
                  <a:pt x="1124" y="1055"/>
                </a:lnTo>
                <a:lnTo>
                  <a:pt x="1124" y="1058"/>
                </a:lnTo>
                <a:lnTo>
                  <a:pt x="1124" y="1058"/>
                </a:lnTo>
                <a:lnTo>
                  <a:pt x="1122" y="1060"/>
                </a:lnTo>
                <a:lnTo>
                  <a:pt x="1122" y="1058"/>
                </a:lnTo>
                <a:lnTo>
                  <a:pt x="1122" y="1058"/>
                </a:lnTo>
                <a:close/>
                <a:moveTo>
                  <a:pt x="1112" y="1080"/>
                </a:moveTo>
                <a:lnTo>
                  <a:pt x="1112" y="1080"/>
                </a:lnTo>
                <a:lnTo>
                  <a:pt x="1112" y="1082"/>
                </a:lnTo>
                <a:lnTo>
                  <a:pt x="1112" y="1082"/>
                </a:lnTo>
                <a:lnTo>
                  <a:pt x="1114" y="1082"/>
                </a:lnTo>
                <a:lnTo>
                  <a:pt x="1114" y="1082"/>
                </a:lnTo>
                <a:lnTo>
                  <a:pt x="1114" y="1082"/>
                </a:lnTo>
                <a:lnTo>
                  <a:pt x="1114" y="1082"/>
                </a:lnTo>
                <a:lnTo>
                  <a:pt x="1114" y="1080"/>
                </a:lnTo>
                <a:lnTo>
                  <a:pt x="1114" y="1080"/>
                </a:lnTo>
                <a:lnTo>
                  <a:pt x="1114" y="1080"/>
                </a:lnTo>
                <a:lnTo>
                  <a:pt x="1112" y="1080"/>
                </a:lnTo>
                <a:lnTo>
                  <a:pt x="1112" y="1080"/>
                </a:lnTo>
                <a:close/>
                <a:moveTo>
                  <a:pt x="1129" y="1107"/>
                </a:moveTo>
                <a:lnTo>
                  <a:pt x="1129" y="1107"/>
                </a:lnTo>
                <a:lnTo>
                  <a:pt x="1129" y="1104"/>
                </a:lnTo>
                <a:lnTo>
                  <a:pt x="1129" y="1104"/>
                </a:lnTo>
                <a:lnTo>
                  <a:pt x="1129" y="1102"/>
                </a:lnTo>
                <a:lnTo>
                  <a:pt x="1129" y="1102"/>
                </a:lnTo>
                <a:lnTo>
                  <a:pt x="1129" y="1102"/>
                </a:lnTo>
                <a:lnTo>
                  <a:pt x="1129" y="1104"/>
                </a:lnTo>
                <a:lnTo>
                  <a:pt x="1129" y="1104"/>
                </a:lnTo>
                <a:lnTo>
                  <a:pt x="1132" y="1104"/>
                </a:lnTo>
                <a:lnTo>
                  <a:pt x="1132" y="1104"/>
                </a:lnTo>
                <a:lnTo>
                  <a:pt x="1132" y="1104"/>
                </a:lnTo>
                <a:lnTo>
                  <a:pt x="1132" y="1107"/>
                </a:lnTo>
                <a:lnTo>
                  <a:pt x="1132" y="1107"/>
                </a:lnTo>
                <a:lnTo>
                  <a:pt x="1129" y="1107"/>
                </a:lnTo>
                <a:lnTo>
                  <a:pt x="1129" y="1107"/>
                </a:lnTo>
                <a:lnTo>
                  <a:pt x="1129" y="1107"/>
                </a:lnTo>
                <a:close/>
                <a:moveTo>
                  <a:pt x="1122" y="1107"/>
                </a:moveTo>
                <a:lnTo>
                  <a:pt x="1122" y="1107"/>
                </a:lnTo>
                <a:lnTo>
                  <a:pt x="1122" y="1107"/>
                </a:lnTo>
                <a:lnTo>
                  <a:pt x="1124" y="1107"/>
                </a:lnTo>
                <a:lnTo>
                  <a:pt x="1124" y="1107"/>
                </a:lnTo>
                <a:lnTo>
                  <a:pt x="1124" y="1104"/>
                </a:lnTo>
                <a:lnTo>
                  <a:pt x="1124" y="1104"/>
                </a:lnTo>
                <a:lnTo>
                  <a:pt x="1124" y="1104"/>
                </a:lnTo>
                <a:lnTo>
                  <a:pt x="1124" y="1104"/>
                </a:lnTo>
                <a:lnTo>
                  <a:pt x="1124" y="1107"/>
                </a:lnTo>
                <a:lnTo>
                  <a:pt x="1124" y="1107"/>
                </a:lnTo>
                <a:lnTo>
                  <a:pt x="1124" y="1107"/>
                </a:lnTo>
                <a:lnTo>
                  <a:pt x="1122" y="1109"/>
                </a:lnTo>
                <a:lnTo>
                  <a:pt x="1122" y="1109"/>
                </a:lnTo>
                <a:lnTo>
                  <a:pt x="1119" y="1109"/>
                </a:lnTo>
                <a:lnTo>
                  <a:pt x="1119" y="1109"/>
                </a:lnTo>
                <a:lnTo>
                  <a:pt x="1122" y="1107"/>
                </a:lnTo>
                <a:lnTo>
                  <a:pt x="1122" y="1107"/>
                </a:lnTo>
                <a:lnTo>
                  <a:pt x="1122" y="1107"/>
                </a:lnTo>
                <a:close/>
                <a:moveTo>
                  <a:pt x="1097" y="1146"/>
                </a:moveTo>
                <a:lnTo>
                  <a:pt x="1097" y="1146"/>
                </a:lnTo>
                <a:lnTo>
                  <a:pt x="1097" y="1144"/>
                </a:lnTo>
                <a:lnTo>
                  <a:pt x="1097" y="1144"/>
                </a:lnTo>
                <a:lnTo>
                  <a:pt x="1097" y="1146"/>
                </a:lnTo>
                <a:lnTo>
                  <a:pt x="1097" y="1146"/>
                </a:lnTo>
                <a:lnTo>
                  <a:pt x="1097" y="1146"/>
                </a:lnTo>
                <a:lnTo>
                  <a:pt x="1097" y="1146"/>
                </a:lnTo>
                <a:close/>
                <a:moveTo>
                  <a:pt x="1129" y="1136"/>
                </a:moveTo>
                <a:lnTo>
                  <a:pt x="1129" y="1136"/>
                </a:lnTo>
                <a:lnTo>
                  <a:pt x="1129" y="1139"/>
                </a:lnTo>
                <a:lnTo>
                  <a:pt x="1129" y="1139"/>
                </a:lnTo>
                <a:lnTo>
                  <a:pt x="1132" y="1139"/>
                </a:lnTo>
                <a:lnTo>
                  <a:pt x="1132" y="1139"/>
                </a:lnTo>
                <a:lnTo>
                  <a:pt x="1132" y="1139"/>
                </a:lnTo>
                <a:lnTo>
                  <a:pt x="1134" y="1139"/>
                </a:lnTo>
                <a:lnTo>
                  <a:pt x="1134" y="1139"/>
                </a:lnTo>
                <a:lnTo>
                  <a:pt x="1129" y="1136"/>
                </a:lnTo>
                <a:lnTo>
                  <a:pt x="1129" y="1136"/>
                </a:lnTo>
                <a:lnTo>
                  <a:pt x="1129" y="1136"/>
                </a:lnTo>
                <a:close/>
                <a:moveTo>
                  <a:pt x="1095" y="1077"/>
                </a:moveTo>
                <a:lnTo>
                  <a:pt x="1095" y="1077"/>
                </a:lnTo>
                <a:lnTo>
                  <a:pt x="1092" y="1080"/>
                </a:lnTo>
                <a:lnTo>
                  <a:pt x="1092" y="1080"/>
                </a:lnTo>
                <a:lnTo>
                  <a:pt x="1090" y="1082"/>
                </a:lnTo>
                <a:lnTo>
                  <a:pt x="1090" y="1082"/>
                </a:lnTo>
                <a:lnTo>
                  <a:pt x="1090" y="1082"/>
                </a:lnTo>
                <a:lnTo>
                  <a:pt x="1090" y="1082"/>
                </a:lnTo>
                <a:lnTo>
                  <a:pt x="1087" y="1085"/>
                </a:lnTo>
                <a:lnTo>
                  <a:pt x="1087" y="1085"/>
                </a:lnTo>
                <a:lnTo>
                  <a:pt x="1087" y="1085"/>
                </a:lnTo>
                <a:lnTo>
                  <a:pt x="1087" y="1087"/>
                </a:lnTo>
                <a:lnTo>
                  <a:pt x="1087" y="1087"/>
                </a:lnTo>
                <a:lnTo>
                  <a:pt x="1087" y="1087"/>
                </a:lnTo>
                <a:lnTo>
                  <a:pt x="1087" y="1087"/>
                </a:lnTo>
                <a:lnTo>
                  <a:pt x="1085" y="1087"/>
                </a:lnTo>
                <a:lnTo>
                  <a:pt x="1085" y="1087"/>
                </a:lnTo>
                <a:lnTo>
                  <a:pt x="1085" y="1090"/>
                </a:lnTo>
                <a:lnTo>
                  <a:pt x="1085" y="1090"/>
                </a:lnTo>
                <a:lnTo>
                  <a:pt x="1082" y="1092"/>
                </a:lnTo>
                <a:lnTo>
                  <a:pt x="1082" y="1092"/>
                </a:lnTo>
                <a:lnTo>
                  <a:pt x="1085" y="1092"/>
                </a:lnTo>
                <a:lnTo>
                  <a:pt x="1085" y="1092"/>
                </a:lnTo>
                <a:lnTo>
                  <a:pt x="1085" y="1092"/>
                </a:lnTo>
                <a:lnTo>
                  <a:pt x="1085" y="1092"/>
                </a:lnTo>
                <a:lnTo>
                  <a:pt x="1082" y="1092"/>
                </a:lnTo>
                <a:lnTo>
                  <a:pt x="1082" y="1092"/>
                </a:lnTo>
                <a:lnTo>
                  <a:pt x="1080" y="1097"/>
                </a:lnTo>
                <a:lnTo>
                  <a:pt x="1080" y="1097"/>
                </a:lnTo>
                <a:lnTo>
                  <a:pt x="1080" y="1097"/>
                </a:lnTo>
                <a:lnTo>
                  <a:pt x="1077" y="1102"/>
                </a:lnTo>
                <a:lnTo>
                  <a:pt x="1077" y="1102"/>
                </a:lnTo>
                <a:lnTo>
                  <a:pt x="1077" y="1104"/>
                </a:lnTo>
                <a:lnTo>
                  <a:pt x="1077" y="1104"/>
                </a:lnTo>
                <a:lnTo>
                  <a:pt x="1077" y="1104"/>
                </a:lnTo>
                <a:lnTo>
                  <a:pt x="1077" y="1107"/>
                </a:lnTo>
                <a:lnTo>
                  <a:pt x="1077" y="1107"/>
                </a:lnTo>
                <a:lnTo>
                  <a:pt x="1077" y="1107"/>
                </a:lnTo>
                <a:lnTo>
                  <a:pt x="1075" y="1107"/>
                </a:lnTo>
                <a:lnTo>
                  <a:pt x="1075" y="1107"/>
                </a:lnTo>
                <a:lnTo>
                  <a:pt x="1075" y="1107"/>
                </a:lnTo>
                <a:lnTo>
                  <a:pt x="1072" y="1107"/>
                </a:lnTo>
                <a:lnTo>
                  <a:pt x="1072" y="1107"/>
                </a:lnTo>
                <a:lnTo>
                  <a:pt x="1072" y="1109"/>
                </a:lnTo>
                <a:lnTo>
                  <a:pt x="1072" y="1109"/>
                </a:lnTo>
                <a:lnTo>
                  <a:pt x="1072" y="1112"/>
                </a:lnTo>
                <a:lnTo>
                  <a:pt x="1072" y="1112"/>
                </a:lnTo>
                <a:lnTo>
                  <a:pt x="1072" y="1112"/>
                </a:lnTo>
                <a:lnTo>
                  <a:pt x="1075" y="1112"/>
                </a:lnTo>
                <a:lnTo>
                  <a:pt x="1075" y="1112"/>
                </a:lnTo>
                <a:lnTo>
                  <a:pt x="1072" y="1112"/>
                </a:lnTo>
                <a:lnTo>
                  <a:pt x="1072" y="1112"/>
                </a:lnTo>
                <a:lnTo>
                  <a:pt x="1072" y="1114"/>
                </a:lnTo>
                <a:lnTo>
                  <a:pt x="1072" y="1114"/>
                </a:lnTo>
                <a:lnTo>
                  <a:pt x="1070" y="1117"/>
                </a:lnTo>
                <a:lnTo>
                  <a:pt x="1070" y="1117"/>
                </a:lnTo>
                <a:lnTo>
                  <a:pt x="1068" y="1114"/>
                </a:lnTo>
                <a:lnTo>
                  <a:pt x="1068" y="1114"/>
                </a:lnTo>
                <a:lnTo>
                  <a:pt x="1068" y="1117"/>
                </a:lnTo>
                <a:lnTo>
                  <a:pt x="1068" y="1117"/>
                </a:lnTo>
                <a:lnTo>
                  <a:pt x="1068" y="1117"/>
                </a:lnTo>
                <a:lnTo>
                  <a:pt x="1065" y="1119"/>
                </a:lnTo>
                <a:lnTo>
                  <a:pt x="1065" y="1119"/>
                </a:lnTo>
                <a:lnTo>
                  <a:pt x="1063" y="1122"/>
                </a:lnTo>
                <a:lnTo>
                  <a:pt x="1063" y="1122"/>
                </a:lnTo>
                <a:lnTo>
                  <a:pt x="1063" y="1124"/>
                </a:lnTo>
                <a:lnTo>
                  <a:pt x="1063" y="1124"/>
                </a:lnTo>
                <a:lnTo>
                  <a:pt x="1060" y="1124"/>
                </a:lnTo>
                <a:lnTo>
                  <a:pt x="1060" y="1124"/>
                </a:lnTo>
                <a:lnTo>
                  <a:pt x="1060" y="1122"/>
                </a:lnTo>
                <a:lnTo>
                  <a:pt x="1060" y="1122"/>
                </a:lnTo>
                <a:lnTo>
                  <a:pt x="1060" y="1124"/>
                </a:lnTo>
                <a:lnTo>
                  <a:pt x="1060" y="1124"/>
                </a:lnTo>
                <a:lnTo>
                  <a:pt x="1058" y="1122"/>
                </a:lnTo>
                <a:lnTo>
                  <a:pt x="1058" y="1122"/>
                </a:lnTo>
                <a:lnTo>
                  <a:pt x="1060" y="1122"/>
                </a:lnTo>
                <a:lnTo>
                  <a:pt x="1060" y="1122"/>
                </a:lnTo>
                <a:lnTo>
                  <a:pt x="1060" y="1119"/>
                </a:lnTo>
                <a:lnTo>
                  <a:pt x="1060" y="1119"/>
                </a:lnTo>
                <a:lnTo>
                  <a:pt x="1063" y="1119"/>
                </a:lnTo>
                <a:lnTo>
                  <a:pt x="1063" y="1119"/>
                </a:lnTo>
                <a:lnTo>
                  <a:pt x="1060" y="1119"/>
                </a:lnTo>
                <a:lnTo>
                  <a:pt x="1060" y="1119"/>
                </a:lnTo>
                <a:lnTo>
                  <a:pt x="1058" y="1122"/>
                </a:lnTo>
                <a:lnTo>
                  <a:pt x="1058" y="1122"/>
                </a:lnTo>
                <a:lnTo>
                  <a:pt x="1055" y="1122"/>
                </a:lnTo>
                <a:lnTo>
                  <a:pt x="1055" y="1122"/>
                </a:lnTo>
                <a:lnTo>
                  <a:pt x="1053" y="1126"/>
                </a:lnTo>
                <a:lnTo>
                  <a:pt x="1053" y="1126"/>
                </a:lnTo>
                <a:lnTo>
                  <a:pt x="1055" y="1126"/>
                </a:lnTo>
                <a:lnTo>
                  <a:pt x="1055" y="1126"/>
                </a:lnTo>
                <a:lnTo>
                  <a:pt x="1058" y="1126"/>
                </a:lnTo>
                <a:lnTo>
                  <a:pt x="1058" y="1126"/>
                </a:lnTo>
                <a:lnTo>
                  <a:pt x="1060" y="1124"/>
                </a:lnTo>
                <a:lnTo>
                  <a:pt x="1060" y="1124"/>
                </a:lnTo>
                <a:lnTo>
                  <a:pt x="1065" y="1124"/>
                </a:lnTo>
                <a:lnTo>
                  <a:pt x="1065" y="1124"/>
                </a:lnTo>
                <a:lnTo>
                  <a:pt x="1063" y="1126"/>
                </a:lnTo>
                <a:lnTo>
                  <a:pt x="1063" y="1126"/>
                </a:lnTo>
                <a:lnTo>
                  <a:pt x="1060" y="1131"/>
                </a:lnTo>
                <a:lnTo>
                  <a:pt x="1060" y="1131"/>
                </a:lnTo>
                <a:lnTo>
                  <a:pt x="1058" y="1134"/>
                </a:lnTo>
                <a:lnTo>
                  <a:pt x="1058" y="1134"/>
                </a:lnTo>
                <a:lnTo>
                  <a:pt x="1055" y="1136"/>
                </a:lnTo>
                <a:lnTo>
                  <a:pt x="1055" y="1136"/>
                </a:lnTo>
                <a:lnTo>
                  <a:pt x="1050" y="1139"/>
                </a:lnTo>
                <a:lnTo>
                  <a:pt x="1050" y="1139"/>
                </a:lnTo>
                <a:lnTo>
                  <a:pt x="1050" y="1139"/>
                </a:lnTo>
                <a:lnTo>
                  <a:pt x="1050" y="1139"/>
                </a:lnTo>
                <a:lnTo>
                  <a:pt x="1050" y="1141"/>
                </a:lnTo>
                <a:lnTo>
                  <a:pt x="1050" y="1141"/>
                </a:lnTo>
                <a:lnTo>
                  <a:pt x="1050" y="1144"/>
                </a:lnTo>
                <a:lnTo>
                  <a:pt x="1050" y="1144"/>
                </a:lnTo>
                <a:lnTo>
                  <a:pt x="1050" y="1144"/>
                </a:lnTo>
                <a:lnTo>
                  <a:pt x="1050" y="1144"/>
                </a:lnTo>
                <a:lnTo>
                  <a:pt x="1055" y="1146"/>
                </a:lnTo>
                <a:lnTo>
                  <a:pt x="1055" y="1146"/>
                </a:lnTo>
                <a:lnTo>
                  <a:pt x="1058" y="1146"/>
                </a:lnTo>
                <a:lnTo>
                  <a:pt x="1058" y="1146"/>
                </a:lnTo>
                <a:lnTo>
                  <a:pt x="1060" y="1144"/>
                </a:lnTo>
                <a:lnTo>
                  <a:pt x="1060" y="1144"/>
                </a:lnTo>
                <a:lnTo>
                  <a:pt x="1063" y="1144"/>
                </a:lnTo>
                <a:lnTo>
                  <a:pt x="1063" y="1144"/>
                </a:lnTo>
                <a:lnTo>
                  <a:pt x="1065" y="1141"/>
                </a:lnTo>
                <a:lnTo>
                  <a:pt x="1065" y="1141"/>
                </a:lnTo>
                <a:lnTo>
                  <a:pt x="1065" y="1141"/>
                </a:lnTo>
                <a:lnTo>
                  <a:pt x="1065" y="1141"/>
                </a:lnTo>
                <a:lnTo>
                  <a:pt x="1063" y="1144"/>
                </a:lnTo>
                <a:lnTo>
                  <a:pt x="1063" y="1144"/>
                </a:lnTo>
                <a:lnTo>
                  <a:pt x="1068" y="1144"/>
                </a:lnTo>
                <a:lnTo>
                  <a:pt x="1068" y="1144"/>
                </a:lnTo>
                <a:lnTo>
                  <a:pt x="1070" y="1144"/>
                </a:lnTo>
                <a:lnTo>
                  <a:pt x="1070" y="1144"/>
                </a:lnTo>
                <a:lnTo>
                  <a:pt x="1070" y="1144"/>
                </a:lnTo>
                <a:lnTo>
                  <a:pt x="1075" y="1144"/>
                </a:lnTo>
                <a:lnTo>
                  <a:pt x="1075" y="1144"/>
                </a:lnTo>
                <a:lnTo>
                  <a:pt x="1077" y="1144"/>
                </a:lnTo>
                <a:lnTo>
                  <a:pt x="1077" y="1144"/>
                </a:lnTo>
                <a:lnTo>
                  <a:pt x="1077" y="1146"/>
                </a:lnTo>
                <a:lnTo>
                  <a:pt x="1077" y="1146"/>
                </a:lnTo>
                <a:lnTo>
                  <a:pt x="1077" y="1146"/>
                </a:lnTo>
                <a:lnTo>
                  <a:pt x="1082" y="1146"/>
                </a:lnTo>
                <a:lnTo>
                  <a:pt x="1082" y="1146"/>
                </a:lnTo>
                <a:lnTo>
                  <a:pt x="1082" y="1146"/>
                </a:lnTo>
                <a:lnTo>
                  <a:pt x="1082" y="1146"/>
                </a:lnTo>
                <a:lnTo>
                  <a:pt x="1085" y="1146"/>
                </a:lnTo>
                <a:lnTo>
                  <a:pt x="1085" y="1146"/>
                </a:lnTo>
                <a:lnTo>
                  <a:pt x="1085" y="1146"/>
                </a:lnTo>
                <a:lnTo>
                  <a:pt x="1085" y="1146"/>
                </a:lnTo>
                <a:lnTo>
                  <a:pt x="1087" y="1146"/>
                </a:lnTo>
                <a:lnTo>
                  <a:pt x="1087" y="1146"/>
                </a:lnTo>
                <a:lnTo>
                  <a:pt x="1090" y="1146"/>
                </a:lnTo>
                <a:lnTo>
                  <a:pt x="1090" y="1146"/>
                </a:lnTo>
                <a:lnTo>
                  <a:pt x="1090" y="1146"/>
                </a:lnTo>
                <a:lnTo>
                  <a:pt x="1092" y="1146"/>
                </a:lnTo>
                <a:lnTo>
                  <a:pt x="1092" y="1146"/>
                </a:lnTo>
                <a:lnTo>
                  <a:pt x="1092" y="1146"/>
                </a:lnTo>
                <a:lnTo>
                  <a:pt x="1095" y="1146"/>
                </a:lnTo>
                <a:lnTo>
                  <a:pt x="1095" y="1146"/>
                </a:lnTo>
                <a:lnTo>
                  <a:pt x="1095" y="1144"/>
                </a:lnTo>
                <a:lnTo>
                  <a:pt x="1095" y="1144"/>
                </a:lnTo>
                <a:lnTo>
                  <a:pt x="1095" y="1144"/>
                </a:lnTo>
                <a:lnTo>
                  <a:pt x="1095" y="1141"/>
                </a:lnTo>
                <a:lnTo>
                  <a:pt x="1095" y="1141"/>
                </a:lnTo>
                <a:lnTo>
                  <a:pt x="1095" y="1141"/>
                </a:lnTo>
                <a:lnTo>
                  <a:pt x="1097" y="1139"/>
                </a:lnTo>
                <a:lnTo>
                  <a:pt x="1097" y="1139"/>
                </a:lnTo>
                <a:lnTo>
                  <a:pt x="1097" y="1139"/>
                </a:lnTo>
                <a:lnTo>
                  <a:pt x="1097" y="1141"/>
                </a:lnTo>
                <a:lnTo>
                  <a:pt x="1097" y="1141"/>
                </a:lnTo>
                <a:lnTo>
                  <a:pt x="1097" y="1144"/>
                </a:lnTo>
                <a:lnTo>
                  <a:pt x="1097" y="1144"/>
                </a:lnTo>
                <a:lnTo>
                  <a:pt x="1097" y="1144"/>
                </a:lnTo>
                <a:lnTo>
                  <a:pt x="1097" y="1141"/>
                </a:lnTo>
                <a:lnTo>
                  <a:pt x="1097" y="1141"/>
                </a:lnTo>
                <a:lnTo>
                  <a:pt x="1100" y="1141"/>
                </a:lnTo>
                <a:lnTo>
                  <a:pt x="1100" y="1141"/>
                </a:lnTo>
                <a:lnTo>
                  <a:pt x="1100" y="1141"/>
                </a:lnTo>
                <a:lnTo>
                  <a:pt x="1100" y="1141"/>
                </a:lnTo>
                <a:lnTo>
                  <a:pt x="1100" y="1144"/>
                </a:lnTo>
                <a:lnTo>
                  <a:pt x="1100" y="1144"/>
                </a:lnTo>
                <a:lnTo>
                  <a:pt x="1100" y="1146"/>
                </a:lnTo>
                <a:lnTo>
                  <a:pt x="1100" y="1146"/>
                </a:lnTo>
                <a:lnTo>
                  <a:pt x="1100" y="1144"/>
                </a:lnTo>
                <a:lnTo>
                  <a:pt x="1100" y="1144"/>
                </a:lnTo>
                <a:lnTo>
                  <a:pt x="1102" y="1144"/>
                </a:lnTo>
                <a:lnTo>
                  <a:pt x="1102" y="1144"/>
                </a:lnTo>
                <a:lnTo>
                  <a:pt x="1102" y="1146"/>
                </a:lnTo>
                <a:lnTo>
                  <a:pt x="1102" y="1146"/>
                </a:lnTo>
                <a:lnTo>
                  <a:pt x="1097" y="1146"/>
                </a:lnTo>
                <a:lnTo>
                  <a:pt x="1097" y="1146"/>
                </a:lnTo>
                <a:lnTo>
                  <a:pt x="1095" y="1149"/>
                </a:lnTo>
                <a:lnTo>
                  <a:pt x="1095" y="1149"/>
                </a:lnTo>
                <a:lnTo>
                  <a:pt x="1097" y="1149"/>
                </a:lnTo>
                <a:lnTo>
                  <a:pt x="1097" y="1149"/>
                </a:lnTo>
                <a:lnTo>
                  <a:pt x="1097" y="1149"/>
                </a:lnTo>
                <a:lnTo>
                  <a:pt x="1100" y="1149"/>
                </a:lnTo>
                <a:lnTo>
                  <a:pt x="1100" y="1149"/>
                </a:lnTo>
                <a:lnTo>
                  <a:pt x="1100" y="1149"/>
                </a:lnTo>
                <a:lnTo>
                  <a:pt x="1102" y="1149"/>
                </a:lnTo>
                <a:lnTo>
                  <a:pt x="1102" y="1149"/>
                </a:lnTo>
                <a:lnTo>
                  <a:pt x="1102" y="1151"/>
                </a:lnTo>
                <a:lnTo>
                  <a:pt x="1102" y="1151"/>
                </a:lnTo>
                <a:lnTo>
                  <a:pt x="1102" y="1149"/>
                </a:lnTo>
                <a:lnTo>
                  <a:pt x="1102" y="1149"/>
                </a:lnTo>
                <a:lnTo>
                  <a:pt x="1104" y="1149"/>
                </a:lnTo>
                <a:lnTo>
                  <a:pt x="1104" y="1149"/>
                </a:lnTo>
                <a:lnTo>
                  <a:pt x="1104" y="1146"/>
                </a:lnTo>
                <a:lnTo>
                  <a:pt x="1104" y="1146"/>
                </a:lnTo>
                <a:lnTo>
                  <a:pt x="1104" y="1146"/>
                </a:lnTo>
                <a:lnTo>
                  <a:pt x="1107" y="1146"/>
                </a:lnTo>
                <a:lnTo>
                  <a:pt x="1107" y="1146"/>
                </a:lnTo>
                <a:lnTo>
                  <a:pt x="1109" y="1146"/>
                </a:lnTo>
                <a:lnTo>
                  <a:pt x="1109" y="1146"/>
                </a:lnTo>
                <a:lnTo>
                  <a:pt x="1109" y="1149"/>
                </a:lnTo>
                <a:lnTo>
                  <a:pt x="1109" y="1149"/>
                </a:lnTo>
                <a:lnTo>
                  <a:pt x="1112" y="1146"/>
                </a:lnTo>
                <a:lnTo>
                  <a:pt x="1112" y="1146"/>
                </a:lnTo>
                <a:lnTo>
                  <a:pt x="1114" y="1146"/>
                </a:lnTo>
                <a:lnTo>
                  <a:pt x="1114" y="1146"/>
                </a:lnTo>
                <a:lnTo>
                  <a:pt x="1114" y="1146"/>
                </a:lnTo>
                <a:lnTo>
                  <a:pt x="1114" y="1149"/>
                </a:lnTo>
                <a:lnTo>
                  <a:pt x="1114" y="1149"/>
                </a:lnTo>
                <a:lnTo>
                  <a:pt x="1114" y="1149"/>
                </a:lnTo>
                <a:lnTo>
                  <a:pt x="1112" y="1149"/>
                </a:lnTo>
                <a:lnTo>
                  <a:pt x="1112" y="1149"/>
                </a:lnTo>
                <a:lnTo>
                  <a:pt x="1109" y="1151"/>
                </a:lnTo>
                <a:lnTo>
                  <a:pt x="1109" y="1151"/>
                </a:lnTo>
                <a:lnTo>
                  <a:pt x="1107" y="1151"/>
                </a:lnTo>
                <a:lnTo>
                  <a:pt x="1107" y="1151"/>
                </a:lnTo>
                <a:lnTo>
                  <a:pt x="1107" y="1153"/>
                </a:lnTo>
                <a:lnTo>
                  <a:pt x="1107" y="1153"/>
                </a:lnTo>
                <a:lnTo>
                  <a:pt x="1107" y="1153"/>
                </a:lnTo>
                <a:lnTo>
                  <a:pt x="1104" y="1153"/>
                </a:lnTo>
                <a:lnTo>
                  <a:pt x="1104" y="1153"/>
                </a:lnTo>
                <a:lnTo>
                  <a:pt x="1104" y="1153"/>
                </a:lnTo>
                <a:lnTo>
                  <a:pt x="1102" y="1156"/>
                </a:lnTo>
                <a:lnTo>
                  <a:pt x="1102" y="1156"/>
                </a:lnTo>
                <a:lnTo>
                  <a:pt x="1102" y="1156"/>
                </a:lnTo>
                <a:lnTo>
                  <a:pt x="1100" y="1156"/>
                </a:lnTo>
                <a:lnTo>
                  <a:pt x="1100" y="1156"/>
                </a:lnTo>
                <a:lnTo>
                  <a:pt x="1097" y="1158"/>
                </a:lnTo>
                <a:lnTo>
                  <a:pt x="1097" y="1158"/>
                </a:lnTo>
                <a:lnTo>
                  <a:pt x="1095" y="1158"/>
                </a:lnTo>
                <a:lnTo>
                  <a:pt x="1095" y="1158"/>
                </a:lnTo>
                <a:lnTo>
                  <a:pt x="1095" y="1161"/>
                </a:lnTo>
                <a:lnTo>
                  <a:pt x="1095" y="1161"/>
                </a:lnTo>
                <a:lnTo>
                  <a:pt x="1097" y="1161"/>
                </a:lnTo>
                <a:lnTo>
                  <a:pt x="1097" y="1161"/>
                </a:lnTo>
                <a:lnTo>
                  <a:pt x="1097" y="1163"/>
                </a:lnTo>
                <a:lnTo>
                  <a:pt x="1097" y="1163"/>
                </a:lnTo>
                <a:lnTo>
                  <a:pt x="1100" y="1163"/>
                </a:lnTo>
                <a:lnTo>
                  <a:pt x="1100" y="1163"/>
                </a:lnTo>
                <a:lnTo>
                  <a:pt x="1100" y="1161"/>
                </a:lnTo>
                <a:lnTo>
                  <a:pt x="1100" y="1161"/>
                </a:lnTo>
                <a:lnTo>
                  <a:pt x="1100" y="1161"/>
                </a:lnTo>
                <a:lnTo>
                  <a:pt x="1102" y="1161"/>
                </a:lnTo>
                <a:lnTo>
                  <a:pt x="1102" y="1161"/>
                </a:lnTo>
                <a:lnTo>
                  <a:pt x="1102" y="1161"/>
                </a:lnTo>
                <a:lnTo>
                  <a:pt x="1102" y="1163"/>
                </a:lnTo>
                <a:lnTo>
                  <a:pt x="1102" y="1163"/>
                </a:lnTo>
                <a:lnTo>
                  <a:pt x="1104" y="1161"/>
                </a:lnTo>
                <a:lnTo>
                  <a:pt x="1104" y="1161"/>
                </a:lnTo>
                <a:lnTo>
                  <a:pt x="1107" y="1161"/>
                </a:lnTo>
                <a:lnTo>
                  <a:pt x="1107" y="1161"/>
                </a:lnTo>
                <a:lnTo>
                  <a:pt x="1107" y="1158"/>
                </a:lnTo>
                <a:lnTo>
                  <a:pt x="1107" y="1158"/>
                </a:lnTo>
                <a:lnTo>
                  <a:pt x="1107" y="1158"/>
                </a:lnTo>
                <a:lnTo>
                  <a:pt x="1109" y="1156"/>
                </a:lnTo>
                <a:lnTo>
                  <a:pt x="1109" y="1156"/>
                </a:lnTo>
                <a:lnTo>
                  <a:pt x="1109" y="1156"/>
                </a:lnTo>
                <a:lnTo>
                  <a:pt x="1109" y="1153"/>
                </a:lnTo>
                <a:lnTo>
                  <a:pt x="1109" y="1153"/>
                </a:lnTo>
                <a:lnTo>
                  <a:pt x="1112" y="1151"/>
                </a:lnTo>
                <a:lnTo>
                  <a:pt x="1112" y="1151"/>
                </a:lnTo>
                <a:lnTo>
                  <a:pt x="1114" y="1151"/>
                </a:lnTo>
                <a:lnTo>
                  <a:pt x="1114" y="1151"/>
                </a:lnTo>
                <a:lnTo>
                  <a:pt x="1114" y="1151"/>
                </a:lnTo>
                <a:lnTo>
                  <a:pt x="1117" y="1151"/>
                </a:lnTo>
                <a:lnTo>
                  <a:pt x="1117" y="1151"/>
                </a:lnTo>
                <a:lnTo>
                  <a:pt x="1114" y="1153"/>
                </a:lnTo>
                <a:lnTo>
                  <a:pt x="1114" y="1153"/>
                </a:lnTo>
                <a:lnTo>
                  <a:pt x="1117" y="1153"/>
                </a:lnTo>
                <a:lnTo>
                  <a:pt x="1117" y="1153"/>
                </a:lnTo>
                <a:lnTo>
                  <a:pt x="1119" y="1151"/>
                </a:lnTo>
                <a:lnTo>
                  <a:pt x="1119" y="1151"/>
                </a:lnTo>
                <a:lnTo>
                  <a:pt x="1119" y="1149"/>
                </a:lnTo>
                <a:lnTo>
                  <a:pt x="1119" y="1149"/>
                </a:lnTo>
                <a:lnTo>
                  <a:pt x="1122" y="1146"/>
                </a:lnTo>
                <a:lnTo>
                  <a:pt x="1122" y="1146"/>
                </a:lnTo>
                <a:lnTo>
                  <a:pt x="1122" y="1141"/>
                </a:lnTo>
                <a:lnTo>
                  <a:pt x="1122" y="1141"/>
                </a:lnTo>
                <a:lnTo>
                  <a:pt x="1122" y="1141"/>
                </a:lnTo>
                <a:lnTo>
                  <a:pt x="1122" y="1141"/>
                </a:lnTo>
                <a:lnTo>
                  <a:pt x="1124" y="1141"/>
                </a:lnTo>
                <a:lnTo>
                  <a:pt x="1124" y="1141"/>
                </a:lnTo>
                <a:lnTo>
                  <a:pt x="1124" y="1144"/>
                </a:lnTo>
                <a:lnTo>
                  <a:pt x="1124" y="1144"/>
                </a:lnTo>
                <a:lnTo>
                  <a:pt x="1127" y="1144"/>
                </a:lnTo>
                <a:lnTo>
                  <a:pt x="1127" y="1144"/>
                </a:lnTo>
                <a:lnTo>
                  <a:pt x="1127" y="1146"/>
                </a:lnTo>
                <a:lnTo>
                  <a:pt x="1127" y="1146"/>
                </a:lnTo>
                <a:lnTo>
                  <a:pt x="1127" y="1149"/>
                </a:lnTo>
                <a:lnTo>
                  <a:pt x="1127" y="1149"/>
                </a:lnTo>
                <a:lnTo>
                  <a:pt x="1124" y="1151"/>
                </a:lnTo>
                <a:lnTo>
                  <a:pt x="1124" y="1151"/>
                </a:lnTo>
                <a:lnTo>
                  <a:pt x="1127" y="1151"/>
                </a:lnTo>
                <a:lnTo>
                  <a:pt x="1127" y="1151"/>
                </a:lnTo>
                <a:lnTo>
                  <a:pt x="1124" y="1153"/>
                </a:lnTo>
                <a:lnTo>
                  <a:pt x="1124" y="1153"/>
                </a:lnTo>
                <a:lnTo>
                  <a:pt x="1122" y="1156"/>
                </a:lnTo>
                <a:lnTo>
                  <a:pt x="1122" y="1156"/>
                </a:lnTo>
                <a:lnTo>
                  <a:pt x="1122" y="1161"/>
                </a:lnTo>
                <a:lnTo>
                  <a:pt x="1122" y="1161"/>
                </a:lnTo>
                <a:lnTo>
                  <a:pt x="1122" y="1161"/>
                </a:lnTo>
                <a:lnTo>
                  <a:pt x="1119" y="1163"/>
                </a:lnTo>
                <a:lnTo>
                  <a:pt x="1119" y="1163"/>
                </a:lnTo>
                <a:lnTo>
                  <a:pt x="1119" y="1166"/>
                </a:lnTo>
                <a:lnTo>
                  <a:pt x="1119" y="1166"/>
                </a:lnTo>
                <a:lnTo>
                  <a:pt x="1122" y="1166"/>
                </a:lnTo>
                <a:lnTo>
                  <a:pt x="1122" y="1166"/>
                </a:lnTo>
                <a:lnTo>
                  <a:pt x="1124" y="1163"/>
                </a:lnTo>
                <a:lnTo>
                  <a:pt x="1124" y="1163"/>
                </a:lnTo>
                <a:lnTo>
                  <a:pt x="1127" y="1161"/>
                </a:lnTo>
                <a:lnTo>
                  <a:pt x="1127" y="1161"/>
                </a:lnTo>
                <a:lnTo>
                  <a:pt x="1127" y="1161"/>
                </a:lnTo>
                <a:lnTo>
                  <a:pt x="1129" y="1156"/>
                </a:lnTo>
                <a:lnTo>
                  <a:pt x="1129" y="1156"/>
                </a:lnTo>
                <a:lnTo>
                  <a:pt x="1132" y="1156"/>
                </a:lnTo>
                <a:lnTo>
                  <a:pt x="1132" y="1156"/>
                </a:lnTo>
                <a:lnTo>
                  <a:pt x="1132" y="1156"/>
                </a:lnTo>
                <a:lnTo>
                  <a:pt x="1134" y="1156"/>
                </a:lnTo>
                <a:lnTo>
                  <a:pt x="1134" y="1156"/>
                </a:lnTo>
                <a:lnTo>
                  <a:pt x="1134" y="1158"/>
                </a:lnTo>
                <a:lnTo>
                  <a:pt x="1134" y="1158"/>
                </a:lnTo>
                <a:lnTo>
                  <a:pt x="1132" y="1158"/>
                </a:lnTo>
                <a:lnTo>
                  <a:pt x="1132" y="1158"/>
                </a:lnTo>
                <a:lnTo>
                  <a:pt x="1129" y="1161"/>
                </a:lnTo>
                <a:lnTo>
                  <a:pt x="1129" y="1161"/>
                </a:lnTo>
                <a:lnTo>
                  <a:pt x="1129" y="1163"/>
                </a:lnTo>
                <a:lnTo>
                  <a:pt x="1129" y="1163"/>
                </a:lnTo>
                <a:lnTo>
                  <a:pt x="1129" y="1163"/>
                </a:lnTo>
                <a:lnTo>
                  <a:pt x="1129" y="1166"/>
                </a:lnTo>
                <a:lnTo>
                  <a:pt x="1129" y="1166"/>
                </a:lnTo>
                <a:lnTo>
                  <a:pt x="1129" y="1168"/>
                </a:lnTo>
                <a:lnTo>
                  <a:pt x="1129" y="1168"/>
                </a:lnTo>
                <a:lnTo>
                  <a:pt x="1132" y="1171"/>
                </a:lnTo>
                <a:lnTo>
                  <a:pt x="1132" y="1171"/>
                </a:lnTo>
                <a:lnTo>
                  <a:pt x="1132" y="1168"/>
                </a:lnTo>
                <a:lnTo>
                  <a:pt x="1132" y="1168"/>
                </a:lnTo>
                <a:lnTo>
                  <a:pt x="1132" y="1166"/>
                </a:lnTo>
                <a:lnTo>
                  <a:pt x="1134" y="1166"/>
                </a:lnTo>
                <a:lnTo>
                  <a:pt x="1136" y="1168"/>
                </a:lnTo>
                <a:lnTo>
                  <a:pt x="1136" y="1168"/>
                </a:lnTo>
                <a:lnTo>
                  <a:pt x="1136" y="1168"/>
                </a:lnTo>
                <a:lnTo>
                  <a:pt x="1139" y="1168"/>
                </a:lnTo>
                <a:lnTo>
                  <a:pt x="1139" y="1168"/>
                </a:lnTo>
                <a:lnTo>
                  <a:pt x="1139" y="1166"/>
                </a:lnTo>
                <a:lnTo>
                  <a:pt x="1139" y="1166"/>
                </a:lnTo>
                <a:lnTo>
                  <a:pt x="1139" y="1166"/>
                </a:lnTo>
                <a:lnTo>
                  <a:pt x="1139" y="1163"/>
                </a:lnTo>
                <a:lnTo>
                  <a:pt x="1139" y="1163"/>
                </a:lnTo>
                <a:lnTo>
                  <a:pt x="1139" y="1161"/>
                </a:lnTo>
                <a:lnTo>
                  <a:pt x="1139" y="1161"/>
                </a:lnTo>
                <a:lnTo>
                  <a:pt x="1141" y="1161"/>
                </a:lnTo>
                <a:lnTo>
                  <a:pt x="1141" y="1161"/>
                </a:lnTo>
                <a:lnTo>
                  <a:pt x="1141" y="1161"/>
                </a:lnTo>
                <a:lnTo>
                  <a:pt x="1141" y="1158"/>
                </a:lnTo>
                <a:lnTo>
                  <a:pt x="1141" y="1158"/>
                </a:lnTo>
                <a:lnTo>
                  <a:pt x="1141" y="1156"/>
                </a:lnTo>
                <a:lnTo>
                  <a:pt x="1141" y="1156"/>
                </a:lnTo>
                <a:lnTo>
                  <a:pt x="1144" y="1153"/>
                </a:lnTo>
                <a:lnTo>
                  <a:pt x="1144" y="1153"/>
                </a:lnTo>
                <a:lnTo>
                  <a:pt x="1146" y="1151"/>
                </a:lnTo>
                <a:lnTo>
                  <a:pt x="1146" y="1151"/>
                </a:lnTo>
                <a:lnTo>
                  <a:pt x="1144" y="1146"/>
                </a:lnTo>
                <a:lnTo>
                  <a:pt x="1144" y="1146"/>
                </a:lnTo>
                <a:lnTo>
                  <a:pt x="1144" y="1144"/>
                </a:lnTo>
                <a:lnTo>
                  <a:pt x="1144" y="1144"/>
                </a:lnTo>
                <a:lnTo>
                  <a:pt x="1144" y="1144"/>
                </a:lnTo>
                <a:lnTo>
                  <a:pt x="1144" y="1146"/>
                </a:lnTo>
                <a:lnTo>
                  <a:pt x="1144" y="1146"/>
                </a:lnTo>
                <a:lnTo>
                  <a:pt x="1144" y="1149"/>
                </a:lnTo>
                <a:lnTo>
                  <a:pt x="1144" y="1149"/>
                </a:lnTo>
                <a:lnTo>
                  <a:pt x="1141" y="1149"/>
                </a:lnTo>
                <a:lnTo>
                  <a:pt x="1141" y="1149"/>
                </a:lnTo>
                <a:lnTo>
                  <a:pt x="1139" y="1151"/>
                </a:lnTo>
                <a:lnTo>
                  <a:pt x="1139" y="1151"/>
                </a:lnTo>
                <a:lnTo>
                  <a:pt x="1136" y="1151"/>
                </a:lnTo>
                <a:lnTo>
                  <a:pt x="1136" y="1151"/>
                </a:lnTo>
                <a:lnTo>
                  <a:pt x="1136" y="1149"/>
                </a:lnTo>
                <a:lnTo>
                  <a:pt x="1136" y="1149"/>
                </a:lnTo>
                <a:lnTo>
                  <a:pt x="1136" y="1149"/>
                </a:lnTo>
                <a:lnTo>
                  <a:pt x="1136" y="1146"/>
                </a:lnTo>
                <a:lnTo>
                  <a:pt x="1136" y="1146"/>
                </a:lnTo>
                <a:lnTo>
                  <a:pt x="1139" y="1144"/>
                </a:lnTo>
                <a:lnTo>
                  <a:pt x="1139" y="1144"/>
                </a:lnTo>
                <a:lnTo>
                  <a:pt x="1141" y="1141"/>
                </a:lnTo>
                <a:lnTo>
                  <a:pt x="1141" y="1141"/>
                </a:lnTo>
                <a:lnTo>
                  <a:pt x="1141" y="1141"/>
                </a:lnTo>
                <a:lnTo>
                  <a:pt x="1144" y="1141"/>
                </a:lnTo>
                <a:lnTo>
                  <a:pt x="1144" y="1141"/>
                </a:lnTo>
                <a:lnTo>
                  <a:pt x="1144" y="1139"/>
                </a:lnTo>
                <a:lnTo>
                  <a:pt x="1144" y="1139"/>
                </a:lnTo>
                <a:lnTo>
                  <a:pt x="1144" y="1139"/>
                </a:lnTo>
                <a:lnTo>
                  <a:pt x="1141" y="1139"/>
                </a:lnTo>
                <a:lnTo>
                  <a:pt x="1141" y="1139"/>
                </a:lnTo>
                <a:lnTo>
                  <a:pt x="1141" y="1139"/>
                </a:lnTo>
                <a:lnTo>
                  <a:pt x="1139" y="1141"/>
                </a:lnTo>
                <a:lnTo>
                  <a:pt x="1139" y="1141"/>
                </a:lnTo>
                <a:lnTo>
                  <a:pt x="1139" y="1141"/>
                </a:lnTo>
                <a:lnTo>
                  <a:pt x="1136" y="1141"/>
                </a:lnTo>
                <a:lnTo>
                  <a:pt x="1136" y="1141"/>
                </a:lnTo>
                <a:lnTo>
                  <a:pt x="1136" y="1144"/>
                </a:lnTo>
                <a:lnTo>
                  <a:pt x="1136" y="1144"/>
                </a:lnTo>
                <a:lnTo>
                  <a:pt x="1132" y="1146"/>
                </a:lnTo>
                <a:lnTo>
                  <a:pt x="1132" y="1146"/>
                </a:lnTo>
                <a:lnTo>
                  <a:pt x="1132" y="1149"/>
                </a:lnTo>
                <a:lnTo>
                  <a:pt x="1132" y="1149"/>
                </a:lnTo>
                <a:lnTo>
                  <a:pt x="1132" y="1149"/>
                </a:lnTo>
                <a:lnTo>
                  <a:pt x="1129" y="1146"/>
                </a:lnTo>
                <a:lnTo>
                  <a:pt x="1129" y="1146"/>
                </a:lnTo>
                <a:lnTo>
                  <a:pt x="1129" y="1146"/>
                </a:lnTo>
                <a:lnTo>
                  <a:pt x="1127" y="1144"/>
                </a:lnTo>
                <a:lnTo>
                  <a:pt x="1127" y="1144"/>
                </a:lnTo>
                <a:lnTo>
                  <a:pt x="1127" y="1141"/>
                </a:lnTo>
                <a:lnTo>
                  <a:pt x="1127" y="1141"/>
                </a:lnTo>
                <a:lnTo>
                  <a:pt x="1129" y="1144"/>
                </a:lnTo>
                <a:lnTo>
                  <a:pt x="1129" y="1144"/>
                </a:lnTo>
                <a:lnTo>
                  <a:pt x="1129" y="1144"/>
                </a:lnTo>
                <a:lnTo>
                  <a:pt x="1132" y="1141"/>
                </a:lnTo>
                <a:lnTo>
                  <a:pt x="1132" y="1141"/>
                </a:lnTo>
                <a:lnTo>
                  <a:pt x="1129" y="1141"/>
                </a:lnTo>
                <a:lnTo>
                  <a:pt x="1129" y="1141"/>
                </a:lnTo>
                <a:lnTo>
                  <a:pt x="1127" y="1139"/>
                </a:lnTo>
                <a:lnTo>
                  <a:pt x="1127" y="1139"/>
                </a:lnTo>
                <a:lnTo>
                  <a:pt x="1129" y="1139"/>
                </a:lnTo>
                <a:lnTo>
                  <a:pt x="1129" y="1139"/>
                </a:lnTo>
                <a:lnTo>
                  <a:pt x="1132" y="1139"/>
                </a:lnTo>
                <a:lnTo>
                  <a:pt x="1132" y="1139"/>
                </a:lnTo>
                <a:lnTo>
                  <a:pt x="1129" y="1139"/>
                </a:lnTo>
                <a:lnTo>
                  <a:pt x="1129" y="1139"/>
                </a:lnTo>
                <a:lnTo>
                  <a:pt x="1129" y="1139"/>
                </a:lnTo>
                <a:lnTo>
                  <a:pt x="1129" y="1136"/>
                </a:lnTo>
                <a:lnTo>
                  <a:pt x="1129" y="1136"/>
                </a:lnTo>
                <a:lnTo>
                  <a:pt x="1129" y="1136"/>
                </a:lnTo>
                <a:lnTo>
                  <a:pt x="1132" y="1136"/>
                </a:lnTo>
                <a:lnTo>
                  <a:pt x="1132" y="1136"/>
                </a:lnTo>
                <a:lnTo>
                  <a:pt x="1132" y="1136"/>
                </a:lnTo>
                <a:lnTo>
                  <a:pt x="1134" y="1134"/>
                </a:lnTo>
                <a:lnTo>
                  <a:pt x="1134" y="1134"/>
                </a:lnTo>
                <a:lnTo>
                  <a:pt x="1136" y="1131"/>
                </a:lnTo>
                <a:lnTo>
                  <a:pt x="1136" y="1131"/>
                </a:lnTo>
                <a:lnTo>
                  <a:pt x="1139" y="1131"/>
                </a:lnTo>
                <a:lnTo>
                  <a:pt x="1139" y="1131"/>
                </a:lnTo>
                <a:lnTo>
                  <a:pt x="1139" y="1131"/>
                </a:lnTo>
                <a:lnTo>
                  <a:pt x="1141" y="1129"/>
                </a:lnTo>
                <a:lnTo>
                  <a:pt x="1141" y="1129"/>
                </a:lnTo>
                <a:lnTo>
                  <a:pt x="1141" y="1129"/>
                </a:lnTo>
                <a:lnTo>
                  <a:pt x="1141" y="1126"/>
                </a:lnTo>
                <a:lnTo>
                  <a:pt x="1141" y="1126"/>
                </a:lnTo>
                <a:lnTo>
                  <a:pt x="1141" y="1124"/>
                </a:lnTo>
                <a:lnTo>
                  <a:pt x="1141" y="1124"/>
                </a:lnTo>
                <a:lnTo>
                  <a:pt x="1139" y="1126"/>
                </a:lnTo>
                <a:lnTo>
                  <a:pt x="1139" y="1126"/>
                </a:lnTo>
                <a:lnTo>
                  <a:pt x="1139" y="1126"/>
                </a:lnTo>
                <a:lnTo>
                  <a:pt x="1136" y="1126"/>
                </a:lnTo>
                <a:lnTo>
                  <a:pt x="1136" y="1126"/>
                </a:lnTo>
                <a:lnTo>
                  <a:pt x="1136" y="1126"/>
                </a:lnTo>
                <a:lnTo>
                  <a:pt x="1136" y="1126"/>
                </a:lnTo>
                <a:lnTo>
                  <a:pt x="1136" y="1129"/>
                </a:lnTo>
                <a:lnTo>
                  <a:pt x="1136" y="1129"/>
                </a:lnTo>
                <a:lnTo>
                  <a:pt x="1134" y="1129"/>
                </a:lnTo>
                <a:lnTo>
                  <a:pt x="1134" y="1129"/>
                </a:lnTo>
                <a:lnTo>
                  <a:pt x="1134" y="1129"/>
                </a:lnTo>
                <a:lnTo>
                  <a:pt x="1132" y="1131"/>
                </a:lnTo>
                <a:lnTo>
                  <a:pt x="1132" y="1131"/>
                </a:lnTo>
                <a:lnTo>
                  <a:pt x="1129" y="1131"/>
                </a:lnTo>
                <a:lnTo>
                  <a:pt x="1129" y="1131"/>
                </a:lnTo>
                <a:lnTo>
                  <a:pt x="1129" y="1134"/>
                </a:lnTo>
                <a:lnTo>
                  <a:pt x="1129" y="1134"/>
                </a:lnTo>
                <a:lnTo>
                  <a:pt x="1129" y="1134"/>
                </a:lnTo>
                <a:lnTo>
                  <a:pt x="1129" y="1134"/>
                </a:lnTo>
                <a:lnTo>
                  <a:pt x="1129" y="1131"/>
                </a:lnTo>
                <a:lnTo>
                  <a:pt x="1129" y="1131"/>
                </a:lnTo>
                <a:lnTo>
                  <a:pt x="1129" y="1131"/>
                </a:lnTo>
                <a:lnTo>
                  <a:pt x="1127" y="1131"/>
                </a:lnTo>
                <a:lnTo>
                  <a:pt x="1127" y="1131"/>
                </a:lnTo>
                <a:lnTo>
                  <a:pt x="1129" y="1131"/>
                </a:lnTo>
                <a:lnTo>
                  <a:pt x="1129" y="1131"/>
                </a:lnTo>
                <a:lnTo>
                  <a:pt x="1129" y="1129"/>
                </a:lnTo>
                <a:lnTo>
                  <a:pt x="1129" y="1129"/>
                </a:lnTo>
                <a:lnTo>
                  <a:pt x="1132" y="1129"/>
                </a:lnTo>
                <a:lnTo>
                  <a:pt x="1132" y="1129"/>
                </a:lnTo>
                <a:lnTo>
                  <a:pt x="1129" y="1129"/>
                </a:lnTo>
                <a:lnTo>
                  <a:pt x="1129" y="1129"/>
                </a:lnTo>
                <a:lnTo>
                  <a:pt x="1132" y="1126"/>
                </a:lnTo>
                <a:lnTo>
                  <a:pt x="1132" y="1126"/>
                </a:lnTo>
                <a:lnTo>
                  <a:pt x="1132" y="1124"/>
                </a:lnTo>
                <a:lnTo>
                  <a:pt x="1132" y="1124"/>
                </a:lnTo>
                <a:lnTo>
                  <a:pt x="1132" y="1124"/>
                </a:lnTo>
                <a:lnTo>
                  <a:pt x="1129" y="1126"/>
                </a:lnTo>
                <a:lnTo>
                  <a:pt x="1129" y="1126"/>
                </a:lnTo>
                <a:lnTo>
                  <a:pt x="1129" y="1124"/>
                </a:lnTo>
                <a:lnTo>
                  <a:pt x="1129" y="1124"/>
                </a:lnTo>
                <a:lnTo>
                  <a:pt x="1129" y="1122"/>
                </a:lnTo>
                <a:lnTo>
                  <a:pt x="1129" y="1122"/>
                </a:lnTo>
                <a:lnTo>
                  <a:pt x="1129" y="1122"/>
                </a:lnTo>
                <a:lnTo>
                  <a:pt x="1127" y="1122"/>
                </a:lnTo>
                <a:lnTo>
                  <a:pt x="1127" y="1122"/>
                </a:lnTo>
                <a:lnTo>
                  <a:pt x="1124" y="1122"/>
                </a:lnTo>
                <a:lnTo>
                  <a:pt x="1124" y="1122"/>
                </a:lnTo>
                <a:lnTo>
                  <a:pt x="1127" y="1122"/>
                </a:lnTo>
                <a:lnTo>
                  <a:pt x="1127" y="1122"/>
                </a:lnTo>
                <a:lnTo>
                  <a:pt x="1129" y="1122"/>
                </a:lnTo>
                <a:lnTo>
                  <a:pt x="1129" y="1122"/>
                </a:lnTo>
                <a:lnTo>
                  <a:pt x="1132" y="1122"/>
                </a:lnTo>
                <a:lnTo>
                  <a:pt x="1132" y="1122"/>
                </a:lnTo>
                <a:lnTo>
                  <a:pt x="1132" y="1119"/>
                </a:lnTo>
                <a:lnTo>
                  <a:pt x="1132" y="1119"/>
                </a:lnTo>
                <a:lnTo>
                  <a:pt x="1134" y="1119"/>
                </a:lnTo>
                <a:lnTo>
                  <a:pt x="1134" y="1119"/>
                </a:lnTo>
                <a:lnTo>
                  <a:pt x="1134" y="1119"/>
                </a:lnTo>
                <a:lnTo>
                  <a:pt x="1136" y="1117"/>
                </a:lnTo>
                <a:lnTo>
                  <a:pt x="1136" y="1117"/>
                </a:lnTo>
                <a:lnTo>
                  <a:pt x="1136" y="1117"/>
                </a:lnTo>
                <a:lnTo>
                  <a:pt x="1139" y="1114"/>
                </a:lnTo>
                <a:lnTo>
                  <a:pt x="1139" y="1114"/>
                </a:lnTo>
                <a:lnTo>
                  <a:pt x="1139" y="1112"/>
                </a:lnTo>
                <a:lnTo>
                  <a:pt x="1139" y="1112"/>
                </a:lnTo>
                <a:lnTo>
                  <a:pt x="1136" y="1112"/>
                </a:lnTo>
                <a:lnTo>
                  <a:pt x="1136" y="1112"/>
                </a:lnTo>
                <a:lnTo>
                  <a:pt x="1134" y="1109"/>
                </a:lnTo>
                <a:lnTo>
                  <a:pt x="1134" y="1109"/>
                </a:lnTo>
                <a:lnTo>
                  <a:pt x="1132" y="1109"/>
                </a:lnTo>
                <a:lnTo>
                  <a:pt x="1132" y="1109"/>
                </a:lnTo>
                <a:lnTo>
                  <a:pt x="1129" y="1109"/>
                </a:lnTo>
                <a:lnTo>
                  <a:pt x="1129" y="1109"/>
                </a:lnTo>
                <a:lnTo>
                  <a:pt x="1127" y="1109"/>
                </a:lnTo>
                <a:lnTo>
                  <a:pt x="1127" y="1109"/>
                </a:lnTo>
                <a:lnTo>
                  <a:pt x="1127" y="1112"/>
                </a:lnTo>
                <a:lnTo>
                  <a:pt x="1127" y="1112"/>
                </a:lnTo>
                <a:lnTo>
                  <a:pt x="1127" y="1114"/>
                </a:lnTo>
                <a:lnTo>
                  <a:pt x="1127" y="1114"/>
                </a:lnTo>
                <a:lnTo>
                  <a:pt x="1127" y="1117"/>
                </a:lnTo>
                <a:lnTo>
                  <a:pt x="1127" y="1117"/>
                </a:lnTo>
                <a:lnTo>
                  <a:pt x="1124" y="1117"/>
                </a:lnTo>
                <a:lnTo>
                  <a:pt x="1124" y="1117"/>
                </a:lnTo>
                <a:lnTo>
                  <a:pt x="1124" y="1117"/>
                </a:lnTo>
                <a:lnTo>
                  <a:pt x="1127" y="1114"/>
                </a:lnTo>
                <a:lnTo>
                  <a:pt x="1127" y="1114"/>
                </a:lnTo>
                <a:lnTo>
                  <a:pt x="1124" y="1112"/>
                </a:lnTo>
                <a:lnTo>
                  <a:pt x="1124" y="1112"/>
                </a:lnTo>
                <a:lnTo>
                  <a:pt x="1127" y="1112"/>
                </a:lnTo>
                <a:lnTo>
                  <a:pt x="1127" y="1112"/>
                </a:lnTo>
                <a:lnTo>
                  <a:pt x="1127" y="1109"/>
                </a:lnTo>
                <a:lnTo>
                  <a:pt x="1127" y="1109"/>
                </a:lnTo>
                <a:lnTo>
                  <a:pt x="1127" y="1109"/>
                </a:lnTo>
                <a:lnTo>
                  <a:pt x="1124" y="1109"/>
                </a:lnTo>
                <a:lnTo>
                  <a:pt x="1124" y="1109"/>
                </a:lnTo>
                <a:lnTo>
                  <a:pt x="1122" y="1112"/>
                </a:lnTo>
                <a:lnTo>
                  <a:pt x="1122" y="1112"/>
                </a:lnTo>
                <a:lnTo>
                  <a:pt x="1122" y="1112"/>
                </a:lnTo>
                <a:lnTo>
                  <a:pt x="1119" y="1112"/>
                </a:lnTo>
                <a:lnTo>
                  <a:pt x="1119" y="1112"/>
                </a:lnTo>
                <a:lnTo>
                  <a:pt x="1119" y="1112"/>
                </a:lnTo>
                <a:lnTo>
                  <a:pt x="1117" y="1114"/>
                </a:lnTo>
                <a:lnTo>
                  <a:pt x="1117" y="1114"/>
                </a:lnTo>
                <a:lnTo>
                  <a:pt x="1117" y="1112"/>
                </a:lnTo>
                <a:lnTo>
                  <a:pt x="1117" y="1112"/>
                </a:lnTo>
                <a:lnTo>
                  <a:pt x="1114" y="1114"/>
                </a:lnTo>
                <a:lnTo>
                  <a:pt x="1114" y="1114"/>
                </a:lnTo>
                <a:lnTo>
                  <a:pt x="1114" y="1117"/>
                </a:lnTo>
                <a:lnTo>
                  <a:pt x="1114" y="1117"/>
                </a:lnTo>
                <a:lnTo>
                  <a:pt x="1112" y="1119"/>
                </a:lnTo>
                <a:lnTo>
                  <a:pt x="1112" y="1119"/>
                </a:lnTo>
                <a:lnTo>
                  <a:pt x="1114" y="1117"/>
                </a:lnTo>
                <a:lnTo>
                  <a:pt x="1114" y="1117"/>
                </a:lnTo>
                <a:lnTo>
                  <a:pt x="1114" y="1112"/>
                </a:lnTo>
                <a:lnTo>
                  <a:pt x="1114" y="1112"/>
                </a:lnTo>
                <a:lnTo>
                  <a:pt x="1117" y="1109"/>
                </a:lnTo>
                <a:lnTo>
                  <a:pt x="1117" y="1109"/>
                </a:lnTo>
                <a:lnTo>
                  <a:pt x="1114" y="1109"/>
                </a:lnTo>
                <a:lnTo>
                  <a:pt x="1114" y="1109"/>
                </a:lnTo>
                <a:lnTo>
                  <a:pt x="1114" y="1109"/>
                </a:lnTo>
                <a:lnTo>
                  <a:pt x="1112" y="1112"/>
                </a:lnTo>
                <a:lnTo>
                  <a:pt x="1112" y="1112"/>
                </a:lnTo>
                <a:lnTo>
                  <a:pt x="1112" y="1114"/>
                </a:lnTo>
                <a:lnTo>
                  <a:pt x="1112" y="1114"/>
                </a:lnTo>
                <a:lnTo>
                  <a:pt x="1109" y="1112"/>
                </a:lnTo>
                <a:lnTo>
                  <a:pt x="1109" y="1112"/>
                </a:lnTo>
                <a:lnTo>
                  <a:pt x="1112" y="1112"/>
                </a:lnTo>
                <a:lnTo>
                  <a:pt x="1112" y="1112"/>
                </a:lnTo>
                <a:lnTo>
                  <a:pt x="1112" y="1109"/>
                </a:lnTo>
                <a:lnTo>
                  <a:pt x="1112" y="1109"/>
                </a:lnTo>
                <a:lnTo>
                  <a:pt x="1112" y="1109"/>
                </a:lnTo>
                <a:lnTo>
                  <a:pt x="1109" y="1109"/>
                </a:lnTo>
                <a:lnTo>
                  <a:pt x="1109" y="1109"/>
                </a:lnTo>
                <a:lnTo>
                  <a:pt x="1107" y="1112"/>
                </a:lnTo>
                <a:lnTo>
                  <a:pt x="1107" y="1112"/>
                </a:lnTo>
                <a:lnTo>
                  <a:pt x="1107" y="1112"/>
                </a:lnTo>
                <a:lnTo>
                  <a:pt x="1104" y="1109"/>
                </a:lnTo>
                <a:lnTo>
                  <a:pt x="1104" y="1109"/>
                </a:lnTo>
                <a:lnTo>
                  <a:pt x="1104" y="1109"/>
                </a:lnTo>
                <a:lnTo>
                  <a:pt x="1102" y="1112"/>
                </a:lnTo>
                <a:lnTo>
                  <a:pt x="1102" y="1112"/>
                </a:lnTo>
                <a:lnTo>
                  <a:pt x="1102" y="1112"/>
                </a:lnTo>
                <a:lnTo>
                  <a:pt x="1102" y="1109"/>
                </a:lnTo>
                <a:lnTo>
                  <a:pt x="1102" y="1109"/>
                </a:lnTo>
                <a:lnTo>
                  <a:pt x="1104" y="1109"/>
                </a:lnTo>
                <a:lnTo>
                  <a:pt x="1104" y="1109"/>
                </a:lnTo>
                <a:lnTo>
                  <a:pt x="1104" y="1107"/>
                </a:lnTo>
                <a:lnTo>
                  <a:pt x="1104" y="1107"/>
                </a:lnTo>
                <a:lnTo>
                  <a:pt x="1104" y="1104"/>
                </a:lnTo>
                <a:lnTo>
                  <a:pt x="1104" y="1104"/>
                </a:lnTo>
                <a:lnTo>
                  <a:pt x="1104" y="1104"/>
                </a:lnTo>
                <a:lnTo>
                  <a:pt x="1104" y="1104"/>
                </a:lnTo>
                <a:lnTo>
                  <a:pt x="1102" y="1107"/>
                </a:lnTo>
                <a:lnTo>
                  <a:pt x="1102" y="1107"/>
                </a:lnTo>
                <a:lnTo>
                  <a:pt x="1102" y="1104"/>
                </a:lnTo>
                <a:lnTo>
                  <a:pt x="1102" y="1104"/>
                </a:lnTo>
                <a:lnTo>
                  <a:pt x="1104" y="1102"/>
                </a:lnTo>
                <a:lnTo>
                  <a:pt x="1104" y="1102"/>
                </a:lnTo>
                <a:lnTo>
                  <a:pt x="1107" y="1102"/>
                </a:lnTo>
                <a:lnTo>
                  <a:pt x="1107" y="1102"/>
                </a:lnTo>
                <a:lnTo>
                  <a:pt x="1109" y="1102"/>
                </a:lnTo>
                <a:lnTo>
                  <a:pt x="1109" y="1102"/>
                </a:lnTo>
                <a:lnTo>
                  <a:pt x="1112" y="1099"/>
                </a:lnTo>
                <a:lnTo>
                  <a:pt x="1112" y="1099"/>
                </a:lnTo>
                <a:lnTo>
                  <a:pt x="1112" y="1099"/>
                </a:lnTo>
                <a:lnTo>
                  <a:pt x="1112" y="1097"/>
                </a:lnTo>
                <a:lnTo>
                  <a:pt x="1112" y="1097"/>
                </a:lnTo>
                <a:lnTo>
                  <a:pt x="1112" y="1097"/>
                </a:lnTo>
                <a:lnTo>
                  <a:pt x="1109" y="1099"/>
                </a:lnTo>
                <a:lnTo>
                  <a:pt x="1109" y="1099"/>
                </a:lnTo>
                <a:lnTo>
                  <a:pt x="1107" y="1099"/>
                </a:lnTo>
                <a:lnTo>
                  <a:pt x="1107" y="1099"/>
                </a:lnTo>
                <a:lnTo>
                  <a:pt x="1104" y="1097"/>
                </a:lnTo>
                <a:lnTo>
                  <a:pt x="1104" y="1097"/>
                </a:lnTo>
                <a:lnTo>
                  <a:pt x="1104" y="1097"/>
                </a:lnTo>
                <a:lnTo>
                  <a:pt x="1102" y="1097"/>
                </a:lnTo>
                <a:lnTo>
                  <a:pt x="1102" y="1097"/>
                </a:lnTo>
                <a:lnTo>
                  <a:pt x="1104" y="1094"/>
                </a:lnTo>
                <a:lnTo>
                  <a:pt x="1104" y="1094"/>
                </a:lnTo>
                <a:lnTo>
                  <a:pt x="1104" y="1094"/>
                </a:lnTo>
                <a:lnTo>
                  <a:pt x="1104" y="1094"/>
                </a:lnTo>
                <a:lnTo>
                  <a:pt x="1102" y="1094"/>
                </a:lnTo>
                <a:lnTo>
                  <a:pt x="1102" y="1094"/>
                </a:lnTo>
                <a:lnTo>
                  <a:pt x="1100" y="1094"/>
                </a:lnTo>
                <a:lnTo>
                  <a:pt x="1100" y="1094"/>
                </a:lnTo>
                <a:lnTo>
                  <a:pt x="1100" y="1097"/>
                </a:lnTo>
                <a:lnTo>
                  <a:pt x="1100" y="1097"/>
                </a:lnTo>
                <a:lnTo>
                  <a:pt x="1097" y="1099"/>
                </a:lnTo>
                <a:lnTo>
                  <a:pt x="1097" y="1099"/>
                </a:lnTo>
                <a:lnTo>
                  <a:pt x="1097" y="1099"/>
                </a:lnTo>
                <a:lnTo>
                  <a:pt x="1095" y="1102"/>
                </a:lnTo>
                <a:lnTo>
                  <a:pt x="1095" y="1102"/>
                </a:lnTo>
                <a:lnTo>
                  <a:pt x="1092" y="1104"/>
                </a:lnTo>
                <a:lnTo>
                  <a:pt x="1092" y="1104"/>
                </a:lnTo>
                <a:lnTo>
                  <a:pt x="1092" y="1104"/>
                </a:lnTo>
                <a:lnTo>
                  <a:pt x="1092" y="1102"/>
                </a:lnTo>
                <a:lnTo>
                  <a:pt x="1092" y="1102"/>
                </a:lnTo>
                <a:lnTo>
                  <a:pt x="1092" y="1102"/>
                </a:lnTo>
                <a:lnTo>
                  <a:pt x="1095" y="1099"/>
                </a:lnTo>
                <a:lnTo>
                  <a:pt x="1095" y="1099"/>
                </a:lnTo>
                <a:lnTo>
                  <a:pt x="1095" y="1097"/>
                </a:lnTo>
                <a:lnTo>
                  <a:pt x="1095" y="1097"/>
                </a:lnTo>
                <a:lnTo>
                  <a:pt x="1095" y="1094"/>
                </a:lnTo>
                <a:lnTo>
                  <a:pt x="1095" y="1094"/>
                </a:lnTo>
                <a:lnTo>
                  <a:pt x="1097" y="1092"/>
                </a:lnTo>
                <a:lnTo>
                  <a:pt x="1097" y="1092"/>
                </a:lnTo>
                <a:lnTo>
                  <a:pt x="1097" y="1092"/>
                </a:lnTo>
                <a:lnTo>
                  <a:pt x="1100" y="1090"/>
                </a:lnTo>
                <a:lnTo>
                  <a:pt x="1100" y="1090"/>
                </a:lnTo>
                <a:lnTo>
                  <a:pt x="1100" y="1090"/>
                </a:lnTo>
                <a:lnTo>
                  <a:pt x="1100" y="1087"/>
                </a:lnTo>
                <a:lnTo>
                  <a:pt x="1100" y="1087"/>
                </a:lnTo>
                <a:lnTo>
                  <a:pt x="1102" y="1085"/>
                </a:lnTo>
                <a:lnTo>
                  <a:pt x="1102" y="1085"/>
                </a:lnTo>
                <a:lnTo>
                  <a:pt x="1104" y="1085"/>
                </a:lnTo>
                <a:lnTo>
                  <a:pt x="1104" y="1085"/>
                </a:lnTo>
                <a:lnTo>
                  <a:pt x="1104" y="1082"/>
                </a:lnTo>
                <a:lnTo>
                  <a:pt x="1104" y="1082"/>
                </a:lnTo>
                <a:lnTo>
                  <a:pt x="1104" y="1082"/>
                </a:lnTo>
                <a:lnTo>
                  <a:pt x="1104" y="1080"/>
                </a:lnTo>
                <a:lnTo>
                  <a:pt x="1104" y="1080"/>
                </a:lnTo>
                <a:lnTo>
                  <a:pt x="1107" y="1080"/>
                </a:lnTo>
                <a:lnTo>
                  <a:pt x="1107" y="1080"/>
                </a:lnTo>
                <a:lnTo>
                  <a:pt x="1107" y="1077"/>
                </a:lnTo>
                <a:lnTo>
                  <a:pt x="1107" y="1077"/>
                </a:lnTo>
                <a:lnTo>
                  <a:pt x="1107" y="1080"/>
                </a:lnTo>
                <a:lnTo>
                  <a:pt x="1107" y="1080"/>
                </a:lnTo>
                <a:lnTo>
                  <a:pt x="1107" y="1080"/>
                </a:lnTo>
                <a:lnTo>
                  <a:pt x="1107" y="1082"/>
                </a:lnTo>
                <a:lnTo>
                  <a:pt x="1107" y="1082"/>
                </a:lnTo>
                <a:lnTo>
                  <a:pt x="1109" y="1080"/>
                </a:lnTo>
                <a:lnTo>
                  <a:pt x="1109" y="1080"/>
                </a:lnTo>
                <a:lnTo>
                  <a:pt x="1112" y="1075"/>
                </a:lnTo>
                <a:lnTo>
                  <a:pt x="1112" y="1075"/>
                </a:lnTo>
                <a:lnTo>
                  <a:pt x="1112" y="1075"/>
                </a:lnTo>
                <a:lnTo>
                  <a:pt x="1112" y="1072"/>
                </a:lnTo>
                <a:lnTo>
                  <a:pt x="1112" y="1072"/>
                </a:lnTo>
                <a:lnTo>
                  <a:pt x="1112" y="1072"/>
                </a:lnTo>
                <a:lnTo>
                  <a:pt x="1109" y="1075"/>
                </a:lnTo>
                <a:lnTo>
                  <a:pt x="1109" y="1075"/>
                </a:lnTo>
                <a:lnTo>
                  <a:pt x="1109" y="1072"/>
                </a:lnTo>
                <a:lnTo>
                  <a:pt x="1109" y="1072"/>
                </a:lnTo>
                <a:lnTo>
                  <a:pt x="1107" y="1070"/>
                </a:lnTo>
                <a:lnTo>
                  <a:pt x="1107" y="1070"/>
                </a:lnTo>
                <a:lnTo>
                  <a:pt x="1109" y="1070"/>
                </a:lnTo>
                <a:lnTo>
                  <a:pt x="1109" y="1070"/>
                </a:lnTo>
                <a:lnTo>
                  <a:pt x="1109" y="1070"/>
                </a:lnTo>
                <a:lnTo>
                  <a:pt x="1112" y="1070"/>
                </a:lnTo>
                <a:lnTo>
                  <a:pt x="1112" y="1070"/>
                </a:lnTo>
                <a:lnTo>
                  <a:pt x="1114" y="1070"/>
                </a:lnTo>
                <a:lnTo>
                  <a:pt x="1114" y="1070"/>
                </a:lnTo>
                <a:lnTo>
                  <a:pt x="1117" y="1070"/>
                </a:lnTo>
                <a:lnTo>
                  <a:pt x="1117" y="1070"/>
                </a:lnTo>
                <a:lnTo>
                  <a:pt x="1117" y="1067"/>
                </a:lnTo>
                <a:lnTo>
                  <a:pt x="1117" y="1067"/>
                </a:lnTo>
                <a:lnTo>
                  <a:pt x="1117" y="1065"/>
                </a:lnTo>
                <a:lnTo>
                  <a:pt x="1117" y="1065"/>
                </a:lnTo>
                <a:lnTo>
                  <a:pt x="1114" y="1065"/>
                </a:lnTo>
                <a:lnTo>
                  <a:pt x="1114" y="1065"/>
                </a:lnTo>
                <a:lnTo>
                  <a:pt x="1114" y="1065"/>
                </a:lnTo>
                <a:lnTo>
                  <a:pt x="1114" y="1067"/>
                </a:lnTo>
                <a:lnTo>
                  <a:pt x="1114" y="1067"/>
                </a:lnTo>
                <a:lnTo>
                  <a:pt x="1112" y="1067"/>
                </a:lnTo>
                <a:lnTo>
                  <a:pt x="1112" y="1067"/>
                </a:lnTo>
                <a:lnTo>
                  <a:pt x="1112" y="1065"/>
                </a:lnTo>
                <a:lnTo>
                  <a:pt x="1112" y="1065"/>
                </a:lnTo>
                <a:lnTo>
                  <a:pt x="1112" y="1065"/>
                </a:lnTo>
                <a:lnTo>
                  <a:pt x="1112" y="1065"/>
                </a:lnTo>
                <a:lnTo>
                  <a:pt x="1109" y="1067"/>
                </a:lnTo>
                <a:lnTo>
                  <a:pt x="1109" y="1067"/>
                </a:lnTo>
                <a:lnTo>
                  <a:pt x="1107" y="1067"/>
                </a:lnTo>
                <a:lnTo>
                  <a:pt x="1107" y="1067"/>
                </a:lnTo>
                <a:lnTo>
                  <a:pt x="1107" y="1067"/>
                </a:lnTo>
                <a:lnTo>
                  <a:pt x="1104" y="1070"/>
                </a:lnTo>
                <a:lnTo>
                  <a:pt x="1104" y="1070"/>
                </a:lnTo>
                <a:lnTo>
                  <a:pt x="1102" y="1070"/>
                </a:lnTo>
                <a:lnTo>
                  <a:pt x="1102" y="1070"/>
                </a:lnTo>
                <a:lnTo>
                  <a:pt x="1100" y="1070"/>
                </a:lnTo>
                <a:lnTo>
                  <a:pt x="1100" y="1070"/>
                </a:lnTo>
                <a:lnTo>
                  <a:pt x="1097" y="1072"/>
                </a:lnTo>
                <a:lnTo>
                  <a:pt x="1097" y="1072"/>
                </a:lnTo>
                <a:lnTo>
                  <a:pt x="1097" y="1075"/>
                </a:lnTo>
                <a:lnTo>
                  <a:pt x="1097" y="1075"/>
                </a:lnTo>
                <a:lnTo>
                  <a:pt x="1095" y="1075"/>
                </a:lnTo>
                <a:lnTo>
                  <a:pt x="1095" y="1075"/>
                </a:lnTo>
                <a:lnTo>
                  <a:pt x="1095" y="1075"/>
                </a:lnTo>
                <a:lnTo>
                  <a:pt x="1095" y="1075"/>
                </a:lnTo>
                <a:lnTo>
                  <a:pt x="1095" y="1077"/>
                </a:lnTo>
                <a:lnTo>
                  <a:pt x="1095" y="1077"/>
                </a:lnTo>
                <a:lnTo>
                  <a:pt x="1095" y="1077"/>
                </a:lnTo>
                <a:close/>
                <a:moveTo>
                  <a:pt x="996" y="1107"/>
                </a:moveTo>
                <a:lnTo>
                  <a:pt x="996" y="1107"/>
                </a:lnTo>
                <a:lnTo>
                  <a:pt x="996" y="1107"/>
                </a:lnTo>
                <a:lnTo>
                  <a:pt x="1004" y="1112"/>
                </a:lnTo>
                <a:lnTo>
                  <a:pt x="1004" y="1112"/>
                </a:lnTo>
                <a:lnTo>
                  <a:pt x="1006" y="1112"/>
                </a:lnTo>
                <a:lnTo>
                  <a:pt x="1006" y="1112"/>
                </a:lnTo>
                <a:lnTo>
                  <a:pt x="1011" y="1112"/>
                </a:lnTo>
                <a:lnTo>
                  <a:pt x="1011" y="1112"/>
                </a:lnTo>
                <a:lnTo>
                  <a:pt x="1013" y="1114"/>
                </a:lnTo>
                <a:lnTo>
                  <a:pt x="1013" y="1114"/>
                </a:lnTo>
                <a:lnTo>
                  <a:pt x="1013" y="1114"/>
                </a:lnTo>
                <a:lnTo>
                  <a:pt x="1018" y="1114"/>
                </a:lnTo>
                <a:lnTo>
                  <a:pt x="1018" y="1114"/>
                </a:lnTo>
                <a:lnTo>
                  <a:pt x="1021" y="1114"/>
                </a:lnTo>
                <a:lnTo>
                  <a:pt x="1021" y="1114"/>
                </a:lnTo>
                <a:lnTo>
                  <a:pt x="1021" y="1112"/>
                </a:lnTo>
                <a:lnTo>
                  <a:pt x="1021" y="1112"/>
                </a:lnTo>
                <a:lnTo>
                  <a:pt x="1018" y="1109"/>
                </a:lnTo>
                <a:lnTo>
                  <a:pt x="1018" y="1109"/>
                </a:lnTo>
                <a:lnTo>
                  <a:pt x="1018" y="1109"/>
                </a:lnTo>
                <a:lnTo>
                  <a:pt x="1018" y="1107"/>
                </a:lnTo>
                <a:lnTo>
                  <a:pt x="1018" y="1107"/>
                </a:lnTo>
                <a:lnTo>
                  <a:pt x="1016" y="1107"/>
                </a:lnTo>
                <a:lnTo>
                  <a:pt x="1016" y="1107"/>
                </a:lnTo>
                <a:lnTo>
                  <a:pt x="1013" y="1104"/>
                </a:lnTo>
                <a:lnTo>
                  <a:pt x="1013" y="1104"/>
                </a:lnTo>
                <a:lnTo>
                  <a:pt x="1009" y="1102"/>
                </a:lnTo>
                <a:lnTo>
                  <a:pt x="1009" y="1102"/>
                </a:lnTo>
                <a:lnTo>
                  <a:pt x="1009" y="1102"/>
                </a:lnTo>
                <a:lnTo>
                  <a:pt x="1006" y="1097"/>
                </a:lnTo>
                <a:lnTo>
                  <a:pt x="1006" y="1097"/>
                </a:lnTo>
                <a:lnTo>
                  <a:pt x="1001" y="1097"/>
                </a:lnTo>
                <a:lnTo>
                  <a:pt x="1001" y="1097"/>
                </a:lnTo>
                <a:lnTo>
                  <a:pt x="996" y="1097"/>
                </a:lnTo>
                <a:lnTo>
                  <a:pt x="996" y="1097"/>
                </a:lnTo>
                <a:lnTo>
                  <a:pt x="989" y="1094"/>
                </a:lnTo>
                <a:lnTo>
                  <a:pt x="989" y="1094"/>
                </a:lnTo>
                <a:lnTo>
                  <a:pt x="986" y="1092"/>
                </a:lnTo>
                <a:lnTo>
                  <a:pt x="986" y="1092"/>
                </a:lnTo>
                <a:lnTo>
                  <a:pt x="984" y="1094"/>
                </a:lnTo>
                <a:lnTo>
                  <a:pt x="984" y="1094"/>
                </a:lnTo>
                <a:lnTo>
                  <a:pt x="986" y="1097"/>
                </a:lnTo>
                <a:lnTo>
                  <a:pt x="986" y="1097"/>
                </a:lnTo>
                <a:lnTo>
                  <a:pt x="989" y="1099"/>
                </a:lnTo>
                <a:lnTo>
                  <a:pt x="989" y="1099"/>
                </a:lnTo>
                <a:lnTo>
                  <a:pt x="994" y="1102"/>
                </a:lnTo>
                <a:lnTo>
                  <a:pt x="994" y="1102"/>
                </a:lnTo>
                <a:lnTo>
                  <a:pt x="994" y="1104"/>
                </a:lnTo>
                <a:lnTo>
                  <a:pt x="994" y="1104"/>
                </a:lnTo>
                <a:lnTo>
                  <a:pt x="996" y="1107"/>
                </a:lnTo>
                <a:lnTo>
                  <a:pt x="996" y="1107"/>
                </a:lnTo>
                <a:close/>
                <a:moveTo>
                  <a:pt x="996" y="1178"/>
                </a:moveTo>
                <a:lnTo>
                  <a:pt x="996" y="1178"/>
                </a:lnTo>
                <a:lnTo>
                  <a:pt x="994" y="1176"/>
                </a:lnTo>
                <a:lnTo>
                  <a:pt x="994" y="1176"/>
                </a:lnTo>
                <a:lnTo>
                  <a:pt x="991" y="1173"/>
                </a:lnTo>
                <a:lnTo>
                  <a:pt x="991" y="1173"/>
                </a:lnTo>
                <a:lnTo>
                  <a:pt x="984" y="1171"/>
                </a:lnTo>
                <a:lnTo>
                  <a:pt x="984" y="1171"/>
                </a:lnTo>
                <a:lnTo>
                  <a:pt x="984" y="1171"/>
                </a:lnTo>
                <a:lnTo>
                  <a:pt x="981" y="1168"/>
                </a:lnTo>
                <a:lnTo>
                  <a:pt x="981" y="1168"/>
                </a:lnTo>
                <a:lnTo>
                  <a:pt x="981" y="1166"/>
                </a:lnTo>
                <a:lnTo>
                  <a:pt x="981" y="1166"/>
                </a:lnTo>
                <a:lnTo>
                  <a:pt x="979" y="1166"/>
                </a:lnTo>
                <a:lnTo>
                  <a:pt x="979" y="1166"/>
                </a:lnTo>
                <a:lnTo>
                  <a:pt x="979" y="1166"/>
                </a:lnTo>
                <a:lnTo>
                  <a:pt x="977" y="1163"/>
                </a:lnTo>
                <a:lnTo>
                  <a:pt x="977" y="1163"/>
                </a:lnTo>
                <a:lnTo>
                  <a:pt x="977" y="1161"/>
                </a:lnTo>
                <a:lnTo>
                  <a:pt x="977" y="1161"/>
                </a:lnTo>
                <a:lnTo>
                  <a:pt x="977" y="1161"/>
                </a:lnTo>
                <a:lnTo>
                  <a:pt x="974" y="1161"/>
                </a:lnTo>
                <a:lnTo>
                  <a:pt x="974" y="1161"/>
                </a:lnTo>
                <a:lnTo>
                  <a:pt x="974" y="1161"/>
                </a:lnTo>
                <a:lnTo>
                  <a:pt x="974" y="1158"/>
                </a:lnTo>
                <a:lnTo>
                  <a:pt x="974" y="1158"/>
                </a:lnTo>
                <a:lnTo>
                  <a:pt x="979" y="1153"/>
                </a:lnTo>
                <a:lnTo>
                  <a:pt x="979" y="1153"/>
                </a:lnTo>
                <a:lnTo>
                  <a:pt x="981" y="1156"/>
                </a:lnTo>
                <a:lnTo>
                  <a:pt x="981" y="1156"/>
                </a:lnTo>
                <a:lnTo>
                  <a:pt x="979" y="1158"/>
                </a:lnTo>
                <a:lnTo>
                  <a:pt x="979" y="1158"/>
                </a:lnTo>
                <a:lnTo>
                  <a:pt x="979" y="1158"/>
                </a:lnTo>
                <a:lnTo>
                  <a:pt x="979" y="1161"/>
                </a:lnTo>
                <a:lnTo>
                  <a:pt x="979" y="1161"/>
                </a:lnTo>
                <a:lnTo>
                  <a:pt x="979" y="1163"/>
                </a:lnTo>
                <a:lnTo>
                  <a:pt x="979" y="1163"/>
                </a:lnTo>
                <a:lnTo>
                  <a:pt x="981" y="1166"/>
                </a:lnTo>
                <a:lnTo>
                  <a:pt x="981" y="1166"/>
                </a:lnTo>
                <a:lnTo>
                  <a:pt x="984" y="1163"/>
                </a:lnTo>
                <a:lnTo>
                  <a:pt x="984" y="1163"/>
                </a:lnTo>
                <a:lnTo>
                  <a:pt x="984" y="1163"/>
                </a:lnTo>
                <a:lnTo>
                  <a:pt x="989" y="1166"/>
                </a:lnTo>
                <a:lnTo>
                  <a:pt x="989" y="1166"/>
                </a:lnTo>
                <a:lnTo>
                  <a:pt x="991" y="1166"/>
                </a:lnTo>
                <a:lnTo>
                  <a:pt x="991" y="1166"/>
                </a:lnTo>
                <a:lnTo>
                  <a:pt x="991" y="1168"/>
                </a:lnTo>
                <a:lnTo>
                  <a:pt x="991" y="1168"/>
                </a:lnTo>
                <a:lnTo>
                  <a:pt x="996" y="1168"/>
                </a:lnTo>
                <a:lnTo>
                  <a:pt x="996" y="1168"/>
                </a:lnTo>
                <a:lnTo>
                  <a:pt x="999" y="1166"/>
                </a:lnTo>
                <a:lnTo>
                  <a:pt x="999" y="1166"/>
                </a:lnTo>
                <a:lnTo>
                  <a:pt x="1001" y="1166"/>
                </a:lnTo>
                <a:lnTo>
                  <a:pt x="1001" y="1166"/>
                </a:lnTo>
                <a:lnTo>
                  <a:pt x="1004" y="1166"/>
                </a:lnTo>
                <a:lnTo>
                  <a:pt x="1004" y="1166"/>
                </a:lnTo>
                <a:lnTo>
                  <a:pt x="1004" y="1168"/>
                </a:lnTo>
                <a:lnTo>
                  <a:pt x="1004" y="1168"/>
                </a:lnTo>
                <a:lnTo>
                  <a:pt x="1001" y="1168"/>
                </a:lnTo>
                <a:lnTo>
                  <a:pt x="1001" y="1168"/>
                </a:lnTo>
                <a:lnTo>
                  <a:pt x="999" y="1171"/>
                </a:lnTo>
                <a:lnTo>
                  <a:pt x="999" y="1171"/>
                </a:lnTo>
                <a:lnTo>
                  <a:pt x="999" y="1173"/>
                </a:lnTo>
                <a:lnTo>
                  <a:pt x="999" y="1173"/>
                </a:lnTo>
                <a:lnTo>
                  <a:pt x="999" y="1176"/>
                </a:lnTo>
                <a:lnTo>
                  <a:pt x="999" y="1176"/>
                </a:lnTo>
                <a:lnTo>
                  <a:pt x="996" y="1178"/>
                </a:lnTo>
                <a:lnTo>
                  <a:pt x="996" y="1178"/>
                </a:lnTo>
                <a:close/>
                <a:moveTo>
                  <a:pt x="1018" y="1188"/>
                </a:moveTo>
                <a:lnTo>
                  <a:pt x="1018" y="1188"/>
                </a:lnTo>
                <a:lnTo>
                  <a:pt x="1018" y="1185"/>
                </a:lnTo>
                <a:lnTo>
                  <a:pt x="1018" y="1185"/>
                </a:lnTo>
                <a:lnTo>
                  <a:pt x="1013" y="1183"/>
                </a:lnTo>
                <a:lnTo>
                  <a:pt x="1013" y="1183"/>
                </a:lnTo>
                <a:lnTo>
                  <a:pt x="1013" y="1178"/>
                </a:lnTo>
                <a:lnTo>
                  <a:pt x="1013" y="1178"/>
                </a:lnTo>
                <a:lnTo>
                  <a:pt x="1011" y="1176"/>
                </a:lnTo>
                <a:lnTo>
                  <a:pt x="1011" y="1176"/>
                </a:lnTo>
                <a:lnTo>
                  <a:pt x="1013" y="1176"/>
                </a:lnTo>
                <a:lnTo>
                  <a:pt x="1013" y="1176"/>
                </a:lnTo>
                <a:lnTo>
                  <a:pt x="1016" y="1173"/>
                </a:lnTo>
                <a:lnTo>
                  <a:pt x="1016" y="1173"/>
                </a:lnTo>
                <a:lnTo>
                  <a:pt x="1021" y="1168"/>
                </a:lnTo>
                <a:lnTo>
                  <a:pt x="1021" y="1168"/>
                </a:lnTo>
                <a:lnTo>
                  <a:pt x="1021" y="1166"/>
                </a:lnTo>
                <a:lnTo>
                  <a:pt x="1021" y="1166"/>
                </a:lnTo>
                <a:lnTo>
                  <a:pt x="1023" y="1163"/>
                </a:lnTo>
                <a:lnTo>
                  <a:pt x="1023" y="1163"/>
                </a:lnTo>
                <a:lnTo>
                  <a:pt x="1026" y="1158"/>
                </a:lnTo>
                <a:lnTo>
                  <a:pt x="1026" y="1158"/>
                </a:lnTo>
                <a:lnTo>
                  <a:pt x="1028" y="1156"/>
                </a:lnTo>
                <a:lnTo>
                  <a:pt x="1028" y="1156"/>
                </a:lnTo>
                <a:lnTo>
                  <a:pt x="1031" y="1156"/>
                </a:lnTo>
                <a:lnTo>
                  <a:pt x="1031" y="1156"/>
                </a:lnTo>
                <a:lnTo>
                  <a:pt x="1031" y="1158"/>
                </a:lnTo>
                <a:lnTo>
                  <a:pt x="1031" y="1158"/>
                </a:lnTo>
                <a:lnTo>
                  <a:pt x="1028" y="1161"/>
                </a:lnTo>
                <a:lnTo>
                  <a:pt x="1028" y="1161"/>
                </a:lnTo>
                <a:lnTo>
                  <a:pt x="1031" y="1161"/>
                </a:lnTo>
                <a:lnTo>
                  <a:pt x="1031" y="1161"/>
                </a:lnTo>
                <a:lnTo>
                  <a:pt x="1031" y="1163"/>
                </a:lnTo>
                <a:lnTo>
                  <a:pt x="1031" y="1163"/>
                </a:lnTo>
                <a:lnTo>
                  <a:pt x="1028" y="1168"/>
                </a:lnTo>
                <a:lnTo>
                  <a:pt x="1028" y="1168"/>
                </a:lnTo>
                <a:lnTo>
                  <a:pt x="1026" y="1171"/>
                </a:lnTo>
                <a:lnTo>
                  <a:pt x="1026" y="1171"/>
                </a:lnTo>
                <a:lnTo>
                  <a:pt x="1031" y="1171"/>
                </a:lnTo>
                <a:lnTo>
                  <a:pt x="1031" y="1171"/>
                </a:lnTo>
                <a:lnTo>
                  <a:pt x="1031" y="1173"/>
                </a:lnTo>
                <a:lnTo>
                  <a:pt x="1031" y="1173"/>
                </a:lnTo>
                <a:lnTo>
                  <a:pt x="1031" y="1176"/>
                </a:lnTo>
                <a:lnTo>
                  <a:pt x="1031" y="1176"/>
                </a:lnTo>
                <a:lnTo>
                  <a:pt x="1031" y="1176"/>
                </a:lnTo>
                <a:lnTo>
                  <a:pt x="1033" y="1176"/>
                </a:lnTo>
                <a:lnTo>
                  <a:pt x="1033" y="1176"/>
                </a:lnTo>
                <a:lnTo>
                  <a:pt x="1033" y="1173"/>
                </a:lnTo>
                <a:lnTo>
                  <a:pt x="1033" y="1173"/>
                </a:lnTo>
                <a:lnTo>
                  <a:pt x="1033" y="1173"/>
                </a:lnTo>
                <a:lnTo>
                  <a:pt x="1038" y="1173"/>
                </a:lnTo>
                <a:lnTo>
                  <a:pt x="1038" y="1173"/>
                </a:lnTo>
                <a:lnTo>
                  <a:pt x="1038" y="1178"/>
                </a:lnTo>
                <a:lnTo>
                  <a:pt x="1038" y="1178"/>
                </a:lnTo>
                <a:lnTo>
                  <a:pt x="1038" y="1178"/>
                </a:lnTo>
                <a:lnTo>
                  <a:pt x="1036" y="1181"/>
                </a:lnTo>
                <a:lnTo>
                  <a:pt x="1036" y="1181"/>
                </a:lnTo>
                <a:lnTo>
                  <a:pt x="1033" y="1181"/>
                </a:lnTo>
                <a:lnTo>
                  <a:pt x="1033" y="1181"/>
                </a:lnTo>
                <a:lnTo>
                  <a:pt x="1031" y="1181"/>
                </a:lnTo>
                <a:lnTo>
                  <a:pt x="1031" y="1181"/>
                </a:lnTo>
                <a:lnTo>
                  <a:pt x="1026" y="1185"/>
                </a:lnTo>
                <a:lnTo>
                  <a:pt x="1026" y="1185"/>
                </a:lnTo>
                <a:lnTo>
                  <a:pt x="1023" y="1185"/>
                </a:lnTo>
                <a:lnTo>
                  <a:pt x="1023" y="1185"/>
                </a:lnTo>
                <a:lnTo>
                  <a:pt x="1021" y="1183"/>
                </a:lnTo>
                <a:lnTo>
                  <a:pt x="1021" y="1183"/>
                </a:lnTo>
                <a:lnTo>
                  <a:pt x="1021" y="1183"/>
                </a:lnTo>
                <a:lnTo>
                  <a:pt x="1018" y="1185"/>
                </a:lnTo>
                <a:lnTo>
                  <a:pt x="1018" y="1185"/>
                </a:lnTo>
                <a:lnTo>
                  <a:pt x="1018" y="1188"/>
                </a:lnTo>
                <a:lnTo>
                  <a:pt x="1018" y="1188"/>
                </a:lnTo>
                <a:close/>
                <a:moveTo>
                  <a:pt x="780" y="1001"/>
                </a:moveTo>
                <a:lnTo>
                  <a:pt x="780" y="1001"/>
                </a:lnTo>
                <a:lnTo>
                  <a:pt x="780" y="1003"/>
                </a:lnTo>
                <a:lnTo>
                  <a:pt x="780" y="1003"/>
                </a:lnTo>
                <a:lnTo>
                  <a:pt x="780" y="1006"/>
                </a:lnTo>
                <a:lnTo>
                  <a:pt x="780" y="1006"/>
                </a:lnTo>
                <a:lnTo>
                  <a:pt x="782" y="1003"/>
                </a:lnTo>
                <a:lnTo>
                  <a:pt x="782" y="1003"/>
                </a:lnTo>
                <a:lnTo>
                  <a:pt x="782" y="1001"/>
                </a:lnTo>
                <a:lnTo>
                  <a:pt x="782" y="1001"/>
                </a:lnTo>
                <a:lnTo>
                  <a:pt x="780" y="1001"/>
                </a:lnTo>
                <a:lnTo>
                  <a:pt x="780" y="1001"/>
                </a:lnTo>
                <a:lnTo>
                  <a:pt x="780" y="1001"/>
                </a:lnTo>
                <a:close/>
                <a:moveTo>
                  <a:pt x="780" y="1035"/>
                </a:moveTo>
                <a:lnTo>
                  <a:pt x="780" y="1035"/>
                </a:lnTo>
                <a:lnTo>
                  <a:pt x="780" y="1033"/>
                </a:lnTo>
                <a:lnTo>
                  <a:pt x="780" y="1033"/>
                </a:lnTo>
                <a:lnTo>
                  <a:pt x="782" y="1033"/>
                </a:lnTo>
                <a:lnTo>
                  <a:pt x="782" y="1033"/>
                </a:lnTo>
                <a:lnTo>
                  <a:pt x="782" y="1031"/>
                </a:lnTo>
                <a:lnTo>
                  <a:pt x="782" y="1031"/>
                </a:lnTo>
                <a:lnTo>
                  <a:pt x="785" y="1033"/>
                </a:lnTo>
                <a:lnTo>
                  <a:pt x="785" y="1033"/>
                </a:lnTo>
                <a:lnTo>
                  <a:pt x="780" y="1035"/>
                </a:lnTo>
                <a:lnTo>
                  <a:pt x="780" y="1035"/>
                </a:lnTo>
                <a:lnTo>
                  <a:pt x="780" y="1035"/>
                </a:lnTo>
                <a:close/>
                <a:moveTo>
                  <a:pt x="750" y="1011"/>
                </a:moveTo>
                <a:lnTo>
                  <a:pt x="750" y="1011"/>
                </a:lnTo>
                <a:lnTo>
                  <a:pt x="753" y="1008"/>
                </a:lnTo>
                <a:lnTo>
                  <a:pt x="753" y="1008"/>
                </a:lnTo>
                <a:lnTo>
                  <a:pt x="755" y="1008"/>
                </a:lnTo>
                <a:lnTo>
                  <a:pt x="755" y="1008"/>
                </a:lnTo>
                <a:lnTo>
                  <a:pt x="755" y="1006"/>
                </a:lnTo>
                <a:lnTo>
                  <a:pt x="755" y="1006"/>
                </a:lnTo>
                <a:lnTo>
                  <a:pt x="758" y="1003"/>
                </a:lnTo>
                <a:lnTo>
                  <a:pt x="758" y="1003"/>
                </a:lnTo>
                <a:lnTo>
                  <a:pt x="760" y="1003"/>
                </a:lnTo>
                <a:lnTo>
                  <a:pt x="760" y="1003"/>
                </a:lnTo>
                <a:lnTo>
                  <a:pt x="760" y="1006"/>
                </a:lnTo>
                <a:lnTo>
                  <a:pt x="760" y="1006"/>
                </a:lnTo>
                <a:lnTo>
                  <a:pt x="765" y="1006"/>
                </a:lnTo>
                <a:lnTo>
                  <a:pt x="765" y="1006"/>
                </a:lnTo>
                <a:lnTo>
                  <a:pt x="767" y="1008"/>
                </a:lnTo>
                <a:lnTo>
                  <a:pt x="767" y="1008"/>
                </a:lnTo>
                <a:lnTo>
                  <a:pt x="767" y="1011"/>
                </a:lnTo>
                <a:lnTo>
                  <a:pt x="767" y="1011"/>
                </a:lnTo>
                <a:lnTo>
                  <a:pt x="770" y="1013"/>
                </a:lnTo>
                <a:lnTo>
                  <a:pt x="770" y="1013"/>
                </a:lnTo>
                <a:lnTo>
                  <a:pt x="767" y="1016"/>
                </a:lnTo>
                <a:lnTo>
                  <a:pt x="767" y="1016"/>
                </a:lnTo>
                <a:lnTo>
                  <a:pt x="760" y="1013"/>
                </a:lnTo>
                <a:lnTo>
                  <a:pt x="760" y="1013"/>
                </a:lnTo>
                <a:lnTo>
                  <a:pt x="758" y="1013"/>
                </a:lnTo>
                <a:lnTo>
                  <a:pt x="758" y="1013"/>
                </a:lnTo>
                <a:lnTo>
                  <a:pt x="755" y="1011"/>
                </a:lnTo>
                <a:lnTo>
                  <a:pt x="755" y="1011"/>
                </a:lnTo>
                <a:lnTo>
                  <a:pt x="755" y="1013"/>
                </a:lnTo>
                <a:lnTo>
                  <a:pt x="755" y="1013"/>
                </a:lnTo>
                <a:lnTo>
                  <a:pt x="755" y="1016"/>
                </a:lnTo>
                <a:lnTo>
                  <a:pt x="755" y="1016"/>
                </a:lnTo>
                <a:lnTo>
                  <a:pt x="755" y="1013"/>
                </a:lnTo>
                <a:lnTo>
                  <a:pt x="755" y="1013"/>
                </a:lnTo>
                <a:lnTo>
                  <a:pt x="753" y="1011"/>
                </a:lnTo>
                <a:lnTo>
                  <a:pt x="753" y="1011"/>
                </a:lnTo>
                <a:lnTo>
                  <a:pt x="750" y="1013"/>
                </a:lnTo>
                <a:lnTo>
                  <a:pt x="750" y="1013"/>
                </a:lnTo>
                <a:lnTo>
                  <a:pt x="750" y="1011"/>
                </a:lnTo>
                <a:lnTo>
                  <a:pt x="750" y="1011"/>
                </a:lnTo>
                <a:close/>
                <a:moveTo>
                  <a:pt x="118" y="1023"/>
                </a:moveTo>
                <a:lnTo>
                  <a:pt x="118" y="1023"/>
                </a:lnTo>
                <a:lnTo>
                  <a:pt x="120" y="1026"/>
                </a:lnTo>
                <a:lnTo>
                  <a:pt x="120" y="1026"/>
                </a:lnTo>
                <a:lnTo>
                  <a:pt x="125" y="1031"/>
                </a:lnTo>
                <a:lnTo>
                  <a:pt x="125" y="1031"/>
                </a:lnTo>
                <a:lnTo>
                  <a:pt x="123" y="1031"/>
                </a:lnTo>
                <a:lnTo>
                  <a:pt x="123" y="1031"/>
                </a:lnTo>
                <a:lnTo>
                  <a:pt x="118" y="1028"/>
                </a:lnTo>
                <a:lnTo>
                  <a:pt x="118" y="1028"/>
                </a:lnTo>
                <a:lnTo>
                  <a:pt x="118" y="1023"/>
                </a:lnTo>
                <a:lnTo>
                  <a:pt x="118" y="1023"/>
                </a:lnTo>
                <a:close/>
                <a:moveTo>
                  <a:pt x="113" y="1016"/>
                </a:moveTo>
                <a:lnTo>
                  <a:pt x="113" y="1016"/>
                </a:lnTo>
                <a:lnTo>
                  <a:pt x="111" y="1011"/>
                </a:lnTo>
                <a:lnTo>
                  <a:pt x="111" y="1011"/>
                </a:lnTo>
                <a:lnTo>
                  <a:pt x="113" y="1011"/>
                </a:lnTo>
                <a:lnTo>
                  <a:pt x="113" y="1011"/>
                </a:lnTo>
                <a:lnTo>
                  <a:pt x="113" y="1016"/>
                </a:lnTo>
                <a:lnTo>
                  <a:pt x="113" y="1016"/>
                </a:lnTo>
                <a:close/>
                <a:moveTo>
                  <a:pt x="96" y="1001"/>
                </a:moveTo>
                <a:lnTo>
                  <a:pt x="96" y="1001"/>
                </a:lnTo>
                <a:lnTo>
                  <a:pt x="101" y="1003"/>
                </a:lnTo>
                <a:lnTo>
                  <a:pt x="101" y="1003"/>
                </a:lnTo>
                <a:lnTo>
                  <a:pt x="101" y="1001"/>
                </a:lnTo>
                <a:lnTo>
                  <a:pt x="101" y="1001"/>
                </a:lnTo>
                <a:lnTo>
                  <a:pt x="96" y="1001"/>
                </a:lnTo>
                <a:lnTo>
                  <a:pt x="96" y="1001"/>
                </a:lnTo>
                <a:close/>
                <a:moveTo>
                  <a:pt x="69" y="991"/>
                </a:moveTo>
                <a:lnTo>
                  <a:pt x="69" y="991"/>
                </a:lnTo>
                <a:lnTo>
                  <a:pt x="71" y="994"/>
                </a:lnTo>
                <a:lnTo>
                  <a:pt x="71" y="994"/>
                </a:lnTo>
                <a:lnTo>
                  <a:pt x="71" y="996"/>
                </a:lnTo>
                <a:lnTo>
                  <a:pt x="71" y="996"/>
                </a:lnTo>
                <a:lnTo>
                  <a:pt x="74" y="999"/>
                </a:lnTo>
                <a:lnTo>
                  <a:pt x="74" y="999"/>
                </a:lnTo>
                <a:lnTo>
                  <a:pt x="81" y="999"/>
                </a:lnTo>
                <a:lnTo>
                  <a:pt x="81" y="999"/>
                </a:lnTo>
                <a:lnTo>
                  <a:pt x="79" y="1001"/>
                </a:lnTo>
                <a:lnTo>
                  <a:pt x="79" y="1001"/>
                </a:lnTo>
                <a:lnTo>
                  <a:pt x="74" y="1001"/>
                </a:lnTo>
                <a:lnTo>
                  <a:pt x="74" y="1001"/>
                </a:lnTo>
                <a:lnTo>
                  <a:pt x="71" y="1003"/>
                </a:lnTo>
                <a:lnTo>
                  <a:pt x="71" y="1003"/>
                </a:lnTo>
                <a:lnTo>
                  <a:pt x="74" y="1006"/>
                </a:lnTo>
                <a:lnTo>
                  <a:pt x="74" y="1006"/>
                </a:lnTo>
                <a:lnTo>
                  <a:pt x="71" y="1008"/>
                </a:lnTo>
                <a:lnTo>
                  <a:pt x="71" y="1008"/>
                </a:lnTo>
                <a:lnTo>
                  <a:pt x="74" y="1011"/>
                </a:lnTo>
                <a:lnTo>
                  <a:pt x="74" y="1011"/>
                </a:lnTo>
                <a:lnTo>
                  <a:pt x="76" y="1008"/>
                </a:lnTo>
                <a:lnTo>
                  <a:pt x="76" y="1008"/>
                </a:lnTo>
                <a:lnTo>
                  <a:pt x="76" y="1011"/>
                </a:lnTo>
                <a:lnTo>
                  <a:pt x="76" y="1011"/>
                </a:lnTo>
                <a:lnTo>
                  <a:pt x="81" y="1011"/>
                </a:lnTo>
                <a:lnTo>
                  <a:pt x="81" y="1011"/>
                </a:lnTo>
                <a:lnTo>
                  <a:pt x="81" y="1016"/>
                </a:lnTo>
                <a:lnTo>
                  <a:pt x="81" y="1016"/>
                </a:lnTo>
                <a:lnTo>
                  <a:pt x="84" y="1016"/>
                </a:lnTo>
                <a:lnTo>
                  <a:pt x="84" y="1016"/>
                </a:lnTo>
                <a:lnTo>
                  <a:pt x="86" y="1016"/>
                </a:lnTo>
                <a:lnTo>
                  <a:pt x="86" y="1016"/>
                </a:lnTo>
                <a:lnTo>
                  <a:pt x="84" y="1021"/>
                </a:lnTo>
                <a:lnTo>
                  <a:pt x="84" y="1021"/>
                </a:lnTo>
                <a:lnTo>
                  <a:pt x="84" y="1023"/>
                </a:lnTo>
                <a:lnTo>
                  <a:pt x="84" y="1023"/>
                </a:lnTo>
                <a:lnTo>
                  <a:pt x="86" y="1023"/>
                </a:lnTo>
                <a:lnTo>
                  <a:pt x="86" y="1023"/>
                </a:lnTo>
                <a:lnTo>
                  <a:pt x="86" y="1021"/>
                </a:lnTo>
                <a:lnTo>
                  <a:pt x="86" y="1021"/>
                </a:lnTo>
                <a:lnTo>
                  <a:pt x="91" y="1018"/>
                </a:lnTo>
                <a:lnTo>
                  <a:pt x="91" y="1018"/>
                </a:lnTo>
                <a:lnTo>
                  <a:pt x="91" y="1023"/>
                </a:lnTo>
                <a:lnTo>
                  <a:pt x="91" y="1023"/>
                </a:lnTo>
                <a:lnTo>
                  <a:pt x="88" y="1026"/>
                </a:lnTo>
                <a:lnTo>
                  <a:pt x="88" y="1026"/>
                </a:lnTo>
                <a:lnTo>
                  <a:pt x="88" y="1028"/>
                </a:lnTo>
                <a:lnTo>
                  <a:pt x="88" y="1028"/>
                </a:lnTo>
                <a:lnTo>
                  <a:pt x="88" y="1028"/>
                </a:lnTo>
                <a:lnTo>
                  <a:pt x="91" y="1031"/>
                </a:lnTo>
                <a:lnTo>
                  <a:pt x="91" y="1031"/>
                </a:lnTo>
                <a:lnTo>
                  <a:pt x="96" y="1031"/>
                </a:lnTo>
                <a:lnTo>
                  <a:pt x="96" y="1031"/>
                </a:lnTo>
                <a:lnTo>
                  <a:pt x="96" y="1033"/>
                </a:lnTo>
                <a:lnTo>
                  <a:pt x="96" y="1033"/>
                </a:lnTo>
                <a:lnTo>
                  <a:pt x="98" y="1033"/>
                </a:lnTo>
                <a:lnTo>
                  <a:pt x="98" y="1033"/>
                </a:lnTo>
                <a:lnTo>
                  <a:pt x="98" y="1035"/>
                </a:lnTo>
                <a:lnTo>
                  <a:pt x="98" y="1035"/>
                </a:lnTo>
                <a:lnTo>
                  <a:pt x="98" y="1038"/>
                </a:lnTo>
                <a:lnTo>
                  <a:pt x="98" y="1038"/>
                </a:lnTo>
                <a:lnTo>
                  <a:pt x="101" y="1043"/>
                </a:lnTo>
                <a:lnTo>
                  <a:pt x="101" y="1043"/>
                </a:lnTo>
                <a:lnTo>
                  <a:pt x="103" y="1040"/>
                </a:lnTo>
                <a:lnTo>
                  <a:pt x="103" y="1040"/>
                </a:lnTo>
                <a:lnTo>
                  <a:pt x="106" y="1040"/>
                </a:lnTo>
                <a:lnTo>
                  <a:pt x="106" y="1040"/>
                </a:lnTo>
                <a:lnTo>
                  <a:pt x="108" y="1040"/>
                </a:lnTo>
                <a:lnTo>
                  <a:pt x="108" y="1040"/>
                </a:lnTo>
                <a:lnTo>
                  <a:pt x="103" y="1045"/>
                </a:lnTo>
                <a:lnTo>
                  <a:pt x="103" y="1045"/>
                </a:lnTo>
                <a:lnTo>
                  <a:pt x="108" y="1053"/>
                </a:lnTo>
                <a:lnTo>
                  <a:pt x="108" y="1053"/>
                </a:lnTo>
                <a:lnTo>
                  <a:pt x="111" y="1053"/>
                </a:lnTo>
                <a:lnTo>
                  <a:pt x="111" y="1053"/>
                </a:lnTo>
                <a:lnTo>
                  <a:pt x="113" y="1055"/>
                </a:lnTo>
                <a:lnTo>
                  <a:pt x="113" y="1055"/>
                </a:lnTo>
                <a:lnTo>
                  <a:pt x="120" y="1060"/>
                </a:lnTo>
                <a:lnTo>
                  <a:pt x="120" y="1060"/>
                </a:lnTo>
                <a:lnTo>
                  <a:pt x="123" y="1060"/>
                </a:lnTo>
                <a:lnTo>
                  <a:pt x="123" y="1060"/>
                </a:lnTo>
                <a:lnTo>
                  <a:pt x="125" y="1060"/>
                </a:lnTo>
                <a:lnTo>
                  <a:pt x="125" y="1060"/>
                </a:lnTo>
                <a:lnTo>
                  <a:pt x="123" y="1050"/>
                </a:lnTo>
                <a:lnTo>
                  <a:pt x="123" y="1050"/>
                </a:lnTo>
                <a:lnTo>
                  <a:pt x="125" y="1048"/>
                </a:lnTo>
                <a:lnTo>
                  <a:pt x="125" y="1048"/>
                </a:lnTo>
                <a:lnTo>
                  <a:pt x="123" y="1045"/>
                </a:lnTo>
                <a:lnTo>
                  <a:pt x="123" y="1045"/>
                </a:lnTo>
                <a:lnTo>
                  <a:pt x="123" y="1038"/>
                </a:lnTo>
                <a:lnTo>
                  <a:pt x="123" y="1038"/>
                </a:lnTo>
                <a:lnTo>
                  <a:pt x="120" y="1035"/>
                </a:lnTo>
                <a:lnTo>
                  <a:pt x="120" y="1035"/>
                </a:lnTo>
                <a:lnTo>
                  <a:pt x="116" y="1031"/>
                </a:lnTo>
                <a:lnTo>
                  <a:pt x="116" y="1031"/>
                </a:lnTo>
                <a:lnTo>
                  <a:pt x="113" y="1021"/>
                </a:lnTo>
                <a:lnTo>
                  <a:pt x="113" y="1021"/>
                </a:lnTo>
                <a:lnTo>
                  <a:pt x="111" y="1016"/>
                </a:lnTo>
                <a:lnTo>
                  <a:pt x="111" y="1016"/>
                </a:lnTo>
                <a:lnTo>
                  <a:pt x="111" y="1011"/>
                </a:lnTo>
                <a:lnTo>
                  <a:pt x="111" y="1011"/>
                </a:lnTo>
                <a:lnTo>
                  <a:pt x="108" y="1008"/>
                </a:lnTo>
                <a:lnTo>
                  <a:pt x="108" y="1008"/>
                </a:lnTo>
                <a:lnTo>
                  <a:pt x="106" y="1008"/>
                </a:lnTo>
                <a:lnTo>
                  <a:pt x="106" y="1008"/>
                </a:lnTo>
                <a:lnTo>
                  <a:pt x="101" y="1006"/>
                </a:lnTo>
                <a:lnTo>
                  <a:pt x="101" y="1006"/>
                </a:lnTo>
                <a:lnTo>
                  <a:pt x="96" y="1006"/>
                </a:lnTo>
                <a:lnTo>
                  <a:pt x="96" y="1006"/>
                </a:lnTo>
                <a:lnTo>
                  <a:pt x="93" y="1003"/>
                </a:lnTo>
                <a:lnTo>
                  <a:pt x="93" y="1003"/>
                </a:lnTo>
                <a:lnTo>
                  <a:pt x="91" y="1001"/>
                </a:lnTo>
                <a:lnTo>
                  <a:pt x="91" y="1001"/>
                </a:lnTo>
                <a:lnTo>
                  <a:pt x="86" y="999"/>
                </a:lnTo>
                <a:lnTo>
                  <a:pt x="86" y="999"/>
                </a:lnTo>
                <a:lnTo>
                  <a:pt x="84" y="996"/>
                </a:lnTo>
                <a:lnTo>
                  <a:pt x="84" y="996"/>
                </a:lnTo>
                <a:lnTo>
                  <a:pt x="84" y="994"/>
                </a:lnTo>
                <a:lnTo>
                  <a:pt x="84" y="994"/>
                </a:lnTo>
                <a:lnTo>
                  <a:pt x="81" y="994"/>
                </a:lnTo>
                <a:lnTo>
                  <a:pt x="81" y="994"/>
                </a:lnTo>
                <a:lnTo>
                  <a:pt x="79" y="991"/>
                </a:lnTo>
                <a:lnTo>
                  <a:pt x="79" y="991"/>
                </a:lnTo>
                <a:lnTo>
                  <a:pt x="76" y="989"/>
                </a:lnTo>
                <a:lnTo>
                  <a:pt x="76" y="989"/>
                </a:lnTo>
                <a:lnTo>
                  <a:pt x="74" y="991"/>
                </a:lnTo>
                <a:lnTo>
                  <a:pt x="74" y="991"/>
                </a:lnTo>
                <a:lnTo>
                  <a:pt x="69" y="991"/>
                </a:lnTo>
                <a:lnTo>
                  <a:pt x="69" y="991"/>
                </a:lnTo>
                <a:close/>
                <a:moveTo>
                  <a:pt x="98" y="996"/>
                </a:moveTo>
                <a:lnTo>
                  <a:pt x="98" y="996"/>
                </a:lnTo>
                <a:lnTo>
                  <a:pt x="101" y="996"/>
                </a:lnTo>
                <a:lnTo>
                  <a:pt x="101" y="996"/>
                </a:lnTo>
                <a:lnTo>
                  <a:pt x="101" y="996"/>
                </a:lnTo>
                <a:lnTo>
                  <a:pt x="103" y="996"/>
                </a:lnTo>
                <a:lnTo>
                  <a:pt x="103" y="996"/>
                </a:lnTo>
                <a:lnTo>
                  <a:pt x="101" y="999"/>
                </a:lnTo>
                <a:lnTo>
                  <a:pt x="101" y="999"/>
                </a:lnTo>
                <a:lnTo>
                  <a:pt x="98" y="999"/>
                </a:lnTo>
                <a:lnTo>
                  <a:pt x="98" y="999"/>
                </a:lnTo>
                <a:lnTo>
                  <a:pt x="98" y="996"/>
                </a:lnTo>
                <a:lnTo>
                  <a:pt x="98" y="996"/>
                </a:lnTo>
                <a:close/>
                <a:moveTo>
                  <a:pt x="96" y="994"/>
                </a:moveTo>
                <a:lnTo>
                  <a:pt x="96" y="994"/>
                </a:lnTo>
                <a:lnTo>
                  <a:pt x="96" y="994"/>
                </a:lnTo>
                <a:lnTo>
                  <a:pt x="98" y="996"/>
                </a:lnTo>
                <a:lnTo>
                  <a:pt x="98" y="996"/>
                </a:lnTo>
                <a:lnTo>
                  <a:pt x="96" y="994"/>
                </a:lnTo>
                <a:lnTo>
                  <a:pt x="96" y="994"/>
                </a:lnTo>
                <a:close/>
                <a:moveTo>
                  <a:pt x="76" y="927"/>
                </a:moveTo>
                <a:lnTo>
                  <a:pt x="76" y="927"/>
                </a:lnTo>
                <a:lnTo>
                  <a:pt x="76" y="930"/>
                </a:lnTo>
                <a:lnTo>
                  <a:pt x="76" y="930"/>
                </a:lnTo>
                <a:lnTo>
                  <a:pt x="79" y="930"/>
                </a:lnTo>
                <a:lnTo>
                  <a:pt x="79" y="930"/>
                </a:lnTo>
                <a:lnTo>
                  <a:pt x="76" y="927"/>
                </a:lnTo>
                <a:lnTo>
                  <a:pt x="76" y="927"/>
                </a:lnTo>
                <a:close/>
                <a:moveTo>
                  <a:pt x="86" y="959"/>
                </a:moveTo>
                <a:lnTo>
                  <a:pt x="86" y="959"/>
                </a:lnTo>
                <a:lnTo>
                  <a:pt x="86" y="957"/>
                </a:lnTo>
                <a:lnTo>
                  <a:pt x="86" y="957"/>
                </a:lnTo>
                <a:lnTo>
                  <a:pt x="86" y="954"/>
                </a:lnTo>
                <a:lnTo>
                  <a:pt x="86" y="954"/>
                </a:lnTo>
                <a:lnTo>
                  <a:pt x="88" y="957"/>
                </a:lnTo>
                <a:lnTo>
                  <a:pt x="88" y="957"/>
                </a:lnTo>
                <a:lnTo>
                  <a:pt x="86" y="959"/>
                </a:lnTo>
                <a:lnTo>
                  <a:pt x="86" y="959"/>
                </a:lnTo>
                <a:lnTo>
                  <a:pt x="86" y="959"/>
                </a:lnTo>
                <a:close/>
                <a:moveTo>
                  <a:pt x="84" y="969"/>
                </a:moveTo>
                <a:lnTo>
                  <a:pt x="84" y="969"/>
                </a:lnTo>
                <a:lnTo>
                  <a:pt x="84" y="971"/>
                </a:lnTo>
                <a:lnTo>
                  <a:pt x="84" y="971"/>
                </a:lnTo>
                <a:lnTo>
                  <a:pt x="84" y="974"/>
                </a:lnTo>
                <a:lnTo>
                  <a:pt x="84" y="974"/>
                </a:lnTo>
                <a:lnTo>
                  <a:pt x="84" y="974"/>
                </a:lnTo>
                <a:lnTo>
                  <a:pt x="86" y="971"/>
                </a:lnTo>
                <a:lnTo>
                  <a:pt x="86" y="971"/>
                </a:lnTo>
                <a:lnTo>
                  <a:pt x="84" y="969"/>
                </a:lnTo>
                <a:lnTo>
                  <a:pt x="84" y="969"/>
                </a:lnTo>
                <a:close/>
                <a:moveTo>
                  <a:pt x="86" y="964"/>
                </a:moveTo>
                <a:lnTo>
                  <a:pt x="86" y="964"/>
                </a:lnTo>
                <a:lnTo>
                  <a:pt x="88" y="962"/>
                </a:lnTo>
                <a:lnTo>
                  <a:pt x="88" y="962"/>
                </a:lnTo>
                <a:lnTo>
                  <a:pt x="88" y="959"/>
                </a:lnTo>
                <a:lnTo>
                  <a:pt x="88" y="959"/>
                </a:lnTo>
                <a:lnTo>
                  <a:pt x="84" y="962"/>
                </a:lnTo>
                <a:lnTo>
                  <a:pt x="84" y="962"/>
                </a:lnTo>
                <a:lnTo>
                  <a:pt x="84" y="964"/>
                </a:lnTo>
                <a:lnTo>
                  <a:pt x="84" y="964"/>
                </a:lnTo>
                <a:lnTo>
                  <a:pt x="86" y="964"/>
                </a:lnTo>
                <a:lnTo>
                  <a:pt x="86" y="964"/>
                </a:lnTo>
                <a:lnTo>
                  <a:pt x="86" y="964"/>
                </a:lnTo>
                <a:close/>
                <a:moveTo>
                  <a:pt x="91" y="962"/>
                </a:moveTo>
                <a:lnTo>
                  <a:pt x="91" y="962"/>
                </a:lnTo>
                <a:lnTo>
                  <a:pt x="93" y="957"/>
                </a:lnTo>
                <a:lnTo>
                  <a:pt x="93" y="957"/>
                </a:lnTo>
                <a:lnTo>
                  <a:pt x="96" y="957"/>
                </a:lnTo>
                <a:lnTo>
                  <a:pt x="96" y="957"/>
                </a:lnTo>
                <a:lnTo>
                  <a:pt x="98" y="954"/>
                </a:lnTo>
                <a:lnTo>
                  <a:pt x="98" y="954"/>
                </a:lnTo>
                <a:lnTo>
                  <a:pt x="103" y="952"/>
                </a:lnTo>
                <a:lnTo>
                  <a:pt x="103" y="952"/>
                </a:lnTo>
                <a:lnTo>
                  <a:pt x="103" y="954"/>
                </a:lnTo>
                <a:lnTo>
                  <a:pt x="103" y="954"/>
                </a:lnTo>
                <a:lnTo>
                  <a:pt x="98" y="957"/>
                </a:lnTo>
                <a:lnTo>
                  <a:pt x="98" y="957"/>
                </a:lnTo>
                <a:lnTo>
                  <a:pt x="96" y="959"/>
                </a:lnTo>
                <a:lnTo>
                  <a:pt x="96" y="959"/>
                </a:lnTo>
                <a:lnTo>
                  <a:pt x="91" y="962"/>
                </a:lnTo>
                <a:lnTo>
                  <a:pt x="91" y="962"/>
                </a:lnTo>
                <a:lnTo>
                  <a:pt x="91" y="962"/>
                </a:lnTo>
                <a:close/>
                <a:moveTo>
                  <a:pt x="88" y="944"/>
                </a:moveTo>
                <a:lnTo>
                  <a:pt x="88" y="944"/>
                </a:lnTo>
                <a:lnTo>
                  <a:pt x="88" y="942"/>
                </a:lnTo>
                <a:lnTo>
                  <a:pt x="88" y="942"/>
                </a:lnTo>
                <a:lnTo>
                  <a:pt x="88" y="940"/>
                </a:lnTo>
                <a:lnTo>
                  <a:pt x="88" y="940"/>
                </a:lnTo>
                <a:lnTo>
                  <a:pt x="91" y="942"/>
                </a:lnTo>
                <a:lnTo>
                  <a:pt x="91" y="942"/>
                </a:lnTo>
                <a:lnTo>
                  <a:pt x="88" y="942"/>
                </a:lnTo>
                <a:lnTo>
                  <a:pt x="88" y="942"/>
                </a:lnTo>
                <a:lnTo>
                  <a:pt x="88" y="944"/>
                </a:lnTo>
                <a:lnTo>
                  <a:pt x="88" y="944"/>
                </a:lnTo>
                <a:lnTo>
                  <a:pt x="88" y="944"/>
                </a:lnTo>
                <a:close/>
                <a:moveTo>
                  <a:pt x="81" y="944"/>
                </a:moveTo>
                <a:lnTo>
                  <a:pt x="81" y="944"/>
                </a:lnTo>
                <a:lnTo>
                  <a:pt x="84" y="947"/>
                </a:lnTo>
                <a:lnTo>
                  <a:pt x="84" y="947"/>
                </a:lnTo>
                <a:lnTo>
                  <a:pt x="86" y="944"/>
                </a:lnTo>
                <a:lnTo>
                  <a:pt x="86" y="944"/>
                </a:lnTo>
                <a:lnTo>
                  <a:pt x="86" y="942"/>
                </a:lnTo>
                <a:lnTo>
                  <a:pt x="86" y="942"/>
                </a:lnTo>
                <a:lnTo>
                  <a:pt x="81" y="944"/>
                </a:lnTo>
                <a:lnTo>
                  <a:pt x="81" y="944"/>
                </a:lnTo>
                <a:close/>
                <a:moveTo>
                  <a:pt x="76" y="935"/>
                </a:moveTo>
                <a:lnTo>
                  <a:pt x="76" y="935"/>
                </a:lnTo>
                <a:lnTo>
                  <a:pt x="76" y="940"/>
                </a:lnTo>
                <a:lnTo>
                  <a:pt x="76" y="940"/>
                </a:lnTo>
                <a:lnTo>
                  <a:pt x="79" y="942"/>
                </a:lnTo>
                <a:lnTo>
                  <a:pt x="79" y="942"/>
                </a:lnTo>
                <a:lnTo>
                  <a:pt x="79" y="944"/>
                </a:lnTo>
                <a:lnTo>
                  <a:pt x="79" y="944"/>
                </a:lnTo>
                <a:lnTo>
                  <a:pt x="81" y="942"/>
                </a:lnTo>
                <a:lnTo>
                  <a:pt x="81" y="942"/>
                </a:lnTo>
                <a:lnTo>
                  <a:pt x="79" y="937"/>
                </a:lnTo>
                <a:lnTo>
                  <a:pt x="79" y="937"/>
                </a:lnTo>
                <a:lnTo>
                  <a:pt x="76" y="935"/>
                </a:lnTo>
                <a:lnTo>
                  <a:pt x="76" y="935"/>
                </a:lnTo>
                <a:close/>
                <a:moveTo>
                  <a:pt x="79" y="932"/>
                </a:moveTo>
                <a:lnTo>
                  <a:pt x="79" y="932"/>
                </a:lnTo>
                <a:lnTo>
                  <a:pt x="81" y="932"/>
                </a:lnTo>
                <a:lnTo>
                  <a:pt x="81" y="932"/>
                </a:lnTo>
                <a:lnTo>
                  <a:pt x="81" y="935"/>
                </a:lnTo>
                <a:lnTo>
                  <a:pt x="81" y="935"/>
                </a:lnTo>
                <a:lnTo>
                  <a:pt x="81" y="937"/>
                </a:lnTo>
                <a:lnTo>
                  <a:pt x="81" y="937"/>
                </a:lnTo>
                <a:lnTo>
                  <a:pt x="84" y="937"/>
                </a:lnTo>
                <a:lnTo>
                  <a:pt x="84" y="937"/>
                </a:lnTo>
                <a:lnTo>
                  <a:pt x="86" y="935"/>
                </a:lnTo>
                <a:lnTo>
                  <a:pt x="86" y="935"/>
                </a:lnTo>
                <a:lnTo>
                  <a:pt x="84" y="937"/>
                </a:lnTo>
                <a:lnTo>
                  <a:pt x="84" y="937"/>
                </a:lnTo>
                <a:lnTo>
                  <a:pt x="86" y="942"/>
                </a:lnTo>
                <a:lnTo>
                  <a:pt x="86" y="942"/>
                </a:lnTo>
                <a:lnTo>
                  <a:pt x="88" y="937"/>
                </a:lnTo>
                <a:lnTo>
                  <a:pt x="88" y="937"/>
                </a:lnTo>
                <a:lnTo>
                  <a:pt x="88" y="930"/>
                </a:lnTo>
                <a:lnTo>
                  <a:pt x="88" y="930"/>
                </a:lnTo>
                <a:lnTo>
                  <a:pt x="86" y="927"/>
                </a:lnTo>
                <a:lnTo>
                  <a:pt x="86" y="927"/>
                </a:lnTo>
                <a:lnTo>
                  <a:pt x="81" y="930"/>
                </a:lnTo>
                <a:lnTo>
                  <a:pt x="81" y="930"/>
                </a:lnTo>
                <a:lnTo>
                  <a:pt x="79" y="932"/>
                </a:lnTo>
                <a:lnTo>
                  <a:pt x="79" y="932"/>
                </a:lnTo>
                <a:close/>
                <a:moveTo>
                  <a:pt x="79" y="925"/>
                </a:moveTo>
                <a:lnTo>
                  <a:pt x="79" y="925"/>
                </a:lnTo>
                <a:lnTo>
                  <a:pt x="81" y="927"/>
                </a:lnTo>
                <a:lnTo>
                  <a:pt x="81" y="927"/>
                </a:lnTo>
                <a:lnTo>
                  <a:pt x="81" y="925"/>
                </a:lnTo>
                <a:lnTo>
                  <a:pt x="81" y="925"/>
                </a:lnTo>
                <a:lnTo>
                  <a:pt x="81" y="925"/>
                </a:lnTo>
                <a:lnTo>
                  <a:pt x="79" y="925"/>
                </a:lnTo>
                <a:lnTo>
                  <a:pt x="79" y="925"/>
                </a:lnTo>
                <a:close/>
                <a:moveTo>
                  <a:pt x="86" y="920"/>
                </a:moveTo>
                <a:lnTo>
                  <a:pt x="86" y="920"/>
                </a:lnTo>
                <a:lnTo>
                  <a:pt x="86" y="917"/>
                </a:lnTo>
                <a:lnTo>
                  <a:pt x="86" y="917"/>
                </a:lnTo>
                <a:lnTo>
                  <a:pt x="88" y="915"/>
                </a:lnTo>
                <a:lnTo>
                  <a:pt x="88" y="915"/>
                </a:lnTo>
                <a:lnTo>
                  <a:pt x="91" y="915"/>
                </a:lnTo>
                <a:lnTo>
                  <a:pt x="91" y="915"/>
                </a:lnTo>
                <a:lnTo>
                  <a:pt x="91" y="917"/>
                </a:lnTo>
                <a:lnTo>
                  <a:pt x="91" y="917"/>
                </a:lnTo>
                <a:lnTo>
                  <a:pt x="86" y="920"/>
                </a:lnTo>
                <a:lnTo>
                  <a:pt x="86" y="920"/>
                </a:lnTo>
                <a:lnTo>
                  <a:pt x="86" y="920"/>
                </a:lnTo>
                <a:close/>
                <a:moveTo>
                  <a:pt x="66" y="912"/>
                </a:moveTo>
                <a:lnTo>
                  <a:pt x="66" y="912"/>
                </a:lnTo>
                <a:lnTo>
                  <a:pt x="74" y="920"/>
                </a:lnTo>
                <a:lnTo>
                  <a:pt x="74" y="920"/>
                </a:lnTo>
                <a:lnTo>
                  <a:pt x="74" y="922"/>
                </a:lnTo>
                <a:lnTo>
                  <a:pt x="74" y="922"/>
                </a:lnTo>
                <a:lnTo>
                  <a:pt x="74" y="925"/>
                </a:lnTo>
                <a:lnTo>
                  <a:pt x="74" y="925"/>
                </a:lnTo>
                <a:lnTo>
                  <a:pt x="71" y="925"/>
                </a:lnTo>
                <a:lnTo>
                  <a:pt x="71" y="925"/>
                </a:lnTo>
                <a:lnTo>
                  <a:pt x="71" y="922"/>
                </a:lnTo>
                <a:lnTo>
                  <a:pt x="71" y="922"/>
                </a:lnTo>
                <a:lnTo>
                  <a:pt x="66" y="917"/>
                </a:lnTo>
                <a:lnTo>
                  <a:pt x="66" y="917"/>
                </a:lnTo>
                <a:lnTo>
                  <a:pt x="66" y="912"/>
                </a:lnTo>
                <a:lnTo>
                  <a:pt x="66" y="912"/>
                </a:lnTo>
                <a:lnTo>
                  <a:pt x="66" y="912"/>
                </a:lnTo>
                <a:lnTo>
                  <a:pt x="66" y="912"/>
                </a:lnTo>
                <a:lnTo>
                  <a:pt x="66" y="912"/>
                </a:lnTo>
                <a:close/>
                <a:moveTo>
                  <a:pt x="71" y="908"/>
                </a:moveTo>
                <a:lnTo>
                  <a:pt x="71" y="908"/>
                </a:lnTo>
                <a:lnTo>
                  <a:pt x="74" y="912"/>
                </a:lnTo>
                <a:lnTo>
                  <a:pt x="74" y="912"/>
                </a:lnTo>
                <a:lnTo>
                  <a:pt x="74" y="915"/>
                </a:lnTo>
                <a:lnTo>
                  <a:pt x="74" y="915"/>
                </a:lnTo>
                <a:lnTo>
                  <a:pt x="76" y="920"/>
                </a:lnTo>
                <a:lnTo>
                  <a:pt x="76" y="920"/>
                </a:lnTo>
                <a:lnTo>
                  <a:pt x="79" y="922"/>
                </a:lnTo>
                <a:lnTo>
                  <a:pt x="79" y="922"/>
                </a:lnTo>
                <a:lnTo>
                  <a:pt x="79" y="917"/>
                </a:lnTo>
                <a:lnTo>
                  <a:pt x="79" y="917"/>
                </a:lnTo>
                <a:lnTo>
                  <a:pt x="76" y="912"/>
                </a:lnTo>
                <a:lnTo>
                  <a:pt x="76" y="912"/>
                </a:lnTo>
                <a:lnTo>
                  <a:pt x="74" y="908"/>
                </a:lnTo>
                <a:lnTo>
                  <a:pt x="74" y="908"/>
                </a:lnTo>
                <a:lnTo>
                  <a:pt x="74" y="908"/>
                </a:lnTo>
                <a:lnTo>
                  <a:pt x="71" y="908"/>
                </a:lnTo>
                <a:lnTo>
                  <a:pt x="71" y="908"/>
                </a:lnTo>
                <a:close/>
                <a:moveTo>
                  <a:pt x="66" y="905"/>
                </a:moveTo>
                <a:lnTo>
                  <a:pt x="66" y="905"/>
                </a:lnTo>
                <a:lnTo>
                  <a:pt x="71" y="905"/>
                </a:lnTo>
                <a:lnTo>
                  <a:pt x="71" y="905"/>
                </a:lnTo>
                <a:lnTo>
                  <a:pt x="71" y="905"/>
                </a:lnTo>
                <a:lnTo>
                  <a:pt x="74" y="905"/>
                </a:lnTo>
                <a:lnTo>
                  <a:pt x="74" y="905"/>
                </a:lnTo>
                <a:lnTo>
                  <a:pt x="76" y="903"/>
                </a:lnTo>
                <a:lnTo>
                  <a:pt x="76" y="903"/>
                </a:lnTo>
                <a:lnTo>
                  <a:pt x="71" y="900"/>
                </a:lnTo>
                <a:lnTo>
                  <a:pt x="71" y="900"/>
                </a:lnTo>
                <a:lnTo>
                  <a:pt x="69" y="903"/>
                </a:lnTo>
                <a:lnTo>
                  <a:pt x="69" y="903"/>
                </a:lnTo>
                <a:lnTo>
                  <a:pt x="66" y="905"/>
                </a:lnTo>
                <a:lnTo>
                  <a:pt x="66" y="905"/>
                </a:lnTo>
                <a:close/>
                <a:moveTo>
                  <a:pt x="34" y="905"/>
                </a:moveTo>
                <a:lnTo>
                  <a:pt x="34" y="905"/>
                </a:lnTo>
                <a:lnTo>
                  <a:pt x="34" y="900"/>
                </a:lnTo>
                <a:lnTo>
                  <a:pt x="34" y="900"/>
                </a:lnTo>
                <a:lnTo>
                  <a:pt x="39" y="893"/>
                </a:lnTo>
                <a:lnTo>
                  <a:pt x="39" y="893"/>
                </a:lnTo>
                <a:lnTo>
                  <a:pt x="44" y="893"/>
                </a:lnTo>
                <a:lnTo>
                  <a:pt x="44" y="893"/>
                </a:lnTo>
                <a:lnTo>
                  <a:pt x="42" y="898"/>
                </a:lnTo>
                <a:lnTo>
                  <a:pt x="42" y="898"/>
                </a:lnTo>
                <a:lnTo>
                  <a:pt x="44" y="898"/>
                </a:lnTo>
                <a:lnTo>
                  <a:pt x="44" y="898"/>
                </a:lnTo>
                <a:lnTo>
                  <a:pt x="47" y="895"/>
                </a:lnTo>
                <a:lnTo>
                  <a:pt x="47" y="895"/>
                </a:lnTo>
                <a:lnTo>
                  <a:pt x="49" y="895"/>
                </a:lnTo>
                <a:lnTo>
                  <a:pt x="49" y="895"/>
                </a:lnTo>
                <a:lnTo>
                  <a:pt x="49" y="898"/>
                </a:lnTo>
                <a:lnTo>
                  <a:pt x="49" y="898"/>
                </a:lnTo>
                <a:lnTo>
                  <a:pt x="49" y="903"/>
                </a:lnTo>
                <a:lnTo>
                  <a:pt x="49" y="903"/>
                </a:lnTo>
                <a:lnTo>
                  <a:pt x="44" y="905"/>
                </a:lnTo>
                <a:lnTo>
                  <a:pt x="44" y="905"/>
                </a:lnTo>
                <a:lnTo>
                  <a:pt x="39" y="908"/>
                </a:lnTo>
                <a:lnTo>
                  <a:pt x="39" y="908"/>
                </a:lnTo>
                <a:lnTo>
                  <a:pt x="42" y="908"/>
                </a:lnTo>
                <a:lnTo>
                  <a:pt x="42" y="908"/>
                </a:lnTo>
                <a:lnTo>
                  <a:pt x="42" y="910"/>
                </a:lnTo>
                <a:lnTo>
                  <a:pt x="42" y="910"/>
                </a:lnTo>
                <a:lnTo>
                  <a:pt x="44" y="908"/>
                </a:lnTo>
                <a:lnTo>
                  <a:pt x="44" y="908"/>
                </a:lnTo>
                <a:lnTo>
                  <a:pt x="47" y="905"/>
                </a:lnTo>
                <a:lnTo>
                  <a:pt x="47" y="905"/>
                </a:lnTo>
                <a:lnTo>
                  <a:pt x="52" y="900"/>
                </a:lnTo>
                <a:lnTo>
                  <a:pt x="52" y="900"/>
                </a:lnTo>
                <a:lnTo>
                  <a:pt x="56" y="898"/>
                </a:lnTo>
                <a:lnTo>
                  <a:pt x="56" y="898"/>
                </a:lnTo>
                <a:lnTo>
                  <a:pt x="56" y="898"/>
                </a:lnTo>
                <a:lnTo>
                  <a:pt x="52" y="903"/>
                </a:lnTo>
                <a:lnTo>
                  <a:pt x="52" y="903"/>
                </a:lnTo>
                <a:lnTo>
                  <a:pt x="52" y="908"/>
                </a:lnTo>
                <a:lnTo>
                  <a:pt x="52" y="908"/>
                </a:lnTo>
                <a:lnTo>
                  <a:pt x="47" y="912"/>
                </a:lnTo>
                <a:lnTo>
                  <a:pt x="47" y="912"/>
                </a:lnTo>
                <a:lnTo>
                  <a:pt x="47" y="917"/>
                </a:lnTo>
                <a:lnTo>
                  <a:pt x="47" y="917"/>
                </a:lnTo>
                <a:lnTo>
                  <a:pt x="44" y="920"/>
                </a:lnTo>
                <a:lnTo>
                  <a:pt x="44" y="920"/>
                </a:lnTo>
                <a:lnTo>
                  <a:pt x="42" y="920"/>
                </a:lnTo>
                <a:lnTo>
                  <a:pt x="42" y="920"/>
                </a:lnTo>
                <a:lnTo>
                  <a:pt x="39" y="922"/>
                </a:lnTo>
                <a:lnTo>
                  <a:pt x="39" y="922"/>
                </a:lnTo>
                <a:lnTo>
                  <a:pt x="42" y="922"/>
                </a:lnTo>
                <a:lnTo>
                  <a:pt x="42" y="922"/>
                </a:lnTo>
                <a:lnTo>
                  <a:pt x="44" y="922"/>
                </a:lnTo>
                <a:lnTo>
                  <a:pt x="44" y="922"/>
                </a:lnTo>
                <a:lnTo>
                  <a:pt x="47" y="922"/>
                </a:lnTo>
                <a:lnTo>
                  <a:pt x="47" y="922"/>
                </a:lnTo>
                <a:lnTo>
                  <a:pt x="47" y="925"/>
                </a:lnTo>
                <a:lnTo>
                  <a:pt x="47" y="925"/>
                </a:lnTo>
                <a:lnTo>
                  <a:pt x="44" y="925"/>
                </a:lnTo>
                <a:lnTo>
                  <a:pt x="44" y="925"/>
                </a:lnTo>
                <a:lnTo>
                  <a:pt x="42" y="930"/>
                </a:lnTo>
                <a:lnTo>
                  <a:pt x="42" y="930"/>
                </a:lnTo>
                <a:lnTo>
                  <a:pt x="42" y="932"/>
                </a:lnTo>
                <a:lnTo>
                  <a:pt x="42" y="932"/>
                </a:lnTo>
                <a:lnTo>
                  <a:pt x="42" y="937"/>
                </a:lnTo>
                <a:lnTo>
                  <a:pt x="42" y="937"/>
                </a:lnTo>
                <a:lnTo>
                  <a:pt x="44" y="942"/>
                </a:lnTo>
                <a:lnTo>
                  <a:pt x="44" y="942"/>
                </a:lnTo>
                <a:lnTo>
                  <a:pt x="44" y="947"/>
                </a:lnTo>
                <a:lnTo>
                  <a:pt x="44" y="947"/>
                </a:lnTo>
                <a:lnTo>
                  <a:pt x="47" y="944"/>
                </a:lnTo>
                <a:lnTo>
                  <a:pt x="47" y="944"/>
                </a:lnTo>
                <a:lnTo>
                  <a:pt x="47" y="947"/>
                </a:lnTo>
                <a:lnTo>
                  <a:pt x="47" y="947"/>
                </a:lnTo>
                <a:lnTo>
                  <a:pt x="47" y="949"/>
                </a:lnTo>
                <a:lnTo>
                  <a:pt x="47" y="949"/>
                </a:lnTo>
                <a:lnTo>
                  <a:pt x="42" y="949"/>
                </a:lnTo>
                <a:lnTo>
                  <a:pt x="42" y="949"/>
                </a:lnTo>
                <a:lnTo>
                  <a:pt x="37" y="940"/>
                </a:lnTo>
                <a:lnTo>
                  <a:pt x="37" y="940"/>
                </a:lnTo>
                <a:lnTo>
                  <a:pt x="37" y="935"/>
                </a:lnTo>
                <a:lnTo>
                  <a:pt x="37" y="935"/>
                </a:lnTo>
                <a:lnTo>
                  <a:pt x="37" y="932"/>
                </a:lnTo>
                <a:lnTo>
                  <a:pt x="37" y="932"/>
                </a:lnTo>
                <a:lnTo>
                  <a:pt x="34" y="932"/>
                </a:lnTo>
                <a:lnTo>
                  <a:pt x="34" y="932"/>
                </a:lnTo>
                <a:lnTo>
                  <a:pt x="34" y="930"/>
                </a:lnTo>
                <a:lnTo>
                  <a:pt x="34" y="930"/>
                </a:lnTo>
                <a:lnTo>
                  <a:pt x="34" y="927"/>
                </a:lnTo>
                <a:lnTo>
                  <a:pt x="34" y="927"/>
                </a:lnTo>
                <a:lnTo>
                  <a:pt x="39" y="927"/>
                </a:lnTo>
                <a:lnTo>
                  <a:pt x="39" y="927"/>
                </a:lnTo>
                <a:lnTo>
                  <a:pt x="34" y="925"/>
                </a:lnTo>
                <a:lnTo>
                  <a:pt x="34" y="925"/>
                </a:lnTo>
                <a:lnTo>
                  <a:pt x="34" y="925"/>
                </a:lnTo>
                <a:lnTo>
                  <a:pt x="34" y="920"/>
                </a:lnTo>
                <a:lnTo>
                  <a:pt x="34" y="920"/>
                </a:lnTo>
                <a:lnTo>
                  <a:pt x="32" y="917"/>
                </a:lnTo>
                <a:lnTo>
                  <a:pt x="32" y="917"/>
                </a:lnTo>
                <a:lnTo>
                  <a:pt x="34" y="915"/>
                </a:lnTo>
                <a:lnTo>
                  <a:pt x="34" y="915"/>
                </a:lnTo>
                <a:lnTo>
                  <a:pt x="37" y="917"/>
                </a:lnTo>
                <a:lnTo>
                  <a:pt x="37" y="917"/>
                </a:lnTo>
                <a:lnTo>
                  <a:pt x="37" y="917"/>
                </a:lnTo>
                <a:lnTo>
                  <a:pt x="37" y="915"/>
                </a:lnTo>
                <a:lnTo>
                  <a:pt x="37" y="915"/>
                </a:lnTo>
                <a:lnTo>
                  <a:pt x="34" y="912"/>
                </a:lnTo>
                <a:lnTo>
                  <a:pt x="34" y="912"/>
                </a:lnTo>
                <a:lnTo>
                  <a:pt x="32" y="912"/>
                </a:lnTo>
                <a:lnTo>
                  <a:pt x="32" y="912"/>
                </a:lnTo>
                <a:lnTo>
                  <a:pt x="32" y="910"/>
                </a:lnTo>
                <a:lnTo>
                  <a:pt x="32" y="910"/>
                </a:lnTo>
                <a:lnTo>
                  <a:pt x="34" y="905"/>
                </a:lnTo>
                <a:lnTo>
                  <a:pt x="34" y="905"/>
                </a:lnTo>
                <a:close/>
                <a:moveTo>
                  <a:pt x="71" y="890"/>
                </a:moveTo>
                <a:lnTo>
                  <a:pt x="71" y="890"/>
                </a:lnTo>
                <a:lnTo>
                  <a:pt x="71" y="888"/>
                </a:lnTo>
                <a:lnTo>
                  <a:pt x="71" y="888"/>
                </a:lnTo>
                <a:lnTo>
                  <a:pt x="74" y="885"/>
                </a:lnTo>
                <a:lnTo>
                  <a:pt x="74" y="885"/>
                </a:lnTo>
                <a:lnTo>
                  <a:pt x="74" y="888"/>
                </a:lnTo>
                <a:lnTo>
                  <a:pt x="74" y="888"/>
                </a:lnTo>
                <a:lnTo>
                  <a:pt x="71" y="890"/>
                </a:lnTo>
                <a:lnTo>
                  <a:pt x="71" y="890"/>
                </a:lnTo>
                <a:close/>
                <a:moveTo>
                  <a:pt x="386" y="418"/>
                </a:moveTo>
                <a:lnTo>
                  <a:pt x="386" y="418"/>
                </a:lnTo>
                <a:lnTo>
                  <a:pt x="389" y="421"/>
                </a:lnTo>
                <a:lnTo>
                  <a:pt x="389" y="421"/>
                </a:lnTo>
                <a:lnTo>
                  <a:pt x="389" y="421"/>
                </a:lnTo>
                <a:lnTo>
                  <a:pt x="389" y="418"/>
                </a:lnTo>
                <a:lnTo>
                  <a:pt x="389" y="418"/>
                </a:lnTo>
                <a:lnTo>
                  <a:pt x="391" y="418"/>
                </a:lnTo>
                <a:lnTo>
                  <a:pt x="391" y="418"/>
                </a:lnTo>
                <a:lnTo>
                  <a:pt x="386" y="418"/>
                </a:lnTo>
                <a:lnTo>
                  <a:pt x="386" y="418"/>
                </a:lnTo>
                <a:lnTo>
                  <a:pt x="386" y="418"/>
                </a:lnTo>
                <a:close/>
                <a:moveTo>
                  <a:pt x="357" y="389"/>
                </a:moveTo>
                <a:lnTo>
                  <a:pt x="357" y="389"/>
                </a:lnTo>
                <a:lnTo>
                  <a:pt x="359" y="391"/>
                </a:lnTo>
                <a:lnTo>
                  <a:pt x="359" y="391"/>
                </a:lnTo>
                <a:lnTo>
                  <a:pt x="362" y="389"/>
                </a:lnTo>
                <a:lnTo>
                  <a:pt x="362" y="389"/>
                </a:lnTo>
                <a:lnTo>
                  <a:pt x="362" y="386"/>
                </a:lnTo>
                <a:lnTo>
                  <a:pt x="362" y="386"/>
                </a:lnTo>
                <a:lnTo>
                  <a:pt x="357" y="386"/>
                </a:lnTo>
                <a:lnTo>
                  <a:pt x="357" y="386"/>
                </a:lnTo>
                <a:lnTo>
                  <a:pt x="357" y="389"/>
                </a:lnTo>
                <a:lnTo>
                  <a:pt x="357" y="389"/>
                </a:lnTo>
                <a:close/>
                <a:moveTo>
                  <a:pt x="248" y="398"/>
                </a:moveTo>
                <a:lnTo>
                  <a:pt x="248" y="398"/>
                </a:lnTo>
                <a:lnTo>
                  <a:pt x="248" y="398"/>
                </a:lnTo>
                <a:lnTo>
                  <a:pt x="251" y="396"/>
                </a:lnTo>
                <a:lnTo>
                  <a:pt x="251" y="396"/>
                </a:lnTo>
                <a:lnTo>
                  <a:pt x="248" y="396"/>
                </a:lnTo>
                <a:lnTo>
                  <a:pt x="248" y="398"/>
                </a:lnTo>
                <a:lnTo>
                  <a:pt x="248" y="398"/>
                </a:lnTo>
                <a:close/>
                <a:moveTo>
                  <a:pt x="246" y="403"/>
                </a:moveTo>
                <a:lnTo>
                  <a:pt x="246" y="403"/>
                </a:lnTo>
                <a:lnTo>
                  <a:pt x="246" y="403"/>
                </a:lnTo>
                <a:lnTo>
                  <a:pt x="248" y="401"/>
                </a:lnTo>
                <a:lnTo>
                  <a:pt x="248" y="401"/>
                </a:lnTo>
                <a:lnTo>
                  <a:pt x="248" y="403"/>
                </a:lnTo>
                <a:lnTo>
                  <a:pt x="248" y="403"/>
                </a:lnTo>
                <a:lnTo>
                  <a:pt x="246" y="403"/>
                </a:lnTo>
                <a:lnTo>
                  <a:pt x="246" y="403"/>
                </a:lnTo>
                <a:close/>
                <a:moveTo>
                  <a:pt x="241" y="413"/>
                </a:moveTo>
                <a:lnTo>
                  <a:pt x="241" y="413"/>
                </a:lnTo>
                <a:lnTo>
                  <a:pt x="241" y="418"/>
                </a:lnTo>
                <a:lnTo>
                  <a:pt x="241" y="418"/>
                </a:lnTo>
                <a:lnTo>
                  <a:pt x="241" y="421"/>
                </a:lnTo>
                <a:lnTo>
                  <a:pt x="241" y="421"/>
                </a:lnTo>
                <a:lnTo>
                  <a:pt x="241" y="423"/>
                </a:lnTo>
                <a:lnTo>
                  <a:pt x="241" y="423"/>
                </a:lnTo>
                <a:lnTo>
                  <a:pt x="243" y="423"/>
                </a:lnTo>
                <a:lnTo>
                  <a:pt x="243" y="423"/>
                </a:lnTo>
                <a:lnTo>
                  <a:pt x="246" y="421"/>
                </a:lnTo>
                <a:lnTo>
                  <a:pt x="246" y="421"/>
                </a:lnTo>
                <a:lnTo>
                  <a:pt x="248" y="421"/>
                </a:lnTo>
                <a:lnTo>
                  <a:pt x="248" y="421"/>
                </a:lnTo>
                <a:lnTo>
                  <a:pt x="258" y="413"/>
                </a:lnTo>
                <a:lnTo>
                  <a:pt x="258" y="413"/>
                </a:lnTo>
                <a:lnTo>
                  <a:pt x="263" y="411"/>
                </a:lnTo>
                <a:lnTo>
                  <a:pt x="263" y="411"/>
                </a:lnTo>
                <a:lnTo>
                  <a:pt x="266" y="406"/>
                </a:lnTo>
                <a:lnTo>
                  <a:pt x="266" y="406"/>
                </a:lnTo>
                <a:lnTo>
                  <a:pt x="263" y="408"/>
                </a:lnTo>
                <a:lnTo>
                  <a:pt x="263" y="408"/>
                </a:lnTo>
                <a:lnTo>
                  <a:pt x="261" y="406"/>
                </a:lnTo>
                <a:lnTo>
                  <a:pt x="261" y="406"/>
                </a:lnTo>
                <a:lnTo>
                  <a:pt x="261" y="401"/>
                </a:lnTo>
                <a:lnTo>
                  <a:pt x="261" y="401"/>
                </a:lnTo>
                <a:lnTo>
                  <a:pt x="258" y="401"/>
                </a:lnTo>
                <a:lnTo>
                  <a:pt x="258" y="401"/>
                </a:lnTo>
                <a:lnTo>
                  <a:pt x="256" y="406"/>
                </a:lnTo>
                <a:lnTo>
                  <a:pt x="256" y="406"/>
                </a:lnTo>
                <a:lnTo>
                  <a:pt x="253" y="406"/>
                </a:lnTo>
                <a:lnTo>
                  <a:pt x="253" y="406"/>
                </a:lnTo>
                <a:lnTo>
                  <a:pt x="253" y="408"/>
                </a:lnTo>
                <a:lnTo>
                  <a:pt x="253" y="408"/>
                </a:lnTo>
                <a:lnTo>
                  <a:pt x="251" y="408"/>
                </a:lnTo>
                <a:lnTo>
                  <a:pt x="251" y="408"/>
                </a:lnTo>
                <a:lnTo>
                  <a:pt x="251" y="411"/>
                </a:lnTo>
                <a:lnTo>
                  <a:pt x="251" y="411"/>
                </a:lnTo>
                <a:lnTo>
                  <a:pt x="251" y="413"/>
                </a:lnTo>
                <a:lnTo>
                  <a:pt x="251" y="413"/>
                </a:lnTo>
                <a:lnTo>
                  <a:pt x="248" y="411"/>
                </a:lnTo>
                <a:lnTo>
                  <a:pt x="248" y="411"/>
                </a:lnTo>
                <a:lnTo>
                  <a:pt x="248" y="408"/>
                </a:lnTo>
                <a:lnTo>
                  <a:pt x="248" y="408"/>
                </a:lnTo>
                <a:lnTo>
                  <a:pt x="248" y="406"/>
                </a:lnTo>
                <a:lnTo>
                  <a:pt x="248" y="406"/>
                </a:lnTo>
                <a:lnTo>
                  <a:pt x="246" y="408"/>
                </a:lnTo>
                <a:lnTo>
                  <a:pt x="246" y="408"/>
                </a:lnTo>
                <a:lnTo>
                  <a:pt x="243" y="408"/>
                </a:lnTo>
                <a:lnTo>
                  <a:pt x="243" y="408"/>
                </a:lnTo>
                <a:lnTo>
                  <a:pt x="243" y="411"/>
                </a:lnTo>
                <a:lnTo>
                  <a:pt x="243" y="411"/>
                </a:lnTo>
                <a:lnTo>
                  <a:pt x="241" y="413"/>
                </a:lnTo>
                <a:lnTo>
                  <a:pt x="241" y="413"/>
                </a:lnTo>
                <a:close/>
                <a:moveTo>
                  <a:pt x="231" y="423"/>
                </a:moveTo>
                <a:lnTo>
                  <a:pt x="231" y="423"/>
                </a:lnTo>
                <a:lnTo>
                  <a:pt x="231" y="421"/>
                </a:lnTo>
                <a:lnTo>
                  <a:pt x="231" y="421"/>
                </a:lnTo>
                <a:lnTo>
                  <a:pt x="231" y="413"/>
                </a:lnTo>
                <a:lnTo>
                  <a:pt x="231" y="413"/>
                </a:lnTo>
                <a:lnTo>
                  <a:pt x="229" y="416"/>
                </a:lnTo>
                <a:lnTo>
                  <a:pt x="229" y="416"/>
                </a:lnTo>
                <a:lnTo>
                  <a:pt x="229" y="421"/>
                </a:lnTo>
                <a:lnTo>
                  <a:pt x="229" y="421"/>
                </a:lnTo>
                <a:lnTo>
                  <a:pt x="226" y="421"/>
                </a:lnTo>
                <a:lnTo>
                  <a:pt x="226" y="421"/>
                </a:lnTo>
                <a:lnTo>
                  <a:pt x="229" y="421"/>
                </a:lnTo>
                <a:lnTo>
                  <a:pt x="231" y="423"/>
                </a:lnTo>
                <a:lnTo>
                  <a:pt x="231" y="423"/>
                </a:lnTo>
                <a:close/>
                <a:moveTo>
                  <a:pt x="231" y="425"/>
                </a:moveTo>
                <a:lnTo>
                  <a:pt x="231" y="425"/>
                </a:lnTo>
                <a:lnTo>
                  <a:pt x="234" y="423"/>
                </a:lnTo>
                <a:lnTo>
                  <a:pt x="234" y="423"/>
                </a:lnTo>
                <a:lnTo>
                  <a:pt x="234" y="421"/>
                </a:lnTo>
                <a:lnTo>
                  <a:pt x="234" y="421"/>
                </a:lnTo>
                <a:lnTo>
                  <a:pt x="234" y="418"/>
                </a:lnTo>
                <a:lnTo>
                  <a:pt x="234" y="418"/>
                </a:lnTo>
                <a:lnTo>
                  <a:pt x="234" y="413"/>
                </a:lnTo>
                <a:lnTo>
                  <a:pt x="234" y="413"/>
                </a:lnTo>
                <a:lnTo>
                  <a:pt x="234" y="411"/>
                </a:lnTo>
                <a:lnTo>
                  <a:pt x="234" y="411"/>
                </a:lnTo>
                <a:lnTo>
                  <a:pt x="236" y="411"/>
                </a:lnTo>
                <a:lnTo>
                  <a:pt x="236" y="411"/>
                </a:lnTo>
                <a:lnTo>
                  <a:pt x="236" y="411"/>
                </a:lnTo>
                <a:lnTo>
                  <a:pt x="239" y="408"/>
                </a:lnTo>
                <a:lnTo>
                  <a:pt x="239" y="408"/>
                </a:lnTo>
                <a:lnTo>
                  <a:pt x="239" y="413"/>
                </a:lnTo>
                <a:lnTo>
                  <a:pt x="239" y="413"/>
                </a:lnTo>
                <a:lnTo>
                  <a:pt x="239" y="421"/>
                </a:lnTo>
                <a:lnTo>
                  <a:pt x="239" y="421"/>
                </a:lnTo>
                <a:lnTo>
                  <a:pt x="239" y="423"/>
                </a:lnTo>
                <a:lnTo>
                  <a:pt x="239" y="423"/>
                </a:lnTo>
                <a:lnTo>
                  <a:pt x="239" y="425"/>
                </a:lnTo>
                <a:lnTo>
                  <a:pt x="239" y="425"/>
                </a:lnTo>
                <a:lnTo>
                  <a:pt x="236" y="428"/>
                </a:lnTo>
                <a:lnTo>
                  <a:pt x="236" y="428"/>
                </a:lnTo>
                <a:lnTo>
                  <a:pt x="231" y="425"/>
                </a:lnTo>
                <a:lnTo>
                  <a:pt x="231" y="425"/>
                </a:lnTo>
                <a:close/>
                <a:moveTo>
                  <a:pt x="236" y="440"/>
                </a:moveTo>
                <a:lnTo>
                  <a:pt x="236" y="440"/>
                </a:lnTo>
                <a:lnTo>
                  <a:pt x="239" y="438"/>
                </a:lnTo>
                <a:lnTo>
                  <a:pt x="239" y="438"/>
                </a:lnTo>
                <a:lnTo>
                  <a:pt x="236" y="433"/>
                </a:lnTo>
                <a:lnTo>
                  <a:pt x="236" y="433"/>
                </a:lnTo>
                <a:lnTo>
                  <a:pt x="236" y="428"/>
                </a:lnTo>
                <a:lnTo>
                  <a:pt x="236" y="428"/>
                </a:lnTo>
                <a:lnTo>
                  <a:pt x="234" y="428"/>
                </a:lnTo>
                <a:lnTo>
                  <a:pt x="234" y="428"/>
                </a:lnTo>
                <a:lnTo>
                  <a:pt x="229" y="423"/>
                </a:lnTo>
                <a:lnTo>
                  <a:pt x="229" y="423"/>
                </a:lnTo>
                <a:lnTo>
                  <a:pt x="226" y="425"/>
                </a:lnTo>
                <a:lnTo>
                  <a:pt x="226" y="425"/>
                </a:lnTo>
                <a:lnTo>
                  <a:pt x="226" y="425"/>
                </a:lnTo>
                <a:lnTo>
                  <a:pt x="231" y="430"/>
                </a:lnTo>
                <a:lnTo>
                  <a:pt x="231" y="430"/>
                </a:lnTo>
                <a:lnTo>
                  <a:pt x="229" y="430"/>
                </a:lnTo>
                <a:lnTo>
                  <a:pt x="229" y="430"/>
                </a:lnTo>
                <a:lnTo>
                  <a:pt x="229" y="433"/>
                </a:lnTo>
                <a:lnTo>
                  <a:pt x="229" y="433"/>
                </a:lnTo>
                <a:lnTo>
                  <a:pt x="231" y="435"/>
                </a:lnTo>
                <a:lnTo>
                  <a:pt x="231" y="435"/>
                </a:lnTo>
                <a:lnTo>
                  <a:pt x="236" y="440"/>
                </a:lnTo>
                <a:lnTo>
                  <a:pt x="236" y="440"/>
                </a:lnTo>
                <a:close/>
                <a:moveTo>
                  <a:pt x="202" y="384"/>
                </a:moveTo>
                <a:lnTo>
                  <a:pt x="202" y="384"/>
                </a:lnTo>
                <a:lnTo>
                  <a:pt x="204" y="389"/>
                </a:lnTo>
                <a:lnTo>
                  <a:pt x="204" y="389"/>
                </a:lnTo>
                <a:lnTo>
                  <a:pt x="207" y="389"/>
                </a:lnTo>
                <a:lnTo>
                  <a:pt x="207" y="389"/>
                </a:lnTo>
                <a:lnTo>
                  <a:pt x="209" y="389"/>
                </a:lnTo>
                <a:lnTo>
                  <a:pt x="209" y="389"/>
                </a:lnTo>
                <a:lnTo>
                  <a:pt x="209" y="389"/>
                </a:lnTo>
                <a:lnTo>
                  <a:pt x="207" y="384"/>
                </a:lnTo>
                <a:lnTo>
                  <a:pt x="207" y="384"/>
                </a:lnTo>
                <a:lnTo>
                  <a:pt x="204" y="384"/>
                </a:lnTo>
                <a:lnTo>
                  <a:pt x="204" y="384"/>
                </a:lnTo>
                <a:lnTo>
                  <a:pt x="202" y="384"/>
                </a:lnTo>
                <a:lnTo>
                  <a:pt x="202" y="384"/>
                </a:lnTo>
                <a:close/>
                <a:moveTo>
                  <a:pt x="138" y="1045"/>
                </a:moveTo>
                <a:lnTo>
                  <a:pt x="138" y="1045"/>
                </a:lnTo>
                <a:lnTo>
                  <a:pt x="138" y="1045"/>
                </a:lnTo>
                <a:lnTo>
                  <a:pt x="135" y="1043"/>
                </a:lnTo>
                <a:lnTo>
                  <a:pt x="135" y="1043"/>
                </a:lnTo>
                <a:lnTo>
                  <a:pt x="133" y="1038"/>
                </a:lnTo>
                <a:lnTo>
                  <a:pt x="133" y="1038"/>
                </a:lnTo>
                <a:lnTo>
                  <a:pt x="138" y="1033"/>
                </a:lnTo>
                <a:lnTo>
                  <a:pt x="138" y="1033"/>
                </a:lnTo>
                <a:lnTo>
                  <a:pt x="138" y="1028"/>
                </a:lnTo>
                <a:lnTo>
                  <a:pt x="138" y="1028"/>
                </a:lnTo>
                <a:lnTo>
                  <a:pt x="135" y="1031"/>
                </a:lnTo>
                <a:lnTo>
                  <a:pt x="135" y="1031"/>
                </a:lnTo>
                <a:lnTo>
                  <a:pt x="133" y="1031"/>
                </a:lnTo>
                <a:lnTo>
                  <a:pt x="133" y="1031"/>
                </a:lnTo>
                <a:lnTo>
                  <a:pt x="128" y="1033"/>
                </a:lnTo>
                <a:lnTo>
                  <a:pt x="128" y="1033"/>
                </a:lnTo>
                <a:lnTo>
                  <a:pt x="125" y="1031"/>
                </a:lnTo>
                <a:lnTo>
                  <a:pt x="125" y="1031"/>
                </a:lnTo>
                <a:lnTo>
                  <a:pt x="125" y="1026"/>
                </a:lnTo>
                <a:lnTo>
                  <a:pt x="125" y="1026"/>
                </a:lnTo>
                <a:lnTo>
                  <a:pt x="128" y="1026"/>
                </a:lnTo>
                <a:lnTo>
                  <a:pt x="128" y="1026"/>
                </a:lnTo>
                <a:lnTo>
                  <a:pt x="128" y="1028"/>
                </a:lnTo>
                <a:lnTo>
                  <a:pt x="128" y="1028"/>
                </a:lnTo>
                <a:lnTo>
                  <a:pt x="130" y="1031"/>
                </a:lnTo>
                <a:lnTo>
                  <a:pt x="130" y="1031"/>
                </a:lnTo>
                <a:lnTo>
                  <a:pt x="130" y="1028"/>
                </a:lnTo>
                <a:lnTo>
                  <a:pt x="130" y="1028"/>
                </a:lnTo>
                <a:lnTo>
                  <a:pt x="128" y="1026"/>
                </a:lnTo>
                <a:lnTo>
                  <a:pt x="128" y="1026"/>
                </a:lnTo>
                <a:lnTo>
                  <a:pt x="128" y="1023"/>
                </a:lnTo>
                <a:lnTo>
                  <a:pt x="128" y="1023"/>
                </a:lnTo>
                <a:lnTo>
                  <a:pt x="125" y="1023"/>
                </a:lnTo>
                <a:lnTo>
                  <a:pt x="125" y="1023"/>
                </a:lnTo>
                <a:lnTo>
                  <a:pt x="123" y="1023"/>
                </a:lnTo>
                <a:lnTo>
                  <a:pt x="123" y="1023"/>
                </a:lnTo>
                <a:lnTo>
                  <a:pt x="120" y="1023"/>
                </a:lnTo>
                <a:lnTo>
                  <a:pt x="120" y="1023"/>
                </a:lnTo>
                <a:lnTo>
                  <a:pt x="118" y="1018"/>
                </a:lnTo>
                <a:lnTo>
                  <a:pt x="118" y="1018"/>
                </a:lnTo>
                <a:lnTo>
                  <a:pt x="118" y="1016"/>
                </a:lnTo>
                <a:lnTo>
                  <a:pt x="118" y="1016"/>
                </a:lnTo>
                <a:lnTo>
                  <a:pt x="123" y="1013"/>
                </a:lnTo>
                <a:lnTo>
                  <a:pt x="123" y="1013"/>
                </a:lnTo>
                <a:lnTo>
                  <a:pt x="123" y="1011"/>
                </a:lnTo>
                <a:lnTo>
                  <a:pt x="123" y="1011"/>
                </a:lnTo>
                <a:lnTo>
                  <a:pt x="125" y="1008"/>
                </a:lnTo>
                <a:lnTo>
                  <a:pt x="125" y="1008"/>
                </a:lnTo>
                <a:lnTo>
                  <a:pt x="125" y="1008"/>
                </a:lnTo>
                <a:lnTo>
                  <a:pt x="123" y="1008"/>
                </a:lnTo>
                <a:lnTo>
                  <a:pt x="123" y="1008"/>
                </a:lnTo>
                <a:lnTo>
                  <a:pt x="118" y="1008"/>
                </a:lnTo>
                <a:lnTo>
                  <a:pt x="118" y="1008"/>
                </a:lnTo>
                <a:lnTo>
                  <a:pt x="118" y="1008"/>
                </a:lnTo>
                <a:lnTo>
                  <a:pt x="120" y="1006"/>
                </a:lnTo>
                <a:lnTo>
                  <a:pt x="120" y="1006"/>
                </a:lnTo>
                <a:lnTo>
                  <a:pt x="123" y="1001"/>
                </a:lnTo>
                <a:lnTo>
                  <a:pt x="123" y="1001"/>
                </a:lnTo>
                <a:lnTo>
                  <a:pt x="123" y="996"/>
                </a:lnTo>
                <a:lnTo>
                  <a:pt x="123" y="996"/>
                </a:lnTo>
                <a:lnTo>
                  <a:pt x="123" y="996"/>
                </a:lnTo>
                <a:lnTo>
                  <a:pt x="123" y="994"/>
                </a:lnTo>
                <a:lnTo>
                  <a:pt x="123" y="994"/>
                </a:lnTo>
                <a:lnTo>
                  <a:pt x="123" y="994"/>
                </a:lnTo>
                <a:lnTo>
                  <a:pt x="120" y="996"/>
                </a:lnTo>
                <a:lnTo>
                  <a:pt x="120" y="996"/>
                </a:lnTo>
                <a:lnTo>
                  <a:pt x="120" y="1001"/>
                </a:lnTo>
                <a:lnTo>
                  <a:pt x="120" y="1001"/>
                </a:lnTo>
                <a:lnTo>
                  <a:pt x="118" y="1006"/>
                </a:lnTo>
                <a:lnTo>
                  <a:pt x="118" y="1006"/>
                </a:lnTo>
                <a:lnTo>
                  <a:pt x="116" y="1006"/>
                </a:lnTo>
                <a:lnTo>
                  <a:pt x="116" y="1006"/>
                </a:lnTo>
                <a:lnTo>
                  <a:pt x="113" y="1006"/>
                </a:lnTo>
                <a:lnTo>
                  <a:pt x="113" y="1006"/>
                </a:lnTo>
                <a:lnTo>
                  <a:pt x="111" y="1006"/>
                </a:lnTo>
                <a:lnTo>
                  <a:pt x="111" y="1006"/>
                </a:lnTo>
                <a:lnTo>
                  <a:pt x="111" y="1003"/>
                </a:lnTo>
                <a:lnTo>
                  <a:pt x="111" y="1003"/>
                </a:lnTo>
                <a:lnTo>
                  <a:pt x="113" y="1001"/>
                </a:lnTo>
                <a:lnTo>
                  <a:pt x="113" y="1001"/>
                </a:lnTo>
                <a:lnTo>
                  <a:pt x="113" y="1001"/>
                </a:lnTo>
                <a:lnTo>
                  <a:pt x="111" y="1001"/>
                </a:lnTo>
                <a:lnTo>
                  <a:pt x="111" y="1001"/>
                </a:lnTo>
                <a:lnTo>
                  <a:pt x="108" y="1003"/>
                </a:lnTo>
                <a:lnTo>
                  <a:pt x="108" y="1003"/>
                </a:lnTo>
                <a:lnTo>
                  <a:pt x="108" y="1003"/>
                </a:lnTo>
                <a:lnTo>
                  <a:pt x="108" y="1003"/>
                </a:lnTo>
                <a:lnTo>
                  <a:pt x="106" y="1003"/>
                </a:lnTo>
                <a:lnTo>
                  <a:pt x="106" y="1003"/>
                </a:lnTo>
                <a:lnTo>
                  <a:pt x="103" y="1003"/>
                </a:lnTo>
                <a:lnTo>
                  <a:pt x="103" y="1003"/>
                </a:lnTo>
                <a:lnTo>
                  <a:pt x="101" y="1003"/>
                </a:lnTo>
                <a:lnTo>
                  <a:pt x="101" y="1003"/>
                </a:lnTo>
                <a:lnTo>
                  <a:pt x="101" y="1001"/>
                </a:lnTo>
                <a:lnTo>
                  <a:pt x="101" y="1001"/>
                </a:lnTo>
                <a:lnTo>
                  <a:pt x="103" y="999"/>
                </a:lnTo>
                <a:lnTo>
                  <a:pt x="103" y="999"/>
                </a:lnTo>
                <a:lnTo>
                  <a:pt x="106" y="999"/>
                </a:lnTo>
                <a:lnTo>
                  <a:pt x="106" y="999"/>
                </a:lnTo>
                <a:lnTo>
                  <a:pt x="111" y="999"/>
                </a:lnTo>
                <a:lnTo>
                  <a:pt x="111" y="999"/>
                </a:lnTo>
                <a:lnTo>
                  <a:pt x="113" y="996"/>
                </a:lnTo>
                <a:lnTo>
                  <a:pt x="113" y="996"/>
                </a:lnTo>
                <a:lnTo>
                  <a:pt x="116" y="994"/>
                </a:lnTo>
                <a:lnTo>
                  <a:pt x="116" y="994"/>
                </a:lnTo>
                <a:lnTo>
                  <a:pt x="116" y="989"/>
                </a:lnTo>
                <a:lnTo>
                  <a:pt x="116" y="989"/>
                </a:lnTo>
                <a:lnTo>
                  <a:pt x="116" y="991"/>
                </a:lnTo>
                <a:lnTo>
                  <a:pt x="116" y="991"/>
                </a:lnTo>
                <a:lnTo>
                  <a:pt x="113" y="994"/>
                </a:lnTo>
                <a:lnTo>
                  <a:pt x="113" y="994"/>
                </a:lnTo>
                <a:lnTo>
                  <a:pt x="111" y="996"/>
                </a:lnTo>
                <a:lnTo>
                  <a:pt x="111" y="996"/>
                </a:lnTo>
                <a:lnTo>
                  <a:pt x="108" y="999"/>
                </a:lnTo>
                <a:lnTo>
                  <a:pt x="108" y="999"/>
                </a:lnTo>
                <a:lnTo>
                  <a:pt x="103" y="996"/>
                </a:lnTo>
                <a:lnTo>
                  <a:pt x="103" y="996"/>
                </a:lnTo>
                <a:lnTo>
                  <a:pt x="103" y="994"/>
                </a:lnTo>
                <a:lnTo>
                  <a:pt x="103" y="994"/>
                </a:lnTo>
                <a:lnTo>
                  <a:pt x="101" y="994"/>
                </a:lnTo>
                <a:lnTo>
                  <a:pt x="101" y="994"/>
                </a:lnTo>
                <a:lnTo>
                  <a:pt x="101" y="994"/>
                </a:lnTo>
                <a:lnTo>
                  <a:pt x="103" y="991"/>
                </a:lnTo>
                <a:lnTo>
                  <a:pt x="103" y="991"/>
                </a:lnTo>
                <a:lnTo>
                  <a:pt x="101" y="991"/>
                </a:lnTo>
                <a:lnTo>
                  <a:pt x="101" y="991"/>
                </a:lnTo>
                <a:lnTo>
                  <a:pt x="98" y="991"/>
                </a:lnTo>
                <a:lnTo>
                  <a:pt x="98" y="991"/>
                </a:lnTo>
                <a:lnTo>
                  <a:pt x="96" y="991"/>
                </a:lnTo>
                <a:lnTo>
                  <a:pt x="96" y="991"/>
                </a:lnTo>
                <a:lnTo>
                  <a:pt x="93" y="991"/>
                </a:lnTo>
                <a:lnTo>
                  <a:pt x="93" y="991"/>
                </a:lnTo>
                <a:lnTo>
                  <a:pt x="93" y="994"/>
                </a:lnTo>
                <a:lnTo>
                  <a:pt x="93" y="994"/>
                </a:lnTo>
                <a:lnTo>
                  <a:pt x="88" y="991"/>
                </a:lnTo>
                <a:lnTo>
                  <a:pt x="88" y="991"/>
                </a:lnTo>
                <a:lnTo>
                  <a:pt x="88" y="989"/>
                </a:lnTo>
                <a:lnTo>
                  <a:pt x="88" y="989"/>
                </a:lnTo>
                <a:lnTo>
                  <a:pt x="88" y="986"/>
                </a:lnTo>
                <a:lnTo>
                  <a:pt x="88" y="986"/>
                </a:lnTo>
                <a:lnTo>
                  <a:pt x="91" y="989"/>
                </a:lnTo>
                <a:lnTo>
                  <a:pt x="91" y="989"/>
                </a:lnTo>
                <a:lnTo>
                  <a:pt x="93" y="989"/>
                </a:lnTo>
                <a:lnTo>
                  <a:pt x="93" y="989"/>
                </a:lnTo>
                <a:lnTo>
                  <a:pt x="98" y="989"/>
                </a:lnTo>
                <a:lnTo>
                  <a:pt x="98" y="989"/>
                </a:lnTo>
                <a:lnTo>
                  <a:pt x="98" y="986"/>
                </a:lnTo>
                <a:lnTo>
                  <a:pt x="98" y="986"/>
                </a:lnTo>
                <a:lnTo>
                  <a:pt x="96" y="986"/>
                </a:lnTo>
                <a:lnTo>
                  <a:pt x="96" y="986"/>
                </a:lnTo>
                <a:lnTo>
                  <a:pt x="93" y="986"/>
                </a:lnTo>
                <a:lnTo>
                  <a:pt x="93" y="986"/>
                </a:lnTo>
                <a:lnTo>
                  <a:pt x="91" y="986"/>
                </a:lnTo>
                <a:lnTo>
                  <a:pt x="91" y="986"/>
                </a:lnTo>
                <a:lnTo>
                  <a:pt x="91" y="986"/>
                </a:lnTo>
                <a:lnTo>
                  <a:pt x="96" y="986"/>
                </a:lnTo>
                <a:lnTo>
                  <a:pt x="96" y="986"/>
                </a:lnTo>
                <a:lnTo>
                  <a:pt x="98" y="986"/>
                </a:lnTo>
                <a:lnTo>
                  <a:pt x="98" y="986"/>
                </a:lnTo>
                <a:lnTo>
                  <a:pt x="98" y="984"/>
                </a:lnTo>
                <a:lnTo>
                  <a:pt x="98" y="984"/>
                </a:lnTo>
                <a:lnTo>
                  <a:pt x="93" y="984"/>
                </a:lnTo>
                <a:lnTo>
                  <a:pt x="93" y="984"/>
                </a:lnTo>
                <a:lnTo>
                  <a:pt x="93" y="984"/>
                </a:lnTo>
                <a:lnTo>
                  <a:pt x="88" y="984"/>
                </a:lnTo>
                <a:lnTo>
                  <a:pt x="88" y="984"/>
                </a:lnTo>
                <a:lnTo>
                  <a:pt x="86" y="984"/>
                </a:lnTo>
                <a:lnTo>
                  <a:pt x="86" y="984"/>
                </a:lnTo>
                <a:lnTo>
                  <a:pt x="86" y="981"/>
                </a:lnTo>
                <a:lnTo>
                  <a:pt x="86" y="981"/>
                </a:lnTo>
                <a:lnTo>
                  <a:pt x="86" y="979"/>
                </a:lnTo>
                <a:lnTo>
                  <a:pt x="86" y="979"/>
                </a:lnTo>
                <a:lnTo>
                  <a:pt x="88" y="979"/>
                </a:lnTo>
                <a:lnTo>
                  <a:pt x="88" y="979"/>
                </a:lnTo>
                <a:lnTo>
                  <a:pt x="91" y="981"/>
                </a:lnTo>
                <a:lnTo>
                  <a:pt x="91" y="981"/>
                </a:lnTo>
                <a:lnTo>
                  <a:pt x="93" y="981"/>
                </a:lnTo>
                <a:lnTo>
                  <a:pt x="93" y="981"/>
                </a:lnTo>
                <a:lnTo>
                  <a:pt x="96" y="979"/>
                </a:lnTo>
                <a:lnTo>
                  <a:pt x="96" y="979"/>
                </a:lnTo>
                <a:lnTo>
                  <a:pt x="93" y="979"/>
                </a:lnTo>
                <a:lnTo>
                  <a:pt x="93" y="979"/>
                </a:lnTo>
                <a:lnTo>
                  <a:pt x="91" y="979"/>
                </a:lnTo>
                <a:lnTo>
                  <a:pt x="91" y="979"/>
                </a:lnTo>
                <a:lnTo>
                  <a:pt x="86" y="976"/>
                </a:lnTo>
                <a:lnTo>
                  <a:pt x="86" y="976"/>
                </a:lnTo>
                <a:lnTo>
                  <a:pt x="86" y="976"/>
                </a:lnTo>
                <a:lnTo>
                  <a:pt x="91" y="976"/>
                </a:lnTo>
                <a:lnTo>
                  <a:pt x="91" y="976"/>
                </a:lnTo>
                <a:lnTo>
                  <a:pt x="93" y="976"/>
                </a:lnTo>
                <a:lnTo>
                  <a:pt x="93" y="976"/>
                </a:lnTo>
                <a:lnTo>
                  <a:pt x="96" y="976"/>
                </a:lnTo>
                <a:lnTo>
                  <a:pt x="96" y="976"/>
                </a:lnTo>
                <a:lnTo>
                  <a:pt x="93" y="974"/>
                </a:lnTo>
                <a:lnTo>
                  <a:pt x="93" y="974"/>
                </a:lnTo>
                <a:lnTo>
                  <a:pt x="93" y="971"/>
                </a:lnTo>
                <a:lnTo>
                  <a:pt x="93" y="971"/>
                </a:lnTo>
                <a:lnTo>
                  <a:pt x="96" y="971"/>
                </a:lnTo>
                <a:lnTo>
                  <a:pt x="96" y="971"/>
                </a:lnTo>
                <a:lnTo>
                  <a:pt x="101" y="971"/>
                </a:lnTo>
                <a:lnTo>
                  <a:pt x="101" y="971"/>
                </a:lnTo>
                <a:lnTo>
                  <a:pt x="103" y="971"/>
                </a:lnTo>
                <a:lnTo>
                  <a:pt x="103" y="971"/>
                </a:lnTo>
                <a:lnTo>
                  <a:pt x="103" y="971"/>
                </a:lnTo>
                <a:lnTo>
                  <a:pt x="98" y="969"/>
                </a:lnTo>
                <a:lnTo>
                  <a:pt x="98" y="969"/>
                </a:lnTo>
                <a:lnTo>
                  <a:pt x="98" y="969"/>
                </a:lnTo>
                <a:lnTo>
                  <a:pt x="96" y="969"/>
                </a:lnTo>
                <a:lnTo>
                  <a:pt x="96" y="969"/>
                </a:lnTo>
                <a:lnTo>
                  <a:pt x="93" y="971"/>
                </a:lnTo>
                <a:lnTo>
                  <a:pt x="93" y="971"/>
                </a:lnTo>
                <a:lnTo>
                  <a:pt x="91" y="971"/>
                </a:lnTo>
                <a:lnTo>
                  <a:pt x="91" y="971"/>
                </a:lnTo>
                <a:lnTo>
                  <a:pt x="88" y="974"/>
                </a:lnTo>
                <a:lnTo>
                  <a:pt x="88" y="974"/>
                </a:lnTo>
                <a:lnTo>
                  <a:pt x="88" y="971"/>
                </a:lnTo>
                <a:lnTo>
                  <a:pt x="88" y="971"/>
                </a:lnTo>
                <a:lnTo>
                  <a:pt x="88" y="969"/>
                </a:lnTo>
                <a:lnTo>
                  <a:pt x="88" y="969"/>
                </a:lnTo>
                <a:lnTo>
                  <a:pt x="88" y="969"/>
                </a:lnTo>
                <a:lnTo>
                  <a:pt x="88" y="967"/>
                </a:lnTo>
                <a:lnTo>
                  <a:pt x="88" y="967"/>
                </a:lnTo>
                <a:lnTo>
                  <a:pt x="93" y="964"/>
                </a:lnTo>
                <a:lnTo>
                  <a:pt x="93" y="964"/>
                </a:lnTo>
                <a:lnTo>
                  <a:pt x="96" y="962"/>
                </a:lnTo>
                <a:lnTo>
                  <a:pt x="96" y="962"/>
                </a:lnTo>
                <a:lnTo>
                  <a:pt x="103" y="957"/>
                </a:lnTo>
                <a:lnTo>
                  <a:pt x="103" y="957"/>
                </a:lnTo>
                <a:lnTo>
                  <a:pt x="103" y="954"/>
                </a:lnTo>
                <a:lnTo>
                  <a:pt x="103" y="954"/>
                </a:lnTo>
                <a:lnTo>
                  <a:pt x="106" y="957"/>
                </a:lnTo>
                <a:lnTo>
                  <a:pt x="106" y="957"/>
                </a:lnTo>
                <a:lnTo>
                  <a:pt x="106" y="962"/>
                </a:lnTo>
                <a:lnTo>
                  <a:pt x="106" y="962"/>
                </a:lnTo>
                <a:lnTo>
                  <a:pt x="108" y="964"/>
                </a:lnTo>
                <a:lnTo>
                  <a:pt x="108" y="964"/>
                </a:lnTo>
                <a:lnTo>
                  <a:pt x="108" y="962"/>
                </a:lnTo>
                <a:lnTo>
                  <a:pt x="108" y="962"/>
                </a:lnTo>
                <a:lnTo>
                  <a:pt x="108" y="959"/>
                </a:lnTo>
                <a:lnTo>
                  <a:pt x="108" y="959"/>
                </a:lnTo>
                <a:lnTo>
                  <a:pt x="108" y="954"/>
                </a:lnTo>
                <a:lnTo>
                  <a:pt x="108" y="954"/>
                </a:lnTo>
                <a:lnTo>
                  <a:pt x="111" y="954"/>
                </a:lnTo>
                <a:lnTo>
                  <a:pt x="111" y="954"/>
                </a:lnTo>
                <a:lnTo>
                  <a:pt x="113" y="954"/>
                </a:lnTo>
                <a:lnTo>
                  <a:pt x="113" y="954"/>
                </a:lnTo>
                <a:lnTo>
                  <a:pt x="111" y="952"/>
                </a:lnTo>
                <a:lnTo>
                  <a:pt x="111" y="952"/>
                </a:lnTo>
                <a:lnTo>
                  <a:pt x="108" y="952"/>
                </a:lnTo>
                <a:lnTo>
                  <a:pt x="108" y="952"/>
                </a:lnTo>
                <a:lnTo>
                  <a:pt x="106" y="954"/>
                </a:lnTo>
                <a:lnTo>
                  <a:pt x="106" y="954"/>
                </a:lnTo>
                <a:lnTo>
                  <a:pt x="103" y="952"/>
                </a:lnTo>
                <a:lnTo>
                  <a:pt x="103" y="952"/>
                </a:lnTo>
                <a:lnTo>
                  <a:pt x="103" y="949"/>
                </a:lnTo>
                <a:lnTo>
                  <a:pt x="103" y="949"/>
                </a:lnTo>
                <a:lnTo>
                  <a:pt x="108" y="947"/>
                </a:lnTo>
                <a:lnTo>
                  <a:pt x="108" y="947"/>
                </a:lnTo>
                <a:lnTo>
                  <a:pt x="111" y="947"/>
                </a:lnTo>
                <a:lnTo>
                  <a:pt x="111" y="947"/>
                </a:lnTo>
                <a:lnTo>
                  <a:pt x="113" y="942"/>
                </a:lnTo>
                <a:lnTo>
                  <a:pt x="113" y="942"/>
                </a:lnTo>
                <a:lnTo>
                  <a:pt x="113" y="940"/>
                </a:lnTo>
                <a:lnTo>
                  <a:pt x="113" y="940"/>
                </a:lnTo>
                <a:lnTo>
                  <a:pt x="111" y="940"/>
                </a:lnTo>
                <a:lnTo>
                  <a:pt x="111" y="940"/>
                </a:lnTo>
                <a:lnTo>
                  <a:pt x="111" y="942"/>
                </a:lnTo>
                <a:lnTo>
                  <a:pt x="111" y="942"/>
                </a:lnTo>
                <a:lnTo>
                  <a:pt x="108" y="944"/>
                </a:lnTo>
                <a:lnTo>
                  <a:pt x="108" y="944"/>
                </a:lnTo>
                <a:lnTo>
                  <a:pt x="106" y="944"/>
                </a:lnTo>
                <a:lnTo>
                  <a:pt x="106" y="944"/>
                </a:lnTo>
                <a:lnTo>
                  <a:pt x="101" y="949"/>
                </a:lnTo>
                <a:lnTo>
                  <a:pt x="101" y="949"/>
                </a:lnTo>
                <a:lnTo>
                  <a:pt x="98" y="952"/>
                </a:lnTo>
                <a:lnTo>
                  <a:pt x="98" y="952"/>
                </a:lnTo>
                <a:lnTo>
                  <a:pt x="93" y="954"/>
                </a:lnTo>
                <a:lnTo>
                  <a:pt x="93" y="954"/>
                </a:lnTo>
                <a:lnTo>
                  <a:pt x="91" y="952"/>
                </a:lnTo>
                <a:lnTo>
                  <a:pt x="91" y="952"/>
                </a:lnTo>
                <a:lnTo>
                  <a:pt x="91" y="949"/>
                </a:lnTo>
                <a:lnTo>
                  <a:pt x="91" y="949"/>
                </a:lnTo>
                <a:lnTo>
                  <a:pt x="93" y="949"/>
                </a:lnTo>
                <a:lnTo>
                  <a:pt x="93" y="949"/>
                </a:lnTo>
                <a:lnTo>
                  <a:pt x="91" y="949"/>
                </a:lnTo>
                <a:lnTo>
                  <a:pt x="91" y="949"/>
                </a:lnTo>
                <a:lnTo>
                  <a:pt x="88" y="949"/>
                </a:lnTo>
                <a:lnTo>
                  <a:pt x="88" y="949"/>
                </a:lnTo>
                <a:lnTo>
                  <a:pt x="86" y="949"/>
                </a:lnTo>
                <a:lnTo>
                  <a:pt x="86" y="949"/>
                </a:lnTo>
                <a:lnTo>
                  <a:pt x="86" y="947"/>
                </a:lnTo>
                <a:lnTo>
                  <a:pt x="86" y="947"/>
                </a:lnTo>
                <a:lnTo>
                  <a:pt x="91" y="944"/>
                </a:lnTo>
                <a:lnTo>
                  <a:pt x="91" y="944"/>
                </a:lnTo>
                <a:lnTo>
                  <a:pt x="93" y="944"/>
                </a:lnTo>
                <a:lnTo>
                  <a:pt x="93" y="944"/>
                </a:lnTo>
                <a:lnTo>
                  <a:pt x="96" y="944"/>
                </a:lnTo>
                <a:lnTo>
                  <a:pt x="96" y="944"/>
                </a:lnTo>
                <a:lnTo>
                  <a:pt x="96" y="942"/>
                </a:lnTo>
                <a:lnTo>
                  <a:pt x="96" y="942"/>
                </a:lnTo>
                <a:lnTo>
                  <a:pt x="96" y="942"/>
                </a:lnTo>
                <a:lnTo>
                  <a:pt x="96" y="940"/>
                </a:lnTo>
                <a:lnTo>
                  <a:pt x="96" y="940"/>
                </a:lnTo>
                <a:lnTo>
                  <a:pt x="96" y="940"/>
                </a:lnTo>
                <a:lnTo>
                  <a:pt x="96" y="937"/>
                </a:lnTo>
                <a:lnTo>
                  <a:pt x="96" y="937"/>
                </a:lnTo>
                <a:lnTo>
                  <a:pt x="96" y="937"/>
                </a:lnTo>
                <a:lnTo>
                  <a:pt x="93" y="937"/>
                </a:lnTo>
                <a:lnTo>
                  <a:pt x="93" y="937"/>
                </a:lnTo>
                <a:lnTo>
                  <a:pt x="91" y="937"/>
                </a:lnTo>
                <a:lnTo>
                  <a:pt x="91" y="937"/>
                </a:lnTo>
                <a:lnTo>
                  <a:pt x="91" y="935"/>
                </a:lnTo>
                <a:lnTo>
                  <a:pt x="91" y="935"/>
                </a:lnTo>
                <a:lnTo>
                  <a:pt x="91" y="930"/>
                </a:lnTo>
                <a:lnTo>
                  <a:pt x="91" y="930"/>
                </a:lnTo>
                <a:lnTo>
                  <a:pt x="88" y="927"/>
                </a:lnTo>
                <a:lnTo>
                  <a:pt x="88" y="927"/>
                </a:lnTo>
                <a:lnTo>
                  <a:pt x="88" y="925"/>
                </a:lnTo>
                <a:lnTo>
                  <a:pt x="88" y="925"/>
                </a:lnTo>
                <a:lnTo>
                  <a:pt x="88" y="922"/>
                </a:lnTo>
                <a:lnTo>
                  <a:pt x="88" y="922"/>
                </a:lnTo>
                <a:lnTo>
                  <a:pt x="93" y="922"/>
                </a:lnTo>
                <a:lnTo>
                  <a:pt x="93" y="922"/>
                </a:lnTo>
                <a:lnTo>
                  <a:pt x="96" y="925"/>
                </a:lnTo>
                <a:lnTo>
                  <a:pt x="96" y="925"/>
                </a:lnTo>
                <a:lnTo>
                  <a:pt x="101" y="922"/>
                </a:lnTo>
                <a:lnTo>
                  <a:pt x="101" y="922"/>
                </a:lnTo>
                <a:lnTo>
                  <a:pt x="103" y="925"/>
                </a:lnTo>
                <a:lnTo>
                  <a:pt x="103" y="925"/>
                </a:lnTo>
                <a:lnTo>
                  <a:pt x="103" y="922"/>
                </a:lnTo>
                <a:lnTo>
                  <a:pt x="103" y="922"/>
                </a:lnTo>
                <a:lnTo>
                  <a:pt x="101" y="922"/>
                </a:lnTo>
                <a:lnTo>
                  <a:pt x="101" y="922"/>
                </a:lnTo>
                <a:lnTo>
                  <a:pt x="98" y="922"/>
                </a:lnTo>
                <a:lnTo>
                  <a:pt x="98" y="922"/>
                </a:lnTo>
                <a:lnTo>
                  <a:pt x="96" y="920"/>
                </a:lnTo>
                <a:lnTo>
                  <a:pt x="96" y="920"/>
                </a:lnTo>
                <a:lnTo>
                  <a:pt x="93" y="917"/>
                </a:lnTo>
                <a:lnTo>
                  <a:pt x="93" y="917"/>
                </a:lnTo>
                <a:lnTo>
                  <a:pt x="93" y="917"/>
                </a:lnTo>
                <a:lnTo>
                  <a:pt x="93" y="915"/>
                </a:lnTo>
                <a:lnTo>
                  <a:pt x="93" y="915"/>
                </a:lnTo>
                <a:lnTo>
                  <a:pt x="96" y="912"/>
                </a:lnTo>
                <a:lnTo>
                  <a:pt x="96" y="912"/>
                </a:lnTo>
                <a:lnTo>
                  <a:pt x="98" y="910"/>
                </a:lnTo>
                <a:lnTo>
                  <a:pt x="98" y="910"/>
                </a:lnTo>
                <a:lnTo>
                  <a:pt x="98" y="908"/>
                </a:lnTo>
                <a:lnTo>
                  <a:pt x="98" y="908"/>
                </a:lnTo>
                <a:lnTo>
                  <a:pt x="96" y="908"/>
                </a:lnTo>
                <a:lnTo>
                  <a:pt x="96" y="908"/>
                </a:lnTo>
                <a:lnTo>
                  <a:pt x="93" y="910"/>
                </a:lnTo>
                <a:lnTo>
                  <a:pt x="93" y="910"/>
                </a:lnTo>
                <a:lnTo>
                  <a:pt x="91" y="912"/>
                </a:lnTo>
                <a:lnTo>
                  <a:pt x="91" y="912"/>
                </a:lnTo>
                <a:lnTo>
                  <a:pt x="86" y="915"/>
                </a:lnTo>
                <a:lnTo>
                  <a:pt x="86" y="915"/>
                </a:lnTo>
                <a:lnTo>
                  <a:pt x="84" y="917"/>
                </a:lnTo>
                <a:lnTo>
                  <a:pt x="84" y="917"/>
                </a:lnTo>
                <a:lnTo>
                  <a:pt x="84" y="920"/>
                </a:lnTo>
                <a:lnTo>
                  <a:pt x="84" y="920"/>
                </a:lnTo>
                <a:lnTo>
                  <a:pt x="81" y="920"/>
                </a:lnTo>
                <a:lnTo>
                  <a:pt x="81" y="920"/>
                </a:lnTo>
                <a:lnTo>
                  <a:pt x="79" y="915"/>
                </a:lnTo>
                <a:lnTo>
                  <a:pt x="79" y="915"/>
                </a:lnTo>
                <a:lnTo>
                  <a:pt x="79" y="910"/>
                </a:lnTo>
                <a:lnTo>
                  <a:pt x="79" y="910"/>
                </a:lnTo>
                <a:lnTo>
                  <a:pt x="79" y="903"/>
                </a:lnTo>
                <a:lnTo>
                  <a:pt x="79" y="903"/>
                </a:lnTo>
                <a:lnTo>
                  <a:pt x="79" y="898"/>
                </a:lnTo>
                <a:lnTo>
                  <a:pt x="79" y="898"/>
                </a:lnTo>
                <a:lnTo>
                  <a:pt x="79" y="895"/>
                </a:lnTo>
                <a:lnTo>
                  <a:pt x="79" y="895"/>
                </a:lnTo>
                <a:lnTo>
                  <a:pt x="76" y="895"/>
                </a:lnTo>
                <a:lnTo>
                  <a:pt x="76" y="895"/>
                </a:lnTo>
                <a:lnTo>
                  <a:pt x="76" y="890"/>
                </a:lnTo>
                <a:lnTo>
                  <a:pt x="76" y="890"/>
                </a:lnTo>
                <a:lnTo>
                  <a:pt x="79" y="888"/>
                </a:lnTo>
                <a:lnTo>
                  <a:pt x="79" y="888"/>
                </a:lnTo>
                <a:lnTo>
                  <a:pt x="79" y="890"/>
                </a:lnTo>
                <a:lnTo>
                  <a:pt x="79" y="890"/>
                </a:lnTo>
                <a:lnTo>
                  <a:pt x="81" y="890"/>
                </a:lnTo>
                <a:lnTo>
                  <a:pt x="81" y="890"/>
                </a:lnTo>
                <a:lnTo>
                  <a:pt x="81" y="888"/>
                </a:lnTo>
                <a:lnTo>
                  <a:pt x="81" y="888"/>
                </a:lnTo>
                <a:lnTo>
                  <a:pt x="84" y="885"/>
                </a:lnTo>
                <a:lnTo>
                  <a:pt x="84" y="885"/>
                </a:lnTo>
                <a:lnTo>
                  <a:pt x="86" y="880"/>
                </a:lnTo>
                <a:lnTo>
                  <a:pt x="86" y="880"/>
                </a:lnTo>
                <a:lnTo>
                  <a:pt x="88" y="880"/>
                </a:lnTo>
                <a:lnTo>
                  <a:pt x="88" y="880"/>
                </a:lnTo>
                <a:lnTo>
                  <a:pt x="91" y="880"/>
                </a:lnTo>
                <a:lnTo>
                  <a:pt x="91" y="880"/>
                </a:lnTo>
                <a:lnTo>
                  <a:pt x="93" y="880"/>
                </a:lnTo>
                <a:lnTo>
                  <a:pt x="93" y="880"/>
                </a:lnTo>
                <a:lnTo>
                  <a:pt x="91" y="878"/>
                </a:lnTo>
                <a:lnTo>
                  <a:pt x="91" y="878"/>
                </a:lnTo>
                <a:lnTo>
                  <a:pt x="91" y="878"/>
                </a:lnTo>
                <a:lnTo>
                  <a:pt x="96" y="873"/>
                </a:lnTo>
                <a:lnTo>
                  <a:pt x="96" y="873"/>
                </a:lnTo>
                <a:lnTo>
                  <a:pt x="96" y="871"/>
                </a:lnTo>
                <a:lnTo>
                  <a:pt x="96" y="871"/>
                </a:lnTo>
                <a:lnTo>
                  <a:pt x="101" y="868"/>
                </a:lnTo>
                <a:lnTo>
                  <a:pt x="101" y="868"/>
                </a:lnTo>
                <a:lnTo>
                  <a:pt x="101" y="866"/>
                </a:lnTo>
                <a:lnTo>
                  <a:pt x="101" y="866"/>
                </a:lnTo>
                <a:lnTo>
                  <a:pt x="98" y="866"/>
                </a:lnTo>
                <a:lnTo>
                  <a:pt x="98" y="866"/>
                </a:lnTo>
                <a:lnTo>
                  <a:pt x="98" y="866"/>
                </a:lnTo>
                <a:lnTo>
                  <a:pt x="93" y="868"/>
                </a:lnTo>
                <a:lnTo>
                  <a:pt x="93" y="868"/>
                </a:lnTo>
                <a:lnTo>
                  <a:pt x="93" y="871"/>
                </a:lnTo>
                <a:lnTo>
                  <a:pt x="93" y="871"/>
                </a:lnTo>
                <a:lnTo>
                  <a:pt x="88" y="878"/>
                </a:lnTo>
                <a:lnTo>
                  <a:pt x="88" y="878"/>
                </a:lnTo>
                <a:lnTo>
                  <a:pt x="88" y="878"/>
                </a:lnTo>
                <a:lnTo>
                  <a:pt x="88" y="876"/>
                </a:lnTo>
                <a:lnTo>
                  <a:pt x="88" y="876"/>
                </a:lnTo>
                <a:lnTo>
                  <a:pt x="91" y="871"/>
                </a:lnTo>
                <a:lnTo>
                  <a:pt x="91" y="871"/>
                </a:lnTo>
                <a:lnTo>
                  <a:pt x="91" y="866"/>
                </a:lnTo>
                <a:lnTo>
                  <a:pt x="91" y="866"/>
                </a:lnTo>
                <a:lnTo>
                  <a:pt x="96" y="858"/>
                </a:lnTo>
                <a:lnTo>
                  <a:pt x="96" y="858"/>
                </a:lnTo>
                <a:lnTo>
                  <a:pt x="98" y="853"/>
                </a:lnTo>
                <a:lnTo>
                  <a:pt x="98" y="853"/>
                </a:lnTo>
                <a:lnTo>
                  <a:pt x="96" y="853"/>
                </a:lnTo>
                <a:lnTo>
                  <a:pt x="96" y="853"/>
                </a:lnTo>
                <a:lnTo>
                  <a:pt x="96" y="853"/>
                </a:lnTo>
                <a:lnTo>
                  <a:pt x="96" y="851"/>
                </a:lnTo>
                <a:lnTo>
                  <a:pt x="96" y="851"/>
                </a:lnTo>
                <a:lnTo>
                  <a:pt x="98" y="851"/>
                </a:lnTo>
                <a:lnTo>
                  <a:pt x="98" y="851"/>
                </a:lnTo>
                <a:lnTo>
                  <a:pt x="98" y="849"/>
                </a:lnTo>
                <a:lnTo>
                  <a:pt x="98" y="849"/>
                </a:lnTo>
                <a:lnTo>
                  <a:pt x="98" y="849"/>
                </a:lnTo>
                <a:lnTo>
                  <a:pt x="98" y="846"/>
                </a:lnTo>
                <a:lnTo>
                  <a:pt x="98" y="846"/>
                </a:lnTo>
                <a:lnTo>
                  <a:pt x="96" y="846"/>
                </a:lnTo>
                <a:lnTo>
                  <a:pt x="96" y="846"/>
                </a:lnTo>
                <a:lnTo>
                  <a:pt x="96" y="841"/>
                </a:lnTo>
                <a:lnTo>
                  <a:pt x="96" y="841"/>
                </a:lnTo>
                <a:lnTo>
                  <a:pt x="93" y="839"/>
                </a:lnTo>
                <a:lnTo>
                  <a:pt x="93" y="839"/>
                </a:lnTo>
                <a:lnTo>
                  <a:pt x="91" y="836"/>
                </a:lnTo>
                <a:lnTo>
                  <a:pt x="91" y="836"/>
                </a:lnTo>
                <a:lnTo>
                  <a:pt x="88" y="836"/>
                </a:lnTo>
                <a:lnTo>
                  <a:pt x="88" y="836"/>
                </a:lnTo>
                <a:lnTo>
                  <a:pt x="88" y="834"/>
                </a:lnTo>
                <a:lnTo>
                  <a:pt x="88" y="834"/>
                </a:lnTo>
                <a:lnTo>
                  <a:pt x="86" y="829"/>
                </a:lnTo>
                <a:lnTo>
                  <a:pt x="86" y="829"/>
                </a:lnTo>
                <a:lnTo>
                  <a:pt x="84" y="829"/>
                </a:lnTo>
                <a:lnTo>
                  <a:pt x="84" y="829"/>
                </a:lnTo>
                <a:lnTo>
                  <a:pt x="81" y="829"/>
                </a:lnTo>
                <a:lnTo>
                  <a:pt x="81" y="829"/>
                </a:lnTo>
                <a:lnTo>
                  <a:pt x="81" y="826"/>
                </a:lnTo>
                <a:lnTo>
                  <a:pt x="81" y="826"/>
                </a:lnTo>
                <a:lnTo>
                  <a:pt x="81" y="826"/>
                </a:lnTo>
                <a:lnTo>
                  <a:pt x="81" y="824"/>
                </a:lnTo>
                <a:lnTo>
                  <a:pt x="81" y="824"/>
                </a:lnTo>
                <a:lnTo>
                  <a:pt x="81" y="821"/>
                </a:lnTo>
                <a:lnTo>
                  <a:pt x="81" y="821"/>
                </a:lnTo>
                <a:lnTo>
                  <a:pt x="79" y="821"/>
                </a:lnTo>
                <a:lnTo>
                  <a:pt x="79" y="821"/>
                </a:lnTo>
                <a:lnTo>
                  <a:pt x="81" y="819"/>
                </a:lnTo>
                <a:lnTo>
                  <a:pt x="81" y="819"/>
                </a:lnTo>
                <a:lnTo>
                  <a:pt x="81" y="819"/>
                </a:lnTo>
                <a:lnTo>
                  <a:pt x="81" y="817"/>
                </a:lnTo>
                <a:lnTo>
                  <a:pt x="81" y="817"/>
                </a:lnTo>
                <a:lnTo>
                  <a:pt x="79" y="817"/>
                </a:lnTo>
                <a:lnTo>
                  <a:pt x="79" y="817"/>
                </a:lnTo>
                <a:lnTo>
                  <a:pt x="79" y="817"/>
                </a:lnTo>
                <a:lnTo>
                  <a:pt x="79" y="814"/>
                </a:lnTo>
                <a:lnTo>
                  <a:pt x="79" y="814"/>
                </a:lnTo>
                <a:lnTo>
                  <a:pt x="81" y="812"/>
                </a:lnTo>
                <a:lnTo>
                  <a:pt x="81" y="812"/>
                </a:lnTo>
                <a:lnTo>
                  <a:pt x="81" y="802"/>
                </a:lnTo>
                <a:lnTo>
                  <a:pt x="81" y="802"/>
                </a:lnTo>
                <a:lnTo>
                  <a:pt x="81" y="789"/>
                </a:lnTo>
                <a:lnTo>
                  <a:pt x="81" y="789"/>
                </a:lnTo>
                <a:lnTo>
                  <a:pt x="81" y="782"/>
                </a:lnTo>
                <a:lnTo>
                  <a:pt x="81" y="782"/>
                </a:lnTo>
                <a:lnTo>
                  <a:pt x="81" y="780"/>
                </a:lnTo>
                <a:lnTo>
                  <a:pt x="81" y="780"/>
                </a:lnTo>
                <a:lnTo>
                  <a:pt x="81" y="777"/>
                </a:lnTo>
                <a:lnTo>
                  <a:pt x="81" y="777"/>
                </a:lnTo>
                <a:lnTo>
                  <a:pt x="81" y="772"/>
                </a:lnTo>
                <a:lnTo>
                  <a:pt x="81" y="772"/>
                </a:lnTo>
                <a:lnTo>
                  <a:pt x="81" y="770"/>
                </a:lnTo>
                <a:lnTo>
                  <a:pt x="81" y="770"/>
                </a:lnTo>
                <a:lnTo>
                  <a:pt x="79" y="767"/>
                </a:lnTo>
                <a:lnTo>
                  <a:pt x="79" y="767"/>
                </a:lnTo>
                <a:lnTo>
                  <a:pt x="79" y="762"/>
                </a:lnTo>
                <a:lnTo>
                  <a:pt x="79" y="762"/>
                </a:lnTo>
                <a:lnTo>
                  <a:pt x="76" y="758"/>
                </a:lnTo>
                <a:lnTo>
                  <a:pt x="76" y="758"/>
                </a:lnTo>
                <a:lnTo>
                  <a:pt x="74" y="753"/>
                </a:lnTo>
                <a:lnTo>
                  <a:pt x="74" y="753"/>
                </a:lnTo>
                <a:lnTo>
                  <a:pt x="76" y="750"/>
                </a:lnTo>
                <a:lnTo>
                  <a:pt x="76" y="750"/>
                </a:lnTo>
                <a:lnTo>
                  <a:pt x="71" y="740"/>
                </a:lnTo>
                <a:lnTo>
                  <a:pt x="71" y="740"/>
                </a:lnTo>
                <a:lnTo>
                  <a:pt x="74" y="740"/>
                </a:lnTo>
                <a:lnTo>
                  <a:pt x="74" y="740"/>
                </a:lnTo>
                <a:lnTo>
                  <a:pt x="76" y="735"/>
                </a:lnTo>
                <a:lnTo>
                  <a:pt x="76" y="735"/>
                </a:lnTo>
                <a:lnTo>
                  <a:pt x="74" y="733"/>
                </a:lnTo>
                <a:lnTo>
                  <a:pt x="74" y="733"/>
                </a:lnTo>
                <a:lnTo>
                  <a:pt x="74" y="730"/>
                </a:lnTo>
                <a:lnTo>
                  <a:pt x="74" y="730"/>
                </a:lnTo>
                <a:lnTo>
                  <a:pt x="71" y="728"/>
                </a:lnTo>
                <a:lnTo>
                  <a:pt x="71" y="728"/>
                </a:lnTo>
                <a:lnTo>
                  <a:pt x="66" y="728"/>
                </a:lnTo>
                <a:lnTo>
                  <a:pt x="66" y="728"/>
                </a:lnTo>
                <a:lnTo>
                  <a:pt x="61" y="728"/>
                </a:lnTo>
                <a:lnTo>
                  <a:pt x="61" y="728"/>
                </a:lnTo>
                <a:lnTo>
                  <a:pt x="59" y="730"/>
                </a:lnTo>
                <a:lnTo>
                  <a:pt x="59" y="730"/>
                </a:lnTo>
                <a:lnTo>
                  <a:pt x="54" y="730"/>
                </a:lnTo>
                <a:lnTo>
                  <a:pt x="54" y="730"/>
                </a:lnTo>
                <a:lnTo>
                  <a:pt x="52" y="735"/>
                </a:lnTo>
                <a:lnTo>
                  <a:pt x="52" y="735"/>
                </a:lnTo>
                <a:lnTo>
                  <a:pt x="47" y="740"/>
                </a:lnTo>
                <a:lnTo>
                  <a:pt x="47" y="740"/>
                </a:lnTo>
                <a:lnTo>
                  <a:pt x="42" y="743"/>
                </a:lnTo>
                <a:lnTo>
                  <a:pt x="42" y="743"/>
                </a:lnTo>
                <a:lnTo>
                  <a:pt x="37" y="745"/>
                </a:lnTo>
                <a:lnTo>
                  <a:pt x="37" y="745"/>
                </a:lnTo>
                <a:lnTo>
                  <a:pt x="32" y="745"/>
                </a:lnTo>
                <a:lnTo>
                  <a:pt x="32" y="745"/>
                </a:lnTo>
                <a:lnTo>
                  <a:pt x="32" y="745"/>
                </a:lnTo>
                <a:lnTo>
                  <a:pt x="32" y="743"/>
                </a:lnTo>
                <a:lnTo>
                  <a:pt x="32" y="743"/>
                </a:lnTo>
                <a:lnTo>
                  <a:pt x="34" y="738"/>
                </a:lnTo>
                <a:lnTo>
                  <a:pt x="34" y="738"/>
                </a:lnTo>
                <a:lnTo>
                  <a:pt x="32" y="735"/>
                </a:lnTo>
                <a:lnTo>
                  <a:pt x="32" y="735"/>
                </a:lnTo>
                <a:lnTo>
                  <a:pt x="27" y="718"/>
                </a:lnTo>
                <a:lnTo>
                  <a:pt x="27" y="718"/>
                </a:lnTo>
                <a:lnTo>
                  <a:pt x="25" y="708"/>
                </a:lnTo>
                <a:lnTo>
                  <a:pt x="25" y="708"/>
                </a:lnTo>
                <a:lnTo>
                  <a:pt x="25" y="706"/>
                </a:lnTo>
                <a:lnTo>
                  <a:pt x="25" y="706"/>
                </a:lnTo>
                <a:lnTo>
                  <a:pt x="27" y="698"/>
                </a:lnTo>
                <a:lnTo>
                  <a:pt x="27" y="698"/>
                </a:lnTo>
                <a:lnTo>
                  <a:pt x="20" y="698"/>
                </a:lnTo>
                <a:lnTo>
                  <a:pt x="20" y="698"/>
                </a:lnTo>
                <a:lnTo>
                  <a:pt x="12" y="701"/>
                </a:lnTo>
                <a:lnTo>
                  <a:pt x="12" y="701"/>
                </a:lnTo>
                <a:lnTo>
                  <a:pt x="10" y="698"/>
                </a:lnTo>
                <a:lnTo>
                  <a:pt x="10" y="698"/>
                </a:lnTo>
                <a:lnTo>
                  <a:pt x="0" y="698"/>
                </a:lnTo>
                <a:lnTo>
                  <a:pt x="0" y="698"/>
                </a:lnTo>
                <a:lnTo>
                  <a:pt x="179" y="371"/>
                </a:lnTo>
                <a:lnTo>
                  <a:pt x="179" y="371"/>
                </a:lnTo>
                <a:lnTo>
                  <a:pt x="179" y="374"/>
                </a:lnTo>
                <a:lnTo>
                  <a:pt x="179" y="374"/>
                </a:lnTo>
                <a:lnTo>
                  <a:pt x="182" y="374"/>
                </a:lnTo>
                <a:lnTo>
                  <a:pt x="182" y="374"/>
                </a:lnTo>
                <a:lnTo>
                  <a:pt x="189" y="381"/>
                </a:lnTo>
                <a:lnTo>
                  <a:pt x="189" y="381"/>
                </a:lnTo>
                <a:lnTo>
                  <a:pt x="192" y="381"/>
                </a:lnTo>
                <a:lnTo>
                  <a:pt x="192" y="381"/>
                </a:lnTo>
                <a:lnTo>
                  <a:pt x="197" y="384"/>
                </a:lnTo>
                <a:lnTo>
                  <a:pt x="197" y="384"/>
                </a:lnTo>
                <a:lnTo>
                  <a:pt x="197" y="386"/>
                </a:lnTo>
                <a:lnTo>
                  <a:pt x="197" y="386"/>
                </a:lnTo>
                <a:lnTo>
                  <a:pt x="197" y="386"/>
                </a:lnTo>
                <a:lnTo>
                  <a:pt x="202" y="389"/>
                </a:lnTo>
                <a:lnTo>
                  <a:pt x="202" y="389"/>
                </a:lnTo>
                <a:lnTo>
                  <a:pt x="202" y="391"/>
                </a:lnTo>
                <a:lnTo>
                  <a:pt x="202" y="391"/>
                </a:lnTo>
                <a:lnTo>
                  <a:pt x="204" y="394"/>
                </a:lnTo>
                <a:lnTo>
                  <a:pt x="204" y="394"/>
                </a:lnTo>
                <a:lnTo>
                  <a:pt x="204" y="396"/>
                </a:lnTo>
                <a:lnTo>
                  <a:pt x="204" y="396"/>
                </a:lnTo>
                <a:lnTo>
                  <a:pt x="204" y="396"/>
                </a:lnTo>
                <a:lnTo>
                  <a:pt x="202" y="401"/>
                </a:lnTo>
                <a:lnTo>
                  <a:pt x="202" y="401"/>
                </a:lnTo>
                <a:lnTo>
                  <a:pt x="204" y="403"/>
                </a:lnTo>
                <a:lnTo>
                  <a:pt x="204" y="403"/>
                </a:lnTo>
                <a:lnTo>
                  <a:pt x="204" y="403"/>
                </a:lnTo>
                <a:lnTo>
                  <a:pt x="207" y="403"/>
                </a:lnTo>
                <a:lnTo>
                  <a:pt x="207" y="403"/>
                </a:lnTo>
                <a:lnTo>
                  <a:pt x="207" y="403"/>
                </a:lnTo>
                <a:lnTo>
                  <a:pt x="207" y="408"/>
                </a:lnTo>
                <a:lnTo>
                  <a:pt x="207" y="408"/>
                </a:lnTo>
                <a:lnTo>
                  <a:pt x="209" y="413"/>
                </a:lnTo>
                <a:lnTo>
                  <a:pt x="209" y="413"/>
                </a:lnTo>
                <a:lnTo>
                  <a:pt x="214" y="418"/>
                </a:lnTo>
                <a:lnTo>
                  <a:pt x="214" y="418"/>
                </a:lnTo>
                <a:lnTo>
                  <a:pt x="216" y="421"/>
                </a:lnTo>
                <a:lnTo>
                  <a:pt x="216" y="421"/>
                </a:lnTo>
                <a:lnTo>
                  <a:pt x="216" y="421"/>
                </a:lnTo>
                <a:lnTo>
                  <a:pt x="219" y="421"/>
                </a:lnTo>
                <a:lnTo>
                  <a:pt x="219" y="421"/>
                </a:lnTo>
                <a:lnTo>
                  <a:pt x="219" y="423"/>
                </a:lnTo>
                <a:lnTo>
                  <a:pt x="219" y="423"/>
                </a:lnTo>
                <a:lnTo>
                  <a:pt x="221" y="423"/>
                </a:lnTo>
                <a:lnTo>
                  <a:pt x="221" y="423"/>
                </a:lnTo>
                <a:lnTo>
                  <a:pt x="224" y="423"/>
                </a:lnTo>
                <a:lnTo>
                  <a:pt x="224" y="423"/>
                </a:lnTo>
                <a:lnTo>
                  <a:pt x="226" y="428"/>
                </a:lnTo>
                <a:lnTo>
                  <a:pt x="226" y="428"/>
                </a:lnTo>
                <a:lnTo>
                  <a:pt x="226" y="433"/>
                </a:lnTo>
                <a:lnTo>
                  <a:pt x="226" y="433"/>
                </a:lnTo>
                <a:lnTo>
                  <a:pt x="229" y="433"/>
                </a:lnTo>
                <a:lnTo>
                  <a:pt x="229" y="433"/>
                </a:lnTo>
                <a:lnTo>
                  <a:pt x="229" y="435"/>
                </a:lnTo>
                <a:lnTo>
                  <a:pt x="229" y="435"/>
                </a:lnTo>
                <a:lnTo>
                  <a:pt x="231" y="435"/>
                </a:lnTo>
                <a:lnTo>
                  <a:pt x="231" y="435"/>
                </a:lnTo>
                <a:lnTo>
                  <a:pt x="236" y="440"/>
                </a:lnTo>
                <a:lnTo>
                  <a:pt x="236" y="440"/>
                </a:lnTo>
                <a:lnTo>
                  <a:pt x="236" y="443"/>
                </a:lnTo>
                <a:lnTo>
                  <a:pt x="236" y="443"/>
                </a:lnTo>
                <a:lnTo>
                  <a:pt x="236" y="443"/>
                </a:lnTo>
                <a:lnTo>
                  <a:pt x="236" y="445"/>
                </a:lnTo>
                <a:lnTo>
                  <a:pt x="236" y="445"/>
                </a:lnTo>
                <a:lnTo>
                  <a:pt x="234" y="450"/>
                </a:lnTo>
                <a:lnTo>
                  <a:pt x="234" y="450"/>
                </a:lnTo>
                <a:lnTo>
                  <a:pt x="231" y="453"/>
                </a:lnTo>
                <a:lnTo>
                  <a:pt x="231" y="453"/>
                </a:lnTo>
                <a:lnTo>
                  <a:pt x="239" y="448"/>
                </a:lnTo>
                <a:lnTo>
                  <a:pt x="239" y="448"/>
                </a:lnTo>
                <a:lnTo>
                  <a:pt x="241" y="445"/>
                </a:lnTo>
                <a:lnTo>
                  <a:pt x="241" y="445"/>
                </a:lnTo>
                <a:lnTo>
                  <a:pt x="241" y="445"/>
                </a:lnTo>
                <a:lnTo>
                  <a:pt x="241" y="443"/>
                </a:lnTo>
                <a:lnTo>
                  <a:pt x="241" y="443"/>
                </a:lnTo>
                <a:lnTo>
                  <a:pt x="241" y="433"/>
                </a:lnTo>
                <a:lnTo>
                  <a:pt x="241" y="433"/>
                </a:lnTo>
                <a:lnTo>
                  <a:pt x="241" y="428"/>
                </a:lnTo>
                <a:lnTo>
                  <a:pt x="241" y="428"/>
                </a:lnTo>
                <a:lnTo>
                  <a:pt x="243" y="425"/>
                </a:lnTo>
                <a:lnTo>
                  <a:pt x="243" y="425"/>
                </a:lnTo>
                <a:lnTo>
                  <a:pt x="248" y="423"/>
                </a:lnTo>
                <a:lnTo>
                  <a:pt x="248" y="423"/>
                </a:lnTo>
                <a:lnTo>
                  <a:pt x="253" y="421"/>
                </a:lnTo>
                <a:lnTo>
                  <a:pt x="253" y="421"/>
                </a:lnTo>
                <a:lnTo>
                  <a:pt x="256" y="418"/>
                </a:lnTo>
                <a:lnTo>
                  <a:pt x="256" y="418"/>
                </a:lnTo>
                <a:lnTo>
                  <a:pt x="258" y="418"/>
                </a:lnTo>
                <a:lnTo>
                  <a:pt x="258" y="418"/>
                </a:lnTo>
                <a:lnTo>
                  <a:pt x="261" y="416"/>
                </a:lnTo>
                <a:lnTo>
                  <a:pt x="261" y="416"/>
                </a:lnTo>
                <a:lnTo>
                  <a:pt x="261" y="416"/>
                </a:lnTo>
                <a:lnTo>
                  <a:pt x="263" y="416"/>
                </a:lnTo>
                <a:lnTo>
                  <a:pt x="263" y="416"/>
                </a:lnTo>
                <a:lnTo>
                  <a:pt x="268" y="416"/>
                </a:lnTo>
                <a:lnTo>
                  <a:pt x="268" y="416"/>
                </a:lnTo>
                <a:lnTo>
                  <a:pt x="268" y="416"/>
                </a:lnTo>
                <a:lnTo>
                  <a:pt x="271" y="416"/>
                </a:lnTo>
                <a:lnTo>
                  <a:pt x="271" y="416"/>
                </a:lnTo>
                <a:lnTo>
                  <a:pt x="273" y="416"/>
                </a:lnTo>
                <a:lnTo>
                  <a:pt x="273" y="416"/>
                </a:lnTo>
                <a:lnTo>
                  <a:pt x="275" y="413"/>
                </a:lnTo>
                <a:lnTo>
                  <a:pt x="275" y="413"/>
                </a:lnTo>
                <a:lnTo>
                  <a:pt x="278" y="408"/>
                </a:lnTo>
                <a:lnTo>
                  <a:pt x="278" y="408"/>
                </a:lnTo>
                <a:lnTo>
                  <a:pt x="280" y="408"/>
                </a:lnTo>
                <a:lnTo>
                  <a:pt x="280" y="408"/>
                </a:lnTo>
                <a:lnTo>
                  <a:pt x="283" y="408"/>
                </a:lnTo>
                <a:lnTo>
                  <a:pt x="283" y="408"/>
                </a:lnTo>
                <a:lnTo>
                  <a:pt x="285" y="408"/>
                </a:lnTo>
                <a:lnTo>
                  <a:pt x="285" y="408"/>
                </a:lnTo>
                <a:lnTo>
                  <a:pt x="283" y="406"/>
                </a:lnTo>
                <a:lnTo>
                  <a:pt x="283" y="406"/>
                </a:lnTo>
                <a:lnTo>
                  <a:pt x="285" y="406"/>
                </a:lnTo>
                <a:lnTo>
                  <a:pt x="285" y="406"/>
                </a:lnTo>
                <a:lnTo>
                  <a:pt x="288" y="408"/>
                </a:lnTo>
                <a:lnTo>
                  <a:pt x="288" y="408"/>
                </a:lnTo>
                <a:lnTo>
                  <a:pt x="295" y="408"/>
                </a:lnTo>
                <a:lnTo>
                  <a:pt x="295" y="408"/>
                </a:lnTo>
                <a:lnTo>
                  <a:pt x="302" y="406"/>
                </a:lnTo>
                <a:lnTo>
                  <a:pt x="302" y="406"/>
                </a:lnTo>
                <a:lnTo>
                  <a:pt x="307" y="403"/>
                </a:lnTo>
                <a:lnTo>
                  <a:pt x="307" y="403"/>
                </a:lnTo>
                <a:lnTo>
                  <a:pt x="307" y="403"/>
                </a:lnTo>
                <a:lnTo>
                  <a:pt x="310" y="406"/>
                </a:lnTo>
                <a:lnTo>
                  <a:pt x="310" y="406"/>
                </a:lnTo>
                <a:lnTo>
                  <a:pt x="312" y="406"/>
                </a:lnTo>
                <a:lnTo>
                  <a:pt x="312" y="406"/>
                </a:lnTo>
                <a:lnTo>
                  <a:pt x="312" y="401"/>
                </a:lnTo>
                <a:lnTo>
                  <a:pt x="312" y="401"/>
                </a:lnTo>
                <a:lnTo>
                  <a:pt x="317" y="398"/>
                </a:lnTo>
                <a:lnTo>
                  <a:pt x="317" y="398"/>
                </a:lnTo>
                <a:lnTo>
                  <a:pt x="320" y="398"/>
                </a:lnTo>
                <a:lnTo>
                  <a:pt x="320" y="398"/>
                </a:lnTo>
                <a:lnTo>
                  <a:pt x="322" y="401"/>
                </a:lnTo>
                <a:lnTo>
                  <a:pt x="322" y="401"/>
                </a:lnTo>
                <a:lnTo>
                  <a:pt x="322" y="401"/>
                </a:lnTo>
                <a:lnTo>
                  <a:pt x="325" y="403"/>
                </a:lnTo>
                <a:lnTo>
                  <a:pt x="325" y="403"/>
                </a:lnTo>
                <a:lnTo>
                  <a:pt x="327" y="401"/>
                </a:lnTo>
                <a:lnTo>
                  <a:pt x="327" y="401"/>
                </a:lnTo>
                <a:lnTo>
                  <a:pt x="327" y="398"/>
                </a:lnTo>
                <a:lnTo>
                  <a:pt x="327" y="398"/>
                </a:lnTo>
                <a:lnTo>
                  <a:pt x="327" y="398"/>
                </a:lnTo>
                <a:lnTo>
                  <a:pt x="330" y="398"/>
                </a:lnTo>
                <a:lnTo>
                  <a:pt x="330" y="398"/>
                </a:lnTo>
                <a:lnTo>
                  <a:pt x="330" y="403"/>
                </a:lnTo>
                <a:lnTo>
                  <a:pt x="330" y="403"/>
                </a:lnTo>
                <a:lnTo>
                  <a:pt x="332" y="403"/>
                </a:lnTo>
                <a:lnTo>
                  <a:pt x="332" y="403"/>
                </a:lnTo>
                <a:lnTo>
                  <a:pt x="330" y="406"/>
                </a:lnTo>
                <a:lnTo>
                  <a:pt x="330" y="406"/>
                </a:lnTo>
                <a:lnTo>
                  <a:pt x="330" y="406"/>
                </a:lnTo>
                <a:lnTo>
                  <a:pt x="327" y="408"/>
                </a:lnTo>
                <a:lnTo>
                  <a:pt x="327" y="408"/>
                </a:lnTo>
                <a:lnTo>
                  <a:pt x="322" y="411"/>
                </a:lnTo>
                <a:lnTo>
                  <a:pt x="322" y="411"/>
                </a:lnTo>
                <a:lnTo>
                  <a:pt x="315" y="411"/>
                </a:lnTo>
                <a:lnTo>
                  <a:pt x="315" y="411"/>
                </a:lnTo>
                <a:lnTo>
                  <a:pt x="312" y="413"/>
                </a:lnTo>
                <a:lnTo>
                  <a:pt x="312" y="413"/>
                </a:lnTo>
                <a:lnTo>
                  <a:pt x="310" y="416"/>
                </a:lnTo>
                <a:lnTo>
                  <a:pt x="310" y="416"/>
                </a:lnTo>
                <a:lnTo>
                  <a:pt x="307" y="416"/>
                </a:lnTo>
                <a:lnTo>
                  <a:pt x="307" y="416"/>
                </a:lnTo>
                <a:lnTo>
                  <a:pt x="305" y="416"/>
                </a:lnTo>
                <a:lnTo>
                  <a:pt x="305" y="416"/>
                </a:lnTo>
                <a:lnTo>
                  <a:pt x="302" y="416"/>
                </a:lnTo>
                <a:lnTo>
                  <a:pt x="302" y="416"/>
                </a:lnTo>
                <a:lnTo>
                  <a:pt x="302" y="416"/>
                </a:lnTo>
                <a:lnTo>
                  <a:pt x="298" y="416"/>
                </a:lnTo>
                <a:lnTo>
                  <a:pt x="298" y="416"/>
                </a:lnTo>
                <a:lnTo>
                  <a:pt x="293" y="416"/>
                </a:lnTo>
                <a:lnTo>
                  <a:pt x="293" y="416"/>
                </a:lnTo>
                <a:lnTo>
                  <a:pt x="293" y="418"/>
                </a:lnTo>
                <a:lnTo>
                  <a:pt x="293" y="418"/>
                </a:lnTo>
                <a:lnTo>
                  <a:pt x="285" y="418"/>
                </a:lnTo>
                <a:lnTo>
                  <a:pt x="285" y="418"/>
                </a:lnTo>
                <a:lnTo>
                  <a:pt x="283" y="418"/>
                </a:lnTo>
                <a:lnTo>
                  <a:pt x="283" y="418"/>
                </a:lnTo>
                <a:lnTo>
                  <a:pt x="280" y="423"/>
                </a:lnTo>
                <a:lnTo>
                  <a:pt x="280" y="423"/>
                </a:lnTo>
                <a:lnTo>
                  <a:pt x="273" y="425"/>
                </a:lnTo>
                <a:lnTo>
                  <a:pt x="273" y="425"/>
                </a:lnTo>
                <a:lnTo>
                  <a:pt x="273" y="423"/>
                </a:lnTo>
                <a:lnTo>
                  <a:pt x="273" y="423"/>
                </a:lnTo>
                <a:lnTo>
                  <a:pt x="268" y="425"/>
                </a:lnTo>
                <a:lnTo>
                  <a:pt x="268" y="425"/>
                </a:lnTo>
                <a:lnTo>
                  <a:pt x="268" y="428"/>
                </a:lnTo>
                <a:lnTo>
                  <a:pt x="268" y="428"/>
                </a:lnTo>
                <a:lnTo>
                  <a:pt x="266" y="430"/>
                </a:lnTo>
                <a:lnTo>
                  <a:pt x="266" y="430"/>
                </a:lnTo>
                <a:lnTo>
                  <a:pt x="266" y="428"/>
                </a:lnTo>
                <a:lnTo>
                  <a:pt x="266" y="428"/>
                </a:lnTo>
                <a:lnTo>
                  <a:pt x="263" y="430"/>
                </a:lnTo>
                <a:lnTo>
                  <a:pt x="263" y="430"/>
                </a:lnTo>
                <a:lnTo>
                  <a:pt x="261" y="433"/>
                </a:lnTo>
                <a:lnTo>
                  <a:pt x="261" y="433"/>
                </a:lnTo>
                <a:lnTo>
                  <a:pt x="258" y="433"/>
                </a:lnTo>
                <a:lnTo>
                  <a:pt x="258" y="433"/>
                </a:lnTo>
                <a:lnTo>
                  <a:pt x="256" y="435"/>
                </a:lnTo>
                <a:lnTo>
                  <a:pt x="256" y="435"/>
                </a:lnTo>
                <a:lnTo>
                  <a:pt x="258" y="440"/>
                </a:lnTo>
                <a:lnTo>
                  <a:pt x="258" y="440"/>
                </a:lnTo>
                <a:lnTo>
                  <a:pt x="263" y="443"/>
                </a:lnTo>
                <a:lnTo>
                  <a:pt x="263" y="443"/>
                </a:lnTo>
                <a:lnTo>
                  <a:pt x="258" y="438"/>
                </a:lnTo>
                <a:lnTo>
                  <a:pt x="258" y="438"/>
                </a:lnTo>
                <a:lnTo>
                  <a:pt x="258" y="438"/>
                </a:lnTo>
                <a:lnTo>
                  <a:pt x="263" y="438"/>
                </a:lnTo>
                <a:lnTo>
                  <a:pt x="263" y="438"/>
                </a:lnTo>
                <a:lnTo>
                  <a:pt x="263" y="438"/>
                </a:lnTo>
                <a:lnTo>
                  <a:pt x="266" y="438"/>
                </a:lnTo>
                <a:lnTo>
                  <a:pt x="266" y="438"/>
                </a:lnTo>
                <a:lnTo>
                  <a:pt x="266" y="435"/>
                </a:lnTo>
                <a:lnTo>
                  <a:pt x="266" y="435"/>
                </a:lnTo>
                <a:lnTo>
                  <a:pt x="268" y="430"/>
                </a:lnTo>
                <a:lnTo>
                  <a:pt x="268" y="430"/>
                </a:lnTo>
                <a:lnTo>
                  <a:pt x="275" y="430"/>
                </a:lnTo>
                <a:lnTo>
                  <a:pt x="275" y="430"/>
                </a:lnTo>
                <a:lnTo>
                  <a:pt x="278" y="430"/>
                </a:lnTo>
                <a:lnTo>
                  <a:pt x="278" y="430"/>
                </a:lnTo>
                <a:lnTo>
                  <a:pt x="285" y="425"/>
                </a:lnTo>
                <a:lnTo>
                  <a:pt x="285" y="425"/>
                </a:lnTo>
                <a:lnTo>
                  <a:pt x="285" y="423"/>
                </a:lnTo>
                <a:lnTo>
                  <a:pt x="285" y="423"/>
                </a:lnTo>
                <a:lnTo>
                  <a:pt x="288" y="421"/>
                </a:lnTo>
                <a:lnTo>
                  <a:pt x="288" y="421"/>
                </a:lnTo>
                <a:lnTo>
                  <a:pt x="290" y="423"/>
                </a:lnTo>
                <a:lnTo>
                  <a:pt x="290" y="423"/>
                </a:lnTo>
                <a:lnTo>
                  <a:pt x="293" y="423"/>
                </a:lnTo>
                <a:lnTo>
                  <a:pt x="293" y="423"/>
                </a:lnTo>
                <a:lnTo>
                  <a:pt x="295" y="421"/>
                </a:lnTo>
                <a:lnTo>
                  <a:pt x="295" y="421"/>
                </a:lnTo>
                <a:lnTo>
                  <a:pt x="295" y="423"/>
                </a:lnTo>
                <a:lnTo>
                  <a:pt x="295" y="423"/>
                </a:lnTo>
                <a:lnTo>
                  <a:pt x="300" y="421"/>
                </a:lnTo>
                <a:lnTo>
                  <a:pt x="300" y="421"/>
                </a:lnTo>
                <a:lnTo>
                  <a:pt x="300" y="421"/>
                </a:lnTo>
                <a:lnTo>
                  <a:pt x="298" y="425"/>
                </a:lnTo>
                <a:lnTo>
                  <a:pt x="298" y="425"/>
                </a:lnTo>
                <a:lnTo>
                  <a:pt x="298" y="428"/>
                </a:lnTo>
                <a:lnTo>
                  <a:pt x="298" y="428"/>
                </a:lnTo>
                <a:lnTo>
                  <a:pt x="300" y="423"/>
                </a:lnTo>
                <a:lnTo>
                  <a:pt x="300" y="423"/>
                </a:lnTo>
                <a:lnTo>
                  <a:pt x="305" y="423"/>
                </a:lnTo>
                <a:lnTo>
                  <a:pt x="305" y="423"/>
                </a:lnTo>
                <a:lnTo>
                  <a:pt x="315" y="416"/>
                </a:lnTo>
                <a:lnTo>
                  <a:pt x="315" y="416"/>
                </a:lnTo>
                <a:lnTo>
                  <a:pt x="320" y="416"/>
                </a:lnTo>
                <a:lnTo>
                  <a:pt x="320" y="416"/>
                </a:lnTo>
                <a:lnTo>
                  <a:pt x="322" y="413"/>
                </a:lnTo>
                <a:lnTo>
                  <a:pt x="322" y="413"/>
                </a:lnTo>
                <a:lnTo>
                  <a:pt x="330" y="413"/>
                </a:lnTo>
                <a:lnTo>
                  <a:pt x="330" y="413"/>
                </a:lnTo>
                <a:lnTo>
                  <a:pt x="332" y="411"/>
                </a:lnTo>
                <a:lnTo>
                  <a:pt x="332" y="411"/>
                </a:lnTo>
                <a:lnTo>
                  <a:pt x="334" y="411"/>
                </a:lnTo>
                <a:lnTo>
                  <a:pt x="334" y="411"/>
                </a:lnTo>
                <a:lnTo>
                  <a:pt x="332" y="416"/>
                </a:lnTo>
                <a:lnTo>
                  <a:pt x="332" y="416"/>
                </a:lnTo>
                <a:lnTo>
                  <a:pt x="330" y="416"/>
                </a:lnTo>
                <a:lnTo>
                  <a:pt x="330" y="416"/>
                </a:lnTo>
                <a:lnTo>
                  <a:pt x="330" y="418"/>
                </a:lnTo>
                <a:lnTo>
                  <a:pt x="330" y="418"/>
                </a:lnTo>
                <a:lnTo>
                  <a:pt x="332" y="421"/>
                </a:lnTo>
                <a:lnTo>
                  <a:pt x="332" y="421"/>
                </a:lnTo>
                <a:lnTo>
                  <a:pt x="334" y="416"/>
                </a:lnTo>
                <a:lnTo>
                  <a:pt x="334" y="416"/>
                </a:lnTo>
                <a:lnTo>
                  <a:pt x="342" y="413"/>
                </a:lnTo>
                <a:lnTo>
                  <a:pt x="342" y="413"/>
                </a:lnTo>
                <a:lnTo>
                  <a:pt x="344" y="413"/>
                </a:lnTo>
                <a:lnTo>
                  <a:pt x="344" y="413"/>
                </a:lnTo>
                <a:lnTo>
                  <a:pt x="344" y="411"/>
                </a:lnTo>
                <a:lnTo>
                  <a:pt x="344" y="411"/>
                </a:lnTo>
                <a:lnTo>
                  <a:pt x="347" y="408"/>
                </a:lnTo>
                <a:lnTo>
                  <a:pt x="347" y="408"/>
                </a:lnTo>
                <a:lnTo>
                  <a:pt x="349" y="411"/>
                </a:lnTo>
                <a:lnTo>
                  <a:pt x="349" y="411"/>
                </a:lnTo>
                <a:lnTo>
                  <a:pt x="349" y="408"/>
                </a:lnTo>
                <a:lnTo>
                  <a:pt x="349" y="408"/>
                </a:lnTo>
                <a:lnTo>
                  <a:pt x="349" y="406"/>
                </a:lnTo>
                <a:lnTo>
                  <a:pt x="349" y="406"/>
                </a:lnTo>
                <a:lnTo>
                  <a:pt x="352" y="408"/>
                </a:lnTo>
                <a:lnTo>
                  <a:pt x="352" y="408"/>
                </a:lnTo>
                <a:lnTo>
                  <a:pt x="354" y="408"/>
                </a:lnTo>
                <a:lnTo>
                  <a:pt x="354" y="408"/>
                </a:lnTo>
                <a:lnTo>
                  <a:pt x="354" y="403"/>
                </a:lnTo>
                <a:lnTo>
                  <a:pt x="354" y="403"/>
                </a:lnTo>
                <a:lnTo>
                  <a:pt x="354" y="401"/>
                </a:lnTo>
                <a:lnTo>
                  <a:pt x="354" y="401"/>
                </a:lnTo>
                <a:lnTo>
                  <a:pt x="357" y="398"/>
                </a:lnTo>
                <a:lnTo>
                  <a:pt x="357" y="398"/>
                </a:lnTo>
                <a:lnTo>
                  <a:pt x="354" y="396"/>
                </a:lnTo>
                <a:lnTo>
                  <a:pt x="354" y="396"/>
                </a:lnTo>
                <a:lnTo>
                  <a:pt x="357" y="394"/>
                </a:lnTo>
                <a:lnTo>
                  <a:pt x="357" y="394"/>
                </a:lnTo>
                <a:lnTo>
                  <a:pt x="362" y="391"/>
                </a:lnTo>
                <a:lnTo>
                  <a:pt x="362" y="391"/>
                </a:lnTo>
                <a:lnTo>
                  <a:pt x="362" y="394"/>
                </a:lnTo>
                <a:lnTo>
                  <a:pt x="362" y="394"/>
                </a:lnTo>
                <a:lnTo>
                  <a:pt x="362" y="406"/>
                </a:lnTo>
                <a:lnTo>
                  <a:pt x="362" y="406"/>
                </a:lnTo>
                <a:lnTo>
                  <a:pt x="359" y="411"/>
                </a:lnTo>
                <a:lnTo>
                  <a:pt x="359" y="411"/>
                </a:lnTo>
                <a:lnTo>
                  <a:pt x="362" y="421"/>
                </a:lnTo>
                <a:lnTo>
                  <a:pt x="362" y="421"/>
                </a:lnTo>
                <a:lnTo>
                  <a:pt x="357" y="425"/>
                </a:lnTo>
                <a:lnTo>
                  <a:pt x="357" y="425"/>
                </a:lnTo>
                <a:lnTo>
                  <a:pt x="357" y="438"/>
                </a:lnTo>
                <a:lnTo>
                  <a:pt x="357" y="438"/>
                </a:lnTo>
                <a:lnTo>
                  <a:pt x="359" y="443"/>
                </a:lnTo>
                <a:lnTo>
                  <a:pt x="359" y="443"/>
                </a:lnTo>
                <a:lnTo>
                  <a:pt x="362" y="443"/>
                </a:lnTo>
                <a:lnTo>
                  <a:pt x="362" y="443"/>
                </a:lnTo>
                <a:lnTo>
                  <a:pt x="364" y="448"/>
                </a:lnTo>
                <a:lnTo>
                  <a:pt x="364" y="448"/>
                </a:lnTo>
                <a:lnTo>
                  <a:pt x="369" y="445"/>
                </a:lnTo>
                <a:lnTo>
                  <a:pt x="369" y="445"/>
                </a:lnTo>
                <a:lnTo>
                  <a:pt x="366" y="443"/>
                </a:lnTo>
                <a:lnTo>
                  <a:pt x="366" y="443"/>
                </a:lnTo>
                <a:lnTo>
                  <a:pt x="364" y="443"/>
                </a:lnTo>
                <a:lnTo>
                  <a:pt x="364" y="443"/>
                </a:lnTo>
                <a:lnTo>
                  <a:pt x="364" y="440"/>
                </a:lnTo>
                <a:lnTo>
                  <a:pt x="364" y="440"/>
                </a:lnTo>
                <a:lnTo>
                  <a:pt x="366" y="440"/>
                </a:lnTo>
                <a:lnTo>
                  <a:pt x="366" y="440"/>
                </a:lnTo>
                <a:lnTo>
                  <a:pt x="369" y="440"/>
                </a:lnTo>
                <a:lnTo>
                  <a:pt x="369" y="440"/>
                </a:lnTo>
                <a:lnTo>
                  <a:pt x="371" y="438"/>
                </a:lnTo>
                <a:lnTo>
                  <a:pt x="371" y="438"/>
                </a:lnTo>
                <a:lnTo>
                  <a:pt x="369" y="438"/>
                </a:lnTo>
                <a:lnTo>
                  <a:pt x="369" y="438"/>
                </a:lnTo>
                <a:lnTo>
                  <a:pt x="371" y="433"/>
                </a:lnTo>
                <a:lnTo>
                  <a:pt x="371" y="433"/>
                </a:lnTo>
                <a:lnTo>
                  <a:pt x="376" y="435"/>
                </a:lnTo>
                <a:lnTo>
                  <a:pt x="376" y="435"/>
                </a:lnTo>
                <a:lnTo>
                  <a:pt x="376" y="438"/>
                </a:lnTo>
                <a:lnTo>
                  <a:pt x="376" y="438"/>
                </a:lnTo>
                <a:lnTo>
                  <a:pt x="379" y="435"/>
                </a:lnTo>
                <a:lnTo>
                  <a:pt x="379" y="435"/>
                </a:lnTo>
                <a:lnTo>
                  <a:pt x="376" y="428"/>
                </a:lnTo>
                <a:lnTo>
                  <a:pt x="376" y="428"/>
                </a:lnTo>
                <a:lnTo>
                  <a:pt x="379" y="428"/>
                </a:lnTo>
                <a:lnTo>
                  <a:pt x="379" y="428"/>
                </a:lnTo>
                <a:lnTo>
                  <a:pt x="384" y="425"/>
                </a:lnTo>
                <a:lnTo>
                  <a:pt x="384" y="425"/>
                </a:lnTo>
                <a:lnTo>
                  <a:pt x="384" y="423"/>
                </a:lnTo>
                <a:lnTo>
                  <a:pt x="384" y="423"/>
                </a:lnTo>
                <a:lnTo>
                  <a:pt x="389" y="423"/>
                </a:lnTo>
                <a:lnTo>
                  <a:pt x="389" y="423"/>
                </a:lnTo>
                <a:lnTo>
                  <a:pt x="389" y="425"/>
                </a:lnTo>
                <a:lnTo>
                  <a:pt x="389" y="425"/>
                </a:lnTo>
                <a:lnTo>
                  <a:pt x="389" y="428"/>
                </a:lnTo>
                <a:lnTo>
                  <a:pt x="389" y="428"/>
                </a:lnTo>
                <a:lnTo>
                  <a:pt x="386" y="430"/>
                </a:lnTo>
                <a:lnTo>
                  <a:pt x="386" y="430"/>
                </a:lnTo>
                <a:lnTo>
                  <a:pt x="386" y="433"/>
                </a:lnTo>
                <a:lnTo>
                  <a:pt x="386" y="433"/>
                </a:lnTo>
                <a:lnTo>
                  <a:pt x="384" y="435"/>
                </a:lnTo>
                <a:lnTo>
                  <a:pt x="384" y="435"/>
                </a:lnTo>
                <a:lnTo>
                  <a:pt x="384" y="438"/>
                </a:lnTo>
                <a:lnTo>
                  <a:pt x="384" y="438"/>
                </a:lnTo>
                <a:lnTo>
                  <a:pt x="384" y="438"/>
                </a:lnTo>
                <a:lnTo>
                  <a:pt x="386" y="438"/>
                </a:lnTo>
                <a:lnTo>
                  <a:pt x="386" y="438"/>
                </a:lnTo>
                <a:lnTo>
                  <a:pt x="386" y="438"/>
                </a:lnTo>
                <a:lnTo>
                  <a:pt x="386" y="440"/>
                </a:lnTo>
                <a:lnTo>
                  <a:pt x="386" y="440"/>
                </a:lnTo>
                <a:lnTo>
                  <a:pt x="384" y="440"/>
                </a:lnTo>
                <a:lnTo>
                  <a:pt x="384" y="440"/>
                </a:lnTo>
                <a:lnTo>
                  <a:pt x="381" y="445"/>
                </a:lnTo>
                <a:lnTo>
                  <a:pt x="381" y="445"/>
                </a:lnTo>
                <a:lnTo>
                  <a:pt x="379" y="443"/>
                </a:lnTo>
                <a:lnTo>
                  <a:pt x="379" y="443"/>
                </a:lnTo>
                <a:lnTo>
                  <a:pt x="379" y="445"/>
                </a:lnTo>
                <a:lnTo>
                  <a:pt x="379" y="445"/>
                </a:lnTo>
                <a:lnTo>
                  <a:pt x="376" y="448"/>
                </a:lnTo>
                <a:lnTo>
                  <a:pt x="376" y="448"/>
                </a:lnTo>
                <a:lnTo>
                  <a:pt x="379" y="450"/>
                </a:lnTo>
                <a:lnTo>
                  <a:pt x="379" y="450"/>
                </a:lnTo>
                <a:lnTo>
                  <a:pt x="381" y="450"/>
                </a:lnTo>
                <a:lnTo>
                  <a:pt x="381" y="450"/>
                </a:lnTo>
                <a:lnTo>
                  <a:pt x="384" y="453"/>
                </a:lnTo>
                <a:lnTo>
                  <a:pt x="384" y="453"/>
                </a:lnTo>
                <a:lnTo>
                  <a:pt x="386" y="453"/>
                </a:lnTo>
                <a:lnTo>
                  <a:pt x="386" y="453"/>
                </a:lnTo>
                <a:lnTo>
                  <a:pt x="391" y="450"/>
                </a:lnTo>
                <a:lnTo>
                  <a:pt x="391" y="450"/>
                </a:lnTo>
                <a:lnTo>
                  <a:pt x="394" y="450"/>
                </a:lnTo>
                <a:lnTo>
                  <a:pt x="394" y="450"/>
                </a:lnTo>
                <a:lnTo>
                  <a:pt x="396" y="443"/>
                </a:lnTo>
                <a:lnTo>
                  <a:pt x="396" y="443"/>
                </a:lnTo>
                <a:lnTo>
                  <a:pt x="401" y="440"/>
                </a:lnTo>
                <a:lnTo>
                  <a:pt x="401" y="440"/>
                </a:lnTo>
                <a:lnTo>
                  <a:pt x="403" y="438"/>
                </a:lnTo>
                <a:lnTo>
                  <a:pt x="403" y="438"/>
                </a:lnTo>
                <a:lnTo>
                  <a:pt x="406" y="440"/>
                </a:lnTo>
                <a:lnTo>
                  <a:pt x="406" y="440"/>
                </a:lnTo>
                <a:lnTo>
                  <a:pt x="408" y="440"/>
                </a:lnTo>
                <a:lnTo>
                  <a:pt x="408" y="440"/>
                </a:lnTo>
                <a:lnTo>
                  <a:pt x="411" y="443"/>
                </a:lnTo>
                <a:lnTo>
                  <a:pt x="411" y="443"/>
                </a:lnTo>
                <a:lnTo>
                  <a:pt x="413" y="443"/>
                </a:lnTo>
                <a:lnTo>
                  <a:pt x="413" y="443"/>
                </a:lnTo>
                <a:lnTo>
                  <a:pt x="418" y="445"/>
                </a:lnTo>
                <a:lnTo>
                  <a:pt x="418" y="445"/>
                </a:lnTo>
                <a:lnTo>
                  <a:pt x="421" y="445"/>
                </a:lnTo>
                <a:lnTo>
                  <a:pt x="421" y="445"/>
                </a:lnTo>
                <a:lnTo>
                  <a:pt x="421" y="450"/>
                </a:lnTo>
                <a:lnTo>
                  <a:pt x="421" y="450"/>
                </a:lnTo>
                <a:lnTo>
                  <a:pt x="423" y="457"/>
                </a:lnTo>
                <a:lnTo>
                  <a:pt x="423" y="457"/>
                </a:lnTo>
                <a:lnTo>
                  <a:pt x="423" y="460"/>
                </a:lnTo>
                <a:lnTo>
                  <a:pt x="423" y="460"/>
                </a:lnTo>
                <a:lnTo>
                  <a:pt x="426" y="465"/>
                </a:lnTo>
                <a:lnTo>
                  <a:pt x="426" y="465"/>
                </a:lnTo>
                <a:lnTo>
                  <a:pt x="438" y="475"/>
                </a:lnTo>
                <a:lnTo>
                  <a:pt x="438" y="475"/>
                </a:lnTo>
                <a:lnTo>
                  <a:pt x="440" y="477"/>
                </a:lnTo>
                <a:lnTo>
                  <a:pt x="440" y="477"/>
                </a:lnTo>
                <a:lnTo>
                  <a:pt x="443" y="480"/>
                </a:lnTo>
                <a:lnTo>
                  <a:pt x="443" y="480"/>
                </a:lnTo>
                <a:lnTo>
                  <a:pt x="448" y="485"/>
                </a:lnTo>
                <a:lnTo>
                  <a:pt x="448" y="485"/>
                </a:lnTo>
                <a:lnTo>
                  <a:pt x="450" y="485"/>
                </a:lnTo>
                <a:lnTo>
                  <a:pt x="450" y="485"/>
                </a:lnTo>
                <a:lnTo>
                  <a:pt x="453" y="485"/>
                </a:lnTo>
                <a:lnTo>
                  <a:pt x="453" y="485"/>
                </a:lnTo>
                <a:lnTo>
                  <a:pt x="455" y="489"/>
                </a:lnTo>
                <a:lnTo>
                  <a:pt x="455" y="489"/>
                </a:lnTo>
                <a:lnTo>
                  <a:pt x="455" y="489"/>
                </a:lnTo>
                <a:lnTo>
                  <a:pt x="457" y="487"/>
                </a:lnTo>
                <a:lnTo>
                  <a:pt x="457" y="487"/>
                </a:lnTo>
                <a:lnTo>
                  <a:pt x="457" y="489"/>
                </a:lnTo>
                <a:lnTo>
                  <a:pt x="457" y="489"/>
                </a:lnTo>
                <a:lnTo>
                  <a:pt x="462" y="492"/>
                </a:lnTo>
                <a:lnTo>
                  <a:pt x="462" y="492"/>
                </a:lnTo>
                <a:lnTo>
                  <a:pt x="465" y="492"/>
                </a:lnTo>
                <a:lnTo>
                  <a:pt x="465" y="492"/>
                </a:lnTo>
                <a:lnTo>
                  <a:pt x="465" y="497"/>
                </a:lnTo>
                <a:lnTo>
                  <a:pt x="465" y="497"/>
                </a:lnTo>
                <a:lnTo>
                  <a:pt x="467" y="499"/>
                </a:lnTo>
                <a:lnTo>
                  <a:pt x="467" y="499"/>
                </a:lnTo>
                <a:lnTo>
                  <a:pt x="470" y="497"/>
                </a:lnTo>
                <a:lnTo>
                  <a:pt x="470" y="497"/>
                </a:lnTo>
                <a:lnTo>
                  <a:pt x="467" y="494"/>
                </a:lnTo>
                <a:lnTo>
                  <a:pt x="467" y="494"/>
                </a:lnTo>
                <a:lnTo>
                  <a:pt x="467" y="492"/>
                </a:lnTo>
                <a:lnTo>
                  <a:pt x="467" y="492"/>
                </a:lnTo>
                <a:lnTo>
                  <a:pt x="465" y="489"/>
                </a:lnTo>
                <a:lnTo>
                  <a:pt x="465" y="489"/>
                </a:lnTo>
                <a:lnTo>
                  <a:pt x="465" y="489"/>
                </a:lnTo>
                <a:lnTo>
                  <a:pt x="470" y="492"/>
                </a:lnTo>
                <a:lnTo>
                  <a:pt x="470" y="492"/>
                </a:lnTo>
                <a:lnTo>
                  <a:pt x="470" y="492"/>
                </a:lnTo>
                <a:lnTo>
                  <a:pt x="472" y="492"/>
                </a:lnTo>
                <a:lnTo>
                  <a:pt x="472" y="492"/>
                </a:lnTo>
                <a:lnTo>
                  <a:pt x="472" y="489"/>
                </a:lnTo>
                <a:lnTo>
                  <a:pt x="472" y="489"/>
                </a:lnTo>
                <a:lnTo>
                  <a:pt x="475" y="489"/>
                </a:lnTo>
                <a:lnTo>
                  <a:pt x="475" y="489"/>
                </a:lnTo>
                <a:lnTo>
                  <a:pt x="480" y="494"/>
                </a:lnTo>
                <a:lnTo>
                  <a:pt x="480" y="494"/>
                </a:lnTo>
                <a:lnTo>
                  <a:pt x="480" y="497"/>
                </a:lnTo>
                <a:lnTo>
                  <a:pt x="480" y="497"/>
                </a:lnTo>
                <a:lnTo>
                  <a:pt x="482" y="497"/>
                </a:lnTo>
                <a:lnTo>
                  <a:pt x="482" y="497"/>
                </a:lnTo>
                <a:lnTo>
                  <a:pt x="482" y="502"/>
                </a:lnTo>
                <a:lnTo>
                  <a:pt x="482" y="502"/>
                </a:lnTo>
                <a:lnTo>
                  <a:pt x="485" y="504"/>
                </a:lnTo>
                <a:lnTo>
                  <a:pt x="485" y="504"/>
                </a:lnTo>
                <a:lnTo>
                  <a:pt x="485" y="507"/>
                </a:lnTo>
                <a:lnTo>
                  <a:pt x="485" y="507"/>
                </a:lnTo>
                <a:lnTo>
                  <a:pt x="487" y="512"/>
                </a:lnTo>
                <a:lnTo>
                  <a:pt x="487" y="512"/>
                </a:lnTo>
                <a:lnTo>
                  <a:pt x="485" y="514"/>
                </a:lnTo>
                <a:lnTo>
                  <a:pt x="485" y="514"/>
                </a:lnTo>
                <a:lnTo>
                  <a:pt x="485" y="516"/>
                </a:lnTo>
                <a:lnTo>
                  <a:pt x="485" y="516"/>
                </a:lnTo>
                <a:lnTo>
                  <a:pt x="482" y="521"/>
                </a:lnTo>
                <a:lnTo>
                  <a:pt x="482" y="521"/>
                </a:lnTo>
                <a:lnTo>
                  <a:pt x="475" y="519"/>
                </a:lnTo>
                <a:lnTo>
                  <a:pt x="475" y="519"/>
                </a:lnTo>
                <a:lnTo>
                  <a:pt x="472" y="519"/>
                </a:lnTo>
                <a:lnTo>
                  <a:pt x="472" y="519"/>
                </a:lnTo>
                <a:lnTo>
                  <a:pt x="472" y="519"/>
                </a:lnTo>
                <a:lnTo>
                  <a:pt x="470" y="521"/>
                </a:lnTo>
                <a:lnTo>
                  <a:pt x="470" y="521"/>
                </a:lnTo>
                <a:lnTo>
                  <a:pt x="465" y="519"/>
                </a:lnTo>
                <a:lnTo>
                  <a:pt x="465" y="519"/>
                </a:lnTo>
                <a:lnTo>
                  <a:pt x="462" y="519"/>
                </a:lnTo>
                <a:lnTo>
                  <a:pt x="462" y="519"/>
                </a:lnTo>
                <a:lnTo>
                  <a:pt x="465" y="521"/>
                </a:lnTo>
                <a:lnTo>
                  <a:pt x="465" y="521"/>
                </a:lnTo>
                <a:lnTo>
                  <a:pt x="462" y="524"/>
                </a:lnTo>
                <a:lnTo>
                  <a:pt x="462" y="524"/>
                </a:lnTo>
                <a:lnTo>
                  <a:pt x="462" y="526"/>
                </a:lnTo>
                <a:lnTo>
                  <a:pt x="462" y="526"/>
                </a:lnTo>
                <a:lnTo>
                  <a:pt x="457" y="526"/>
                </a:lnTo>
                <a:lnTo>
                  <a:pt x="457" y="526"/>
                </a:lnTo>
                <a:lnTo>
                  <a:pt x="455" y="526"/>
                </a:lnTo>
                <a:lnTo>
                  <a:pt x="455" y="526"/>
                </a:lnTo>
                <a:lnTo>
                  <a:pt x="457" y="529"/>
                </a:lnTo>
                <a:lnTo>
                  <a:pt x="457" y="529"/>
                </a:lnTo>
                <a:lnTo>
                  <a:pt x="460" y="529"/>
                </a:lnTo>
                <a:lnTo>
                  <a:pt x="460" y="529"/>
                </a:lnTo>
                <a:lnTo>
                  <a:pt x="460" y="534"/>
                </a:lnTo>
                <a:lnTo>
                  <a:pt x="460" y="534"/>
                </a:lnTo>
                <a:lnTo>
                  <a:pt x="462" y="536"/>
                </a:lnTo>
                <a:lnTo>
                  <a:pt x="462" y="536"/>
                </a:lnTo>
                <a:lnTo>
                  <a:pt x="465" y="534"/>
                </a:lnTo>
                <a:lnTo>
                  <a:pt x="465" y="534"/>
                </a:lnTo>
                <a:lnTo>
                  <a:pt x="467" y="536"/>
                </a:lnTo>
                <a:lnTo>
                  <a:pt x="467" y="536"/>
                </a:lnTo>
                <a:lnTo>
                  <a:pt x="467" y="539"/>
                </a:lnTo>
                <a:lnTo>
                  <a:pt x="467" y="539"/>
                </a:lnTo>
                <a:lnTo>
                  <a:pt x="472" y="539"/>
                </a:lnTo>
                <a:lnTo>
                  <a:pt x="472" y="539"/>
                </a:lnTo>
                <a:lnTo>
                  <a:pt x="477" y="541"/>
                </a:lnTo>
                <a:lnTo>
                  <a:pt x="477" y="541"/>
                </a:lnTo>
                <a:lnTo>
                  <a:pt x="482" y="544"/>
                </a:lnTo>
                <a:lnTo>
                  <a:pt x="482" y="544"/>
                </a:lnTo>
                <a:lnTo>
                  <a:pt x="489" y="546"/>
                </a:lnTo>
                <a:lnTo>
                  <a:pt x="489" y="546"/>
                </a:lnTo>
                <a:lnTo>
                  <a:pt x="492" y="546"/>
                </a:lnTo>
                <a:lnTo>
                  <a:pt x="492" y="546"/>
                </a:lnTo>
                <a:lnTo>
                  <a:pt x="492" y="544"/>
                </a:lnTo>
                <a:lnTo>
                  <a:pt x="492" y="544"/>
                </a:lnTo>
                <a:lnTo>
                  <a:pt x="494" y="544"/>
                </a:lnTo>
                <a:lnTo>
                  <a:pt x="494" y="544"/>
                </a:lnTo>
                <a:lnTo>
                  <a:pt x="497" y="546"/>
                </a:lnTo>
                <a:lnTo>
                  <a:pt x="497" y="546"/>
                </a:lnTo>
                <a:lnTo>
                  <a:pt x="497" y="548"/>
                </a:lnTo>
                <a:lnTo>
                  <a:pt x="497" y="548"/>
                </a:lnTo>
                <a:lnTo>
                  <a:pt x="502" y="544"/>
                </a:lnTo>
                <a:lnTo>
                  <a:pt x="502" y="544"/>
                </a:lnTo>
                <a:lnTo>
                  <a:pt x="504" y="546"/>
                </a:lnTo>
                <a:lnTo>
                  <a:pt x="504" y="546"/>
                </a:lnTo>
                <a:lnTo>
                  <a:pt x="504" y="546"/>
                </a:lnTo>
                <a:lnTo>
                  <a:pt x="507" y="544"/>
                </a:lnTo>
                <a:lnTo>
                  <a:pt x="507" y="544"/>
                </a:lnTo>
                <a:lnTo>
                  <a:pt x="509" y="544"/>
                </a:lnTo>
                <a:lnTo>
                  <a:pt x="509" y="544"/>
                </a:lnTo>
                <a:lnTo>
                  <a:pt x="509" y="546"/>
                </a:lnTo>
                <a:lnTo>
                  <a:pt x="509" y="546"/>
                </a:lnTo>
                <a:lnTo>
                  <a:pt x="509" y="546"/>
                </a:lnTo>
                <a:lnTo>
                  <a:pt x="514" y="544"/>
                </a:lnTo>
                <a:lnTo>
                  <a:pt x="514" y="544"/>
                </a:lnTo>
                <a:lnTo>
                  <a:pt x="524" y="541"/>
                </a:lnTo>
                <a:lnTo>
                  <a:pt x="524" y="541"/>
                </a:lnTo>
                <a:lnTo>
                  <a:pt x="526" y="539"/>
                </a:lnTo>
                <a:lnTo>
                  <a:pt x="526" y="539"/>
                </a:lnTo>
                <a:lnTo>
                  <a:pt x="526" y="541"/>
                </a:lnTo>
                <a:lnTo>
                  <a:pt x="526" y="541"/>
                </a:lnTo>
                <a:lnTo>
                  <a:pt x="524" y="544"/>
                </a:lnTo>
                <a:lnTo>
                  <a:pt x="524" y="544"/>
                </a:lnTo>
                <a:lnTo>
                  <a:pt x="524" y="546"/>
                </a:lnTo>
                <a:lnTo>
                  <a:pt x="524" y="546"/>
                </a:lnTo>
                <a:lnTo>
                  <a:pt x="526" y="546"/>
                </a:lnTo>
                <a:lnTo>
                  <a:pt x="526" y="546"/>
                </a:lnTo>
                <a:lnTo>
                  <a:pt x="526" y="548"/>
                </a:lnTo>
                <a:lnTo>
                  <a:pt x="526" y="548"/>
                </a:lnTo>
                <a:lnTo>
                  <a:pt x="526" y="551"/>
                </a:lnTo>
                <a:lnTo>
                  <a:pt x="526" y="551"/>
                </a:lnTo>
                <a:lnTo>
                  <a:pt x="526" y="553"/>
                </a:lnTo>
                <a:lnTo>
                  <a:pt x="526" y="553"/>
                </a:lnTo>
                <a:lnTo>
                  <a:pt x="529" y="553"/>
                </a:lnTo>
                <a:lnTo>
                  <a:pt x="529" y="553"/>
                </a:lnTo>
                <a:lnTo>
                  <a:pt x="529" y="551"/>
                </a:lnTo>
                <a:lnTo>
                  <a:pt x="529" y="551"/>
                </a:lnTo>
                <a:lnTo>
                  <a:pt x="531" y="553"/>
                </a:lnTo>
                <a:lnTo>
                  <a:pt x="531" y="553"/>
                </a:lnTo>
                <a:lnTo>
                  <a:pt x="531" y="556"/>
                </a:lnTo>
                <a:lnTo>
                  <a:pt x="531" y="556"/>
                </a:lnTo>
                <a:lnTo>
                  <a:pt x="529" y="561"/>
                </a:lnTo>
                <a:lnTo>
                  <a:pt x="529" y="561"/>
                </a:lnTo>
                <a:lnTo>
                  <a:pt x="529" y="563"/>
                </a:lnTo>
                <a:lnTo>
                  <a:pt x="529" y="563"/>
                </a:lnTo>
                <a:lnTo>
                  <a:pt x="531" y="563"/>
                </a:lnTo>
                <a:lnTo>
                  <a:pt x="531" y="563"/>
                </a:lnTo>
                <a:lnTo>
                  <a:pt x="534" y="561"/>
                </a:lnTo>
                <a:lnTo>
                  <a:pt x="534" y="561"/>
                </a:lnTo>
                <a:lnTo>
                  <a:pt x="534" y="558"/>
                </a:lnTo>
                <a:lnTo>
                  <a:pt x="534" y="558"/>
                </a:lnTo>
                <a:lnTo>
                  <a:pt x="534" y="556"/>
                </a:lnTo>
                <a:lnTo>
                  <a:pt x="534" y="556"/>
                </a:lnTo>
                <a:lnTo>
                  <a:pt x="536" y="556"/>
                </a:lnTo>
                <a:lnTo>
                  <a:pt x="536" y="556"/>
                </a:lnTo>
                <a:lnTo>
                  <a:pt x="536" y="561"/>
                </a:lnTo>
                <a:lnTo>
                  <a:pt x="536" y="561"/>
                </a:lnTo>
                <a:lnTo>
                  <a:pt x="534" y="566"/>
                </a:lnTo>
                <a:lnTo>
                  <a:pt x="534" y="566"/>
                </a:lnTo>
                <a:lnTo>
                  <a:pt x="531" y="568"/>
                </a:lnTo>
                <a:lnTo>
                  <a:pt x="531" y="568"/>
                </a:lnTo>
                <a:lnTo>
                  <a:pt x="531" y="573"/>
                </a:lnTo>
                <a:lnTo>
                  <a:pt x="531" y="573"/>
                </a:lnTo>
                <a:lnTo>
                  <a:pt x="534" y="578"/>
                </a:lnTo>
                <a:lnTo>
                  <a:pt x="534" y="578"/>
                </a:lnTo>
                <a:lnTo>
                  <a:pt x="534" y="583"/>
                </a:lnTo>
                <a:lnTo>
                  <a:pt x="534" y="583"/>
                </a:lnTo>
                <a:lnTo>
                  <a:pt x="531" y="588"/>
                </a:lnTo>
                <a:lnTo>
                  <a:pt x="531" y="588"/>
                </a:lnTo>
                <a:lnTo>
                  <a:pt x="534" y="588"/>
                </a:lnTo>
                <a:lnTo>
                  <a:pt x="534" y="588"/>
                </a:lnTo>
                <a:lnTo>
                  <a:pt x="534" y="590"/>
                </a:lnTo>
                <a:lnTo>
                  <a:pt x="534" y="590"/>
                </a:lnTo>
                <a:lnTo>
                  <a:pt x="534" y="593"/>
                </a:lnTo>
                <a:lnTo>
                  <a:pt x="534" y="593"/>
                </a:lnTo>
                <a:lnTo>
                  <a:pt x="534" y="595"/>
                </a:lnTo>
                <a:lnTo>
                  <a:pt x="534" y="595"/>
                </a:lnTo>
                <a:lnTo>
                  <a:pt x="536" y="600"/>
                </a:lnTo>
                <a:lnTo>
                  <a:pt x="536" y="600"/>
                </a:lnTo>
                <a:lnTo>
                  <a:pt x="536" y="610"/>
                </a:lnTo>
                <a:lnTo>
                  <a:pt x="536" y="610"/>
                </a:lnTo>
                <a:lnTo>
                  <a:pt x="536" y="600"/>
                </a:lnTo>
                <a:lnTo>
                  <a:pt x="536" y="600"/>
                </a:lnTo>
                <a:lnTo>
                  <a:pt x="536" y="593"/>
                </a:lnTo>
                <a:lnTo>
                  <a:pt x="536" y="593"/>
                </a:lnTo>
                <a:lnTo>
                  <a:pt x="536" y="585"/>
                </a:lnTo>
                <a:lnTo>
                  <a:pt x="536" y="585"/>
                </a:lnTo>
                <a:lnTo>
                  <a:pt x="541" y="578"/>
                </a:lnTo>
                <a:lnTo>
                  <a:pt x="541" y="578"/>
                </a:lnTo>
                <a:lnTo>
                  <a:pt x="541" y="578"/>
                </a:lnTo>
                <a:lnTo>
                  <a:pt x="541" y="583"/>
                </a:lnTo>
                <a:lnTo>
                  <a:pt x="541" y="583"/>
                </a:lnTo>
                <a:lnTo>
                  <a:pt x="541" y="583"/>
                </a:lnTo>
                <a:lnTo>
                  <a:pt x="541" y="585"/>
                </a:lnTo>
                <a:lnTo>
                  <a:pt x="541" y="585"/>
                </a:lnTo>
                <a:lnTo>
                  <a:pt x="541" y="585"/>
                </a:lnTo>
                <a:lnTo>
                  <a:pt x="544" y="583"/>
                </a:lnTo>
                <a:lnTo>
                  <a:pt x="544" y="583"/>
                </a:lnTo>
                <a:lnTo>
                  <a:pt x="544" y="585"/>
                </a:lnTo>
                <a:lnTo>
                  <a:pt x="544" y="585"/>
                </a:lnTo>
                <a:lnTo>
                  <a:pt x="546" y="583"/>
                </a:lnTo>
                <a:lnTo>
                  <a:pt x="546" y="583"/>
                </a:lnTo>
                <a:lnTo>
                  <a:pt x="546" y="580"/>
                </a:lnTo>
                <a:lnTo>
                  <a:pt x="546" y="580"/>
                </a:lnTo>
                <a:lnTo>
                  <a:pt x="544" y="578"/>
                </a:lnTo>
                <a:lnTo>
                  <a:pt x="544" y="578"/>
                </a:lnTo>
                <a:lnTo>
                  <a:pt x="544" y="576"/>
                </a:lnTo>
                <a:lnTo>
                  <a:pt x="544" y="576"/>
                </a:lnTo>
                <a:lnTo>
                  <a:pt x="546" y="576"/>
                </a:lnTo>
                <a:lnTo>
                  <a:pt x="546" y="576"/>
                </a:lnTo>
                <a:lnTo>
                  <a:pt x="549" y="573"/>
                </a:lnTo>
                <a:lnTo>
                  <a:pt x="549" y="573"/>
                </a:lnTo>
                <a:lnTo>
                  <a:pt x="546" y="571"/>
                </a:lnTo>
                <a:lnTo>
                  <a:pt x="546" y="571"/>
                </a:lnTo>
                <a:lnTo>
                  <a:pt x="546" y="571"/>
                </a:lnTo>
                <a:lnTo>
                  <a:pt x="546" y="563"/>
                </a:lnTo>
                <a:lnTo>
                  <a:pt x="546" y="563"/>
                </a:lnTo>
                <a:lnTo>
                  <a:pt x="549" y="556"/>
                </a:lnTo>
                <a:lnTo>
                  <a:pt x="549" y="556"/>
                </a:lnTo>
                <a:lnTo>
                  <a:pt x="549" y="553"/>
                </a:lnTo>
                <a:lnTo>
                  <a:pt x="549" y="553"/>
                </a:lnTo>
                <a:lnTo>
                  <a:pt x="549" y="551"/>
                </a:lnTo>
                <a:lnTo>
                  <a:pt x="549" y="551"/>
                </a:lnTo>
                <a:lnTo>
                  <a:pt x="551" y="548"/>
                </a:lnTo>
                <a:lnTo>
                  <a:pt x="551" y="548"/>
                </a:lnTo>
                <a:lnTo>
                  <a:pt x="556" y="548"/>
                </a:lnTo>
                <a:lnTo>
                  <a:pt x="556" y="548"/>
                </a:lnTo>
                <a:lnTo>
                  <a:pt x="556" y="548"/>
                </a:lnTo>
                <a:lnTo>
                  <a:pt x="556" y="546"/>
                </a:lnTo>
                <a:lnTo>
                  <a:pt x="556" y="546"/>
                </a:lnTo>
                <a:lnTo>
                  <a:pt x="558" y="546"/>
                </a:lnTo>
                <a:lnTo>
                  <a:pt x="558" y="546"/>
                </a:lnTo>
                <a:lnTo>
                  <a:pt x="561" y="548"/>
                </a:lnTo>
                <a:lnTo>
                  <a:pt x="561" y="548"/>
                </a:lnTo>
                <a:lnTo>
                  <a:pt x="563" y="546"/>
                </a:lnTo>
                <a:lnTo>
                  <a:pt x="563" y="546"/>
                </a:lnTo>
                <a:lnTo>
                  <a:pt x="563" y="544"/>
                </a:lnTo>
                <a:lnTo>
                  <a:pt x="563" y="544"/>
                </a:lnTo>
                <a:lnTo>
                  <a:pt x="566" y="544"/>
                </a:lnTo>
                <a:lnTo>
                  <a:pt x="566" y="544"/>
                </a:lnTo>
                <a:lnTo>
                  <a:pt x="566" y="546"/>
                </a:lnTo>
                <a:lnTo>
                  <a:pt x="566" y="546"/>
                </a:lnTo>
                <a:lnTo>
                  <a:pt x="568" y="546"/>
                </a:lnTo>
                <a:lnTo>
                  <a:pt x="568" y="546"/>
                </a:lnTo>
                <a:lnTo>
                  <a:pt x="571" y="544"/>
                </a:lnTo>
                <a:lnTo>
                  <a:pt x="571" y="544"/>
                </a:lnTo>
                <a:lnTo>
                  <a:pt x="573" y="541"/>
                </a:lnTo>
                <a:lnTo>
                  <a:pt x="573" y="541"/>
                </a:lnTo>
                <a:lnTo>
                  <a:pt x="573" y="541"/>
                </a:lnTo>
                <a:lnTo>
                  <a:pt x="576" y="544"/>
                </a:lnTo>
                <a:lnTo>
                  <a:pt x="576" y="544"/>
                </a:lnTo>
                <a:lnTo>
                  <a:pt x="576" y="544"/>
                </a:lnTo>
                <a:lnTo>
                  <a:pt x="578" y="548"/>
                </a:lnTo>
                <a:lnTo>
                  <a:pt x="578" y="548"/>
                </a:lnTo>
                <a:lnTo>
                  <a:pt x="578" y="544"/>
                </a:lnTo>
                <a:lnTo>
                  <a:pt x="578" y="544"/>
                </a:lnTo>
                <a:lnTo>
                  <a:pt x="576" y="541"/>
                </a:lnTo>
                <a:lnTo>
                  <a:pt x="576" y="541"/>
                </a:lnTo>
                <a:lnTo>
                  <a:pt x="578" y="536"/>
                </a:lnTo>
                <a:lnTo>
                  <a:pt x="578" y="536"/>
                </a:lnTo>
                <a:lnTo>
                  <a:pt x="580" y="536"/>
                </a:lnTo>
                <a:lnTo>
                  <a:pt x="580" y="536"/>
                </a:lnTo>
                <a:lnTo>
                  <a:pt x="583" y="536"/>
                </a:lnTo>
                <a:lnTo>
                  <a:pt x="583" y="536"/>
                </a:lnTo>
                <a:lnTo>
                  <a:pt x="585" y="536"/>
                </a:lnTo>
                <a:lnTo>
                  <a:pt x="585" y="536"/>
                </a:lnTo>
                <a:lnTo>
                  <a:pt x="585" y="536"/>
                </a:lnTo>
                <a:lnTo>
                  <a:pt x="588" y="536"/>
                </a:lnTo>
                <a:lnTo>
                  <a:pt x="588" y="536"/>
                </a:lnTo>
                <a:lnTo>
                  <a:pt x="590" y="534"/>
                </a:lnTo>
                <a:lnTo>
                  <a:pt x="590" y="534"/>
                </a:lnTo>
                <a:lnTo>
                  <a:pt x="590" y="531"/>
                </a:lnTo>
                <a:lnTo>
                  <a:pt x="590" y="531"/>
                </a:lnTo>
                <a:lnTo>
                  <a:pt x="593" y="529"/>
                </a:lnTo>
                <a:lnTo>
                  <a:pt x="593" y="529"/>
                </a:lnTo>
                <a:lnTo>
                  <a:pt x="590" y="529"/>
                </a:lnTo>
                <a:lnTo>
                  <a:pt x="590" y="529"/>
                </a:lnTo>
                <a:lnTo>
                  <a:pt x="590" y="529"/>
                </a:lnTo>
                <a:lnTo>
                  <a:pt x="588" y="529"/>
                </a:lnTo>
                <a:lnTo>
                  <a:pt x="588" y="529"/>
                </a:lnTo>
                <a:lnTo>
                  <a:pt x="580" y="531"/>
                </a:lnTo>
                <a:lnTo>
                  <a:pt x="580" y="531"/>
                </a:lnTo>
                <a:lnTo>
                  <a:pt x="578" y="531"/>
                </a:lnTo>
                <a:lnTo>
                  <a:pt x="578" y="531"/>
                </a:lnTo>
                <a:lnTo>
                  <a:pt x="578" y="534"/>
                </a:lnTo>
                <a:lnTo>
                  <a:pt x="578" y="534"/>
                </a:lnTo>
                <a:lnTo>
                  <a:pt x="576" y="534"/>
                </a:lnTo>
                <a:lnTo>
                  <a:pt x="576" y="534"/>
                </a:lnTo>
                <a:lnTo>
                  <a:pt x="576" y="534"/>
                </a:lnTo>
                <a:lnTo>
                  <a:pt x="576" y="536"/>
                </a:lnTo>
                <a:lnTo>
                  <a:pt x="576" y="536"/>
                </a:lnTo>
                <a:lnTo>
                  <a:pt x="573" y="534"/>
                </a:lnTo>
                <a:lnTo>
                  <a:pt x="573" y="534"/>
                </a:lnTo>
                <a:lnTo>
                  <a:pt x="573" y="531"/>
                </a:lnTo>
                <a:lnTo>
                  <a:pt x="573" y="531"/>
                </a:lnTo>
                <a:lnTo>
                  <a:pt x="571" y="531"/>
                </a:lnTo>
                <a:lnTo>
                  <a:pt x="571" y="531"/>
                </a:lnTo>
                <a:lnTo>
                  <a:pt x="571" y="534"/>
                </a:lnTo>
                <a:lnTo>
                  <a:pt x="571" y="534"/>
                </a:lnTo>
                <a:lnTo>
                  <a:pt x="568" y="536"/>
                </a:lnTo>
                <a:lnTo>
                  <a:pt x="568" y="536"/>
                </a:lnTo>
                <a:lnTo>
                  <a:pt x="566" y="534"/>
                </a:lnTo>
                <a:lnTo>
                  <a:pt x="566" y="534"/>
                </a:lnTo>
                <a:lnTo>
                  <a:pt x="563" y="534"/>
                </a:lnTo>
                <a:lnTo>
                  <a:pt x="563" y="534"/>
                </a:lnTo>
                <a:lnTo>
                  <a:pt x="563" y="531"/>
                </a:lnTo>
                <a:lnTo>
                  <a:pt x="563" y="531"/>
                </a:lnTo>
                <a:lnTo>
                  <a:pt x="561" y="534"/>
                </a:lnTo>
                <a:lnTo>
                  <a:pt x="561" y="534"/>
                </a:lnTo>
                <a:lnTo>
                  <a:pt x="561" y="534"/>
                </a:lnTo>
                <a:lnTo>
                  <a:pt x="561" y="536"/>
                </a:lnTo>
                <a:lnTo>
                  <a:pt x="561" y="536"/>
                </a:lnTo>
                <a:lnTo>
                  <a:pt x="561" y="539"/>
                </a:lnTo>
                <a:lnTo>
                  <a:pt x="561" y="539"/>
                </a:lnTo>
                <a:lnTo>
                  <a:pt x="558" y="539"/>
                </a:lnTo>
                <a:lnTo>
                  <a:pt x="558" y="539"/>
                </a:lnTo>
                <a:lnTo>
                  <a:pt x="558" y="539"/>
                </a:lnTo>
                <a:lnTo>
                  <a:pt x="553" y="539"/>
                </a:lnTo>
                <a:lnTo>
                  <a:pt x="553" y="539"/>
                </a:lnTo>
                <a:lnTo>
                  <a:pt x="553" y="536"/>
                </a:lnTo>
                <a:lnTo>
                  <a:pt x="553" y="536"/>
                </a:lnTo>
                <a:lnTo>
                  <a:pt x="556" y="534"/>
                </a:lnTo>
                <a:lnTo>
                  <a:pt x="556" y="534"/>
                </a:lnTo>
                <a:lnTo>
                  <a:pt x="556" y="531"/>
                </a:lnTo>
                <a:lnTo>
                  <a:pt x="556" y="531"/>
                </a:lnTo>
                <a:lnTo>
                  <a:pt x="556" y="531"/>
                </a:lnTo>
                <a:lnTo>
                  <a:pt x="553" y="534"/>
                </a:lnTo>
                <a:lnTo>
                  <a:pt x="553" y="534"/>
                </a:lnTo>
                <a:lnTo>
                  <a:pt x="551" y="531"/>
                </a:lnTo>
                <a:lnTo>
                  <a:pt x="551" y="531"/>
                </a:lnTo>
                <a:lnTo>
                  <a:pt x="551" y="529"/>
                </a:lnTo>
                <a:lnTo>
                  <a:pt x="551" y="529"/>
                </a:lnTo>
                <a:lnTo>
                  <a:pt x="553" y="526"/>
                </a:lnTo>
                <a:lnTo>
                  <a:pt x="553" y="526"/>
                </a:lnTo>
                <a:lnTo>
                  <a:pt x="558" y="521"/>
                </a:lnTo>
                <a:lnTo>
                  <a:pt x="558" y="521"/>
                </a:lnTo>
                <a:lnTo>
                  <a:pt x="561" y="521"/>
                </a:lnTo>
                <a:lnTo>
                  <a:pt x="561" y="521"/>
                </a:lnTo>
                <a:lnTo>
                  <a:pt x="566" y="521"/>
                </a:lnTo>
                <a:lnTo>
                  <a:pt x="566" y="521"/>
                </a:lnTo>
                <a:lnTo>
                  <a:pt x="576" y="521"/>
                </a:lnTo>
                <a:lnTo>
                  <a:pt x="576" y="521"/>
                </a:lnTo>
                <a:lnTo>
                  <a:pt x="583" y="519"/>
                </a:lnTo>
                <a:lnTo>
                  <a:pt x="583" y="519"/>
                </a:lnTo>
                <a:lnTo>
                  <a:pt x="585" y="519"/>
                </a:lnTo>
                <a:lnTo>
                  <a:pt x="585" y="519"/>
                </a:lnTo>
                <a:lnTo>
                  <a:pt x="590" y="519"/>
                </a:lnTo>
                <a:lnTo>
                  <a:pt x="590" y="519"/>
                </a:lnTo>
                <a:lnTo>
                  <a:pt x="590" y="521"/>
                </a:lnTo>
                <a:lnTo>
                  <a:pt x="590" y="521"/>
                </a:lnTo>
                <a:lnTo>
                  <a:pt x="593" y="524"/>
                </a:lnTo>
                <a:lnTo>
                  <a:pt x="593" y="524"/>
                </a:lnTo>
                <a:lnTo>
                  <a:pt x="595" y="524"/>
                </a:lnTo>
                <a:lnTo>
                  <a:pt x="595" y="524"/>
                </a:lnTo>
                <a:lnTo>
                  <a:pt x="595" y="526"/>
                </a:lnTo>
                <a:lnTo>
                  <a:pt x="595" y="526"/>
                </a:lnTo>
                <a:lnTo>
                  <a:pt x="595" y="531"/>
                </a:lnTo>
                <a:lnTo>
                  <a:pt x="595" y="531"/>
                </a:lnTo>
                <a:lnTo>
                  <a:pt x="595" y="534"/>
                </a:lnTo>
                <a:lnTo>
                  <a:pt x="595" y="534"/>
                </a:lnTo>
                <a:lnTo>
                  <a:pt x="595" y="534"/>
                </a:lnTo>
                <a:lnTo>
                  <a:pt x="595" y="536"/>
                </a:lnTo>
                <a:lnTo>
                  <a:pt x="595" y="536"/>
                </a:lnTo>
                <a:lnTo>
                  <a:pt x="593" y="536"/>
                </a:lnTo>
                <a:lnTo>
                  <a:pt x="593" y="536"/>
                </a:lnTo>
                <a:lnTo>
                  <a:pt x="593" y="539"/>
                </a:lnTo>
                <a:lnTo>
                  <a:pt x="593" y="539"/>
                </a:lnTo>
                <a:lnTo>
                  <a:pt x="595" y="539"/>
                </a:lnTo>
                <a:lnTo>
                  <a:pt x="595" y="539"/>
                </a:lnTo>
                <a:lnTo>
                  <a:pt x="595" y="546"/>
                </a:lnTo>
                <a:lnTo>
                  <a:pt x="595" y="546"/>
                </a:lnTo>
                <a:lnTo>
                  <a:pt x="598" y="546"/>
                </a:lnTo>
                <a:lnTo>
                  <a:pt x="598" y="546"/>
                </a:lnTo>
                <a:lnTo>
                  <a:pt x="600" y="546"/>
                </a:lnTo>
                <a:lnTo>
                  <a:pt x="600" y="546"/>
                </a:lnTo>
                <a:lnTo>
                  <a:pt x="600" y="548"/>
                </a:lnTo>
                <a:lnTo>
                  <a:pt x="600" y="548"/>
                </a:lnTo>
                <a:lnTo>
                  <a:pt x="598" y="548"/>
                </a:lnTo>
                <a:lnTo>
                  <a:pt x="598" y="548"/>
                </a:lnTo>
                <a:lnTo>
                  <a:pt x="595" y="551"/>
                </a:lnTo>
                <a:lnTo>
                  <a:pt x="595" y="551"/>
                </a:lnTo>
                <a:lnTo>
                  <a:pt x="595" y="553"/>
                </a:lnTo>
                <a:lnTo>
                  <a:pt x="595" y="553"/>
                </a:lnTo>
                <a:lnTo>
                  <a:pt x="598" y="553"/>
                </a:lnTo>
                <a:lnTo>
                  <a:pt x="598" y="553"/>
                </a:lnTo>
                <a:lnTo>
                  <a:pt x="600" y="556"/>
                </a:lnTo>
                <a:lnTo>
                  <a:pt x="600" y="556"/>
                </a:lnTo>
                <a:lnTo>
                  <a:pt x="603" y="556"/>
                </a:lnTo>
                <a:lnTo>
                  <a:pt x="603" y="556"/>
                </a:lnTo>
                <a:lnTo>
                  <a:pt x="603" y="556"/>
                </a:lnTo>
                <a:lnTo>
                  <a:pt x="605" y="558"/>
                </a:lnTo>
                <a:lnTo>
                  <a:pt x="605" y="558"/>
                </a:lnTo>
                <a:lnTo>
                  <a:pt x="608" y="558"/>
                </a:lnTo>
                <a:lnTo>
                  <a:pt x="608" y="558"/>
                </a:lnTo>
                <a:lnTo>
                  <a:pt x="610" y="556"/>
                </a:lnTo>
                <a:lnTo>
                  <a:pt x="610" y="556"/>
                </a:lnTo>
                <a:lnTo>
                  <a:pt x="612" y="558"/>
                </a:lnTo>
                <a:lnTo>
                  <a:pt x="612" y="558"/>
                </a:lnTo>
                <a:lnTo>
                  <a:pt x="612" y="558"/>
                </a:lnTo>
                <a:lnTo>
                  <a:pt x="612" y="561"/>
                </a:lnTo>
                <a:lnTo>
                  <a:pt x="612" y="561"/>
                </a:lnTo>
                <a:lnTo>
                  <a:pt x="615" y="561"/>
                </a:lnTo>
                <a:lnTo>
                  <a:pt x="615" y="561"/>
                </a:lnTo>
                <a:lnTo>
                  <a:pt x="615" y="561"/>
                </a:lnTo>
                <a:lnTo>
                  <a:pt x="615" y="563"/>
                </a:lnTo>
                <a:lnTo>
                  <a:pt x="615" y="563"/>
                </a:lnTo>
                <a:lnTo>
                  <a:pt x="615" y="566"/>
                </a:lnTo>
                <a:lnTo>
                  <a:pt x="615" y="566"/>
                </a:lnTo>
                <a:lnTo>
                  <a:pt x="615" y="566"/>
                </a:lnTo>
                <a:lnTo>
                  <a:pt x="617" y="568"/>
                </a:lnTo>
                <a:lnTo>
                  <a:pt x="617" y="568"/>
                </a:lnTo>
                <a:lnTo>
                  <a:pt x="620" y="571"/>
                </a:lnTo>
                <a:lnTo>
                  <a:pt x="620" y="571"/>
                </a:lnTo>
                <a:lnTo>
                  <a:pt x="620" y="573"/>
                </a:lnTo>
                <a:lnTo>
                  <a:pt x="620" y="573"/>
                </a:lnTo>
                <a:lnTo>
                  <a:pt x="625" y="571"/>
                </a:lnTo>
                <a:lnTo>
                  <a:pt x="625" y="571"/>
                </a:lnTo>
                <a:lnTo>
                  <a:pt x="625" y="573"/>
                </a:lnTo>
                <a:lnTo>
                  <a:pt x="625" y="573"/>
                </a:lnTo>
                <a:lnTo>
                  <a:pt x="625" y="576"/>
                </a:lnTo>
                <a:lnTo>
                  <a:pt x="625" y="576"/>
                </a:lnTo>
                <a:lnTo>
                  <a:pt x="627" y="576"/>
                </a:lnTo>
                <a:lnTo>
                  <a:pt x="627" y="576"/>
                </a:lnTo>
                <a:lnTo>
                  <a:pt x="630" y="578"/>
                </a:lnTo>
                <a:lnTo>
                  <a:pt x="630" y="578"/>
                </a:lnTo>
                <a:lnTo>
                  <a:pt x="632" y="576"/>
                </a:lnTo>
                <a:lnTo>
                  <a:pt x="632" y="576"/>
                </a:lnTo>
                <a:lnTo>
                  <a:pt x="640" y="576"/>
                </a:lnTo>
                <a:lnTo>
                  <a:pt x="640" y="576"/>
                </a:lnTo>
                <a:lnTo>
                  <a:pt x="640" y="573"/>
                </a:lnTo>
                <a:lnTo>
                  <a:pt x="640" y="573"/>
                </a:lnTo>
                <a:lnTo>
                  <a:pt x="644" y="571"/>
                </a:lnTo>
                <a:lnTo>
                  <a:pt x="644" y="571"/>
                </a:lnTo>
                <a:lnTo>
                  <a:pt x="644" y="571"/>
                </a:lnTo>
                <a:lnTo>
                  <a:pt x="647" y="573"/>
                </a:lnTo>
                <a:lnTo>
                  <a:pt x="647" y="573"/>
                </a:lnTo>
                <a:lnTo>
                  <a:pt x="652" y="573"/>
                </a:lnTo>
                <a:lnTo>
                  <a:pt x="652" y="573"/>
                </a:lnTo>
                <a:lnTo>
                  <a:pt x="657" y="578"/>
                </a:lnTo>
                <a:lnTo>
                  <a:pt x="657" y="578"/>
                </a:lnTo>
                <a:lnTo>
                  <a:pt x="659" y="578"/>
                </a:lnTo>
                <a:lnTo>
                  <a:pt x="659" y="578"/>
                </a:lnTo>
                <a:lnTo>
                  <a:pt x="662" y="580"/>
                </a:lnTo>
                <a:lnTo>
                  <a:pt x="662" y="580"/>
                </a:lnTo>
                <a:lnTo>
                  <a:pt x="664" y="578"/>
                </a:lnTo>
                <a:lnTo>
                  <a:pt x="664" y="578"/>
                </a:lnTo>
                <a:lnTo>
                  <a:pt x="669" y="578"/>
                </a:lnTo>
                <a:lnTo>
                  <a:pt x="669" y="578"/>
                </a:lnTo>
                <a:lnTo>
                  <a:pt x="672" y="580"/>
                </a:lnTo>
                <a:lnTo>
                  <a:pt x="672" y="580"/>
                </a:lnTo>
                <a:lnTo>
                  <a:pt x="672" y="580"/>
                </a:lnTo>
                <a:lnTo>
                  <a:pt x="672" y="576"/>
                </a:lnTo>
                <a:lnTo>
                  <a:pt x="672" y="576"/>
                </a:lnTo>
                <a:lnTo>
                  <a:pt x="669" y="573"/>
                </a:lnTo>
                <a:lnTo>
                  <a:pt x="669" y="573"/>
                </a:lnTo>
                <a:lnTo>
                  <a:pt x="669" y="568"/>
                </a:lnTo>
                <a:lnTo>
                  <a:pt x="669" y="568"/>
                </a:lnTo>
                <a:lnTo>
                  <a:pt x="669" y="568"/>
                </a:lnTo>
                <a:lnTo>
                  <a:pt x="672" y="568"/>
                </a:lnTo>
                <a:lnTo>
                  <a:pt x="672" y="568"/>
                </a:lnTo>
                <a:lnTo>
                  <a:pt x="674" y="573"/>
                </a:lnTo>
                <a:lnTo>
                  <a:pt x="674" y="573"/>
                </a:lnTo>
                <a:lnTo>
                  <a:pt x="674" y="578"/>
                </a:lnTo>
                <a:lnTo>
                  <a:pt x="674" y="578"/>
                </a:lnTo>
                <a:lnTo>
                  <a:pt x="679" y="583"/>
                </a:lnTo>
                <a:lnTo>
                  <a:pt x="679" y="583"/>
                </a:lnTo>
                <a:lnTo>
                  <a:pt x="679" y="583"/>
                </a:lnTo>
                <a:lnTo>
                  <a:pt x="681" y="588"/>
                </a:lnTo>
                <a:lnTo>
                  <a:pt x="681" y="588"/>
                </a:lnTo>
                <a:lnTo>
                  <a:pt x="681" y="580"/>
                </a:lnTo>
                <a:lnTo>
                  <a:pt x="681" y="580"/>
                </a:lnTo>
                <a:lnTo>
                  <a:pt x="679" y="578"/>
                </a:lnTo>
                <a:lnTo>
                  <a:pt x="679" y="578"/>
                </a:lnTo>
                <a:lnTo>
                  <a:pt x="676" y="578"/>
                </a:lnTo>
                <a:lnTo>
                  <a:pt x="676" y="578"/>
                </a:lnTo>
                <a:lnTo>
                  <a:pt x="674" y="573"/>
                </a:lnTo>
                <a:lnTo>
                  <a:pt x="674" y="573"/>
                </a:lnTo>
                <a:lnTo>
                  <a:pt x="674" y="566"/>
                </a:lnTo>
                <a:lnTo>
                  <a:pt x="674" y="566"/>
                </a:lnTo>
                <a:lnTo>
                  <a:pt x="674" y="563"/>
                </a:lnTo>
                <a:lnTo>
                  <a:pt x="674" y="563"/>
                </a:lnTo>
                <a:lnTo>
                  <a:pt x="674" y="566"/>
                </a:lnTo>
                <a:lnTo>
                  <a:pt x="674" y="566"/>
                </a:lnTo>
                <a:lnTo>
                  <a:pt x="674" y="566"/>
                </a:lnTo>
                <a:lnTo>
                  <a:pt x="676" y="568"/>
                </a:lnTo>
                <a:lnTo>
                  <a:pt x="676" y="568"/>
                </a:lnTo>
                <a:lnTo>
                  <a:pt x="679" y="566"/>
                </a:lnTo>
                <a:lnTo>
                  <a:pt x="679" y="566"/>
                </a:lnTo>
                <a:lnTo>
                  <a:pt x="679" y="566"/>
                </a:lnTo>
                <a:lnTo>
                  <a:pt x="676" y="561"/>
                </a:lnTo>
                <a:lnTo>
                  <a:pt x="676" y="561"/>
                </a:lnTo>
                <a:lnTo>
                  <a:pt x="676" y="561"/>
                </a:lnTo>
                <a:lnTo>
                  <a:pt x="676" y="558"/>
                </a:lnTo>
                <a:lnTo>
                  <a:pt x="676" y="558"/>
                </a:lnTo>
                <a:lnTo>
                  <a:pt x="676" y="556"/>
                </a:lnTo>
                <a:lnTo>
                  <a:pt x="676" y="556"/>
                </a:lnTo>
                <a:lnTo>
                  <a:pt x="679" y="556"/>
                </a:lnTo>
                <a:lnTo>
                  <a:pt x="679" y="556"/>
                </a:lnTo>
                <a:lnTo>
                  <a:pt x="681" y="558"/>
                </a:lnTo>
                <a:lnTo>
                  <a:pt x="681" y="558"/>
                </a:lnTo>
                <a:lnTo>
                  <a:pt x="681" y="561"/>
                </a:lnTo>
                <a:lnTo>
                  <a:pt x="681" y="561"/>
                </a:lnTo>
                <a:lnTo>
                  <a:pt x="681" y="561"/>
                </a:lnTo>
                <a:lnTo>
                  <a:pt x="684" y="561"/>
                </a:lnTo>
                <a:lnTo>
                  <a:pt x="684" y="561"/>
                </a:lnTo>
                <a:lnTo>
                  <a:pt x="686" y="558"/>
                </a:lnTo>
                <a:lnTo>
                  <a:pt x="686" y="558"/>
                </a:lnTo>
                <a:lnTo>
                  <a:pt x="686" y="556"/>
                </a:lnTo>
                <a:lnTo>
                  <a:pt x="686" y="556"/>
                </a:lnTo>
                <a:lnTo>
                  <a:pt x="689" y="556"/>
                </a:lnTo>
                <a:lnTo>
                  <a:pt x="689" y="556"/>
                </a:lnTo>
                <a:lnTo>
                  <a:pt x="691" y="558"/>
                </a:lnTo>
                <a:lnTo>
                  <a:pt x="691" y="558"/>
                </a:lnTo>
                <a:lnTo>
                  <a:pt x="691" y="561"/>
                </a:lnTo>
                <a:lnTo>
                  <a:pt x="691" y="561"/>
                </a:lnTo>
                <a:lnTo>
                  <a:pt x="691" y="561"/>
                </a:lnTo>
                <a:lnTo>
                  <a:pt x="691" y="561"/>
                </a:lnTo>
                <a:lnTo>
                  <a:pt x="694" y="558"/>
                </a:lnTo>
                <a:lnTo>
                  <a:pt x="694" y="558"/>
                </a:lnTo>
                <a:lnTo>
                  <a:pt x="696" y="561"/>
                </a:lnTo>
                <a:lnTo>
                  <a:pt x="696" y="561"/>
                </a:lnTo>
                <a:lnTo>
                  <a:pt x="694" y="566"/>
                </a:lnTo>
                <a:lnTo>
                  <a:pt x="694" y="566"/>
                </a:lnTo>
                <a:lnTo>
                  <a:pt x="694" y="568"/>
                </a:lnTo>
                <a:lnTo>
                  <a:pt x="694" y="568"/>
                </a:lnTo>
                <a:lnTo>
                  <a:pt x="696" y="568"/>
                </a:lnTo>
                <a:lnTo>
                  <a:pt x="696" y="568"/>
                </a:lnTo>
                <a:lnTo>
                  <a:pt x="699" y="568"/>
                </a:lnTo>
                <a:lnTo>
                  <a:pt x="699" y="568"/>
                </a:lnTo>
                <a:lnTo>
                  <a:pt x="701" y="571"/>
                </a:lnTo>
                <a:lnTo>
                  <a:pt x="701" y="571"/>
                </a:lnTo>
                <a:lnTo>
                  <a:pt x="699" y="573"/>
                </a:lnTo>
                <a:lnTo>
                  <a:pt x="699" y="573"/>
                </a:lnTo>
                <a:lnTo>
                  <a:pt x="696" y="573"/>
                </a:lnTo>
                <a:lnTo>
                  <a:pt x="696" y="573"/>
                </a:lnTo>
                <a:lnTo>
                  <a:pt x="696" y="576"/>
                </a:lnTo>
                <a:lnTo>
                  <a:pt x="696" y="576"/>
                </a:lnTo>
                <a:lnTo>
                  <a:pt x="696" y="576"/>
                </a:lnTo>
                <a:lnTo>
                  <a:pt x="701" y="573"/>
                </a:lnTo>
                <a:lnTo>
                  <a:pt x="701" y="573"/>
                </a:lnTo>
                <a:lnTo>
                  <a:pt x="703" y="571"/>
                </a:lnTo>
                <a:lnTo>
                  <a:pt x="703" y="571"/>
                </a:lnTo>
                <a:lnTo>
                  <a:pt x="706" y="568"/>
                </a:lnTo>
                <a:lnTo>
                  <a:pt x="706" y="568"/>
                </a:lnTo>
                <a:lnTo>
                  <a:pt x="708" y="571"/>
                </a:lnTo>
                <a:lnTo>
                  <a:pt x="708" y="571"/>
                </a:lnTo>
                <a:lnTo>
                  <a:pt x="708" y="571"/>
                </a:lnTo>
                <a:lnTo>
                  <a:pt x="706" y="571"/>
                </a:lnTo>
                <a:lnTo>
                  <a:pt x="706" y="571"/>
                </a:lnTo>
                <a:lnTo>
                  <a:pt x="706" y="573"/>
                </a:lnTo>
                <a:lnTo>
                  <a:pt x="706" y="573"/>
                </a:lnTo>
                <a:lnTo>
                  <a:pt x="706" y="576"/>
                </a:lnTo>
                <a:lnTo>
                  <a:pt x="706" y="576"/>
                </a:lnTo>
                <a:lnTo>
                  <a:pt x="701" y="580"/>
                </a:lnTo>
                <a:lnTo>
                  <a:pt x="701" y="580"/>
                </a:lnTo>
                <a:lnTo>
                  <a:pt x="701" y="580"/>
                </a:lnTo>
                <a:lnTo>
                  <a:pt x="696" y="585"/>
                </a:lnTo>
                <a:lnTo>
                  <a:pt x="696" y="585"/>
                </a:lnTo>
                <a:lnTo>
                  <a:pt x="696" y="588"/>
                </a:lnTo>
                <a:lnTo>
                  <a:pt x="696" y="588"/>
                </a:lnTo>
                <a:lnTo>
                  <a:pt x="694" y="590"/>
                </a:lnTo>
                <a:lnTo>
                  <a:pt x="694" y="590"/>
                </a:lnTo>
                <a:lnTo>
                  <a:pt x="694" y="585"/>
                </a:lnTo>
                <a:lnTo>
                  <a:pt x="694" y="585"/>
                </a:lnTo>
                <a:lnTo>
                  <a:pt x="691" y="590"/>
                </a:lnTo>
                <a:lnTo>
                  <a:pt x="691" y="590"/>
                </a:lnTo>
                <a:lnTo>
                  <a:pt x="691" y="595"/>
                </a:lnTo>
                <a:lnTo>
                  <a:pt x="691" y="595"/>
                </a:lnTo>
                <a:lnTo>
                  <a:pt x="691" y="595"/>
                </a:lnTo>
                <a:lnTo>
                  <a:pt x="694" y="595"/>
                </a:lnTo>
                <a:lnTo>
                  <a:pt x="694" y="595"/>
                </a:lnTo>
                <a:lnTo>
                  <a:pt x="696" y="595"/>
                </a:lnTo>
                <a:lnTo>
                  <a:pt x="696" y="595"/>
                </a:lnTo>
                <a:lnTo>
                  <a:pt x="696" y="598"/>
                </a:lnTo>
                <a:lnTo>
                  <a:pt x="696" y="598"/>
                </a:lnTo>
                <a:lnTo>
                  <a:pt x="691" y="600"/>
                </a:lnTo>
                <a:lnTo>
                  <a:pt x="691" y="600"/>
                </a:lnTo>
                <a:lnTo>
                  <a:pt x="691" y="603"/>
                </a:lnTo>
                <a:lnTo>
                  <a:pt x="691" y="603"/>
                </a:lnTo>
                <a:lnTo>
                  <a:pt x="696" y="600"/>
                </a:lnTo>
                <a:lnTo>
                  <a:pt x="696" y="600"/>
                </a:lnTo>
                <a:lnTo>
                  <a:pt x="699" y="598"/>
                </a:lnTo>
                <a:lnTo>
                  <a:pt x="699" y="598"/>
                </a:lnTo>
                <a:lnTo>
                  <a:pt x="701" y="598"/>
                </a:lnTo>
                <a:lnTo>
                  <a:pt x="701" y="598"/>
                </a:lnTo>
                <a:lnTo>
                  <a:pt x="699" y="603"/>
                </a:lnTo>
                <a:lnTo>
                  <a:pt x="699" y="603"/>
                </a:lnTo>
                <a:lnTo>
                  <a:pt x="696" y="603"/>
                </a:lnTo>
                <a:lnTo>
                  <a:pt x="696" y="603"/>
                </a:lnTo>
                <a:lnTo>
                  <a:pt x="699" y="605"/>
                </a:lnTo>
                <a:lnTo>
                  <a:pt x="699" y="605"/>
                </a:lnTo>
                <a:lnTo>
                  <a:pt x="701" y="603"/>
                </a:lnTo>
                <a:lnTo>
                  <a:pt x="701" y="603"/>
                </a:lnTo>
                <a:lnTo>
                  <a:pt x="699" y="607"/>
                </a:lnTo>
                <a:lnTo>
                  <a:pt x="699" y="607"/>
                </a:lnTo>
                <a:lnTo>
                  <a:pt x="699" y="610"/>
                </a:lnTo>
                <a:lnTo>
                  <a:pt x="699" y="610"/>
                </a:lnTo>
                <a:lnTo>
                  <a:pt x="696" y="610"/>
                </a:lnTo>
                <a:lnTo>
                  <a:pt x="696" y="610"/>
                </a:lnTo>
                <a:lnTo>
                  <a:pt x="694" y="610"/>
                </a:lnTo>
                <a:lnTo>
                  <a:pt x="694" y="610"/>
                </a:lnTo>
                <a:lnTo>
                  <a:pt x="691" y="607"/>
                </a:lnTo>
                <a:lnTo>
                  <a:pt x="691" y="607"/>
                </a:lnTo>
                <a:lnTo>
                  <a:pt x="689" y="610"/>
                </a:lnTo>
                <a:lnTo>
                  <a:pt x="689" y="610"/>
                </a:lnTo>
                <a:lnTo>
                  <a:pt x="686" y="605"/>
                </a:lnTo>
                <a:lnTo>
                  <a:pt x="686" y="605"/>
                </a:lnTo>
                <a:lnTo>
                  <a:pt x="686" y="605"/>
                </a:lnTo>
                <a:lnTo>
                  <a:pt x="684" y="610"/>
                </a:lnTo>
                <a:lnTo>
                  <a:pt x="684" y="610"/>
                </a:lnTo>
                <a:lnTo>
                  <a:pt x="686" y="612"/>
                </a:lnTo>
                <a:lnTo>
                  <a:pt x="686" y="612"/>
                </a:lnTo>
                <a:lnTo>
                  <a:pt x="689" y="615"/>
                </a:lnTo>
                <a:lnTo>
                  <a:pt x="689" y="615"/>
                </a:lnTo>
                <a:lnTo>
                  <a:pt x="686" y="622"/>
                </a:lnTo>
                <a:lnTo>
                  <a:pt x="686" y="622"/>
                </a:lnTo>
                <a:lnTo>
                  <a:pt x="689" y="617"/>
                </a:lnTo>
                <a:lnTo>
                  <a:pt x="689" y="617"/>
                </a:lnTo>
                <a:lnTo>
                  <a:pt x="689" y="612"/>
                </a:lnTo>
                <a:lnTo>
                  <a:pt x="689" y="612"/>
                </a:lnTo>
                <a:lnTo>
                  <a:pt x="691" y="610"/>
                </a:lnTo>
                <a:lnTo>
                  <a:pt x="691" y="610"/>
                </a:lnTo>
                <a:lnTo>
                  <a:pt x="691" y="612"/>
                </a:lnTo>
                <a:lnTo>
                  <a:pt x="691" y="612"/>
                </a:lnTo>
                <a:lnTo>
                  <a:pt x="696" y="612"/>
                </a:lnTo>
                <a:lnTo>
                  <a:pt x="696" y="612"/>
                </a:lnTo>
                <a:lnTo>
                  <a:pt x="699" y="615"/>
                </a:lnTo>
                <a:lnTo>
                  <a:pt x="699" y="615"/>
                </a:lnTo>
                <a:lnTo>
                  <a:pt x="701" y="612"/>
                </a:lnTo>
                <a:lnTo>
                  <a:pt x="701" y="612"/>
                </a:lnTo>
                <a:lnTo>
                  <a:pt x="701" y="610"/>
                </a:lnTo>
                <a:lnTo>
                  <a:pt x="701" y="610"/>
                </a:lnTo>
                <a:lnTo>
                  <a:pt x="703" y="607"/>
                </a:lnTo>
                <a:lnTo>
                  <a:pt x="703" y="607"/>
                </a:lnTo>
                <a:lnTo>
                  <a:pt x="706" y="605"/>
                </a:lnTo>
                <a:lnTo>
                  <a:pt x="706" y="605"/>
                </a:lnTo>
                <a:lnTo>
                  <a:pt x="711" y="605"/>
                </a:lnTo>
                <a:lnTo>
                  <a:pt x="711" y="605"/>
                </a:lnTo>
                <a:lnTo>
                  <a:pt x="713" y="603"/>
                </a:lnTo>
                <a:lnTo>
                  <a:pt x="713" y="603"/>
                </a:lnTo>
                <a:lnTo>
                  <a:pt x="711" y="603"/>
                </a:lnTo>
                <a:lnTo>
                  <a:pt x="711" y="603"/>
                </a:lnTo>
                <a:lnTo>
                  <a:pt x="706" y="603"/>
                </a:lnTo>
                <a:lnTo>
                  <a:pt x="706" y="603"/>
                </a:lnTo>
                <a:lnTo>
                  <a:pt x="706" y="605"/>
                </a:lnTo>
                <a:lnTo>
                  <a:pt x="706" y="605"/>
                </a:lnTo>
                <a:lnTo>
                  <a:pt x="703" y="605"/>
                </a:lnTo>
                <a:lnTo>
                  <a:pt x="703" y="605"/>
                </a:lnTo>
                <a:lnTo>
                  <a:pt x="701" y="605"/>
                </a:lnTo>
                <a:lnTo>
                  <a:pt x="701" y="605"/>
                </a:lnTo>
                <a:lnTo>
                  <a:pt x="703" y="603"/>
                </a:lnTo>
                <a:lnTo>
                  <a:pt x="703" y="603"/>
                </a:lnTo>
                <a:lnTo>
                  <a:pt x="706" y="600"/>
                </a:lnTo>
                <a:lnTo>
                  <a:pt x="706" y="600"/>
                </a:lnTo>
                <a:lnTo>
                  <a:pt x="703" y="600"/>
                </a:lnTo>
                <a:lnTo>
                  <a:pt x="703" y="600"/>
                </a:lnTo>
                <a:lnTo>
                  <a:pt x="703" y="598"/>
                </a:lnTo>
                <a:lnTo>
                  <a:pt x="703" y="598"/>
                </a:lnTo>
                <a:lnTo>
                  <a:pt x="706" y="593"/>
                </a:lnTo>
                <a:lnTo>
                  <a:pt x="706" y="593"/>
                </a:lnTo>
                <a:lnTo>
                  <a:pt x="706" y="590"/>
                </a:lnTo>
                <a:lnTo>
                  <a:pt x="706" y="590"/>
                </a:lnTo>
                <a:lnTo>
                  <a:pt x="703" y="588"/>
                </a:lnTo>
                <a:lnTo>
                  <a:pt x="703" y="588"/>
                </a:lnTo>
                <a:lnTo>
                  <a:pt x="706" y="588"/>
                </a:lnTo>
                <a:lnTo>
                  <a:pt x="706" y="588"/>
                </a:lnTo>
                <a:lnTo>
                  <a:pt x="708" y="583"/>
                </a:lnTo>
                <a:lnTo>
                  <a:pt x="708" y="583"/>
                </a:lnTo>
                <a:lnTo>
                  <a:pt x="708" y="580"/>
                </a:lnTo>
                <a:lnTo>
                  <a:pt x="708" y="580"/>
                </a:lnTo>
                <a:lnTo>
                  <a:pt x="713" y="578"/>
                </a:lnTo>
                <a:lnTo>
                  <a:pt x="713" y="578"/>
                </a:lnTo>
                <a:lnTo>
                  <a:pt x="713" y="578"/>
                </a:lnTo>
                <a:lnTo>
                  <a:pt x="713" y="580"/>
                </a:lnTo>
                <a:lnTo>
                  <a:pt x="713" y="580"/>
                </a:lnTo>
                <a:lnTo>
                  <a:pt x="713" y="578"/>
                </a:lnTo>
                <a:lnTo>
                  <a:pt x="713" y="578"/>
                </a:lnTo>
                <a:lnTo>
                  <a:pt x="716" y="576"/>
                </a:lnTo>
                <a:lnTo>
                  <a:pt x="716" y="576"/>
                </a:lnTo>
                <a:lnTo>
                  <a:pt x="716" y="578"/>
                </a:lnTo>
                <a:lnTo>
                  <a:pt x="716" y="578"/>
                </a:lnTo>
                <a:lnTo>
                  <a:pt x="718" y="578"/>
                </a:lnTo>
                <a:lnTo>
                  <a:pt x="718" y="578"/>
                </a:lnTo>
                <a:lnTo>
                  <a:pt x="718" y="580"/>
                </a:lnTo>
                <a:lnTo>
                  <a:pt x="718" y="580"/>
                </a:lnTo>
                <a:lnTo>
                  <a:pt x="721" y="578"/>
                </a:lnTo>
                <a:lnTo>
                  <a:pt x="721" y="578"/>
                </a:lnTo>
                <a:lnTo>
                  <a:pt x="723" y="576"/>
                </a:lnTo>
                <a:lnTo>
                  <a:pt x="723" y="576"/>
                </a:lnTo>
                <a:lnTo>
                  <a:pt x="731" y="573"/>
                </a:lnTo>
                <a:lnTo>
                  <a:pt x="731" y="573"/>
                </a:lnTo>
                <a:lnTo>
                  <a:pt x="733" y="571"/>
                </a:lnTo>
                <a:lnTo>
                  <a:pt x="733" y="571"/>
                </a:lnTo>
                <a:lnTo>
                  <a:pt x="731" y="571"/>
                </a:lnTo>
                <a:lnTo>
                  <a:pt x="731" y="571"/>
                </a:lnTo>
                <a:lnTo>
                  <a:pt x="733" y="568"/>
                </a:lnTo>
                <a:lnTo>
                  <a:pt x="733" y="568"/>
                </a:lnTo>
                <a:lnTo>
                  <a:pt x="735" y="566"/>
                </a:lnTo>
                <a:lnTo>
                  <a:pt x="735" y="566"/>
                </a:lnTo>
                <a:lnTo>
                  <a:pt x="740" y="566"/>
                </a:lnTo>
                <a:lnTo>
                  <a:pt x="740" y="566"/>
                </a:lnTo>
                <a:lnTo>
                  <a:pt x="743" y="563"/>
                </a:lnTo>
                <a:lnTo>
                  <a:pt x="743" y="563"/>
                </a:lnTo>
                <a:lnTo>
                  <a:pt x="743" y="561"/>
                </a:lnTo>
                <a:lnTo>
                  <a:pt x="743" y="561"/>
                </a:lnTo>
                <a:lnTo>
                  <a:pt x="743" y="556"/>
                </a:lnTo>
                <a:lnTo>
                  <a:pt x="743" y="556"/>
                </a:lnTo>
                <a:lnTo>
                  <a:pt x="745" y="553"/>
                </a:lnTo>
                <a:lnTo>
                  <a:pt x="745" y="553"/>
                </a:lnTo>
                <a:lnTo>
                  <a:pt x="745" y="551"/>
                </a:lnTo>
                <a:lnTo>
                  <a:pt x="745" y="551"/>
                </a:lnTo>
                <a:lnTo>
                  <a:pt x="745" y="548"/>
                </a:lnTo>
                <a:lnTo>
                  <a:pt x="745" y="548"/>
                </a:lnTo>
                <a:lnTo>
                  <a:pt x="743" y="551"/>
                </a:lnTo>
                <a:lnTo>
                  <a:pt x="743" y="551"/>
                </a:lnTo>
                <a:lnTo>
                  <a:pt x="740" y="551"/>
                </a:lnTo>
                <a:lnTo>
                  <a:pt x="740" y="551"/>
                </a:lnTo>
                <a:lnTo>
                  <a:pt x="740" y="551"/>
                </a:lnTo>
                <a:lnTo>
                  <a:pt x="740" y="553"/>
                </a:lnTo>
                <a:lnTo>
                  <a:pt x="740" y="553"/>
                </a:lnTo>
                <a:lnTo>
                  <a:pt x="738" y="556"/>
                </a:lnTo>
                <a:lnTo>
                  <a:pt x="738" y="556"/>
                </a:lnTo>
                <a:lnTo>
                  <a:pt x="735" y="553"/>
                </a:lnTo>
                <a:lnTo>
                  <a:pt x="735" y="553"/>
                </a:lnTo>
                <a:lnTo>
                  <a:pt x="733" y="553"/>
                </a:lnTo>
                <a:lnTo>
                  <a:pt x="733" y="553"/>
                </a:lnTo>
                <a:lnTo>
                  <a:pt x="733" y="553"/>
                </a:lnTo>
                <a:lnTo>
                  <a:pt x="735" y="548"/>
                </a:lnTo>
                <a:lnTo>
                  <a:pt x="735" y="548"/>
                </a:lnTo>
                <a:lnTo>
                  <a:pt x="738" y="548"/>
                </a:lnTo>
                <a:lnTo>
                  <a:pt x="738" y="548"/>
                </a:lnTo>
                <a:lnTo>
                  <a:pt x="738" y="546"/>
                </a:lnTo>
                <a:lnTo>
                  <a:pt x="738" y="546"/>
                </a:lnTo>
                <a:lnTo>
                  <a:pt x="743" y="546"/>
                </a:lnTo>
                <a:lnTo>
                  <a:pt x="743" y="546"/>
                </a:lnTo>
                <a:lnTo>
                  <a:pt x="743" y="544"/>
                </a:lnTo>
                <a:lnTo>
                  <a:pt x="743" y="544"/>
                </a:lnTo>
                <a:lnTo>
                  <a:pt x="740" y="541"/>
                </a:lnTo>
                <a:lnTo>
                  <a:pt x="740" y="541"/>
                </a:lnTo>
                <a:lnTo>
                  <a:pt x="743" y="539"/>
                </a:lnTo>
                <a:lnTo>
                  <a:pt x="743" y="539"/>
                </a:lnTo>
                <a:lnTo>
                  <a:pt x="748" y="536"/>
                </a:lnTo>
                <a:lnTo>
                  <a:pt x="748" y="536"/>
                </a:lnTo>
                <a:lnTo>
                  <a:pt x="750" y="539"/>
                </a:lnTo>
                <a:lnTo>
                  <a:pt x="750" y="539"/>
                </a:lnTo>
                <a:lnTo>
                  <a:pt x="748" y="541"/>
                </a:lnTo>
                <a:lnTo>
                  <a:pt x="748" y="541"/>
                </a:lnTo>
                <a:lnTo>
                  <a:pt x="748" y="544"/>
                </a:lnTo>
                <a:lnTo>
                  <a:pt x="748" y="544"/>
                </a:lnTo>
                <a:lnTo>
                  <a:pt x="748" y="544"/>
                </a:lnTo>
                <a:lnTo>
                  <a:pt x="753" y="541"/>
                </a:lnTo>
                <a:lnTo>
                  <a:pt x="753" y="541"/>
                </a:lnTo>
                <a:lnTo>
                  <a:pt x="755" y="536"/>
                </a:lnTo>
                <a:lnTo>
                  <a:pt x="755" y="536"/>
                </a:lnTo>
                <a:lnTo>
                  <a:pt x="755" y="534"/>
                </a:lnTo>
                <a:lnTo>
                  <a:pt x="755" y="534"/>
                </a:lnTo>
                <a:lnTo>
                  <a:pt x="750" y="534"/>
                </a:lnTo>
                <a:lnTo>
                  <a:pt x="750" y="534"/>
                </a:lnTo>
                <a:lnTo>
                  <a:pt x="748" y="534"/>
                </a:lnTo>
                <a:lnTo>
                  <a:pt x="748" y="534"/>
                </a:lnTo>
                <a:lnTo>
                  <a:pt x="748" y="531"/>
                </a:lnTo>
                <a:lnTo>
                  <a:pt x="748" y="531"/>
                </a:lnTo>
                <a:lnTo>
                  <a:pt x="743" y="531"/>
                </a:lnTo>
                <a:lnTo>
                  <a:pt x="743" y="531"/>
                </a:lnTo>
                <a:lnTo>
                  <a:pt x="740" y="526"/>
                </a:lnTo>
                <a:lnTo>
                  <a:pt x="740" y="526"/>
                </a:lnTo>
                <a:lnTo>
                  <a:pt x="740" y="524"/>
                </a:lnTo>
                <a:lnTo>
                  <a:pt x="740" y="524"/>
                </a:lnTo>
                <a:lnTo>
                  <a:pt x="740" y="526"/>
                </a:lnTo>
                <a:lnTo>
                  <a:pt x="740" y="526"/>
                </a:lnTo>
                <a:lnTo>
                  <a:pt x="738" y="526"/>
                </a:lnTo>
                <a:lnTo>
                  <a:pt x="738" y="526"/>
                </a:lnTo>
                <a:lnTo>
                  <a:pt x="735" y="524"/>
                </a:lnTo>
                <a:lnTo>
                  <a:pt x="735" y="524"/>
                </a:lnTo>
                <a:lnTo>
                  <a:pt x="733" y="521"/>
                </a:lnTo>
                <a:lnTo>
                  <a:pt x="733" y="521"/>
                </a:lnTo>
                <a:lnTo>
                  <a:pt x="733" y="519"/>
                </a:lnTo>
                <a:lnTo>
                  <a:pt x="733" y="519"/>
                </a:lnTo>
                <a:lnTo>
                  <a:pt x="731" y="519"/>
                </a:lnTo>
                <a:lnTo>
                  <a:pt x="731" y="519"/>
                </a:lnTo>
                <a:lnTo>
                  <a:pt x="728" y="519"/>
                </a:lnTo>
                <a:lnTo>
                  <a:pt x="728" y="519"/>
                </a:lnTo>
                <a:lnTo>
                  <a:pt x="728" y="516"/>
                </a:lnTo>
                <a:lnTo>
                  <a:pt x="728" y="516"/>
                </a:lnTo>
                <a:lnTo>
                  <a:pt x="728" y="514"/>
                </a:lnTo>
                <a:lnTo>
                  <a:pt x="728" y="514"/>
                </a:lnTo>
                <a:lnTo>
                  <a:pt x="728" y="512"/>
                </a:lnTo>
                <a:lnTo>
                  <a:pt x="728" y="512"/>
                </a:lnTo>
                <a:lnTo>
                  <a:pt x="728" y="509"/>
                </a:lnTo>
                <a:lnTo>
                  <a:pt x="728" y="509"/>
                </a:lnTo>
                <a:lnTo>
                  <a:pt x="728" y="507"/>
                </a:lnTo>
                <a:lnTo>
                  <a:pt x="728" y="507"/>
                </a:lnTo>
                <a:lnTo>
                  <a:pt x="728" y="499"/>
                </a:lnTo>
                <a:lnTo>
                  <a:pt x="728" y="499"/>
                </a:lnTo>
                <a:lnTo>
                  <a:pt x="731" y="497"/>
                </a:lnTo>
                <a:lnTo>
                  <a:pt x="731" y="497"/>
                </a:lnTo>
                <a:lnTo>
                  <a:pt x="735" y="492"/>
                </a:lnTo>
                <a:lnTo>
                  <a:pt x="735" y="492"/>
                </a:lnTo>
                <a:lnTo>
                  <a:pt x="738" y="492"/>
                </a:lnTo>
                <a:lnTo>
                  <a:pt x="738" y="492"/>
                </a:lnTo>
                <a:lnTo>
                  <a:pt x="740" y="492"/>
                </a:lnTo>
                <a:lnTo>
                  <a:pt x="740" y="492"/>
                </a:lnTo>
                <a:lnTo>
                  <a:pt x="740" y="489"/>
                </a:lnTo>
                <a:lnTo>
                  <a:pt x="740" y="489"/>
                </a:lnTo>
                <a:lnTo>
                  <a:pt x="743" y="487"/>
                </a:lnTo>
                <a:lnTo>
                  <a:pt x="743" y="487"/>
                </a:lnTo>
                <a:lnTo>
                  <a:pt x="743" y="487"/>
                </a:lnTo>
                <a:lnTo>
                  <a:pt x="743" y="487"/>
                </a:lnTo>
                <a:lnTo>
                  <a:pt x="740" y="487"/>
                </a:lnTo>
                <a:lnTo>
                  <a:pt x="740" y="487"/>
                </a:lnTo>
                <a:lnTo>
                  <a:pt x="738" y="487"/>
                </a:lnTo>
                <a:lnTo>
                  <a:pt x="738" y="487"/>
                </a:lnTo>
                <a:lnTo>
                  <a:pt x="738" y="485"/>
                </a:lnTo>
                <a:lnTo>
                  <a:pt x="738" y="485"/>
                </a:lnTo>
                <a:lnTo>
                  <a:pt x="738" y="482"/>
                </a:lnTo>
                <a:lnTo>
                  <a:pt x="738" y="482"/>
                </a:lnTo>
                <a:lnTo>
                  <a:pt x="738" y="477"/>
                </a:lnTo>
                <a:lnTo>
                  <a:pt x="738" y="477"/>
                </a:lnTo>
                <a:lnTo>
                  <a:pt x="740" y="475"/>
                </a:lnTo>
                <a:lnTo>
                  <a:pt x="740" y="475"/>
                </a:lnTo>
                <a:lnTo>
                  <a:pt x="743" y="470"/>
                </a:lnTo>
                <a:lnTo>
                  <a:pt x="743" y="470"/>
                </a:lnTo>
                <a:lnTo>
                  <a:pt x="745" y="467"/>
                </a:lnTo>
                <a:lnTo>
                  <a:pt x="745" y="467"/>
                </a:lnTo>
                <a:lnTo>
                  <a:pt x="748" y="465"/>
                </a:lnTo>
                <a:lnTo>
                  <a:pt x="748" y="465"/>
                </a:lnTo>
                <a:lnTo>
                  <a:pt x="750" y="465"/>
                </a:lnTo>
                <a:lnTo>
                  <a:pt x="750" y="465"/>
                </a:lnTo>
                <a:lnTo>
                  <a:pt x="753" y="460"/>
                </a:lnTo>
                <a:lnTo>
                  <a:pt x="753" y="460"/>
                </a:lnTo>
                <a:lnTo>
                  <a:pt x="755" y="457"/>
                </a:lnTo>
                <a:lnTo>
                  <a:pt x="755" y="457"/>
                </a:lnTo>
                <a:lnTo>
                  <a:pt x="758" y="460"/>
                </a:lnTo>
                <a:lnTo>
                  <a:pt x="758" y="460"/>
                </a:lnTo>
                <a:lnTo>
                  <a:pt x="758" y="465"/>
                </a:lnTo>
                <a:lnTo>
                  <a:pt x="758" y="465"/>
                </a:lnTo>
                <a:lnTo>
                  <a:pt x="758" y="465"/>
                </a:lnTo>
                <a:lnTo>
                  <a:pt x="758" y="467"/>
                </a:lnTo>
                <a:lnTo>
                  <a:pt x="758" y="467"/>
                </a:lnTo>
                <a:lnTo>
                  <a:pt x="760" y="465"/>
                </a:lnTo>
                <a:lnTo>
                  <a:pt x="760" y="465"/>
                </a:lnTo>
                <a:lnTo>
                  <a:pt x="760" y="465"/>
                </a:lnTo>
                <a:lnTo>
                  <a:pt x="765" y="457"/>
                </a:lnTo>
                <a:lnTo>
                  <a:pt x="765" y="457"/>
                </a:lnTo>
                <a:lnTo>
                  <a:pt x="765" y="457"/>
                </a:lnTo>
                <a:lnTo>
                  <a:pt x="763" y="457"/>
                </a:lnTo>
                <a:lnTo>
                  <a:pt x="763" y="457"/>
                </a:lnTo>
                <a:lnTo>
                  <a:pt x="760" y="455"/>
                </a:lnTo>
                <a:lnTo>
                  <a:pt x="760" y="455"/>
                </a:lnTo>
                <a:lnTo>
                  <a:pt x="758" y="453"/>
                </a:lnTo>
                <a:lnTo>
                  <a:pt x="758" y="453"/>
                </a:lnTo>
                <a:lnTo>
                  <a:pt x="760" y="450"/>
                </a:lnTo>
                <a:lnTo>
                  <a:pt x="760" y="450"/>
                </a:lnTo>
                <a:lnTo>
                  <a:pt x="765" y="450"/>
                </a:lnTo>
                <a:lnTo>
                  <a:pt x="765" y="450"/>
                </a:lnTo>
                <a:lnTo>
                  <a:pt x="765" y="450"/>
                </a:lnTo>
                <a:lnTo>
                  <a:pt x="770" y="445"/>
                </a:lnTo>
                <a:lnTo>
                  <a:pt x="770" y="445"/>
                </a:lnTo>
                <a:lnTo>
                  <a:pt x="770" y="443"/>
                </a:lnTo>
                <a:lnTo>
                  <a:pt x="770" y="443"/>
                </a:lnTo>
                <a:lnTo>
                  <a:pt x="772" y="443"/>
                </a:lnTo>
                <a:lnTo>
                  <a:pt x="772" y="443"/>
                </a:lnTo>
                <a:lnTo>
                  <a:pt x="775" y="443"/>
                </a:lnTo>
                <a:lnTo>
                  <a:pt x="775" y="443"/>
                </a:lnTo>
                <a:lnTo>
                  <a:pt x="780" y="445"/>
                </a:lnTo>
                <a:lnTo>
                  <a:pt x="780" y="445"/>
                </a:lnTo>
                <a:lnTo>
                  <a:pt x="780" y="448"/>
                </a:lnTo>
                <a:lnTo>
                  <a:pt x="780" y="448"/>
                </a:lnTo>
                <a:lnTo>
                  <a:pt x="780" y="450"/>
                </a:lnTo>
                <a:lnTo>
                  <a:pt x="780" y="450"/>
                </a:lnTo>
                <a:lnTo>
                  <a:pt x="782" y="450"/>
                </a:lnTo>
                <a:lnTo>
                  <a:pt x="782" y="450"/>
                </a:lnTo>
                <a:lnTo>
                  <a:pt x="785" y="453"/>
                </a:lnTo>
                <a:lnTo>
                  <a:pt x="785" y="453"/>
                </a:lnTo>
                <a:lnTo>
                  <a:pt x="787" y="453"/>
                </a:lnTo>
                <a:lnTo>
                  <a:pt x="787" y="453"/>
                </a:lnTo>
                <a:lnTo>
                  <a:pt x="785" y="457"/>
                </a:lnTo>
                <a:lnTo>
                  <a:pt x="785" y="457"/>
                </a:lnTo>
                <a:lnTo>
                  <a:pt x="785" y="457"/>
                </a:lnTo>
                <a:lnTo>
                  <a:pt x="785" y="460"/>
                </a:lnTo>
                <a:lnTo>
                  <a:pt x="785" y="460"/>
                </a:lnTo>
                <a:lnTo>
                  <a:pt x="785" y="462"/>
                </a:lnTo>
                <a:lnTo>
                  <a:pt x="785" y="462"/>
                </a:lnTo>
                <a:lnTo>
                  <a:pt x="787" y="465"/>
                </a:lnTo>
                <a:lnTo>
                  <a:pt x="787" y="465"/>
                </a:lnTo>
                <a:lnTo>
                  <a:pt x="787" y="467"/>
                </a:lnTo>
                <a:lnTo>
                  <a:pt x="787" y="467"/>
                </a:lnTo>
                <a:lnTo>
                  <a:pt x="787" y="472"/>
                </a:lnTo>
                <a:lnTo>
                  <a:pt x="787" y="472"/>
                </a:lnTo>
                <a:lnTo>
                  <a:pt x="790" y="475"/>
                </a:lnTo>
                <a:lnTo>
                  <a:pt x="790" y="475"/>
                </a:lnTo>
                <a:lnTo>
                  <a:pt x="790" y="475"/>
                </a:lnTo>
                <a:lnTo>
                  <a:pt x="787" y="480"/>
                </a:lnTo>
                <a:lnTo>
                  <a:pt x="787" y="480"/>
                </a:lnTo>
                <a:lnTo>
                  <a:pt x="787" y="480"/>
                </a:lnTo>
                <a:lnTo>
                  <a:pt x="785" y="485"/>
                </a:lnTo>
                <a:lnTo>
                  <a:pt x="785" y="485"/>
                </a:lnTo>
                <a:lnTo>
                  <a:pt x="785" y="489"/>
                </a:lnTo>
                <a:lnTo>
                  <a:pt x="785" y="489"/>
                </a:lnTo>
                <a:lnTo>
                  <a:pt x="782" y="489"/>
                </a:lnTo>
                <a:lnTo>
                  <a:pt x="782" y="489"/>
                </a:lnTo>
                <a:lnTo>
                  <a:pt x="785" y="492"/>
                </a:lnTo>
                <a:lnTo>
                  <a:pt x="785" y="492"/>
                </a:lnTo>
                <a:lnTo>
                  <a:pt x="782" y="494"/>
                </a:lnTo>
                <a:lnTo>
                  <a:pt x="782" y="494"/>
                </a:lnTo>
                <a:lnTo>
                  <a:pt x="787" y="499"/>
                </a:lnTo>
                <a:lnTo>
                  <a:pt x="787" y="499"/>
                </a:lnTo>
                <a:lnTo>
                  <a:pt x="787" y="502"/>
                </a:lnTo>
                <a:lnTo>
                  <a:pt x="787" y="502"/>
                </a:lnTo>
                <a:lnTo>
                  <a:pt x="785" y="502"/>
                </a:lnTo>
                <a:lnTo>
                  <a:pt x="785" y="502"/>
                </a:lnTo>
                <a:lnTo>
                  <a:pt x="787" y="504"/>
                </a:lnTo>
                <a:lnTo>
                  <a:pt x="787" y="504"/>
                </a:lnTo>
                <a:lnTo>
                  <a:pt x="785" y="507"/>
                </a:lnTo>
                <a:lnTo>
                  <a:pt x="785" y="507"/>
                </a:lnTo>
                <a:lnTo>
                  <a:pt x="785" y="509"/>
                </a:lnTo>
                <a:lnTo>
                  <a:pt x="785" y="509"/>
                </a:lnTo>
                <a:lnTo>
                  <a:pt x="787" y="512"/>
                </a:lnTo>
                <a:lnTo>
                  <a:pt x="787" y="512"/>
                </a:lnTo>
                <a:lnTo>
                  <a:pt x="790" y="514"/>
                </a:lnTo>
                <a:lnTo>
                  <a:pt x="790" y="514"/>
                </a:lnTo>
                <a:lnTo>
                  <a:pt x="790" y="516"/>
                </a:lnTo>
                <a:lnTo>
                  <a:pt x="790" y="516"/>
                </a:lnTo>
                <a:lnTo>
                  <a:pt x="787" y="519"/>
                </a:lnTo>
                <a:lnTo>
                  <a:pt x="787" y="519"/>
                </a:lnTo>
                <a:lnTo>
                  <a:pt x="785" y="516"/>
                </a:lnTo>
                <a:lnTo>
                  <a:pt x="785" y="516"/>
                </a:lnTo>
                <a:lnTo>
                  <a:pt x="782" y="516"/>
                </a:lnTo>
                <a:lnTo>
                  <a:pt x="782" y="516"/>
                </a:lnTo>
                <a:lnTo>
                  <a:pt x="780" y="514"/>
                </a:lnTo>
                <a:lnTo>
                  <a:pt x="780" y="514"/>
                </a:lnTo>
                <a:lnTo>
                  <a:pt x="782" y="512"/>
                </a:lnTo>
                <a:lnTo>
                  <a:pt x="782" y="512"/>
                </a:lnTo>
                <a:lnTo>
                  <a:pt x="777" y="512"/>
                </a:lnTo>
                <a:lnTo>
                  <a:pt x="777" y="512"/>
                </a:lnTo>
                <a:lnTo>
                  <a:pt x="777" y="516"/>
                </a:lnTo>
                <a:lnTo>
                  <a:pt x="777" y="516"/>
                </a:lnTo>
                <a:lnTo>
                  <a:pt x="775" y="516"/>
                </a:lnTo>
                <a:lnTo>
                  <a:pt x="775" y="516"/>
                </a:lnTo>
                <a:lnTo>
                  <a:pt x="775" y="519"/>
                </a:lnTo>
                <a:lnTo>
                  <a:pt x="775" y="519"/>
                </a:lnTo>
                <a:lnTo>
                  <a:pt x="777" y="516"/>
                </a:lnTo>
                <a:lnTo>
                  <a:pt x="777" y="516"/>
                </a:lnTo>
                <a:lnTo>
                  <a:pt x="780" y="519"/>
                </a:lnTo>
                <a:lnTo>
                  <a:pt x="780" y="519"/>
                </a:lnTo>
                <a:lnTo>
                  <a:pt x="780" y="521"/>
                </a:lnTo>
                <a:lnTo>
                  <a:pt x="780" y="521"/>
                </a:lnTo>
                <a:lnTo>
                  <a:pt x="772" y="526"/>
                </a:lnTo>
                <a:lnTo>
                  <a:pt x="772" y="526"/>
                </a:lnTo>
                <a:lnTo>
                  <a:pt x="770" y="526"/>
                </a:lnTo>
                <a:lnTo>
                  <a:pt x="770" y="526"/>
                </a:lnTo>
                <a:lnTo>
                  <a:pt x="767" y="529"/>
                </a:lnTo>
                <a:lnTo>
                  <a:pt x="767" y="529"/>
                </a:lnTo>
                <a:lnTo>
                  <a:pt x="767" y="529"/>
                </a:lnTo>
                <a:lnTo>
                  <a:pt x="765" y="534"/>
                </a:lnTo>
                <a:lnTo>
                  <a:pt x="765" y="534"/>
                </a:lnTo>
                <a:lnTo>
                  <a:pt x="767" y="534"/>
                </a:lnTo>
                <a:lnTo>
                  <a:pt x="767" y="534"/>
                </a:lnTo>
                <a:lnTo>
                  <a:pt x="770" y="534"/>
                </a:lnTo>
                <a:lnTo>
                  <a:pt x="770" y="534"/>
                </a:lnTo>
                <a:lnTo>
                  <a:pt x="772" y="534"/>
                </a:lnTo>
                <a:lnTo>
                  <a:pt x="772" y="534"/>
                </a:lnTo>
                <a:lnTo>
                  <a:pt x="772" y="536"/>
                </a:lnTo>
                <a:lnTo>
                  <a:pt x="772" y="536"/>
                </a:lnTo>
                <a:lnTo>
                  <a:pt x="775" y="539"/>
                </a:lnTo>
                <a:lnTo>
                  <a:pt x="775" y="539"/>
                </a:lnTo>
                <a:lnTo>
                  <a:pt x="780" y="539"/>
                </a:lnTo>
                <a:lnTo>
                  <a:pt x="780" y="539"/>
                </a:lnTo>
                <a:lnTo>
                  <a:pt x="780" y="536"/>
                </a:lnTo>
                <a:lnTo>
                  <a:pt x="780" y="536"/>
                </a:lnTo>
                <a:lnTo>
                  <a:pt x="782" y="536"/>
                </a:lnTo>
                <a:lnTo>
                  <a:pt x="782" y="536"/>
                </a:lnTo>
                <a:lnTo>
                  <a:pt x="782" y="536"/>
                </a:lnTo>
                <a:lnTo>
                  <a:pt x="782" y="539"/>
                </a:lnTo>
                <a:lnTo>
                  <a:pt x="782" y="539"/>
                </a:lnTo>
                <a:lnTo>
                  <a:pt x="782" y="539"/>
                </a:lnTo>
                <a:lnTo>
                  <a:pt x="785" y="541"/>
                </a:lnTo>
                <a:lnTo>
                  <a:pt x="785" y="541"/>
                </a:lnTo>
                <a:lnTo>
                  <a:pt x="787" y="541"/>
                </a:lnTo>
                <a:lnTo>
                  <a:pt x="787" y="541"/>
                </a:lnTo>
                <a:lnTo>
                  <a:pt x="790" y="541"/>
                </a:lnTo>
                <a:lnTo>
                  <a:pt x="790" y="541"/>
                </a:lnTo>
                <a:lnTo>
                  <a:pt x="792" y="541"/>
                </a:lnTo>
                <a:lnTo>
                  <a:pt x="792" y="541"/>
                </a:lnTo>
                <a:lnTo>
                  <a:pt x="790" y="544"/>
                </a:lnTo>
                <a:lnTo>
                  <a:pt x="790" y="544"/>
                </a:lnTo>
                <a:lnTo>
                  <a:pt x="787" y="544"/>
                </a:lnTo>
                <a:lnTo>
                  <a:pt x="787" y="544"/>
                </a:lnTo>
                <a:lnTo>
                  <a:pt x="782" y="546"/>
                </a:lnTo>
                <a:lnTo>
                  <a:pt x="782" y="546"/>
                </a:lnTo>
                <a:lnTo>
                  <a:pt x="782" y="548"/>
                </a:lnTo>
                <a:lnTo>
                  <a:pt x="782" y="548"/>
                </a:lnTo>
                <a:lnTo>
                  <a:pt x="782" y="544"/>
                </a:lnTo>
                <a:lnTo>
                  <a:pt x="782" y="544"/>
                </a:lnTo>
                <a:lnTo>
                  <a:pt x="780" y="544"/>
                </a:lnTo>
                <a:lnTo>
                  <a:pt x="780" y="544"/>
                </a:lnTo>
                <a:lnTo>
                  <a:pt x="780" y="544"/>
                </a:lnTo>
                <a:lnTo>
                  <a:pt x="780" y="546"/>
                </a:lnTo>
                <a:lnTo>
                  <a:pt x="780" y="546"/>
                </a:lnTo>
                <a:lnTo>
                  <a:pt x="780" y="548"/>
                </a:lnTo>
                <a:lnTo>
                  <a:pt x="780" y="548"/>
                </a:lnTo>
                <a:lnTo>
                  <a:pt x="780" y="551"/>
                </a:lnTo>
                <a:lnTo>
                  <a:pt x="780" y="551"/>
                </a:lnTo>
                <a:lnTo>
                  <a:pt x="782" y="556"/>
                </a:lnTo>
                <a:lnTo>
                  <a:pt x="782" y="556"/>
                </a:lnTo>
                <a:lnTo>
                  <a:pt x="782" y="558"/>
                </a:lnTo>
                <a:lnTo>
                  <a:pt x="782" y="558"/>
                </a:lnTo>
                <a:lnTo>
                  <a:pt x="785" y="558"/>
                </a:lnTo>
                <a:lnTo>
                  <a:pt x="785" y="558"/>
                </a:lnTo>
                <a:lnTo>
                  <a:pt x="782" y="563"/>
                </a:lnTo>
                <a:lnTo>
                  <a:pt x="782" y="563"/>
                </a:lnTo>
                <a:lnTo>
                  <a:pt x="782" y="563"/>
                </a:lnTo>
                <a:lnTo>
                  <a:pt x="780" y="566"/>
                </a:lnTo>
                <a:lnTo>
                  <a:pt x="780" y="566"/>
                </a:lnTo>
                <a:lnTo>
                  <a:pt x="780" y="571"/>
                </a:lnTo>
                <a:lnTo>
                  <a:pt x="780" y="571"/>
                </a:lnTo>
                <a:lnTo>
                  <a:pt x="777" y="573"/>
                </a:lnTo>
                <a:lnTo>
                  <a:pt x="777" y="573"/>
                </a:lnTo>
                <a:lnTo>
                  <a:pt x="777" y="576"/>
                </a:lnTo>
                <a:lnTo>
                  <a:pt x="777" y="576"/>
                </a:lnTo>
                <a:lnTo>
                  <a:pt x="777" y="578"/>
                </a:lnTo>
                <a:lnTo>
                  <a:pt x="777" y="578"/>
                </a:lnTo>
                <a:lnTo>
                  <a:pt x="777" y="580"/>
                </a:lnTo>
                <a:lnTo>
                  <a:pt x="777" y="580"/>
                </a:lnTo>
                <a:lnTo>
                  <a:pt x="777" y="580"/>
                </a:lnTo>
                <a:lnTo>
                  <a:pt x="780" y="580"/>
                </a:lnTo>
                <a:lnTo>
                  <a:pt x="780" y="580"/>
                </a:lnTo>
                <a:lnTo>
                  <a:pt x="782" y="578"/>
                </a:lnTo>
                <a:lnTo>
                  <a:pt x="782" y="578"/>
                </a:lnTo>
                <a:lnTo>
                  <a:pt x="782" y="576"/>
                </a:lnTo>
                <a:lnTo>
                  <a:pt x="782" y="576"/>
                </a:lnTo>
                <a:lnTo>
                  <a:pt x="787" y="576"/>
                </a:lnTo>
                <a:lnTo>
                  <a:pt x="787" y="576"/>
                </a:lnTo>
                <a:lnTo>
                  <a:pt x="787" y="573"/>
                </a:lnTo>
                <a:lnTo>
                  <a:pt x="787" y="573"/>
                </a:lnTo>
                <a:lnTo>
                  <a:pt x="787" y="573"/>
                </a:lnTo>
                <a:lnTo>
                  <a:pt x="787" y="571"/>
                </a:lnTo>
                <a:lnTo>
                  <a:pt x="787" y="571"/>
                </a:lnTo>
                <a:lnTo>
                  <a:pt x="790" y="571"/>
                </a:lnTo>
                <a:lnTo>
                  <a:pt x="790" y="571"/>
                </a:lnTo>
                <a:lnTo>
                  <a:pt x="792" y="571"/>
                </a:lnTo>
                <a:lnTo>
                  <a:pt x="792" y="571"/>
                </a:lnTo>
                <a:lnTo>
                  <a:pt x="792" y="566"/>
                </a:lnTo>
                <a:lnTo>
                  <a:pt x="792" y="566"/>
                </a:lnTo>
                <a:lnTo>
                  <a:pt x="792" y="561"/>
                </a:lnTo>
                <a:lnTo>
                  <a:pt x="792" y="561"/>
                </a:lnTo>
                <a:lnTo>
                  <a:pt x="797" y="558"/>
                </a:lnTo>
                <a:lnTo>
                  <a:pt x="797" y="558"/>
                </a:lnTo>
                <a:lnTo>
                  <a:pt x="799" y="553"/>
                </a:lnTo>
                <a:lnTo>
                  <a:pt x="799" y="553"/>
                </a:lnTo>
                <a:lnTo>
                  <a:pt x="799" y="551"/>
                </a:lnTo>
                <a:lnTo>
                  <a:pt x="799" y="551"/>
                </a:lnTo>
                <a:lnTo>
                  <a:pt x="802" y="548"/>
                </a:lnTo>
                <a:lnTo>
                  <a:pt x="802" y="548"/>
                </a:lnTo>
                <a:lnTo>
                  <a:pt x="804" y="551"/>
                </a:lnTo>
                <a:lnTo>
                  <a:pt x="804" y="551"/>
                </a:lnTo>
                <a:lnTo>
                  <a:pt x="804" y="553"/>
                </a:lnTo>
                <a:lnTo>
                  <a:pt x="804" y="553"/>
                </a:lnTo>
                <a:lnTo>
                  <a:pt x="807" y="558"/>
                </a:lnTo>
                <a:lnTo>
                  <a:pt x="807" y="558"/>
                </a:lnTo>
                <a:lnTo>
                  <a:pt x="807" y="563"/>
                </a:lnTo>
                <a:lnTo>
                  <a:pt x="807" y="563"/>
                </a:lnTo>
                <a:lnTo>
                  <a:pt x="809" y="566"/>
                </a:lnTo>
                <a:lnTo>
                  <a:pt x="809" y="566"/>
                </a:lnTo>
                <a:lnTo>
                  <a:pt x="809" y="571"/>
                </a:lnTo>
                <a:lnTo>
                  <a:pt x="809" y="571"/>
                </a:lnTo>
                <a:lnTo>
                  <a:pt x="809" y="573"/>
                </a:lnTo>
                <a:lnTo>
                  <a:pt x="809" y="573"/>
                </a:lnTo>
                <a:lnTo>
                  <a:pt x="809" y="578"/>
                </a:lnTo>
                <a:lnTo>
                  <a:pt x="809" y="578"/>
                </a:lnTo>
                <a:lnTo>
                  <a:pt x="807" y="583"/>
                </a:lnTo>
                <a:lnTo>
                  <a:pt x="807" y="583"/>
                </a:lnTo>
                <a:lnTo>
                  <a:pt x="804" y="583"/>
                </a:lnTo>
                <a:lnTo>
                  <a:pt x="804" y="583"/>
                </a:lnTo>
                <a:lnTo>
                  <a:pt x="804" y="580"/>
                </a:lnTo>
                <a:lnTo>
                  <a:pt x="804" y="580"/>
                </a:lnTo>
                <a:lnTo>
                  <a:pt x="802" y="583"/>
                </a:lnTo>
                <a:lnTo>
                  <a:pt x="802" y="583"/>
                </a:lnTo>
                <a:lnTo>
                  <a:pt x="799" y="585"/>
                </a:lnTo>
                <a:lnTo>
                  <a:pt x="799" y="585"/>
                </a:lnTo>
                <a:lnTo>
                  <a:pt x="802" y="588"/>
                </a:lnTo>
                <a:lnTo>
                  <a:pt x="802" y="588"/>
                </a:lnTo>
                <a:lnTo>
                  <a:pt x="799" y="593"/>
                </a:lnTo>
                <a:lnTo>
                  <a:pt x="799" y="593"/>
                </a:lnTo>
                <a:lnTo>
                  <a:pt x="797" y="595"/>
                </a:lnTo>
                <a:lnTo>
                  <a:pt x="797" y="595"/>
                </a:lnTo>
                <a:lnTo>
                  <a:pt x="799" y="598"/>
                </a:lnTo>
                <a:lnTo>
                  <a:pt x="799" y="598"/>
                </a:lnTo>
                <a:lnTo>
                  <a:pt x="799" y="603"/>
                </a:lnTo>
                <a:lnTo>
                  <a:pt x="799" y="603"/>
                </a:lnTo>
                <a:lnTo>
                  <a:pt x="802" y="612"/>
                </a:lnTo>
                <a:lnTo>
                  <a:pt x="802" y="612"/>
                </a:lnTo>
                <a:lnTo>
                  <a:pt x="804" y="617"/>
                </a:lnTo>
                <a:lnTo>
                  <a:pt x="804" y="617"/>
                </a:lnTo>
                <a:lnTo>
                  <a:pt x="802" y="620"/>
                </a:lnTo>
                <a:lnTo>
                  <a:pt x="802" y="620"/>
                </a:lnTo>
                <a:lnTo>
                  <a:pt x="804" y="622"/>
                </a:lnTo>
                <a:lnTo>
                  <a:pt x="804" y="622"/>
                </a:lnTo>
                <a:lnTo>
                  <a:pt x="807" y="622"/>
                </a:lnTo>
                <a:lnTo>
                  <a:pt x="807" y="622"/>
                </a:lnTo>
                <a:lnTo>
                  <a:pt x="807" y="620"/>
                </a:lnTo>
                <a:lnTo>
                  <a:pt x="807" y="620"/>
                </a:lnTo>
                <a:lnTo>
                  <a:pt x="804" y="617"/>
                </a:lnTo>
                <a:lnTo>
                  <a:pt x="804" y="617"/>
                </a:lnTo>
                <a:lnTo>
                  <a:pt x="807" y="615"/>
                </a:lnTo>
                <a:lnTo>
                  <a:pt x="807" y="615"/>
                </a:lnTo>
                <a:lnTo>
                  <a:pt x="809" y="615"/>
                </a:lnTo>
                <a:lnTo>
                  <a:pt x="809" y="615"/>
                </a:lnTo>
                <a:lnTo>
                  <a:pt x="812" y="620"/>
                </a:lnTo>
                <a:lnTo>
                  <a:pt x="812" y="620"/>
                </a:lnTo>
                <a:lnTo>
                  <a:pt x="812" y="620"/>
                </a:lnTo>
                <a:lnTo>
                  <a:pt x="814" y="615"/>
                </a:lnTo>
                <a:lnTo>
                  <a:pt x="814" y="615"/>
                </a:lnTo>
                <a:lnTo>
                  <a:pt x="817" y="612"/>
                </a:lnTo>
                <a:lnTo>
                  <a:pt x="817" y="612"/>
                </a:lnTo>
                <a:lnTo>
                  <a:pt x="817" y="607"/>
                </a:lnTo>
                <a:lnTo>
                  <a:pt x="817" y="607"/>
                </a:lnTo>
                <a:lnTo>
                  <a:pt x="819" y="607"/>
                </a:lnTo>
                <a:lnTo>
                  <a:pt x="819" y="607"/>
                </a:lnTo>
                <a:lnTo>
                  <a:pt x="822" y="603"/>
                </a:lnTo>
                <a:lnTo>
                  <a:pt x="822" y="603"/>
                </a:lnTo>
                <a:lnTo>
                  <a:pt x="822" y="603"/>
                </a:lnTo>
                <a:lnTo>
                  <a:pt x="824" y="600"/>
                </a:lnTo>
                <a:lnTo>
                  <a:pt x="824" y="600"/>
                </a:lnTo>
                <a:lnTo>
                  <a:pt x="829" y="595"/>
                </a:lnTo>
                <a:lnTo>
                  <a:pt x="829" y="595"/>
                </a:lnTo>
                <a:lnTo>
                  <a:pt x="834" y="590"/>
                </a:lnTo>
                <a:lnTo>
                  <a:pt x="834" y="590"/>
                </a:lnTo>
                <a:lnTo>
                  <a:pt x="836" y="583"/>
                </a:lnTo>
                <a:lnTo>
                  <a:pt x="836" y="583"/>
                </a:lnTo>
                <a:lnTo>
                  <a:pt x="839" y="578"/>
                </a:lnTo>
                <a:lnTo>
                  <a:pt x="839" y="578"/>
                </a:lnTo>
                <a:lnTo>
                  <a:pt x="841" y="576"/>
                </a:lnTo>
                <a:lnTo>
                  <a:pt x="841" y="576"/>
                </a:lnTo>
                <a:lnTo>
                  <a:pt x="844" y="580"/>
                </a:lnTo>
                <a:lnTo>
                  <a:pt x="844" y="580"/>
                </a:lnTo>
                <a:lnTo>
                  <a:pt x="846" y="578"/>
                </a:lnTo>
                <a:lnTo>
                  <a:pt x="846" y="578"/>
                </a:lnTo>
                <a:lnTo>
                  <a:pt x="846" y="578"/>
                </a:lnTo>
                <a:lnTo>
                  <a:pt x="851" y="578"/>
                </a:lnTo>
                <a:lnTo>
                  <a:pt x="851" y="578"/>
                </a:lnTo>
                <a:lnTo>
                  <a:pt x="851" y="576"/>
                </a:lnTo>
                <a:lnTo>
                  <a:pt x="851" y="576"/>
                </a:lnTo>
                <a:lnTo>
                  <a:pt x="849" y="576"/>
                </a:lnTo>
                <a:lnTo>
                  <a:pt x="849" y="576"/>
                </a:lnTo>
                <a:lnTo>
                  <a:pt x="846" y="573"/>
                </a:lnTo>
                <a:lnTo>
                  <a:pt x="846" y="573"/>
                </a:lnTo>
                <a:lnTo>
                  <a:pt x="846" y="573"/>
                </a:lnTo>
                <a:lnTo>
                  <a:pt x="851" y="571"/>
                </a:lnTo>
                <a:lnTo>
                  <a:pt x="851" y="571"/>
                </a:lnTo>
                <a:lnTo>
                  <a:pt x="851" y="573"/>
                </a:lnTo>
                <a:lnTo>
                  <a:pt x="851" y="573"/>
                </a:lnTo>
                <a:lnTo>
                  <a:pt x="854" y="573"/>
                </a:lnTo>
                <a:lnTo>
                  <a:pt x="854" y="573"/>
                </a:lnTo>
                <a:lnTo>
                  <a:pt x="856" y="573"/>
                </a:lnTo>
                <a:lnTo>
                  <a:pt x="856" y="573"/>
                </a:lnTo>
                <a:lnTo>
                  <a:pt x="856" y="571"/>
                </a:lnTo>
                <a:lnTo>
                  <a:pt x="856" y="571"/>
                </a:lnTo>
                <a:lnTo>
                  <a:pt x="856" y="568"/>
                </a:lnTo>
                <a:lnTo>
                  <a:pt x="856" y="568"/>
                </a:lnTo>
                <a:lnTo>
                  <a:pt x="854" y="568"/>
                </a:lnTo>
                <a:lnTo>
                  <a:pt x="854" y="568"/>
                </a:lnTo>
                <a:lnTo>
                  <a:pt x="854" y="566"/>
                </a:lnTo>
                <a:lnTo>
                  <a:pt x="854" y="566"/>
                </a:lnTo>
                <a:lnTo>
                  <a:pt x="851" y="566"/>
                </a:lnTo>
                <a:lnTo>
                  <a:pt x="851" y="566"/>
                </a:lnTo>
                <a:lnTo>
                  <a:pt x="851" y="561"/>
                </a:lnTo>
                <a:lnTo>
                  <a:pt x="851" y="561"/>
                </a:lnTo>
                <a:lnTo>
                  <a:pt x="854" y="558"/>
                </a:lnTo>
                <a:lnTo>
                  <a:pt x="854" y="558"/>
                </a:lnTo>
                <a:lnTo>
                  <a:pt x="854" y="556"/>
                </a:lnTo>
                <a:lnTo>
                  <a:pt x="854" y="556"/>
                </a:lnTo>
                <a:lnTo>
                  <a:pt x="856" y="556"/>
                </a:lnTo>
                <a:lnTo>
                  <a:pt x="856" y="556"/>
                </a:lnTo>
                <a:lnTo>
                  <a:pt x="854" y="553"/>
                </a:lnTo>
                <a:lnTo>
                  <a:pt x="854" y="553"/>
                </a:lnTo>
                <a:lnTo>
                  <a:pt x="854" y="551"/>
                </a:lnTo>
                <a:lnTo>
                  <a:pt x="854" y="551"/>
                </a:lnTo>
                <a:lnTo>
                  <a:pt x="856" y="548"/>
                </a:lnTo>
                <a:lnTo>
                  <a:pt x="856" y="548"/>
                </a:lnTo>
                <a:lnTo>
                  <a:pt x="856" y="548"/>
                </a:lnTo>
                <a:lnTo>
                  <a:pt x="856" y="546"/>
                </a:lnTo>
                <a:lnTo>
                  <a:pt x="856" y="546"/>
                </a:lnTo>
                <a:lnTo>
                  <a:pt x="858" y="546"/>
                </a:lnTo>
                <a:lnTo>
                  <a:pt x="858" y="546"/>
                </a:lnTo>
                <a:lnTo>
                  <a:pt x="858" y="544"/>
                </a:lnTo>
                <a:lnTo>
                  <a:pt x="858" y="544"/>
                </a:lnTo>
                <a:lnTo>
                  <a:pt x="856" y="544"/>
                </a:lnTo>
                <a:lnTo>
                  <a:pt x="856" y="544"/>
                </a:lnTo>
                <a:lnTo>
                  <a:pt x="856" y="541"/>
                </a:lnTo>
                <a:lnTo>
                  <a:pt x="856" y="541"/>
                </a:lnTo>
                <a:lnTo>
                  <a:pt x="858" y="541"/>
                </a:lnTo>
                <a:lnTo>
                  <a:pt x="858" y="541"/>
                </a:lnTo>
                <a:lnTo>
                  <a:pt x="861" y="544"/>
                </a:lnTo>
                <a:lnTo>
                  <a:pt x="861" y="544"/>
                </a:lnTo>
                <a:lnTo>
                  <a:pt x="863" y="544"/>
                </a:lnTo>
                <a:lnTo>
                  <a:pt x="863" y="544"/>
                </a:lnTo>
                <a:lnTo>
                  <a:pt x="866" y="544"/>
                </a:lnTo>
                <a:lnTo>
                  <a:pt x="866" y="544"/>
                </a:lnTo>
                <a:lnTo>
                  <a:pt x="871" y="544"/>
                </a:lnTo>
                <a:lnTo>
                  <a:pt x="871" y="544"/>
                </a:lnTo>
                <a:lnTo>
                  <a:pt x="873" y="546"/>
                </a:lnTo>
                <a:lnTo>
                  <a:pt x="873" y="546"/>
                </a:lnTo>
                <a:lnTo>
                  <a:pt x="873" y="548"/>
                </a:lnTo>
                <a:lnTo>
                  <a:pt x="873" y="548"/>
                </a:lnTo>
                <a:lnTo>
                  <a:pt x="876" y="551"/>
                </a:lnTo>
                <a:lnTo>
                  <a:pt x="876" y="551"/>
                </a:lnTo>
                <a:lnTo>
                  <a:pt x="881" y="553"/>
                </a:lnTo>
                <a:lnTo>
                  <a:pt x="881" y="553"/>
                </a:lnTo>
                <a:lnTo>
                  <a:pt x="883" y="551"/>
                </a:lnTo>
                <a:lnTo>
                  <a:pt x="883" y="551"/>
                </a:lnTo>
                <a:lnTo>
                  <a:pt x="888" y="553"/>
                </a:lnTo>
                <a:lnTo>
                  <a:pt x="888" y="553"/>
                </a:lnTo>
                <a:lnTo>
                  <a:pt x="890" y="556"/>
                </a:lnTo>
                <a:lnTo>
                  <a:pt x="890" y="556"/>
                </a:lnTo>
                <a:lnTo>
                  <a:pt x="890" y="556"/>
                </a:lnTo>
                <a:lnTo>
                  <a:pt x="890" y="558"/>
                </a:lnTo>
                <a:lnTo>
                  <a:pt x="890" y="558"/>
                </a:lnTo>
                <a:lnTo>
                  <a:pt x="890" y="558"/>
                </a:lnTo>
                <a:lnTo>
                  <a:pt x="888" y="561"/>
                </a:lnTo>
                <a:lnTo>
                  <a:pt x="888" y="561"/>
                </a:lnTo>
                <a:lnTo>
                  <a:pt x="888" y="558"/>
                </a:lnTo>
                <a:lnTo>
                  <a:pt x="888" y="558"/>
                </a:lnTo>
                <a:lnTo>
                  <a:pt x="886" y="558"/>
                </a:lnTo>
                <a:lnTo>
                  <a:pt x="886" y="558"/>
                </a:lnTo>
                <a:lnTo>
                  <a:pt x="886" y="561"/>
                </a:lnTo>
                <a:lnTo>
                  <a:pt x="886" y="561"/>
                </a:lnTo>
                <a:lnTo>
                  <a:pt x="893" y="563"/>
                </a:lnTo>
                <a:lnTo>
                  <a:pt x="893" y="563"/>
                </a:lnTo>
                <a:lnTo>
                  <a:pt x="893" y="568"/>
                </a:lnTo>
                <a:lnTo>
                  <a:pt x="893" y="568"/>
                </a:lnTo>
                <a:lnTo>
                  <a:pt x="890" y="568"/>
                </a:lnTo>
                <a:lnTo>
                  <a:pt x="890" y="568"/>
                </a:lnTo>
                <a:lnTo>
                  <a:pt x="890" y="568"/>
                </a:lnTo>
                <a:lnTo>
                  <a:pt x="893" y="568"/>
                </a:lnTo>
                <a:lnTo>
                  <a:pt x="893" y="568"/>
                </a:lnTo>
                <a:lnTo>
                  <a:pt x="898" y="568"/>
                </a:lnTo>
                <a:lnTo>
                  <a:pt x="898" y="568"/>
                </a:lnTo>
                <a:lnTo>
                  <a:pt x="900" y="571"/>
                </a:lnTo>
                <a:lnTo>
                  <a:pt x="900" y="571"/>
                </a:lnTo>
                <a:lnTo>
                  <a:pt x="900" y="571"/>
                </a:lnTo>
                <a:lnTo>
                  <a:pt x="900" y="573"/>
                </a:lnTo>
                <a:lnTo>
                  <a:pt x="900" y="573"/>
                </a:lnTo>
                <a:lnTo>
                  <a:pt x="900" y="576"/>
                </a:lnTo>
                <a:lnTo>
                  <a:pt x="900" y="576"/>
                </a:lnTo>
                <a:lnTo>
                  <a:pt x="895" y="580"/>
                </a:lnTo>
                <a:lnTo>
                  <a:pt x="895" y="580"/>
                </a:lnTo>
                <a:lnTo>
                  <a:pt x="893" y="580"/>
                </a:lnTo>
                <a:lnTo>
                  <a:pt x="893" y="580"/>
                </a:lnTo>
                <a:lnTo>
                  <a:pt x="890" y="580"/>
                </a:lnTo>
                <a:lnTo>
                  <a:pt x="890" y="580"/>
                </a:lnTo>
                <a:lnTo>
                  <a:pt x="893" y="580"/>
                </a:lnTo>
                <a:lnTo>
                  <a:pt x="893" y="580"/>
                </a:lnTo>
                <a:lnTo>
                  <a:pt x="895" y="583"/>
                </a:lnTo>
                <a:lnTo>
                  <a:pt x="895" y="583"/>
                </a:lnTo>
                <a:lnTo>
                  <a:pt x="895" y="585"/>
                </a:lnTo>
                <a:lnTo>
                  <a:pt x="895" y="585"/>
                </a:lnTo>
                <a:lnTo>
                  <a:pt x="898" y="585"/>
                </a:lnTo>
                <a:lnTo>
                  <a:pt x="898" y="585"/>
                </a:lnTo>
                <a:lnTo>
                  <a:pt x="898" y="585"/>
                </a:lnTo>
                <a:lnTo>
                  <a:pt x="895" y="588"/>
                </a:lnTo>
                <a:lnTo>
                  <a:pt x="895" y="588"/>
                </a:lnTo>
                <a:lnTo>
                  <a:pt x="898" y="590"/>
                </a:lnTo>
                <a:lnTo>
                  <a:pt x="898" y="590"/>
                </a:lnTo>
                <a:lnTo>
                  <a:pt x="893" y="593"/>
                </a:lnTo>
                <a:lnTo>
                  <a:pt x="893" y="593"/>
                </a:lnTo>
                <a:lnTo>
                  <a:pt x="888" y="593"/>
                </a:lnTo>
                <a:lnTo>
                  <a:pt x="888" y="593"/>
                </a:lnTo>
                <a:lnTo>
                  <a:pt x="888" y="593"/>
                </a:lnTo>
                <a:lnTo>
                  <a:pt x="886" y="595"/>
                </a:lnTo>
                <a:lnTo>
                  <a:pt x="886" y="595"/>
                </a:lnTo>
                <a:lnTo>
                  <a:pt x="883" y="595"/>
                </a:lnTo>
                <a:lnTo>
                  <a:pt x="883" y="595"/>
                </a:lnTo>
                <a:lnTo>
                  <a:pt x="881" y="590"/>
                </a:lnTo>
                <a:lnTo>
                  <a:pt x="881" y="590"/>
                </a:lnTo>
                <a:lnTo>
                  <a:pt x="878" y="590"/>
                </a:lnTo>
                <a:lnTo>
                  <a:pt x="878" y="590"/>
                </a:lnTo>
                <a:lnTo>
                  <a:pt x="878" y="590"/>
                </a:lnTo>
                <a:lnTo>
                  <a:pt x="876" y="590"/>
                </a:lnTo>
                <a:lnTo>
                  <a:pt x="876" y="590"/>
                </a:lnTo>
                <a:lnTo>
                  <a:pt x="876" y="593"/>
                </a:lnTo>
                <a:lnTo>
                  <a:pt x="876" y="593"/>
                </a:lnTo>
                <a:lnTo>
                  <a:pt x="873" y="593"/>
                </a:lnTo>
                <a:lnTo>
                  <a:pt x="873" y="593"/>
                </a:lnTo>
                <a:lnTo>
                  <a:pt x="876" y="593"/>
                </a:lnTo>
                <a:lnTo>
                  <a:pt x="876" y="593"/>
                </a:lnTo>
                <a:lnTo>
                  <a:pt x="878" y="595"/>
                </a:lnTo>
                <a:lnTo>
                  <a:pt x="878" y="595"/>
                </a:lnTo>
                <a:lnTo>
                  <a:pt x="878" y="598"/>
                </a:lnTo>
                <a:lnTo>
                  <a:pt x="878" y="598"/>
                </a:lnTo>
                <a:lnTo>
                  <a:pt x="876" y="600"/>
                </a:lnTo>
                <a:lnTo>
                  <a:pt x="876" y="600"/>
                </a:lnTo>
                <a:lnTo>
                  <a:pt x="878" y="600"/>
                </a:lnTo>
                <a:lnTo>
                  <a:pt x="878" y="600"/>
                </a:lnTo>
                <a:lnTo>
                  <a:pt x="876" y="603"/>
                </a:lnTo>
                <a:lnTo>
                  <a:pt x="876" y="603"/>
                </a:lnTo>
                <a:lnTo>
                  <a:pt x="876" y="605"/>
                </a:lnTo>
                <a:lnTo>
                  <a:pt x="876" y="605"/>
                </a:lnTo>
                <a:lnTo>
                  <a:pt x="878" y="605"/>
                </a:lnTo>
                <a:lnTo>
                  <a:pt x="878" y="605"/>
                </a:lnTo>
                <a:lnTo>
                  <a:pt x="878" y="603"/>
                </a:lnTo>
                <a:lnTo>
                  <a:pt x="878" y="603"/>
                </a:lnTo>
                <a:lnTo>
                  <a:pt x="881" y="603"/>
                </a:lnTo>
                <a:lnTo>
                  <a:pt x="881" y="603"/>
                </a:lnTo>
                <a:lnTo>
                  <a:pt x="881" y="605"/>
                </a:lnTo>
                <a:lnTo>
                  <a:pt x="881" y="605"/>
                </a:lnTo>
                <a:lnTo>
                  <a:pt x="876" y="605"/>
                </a:lnTo>
                <a:lnTo>
                  <a:pt x="876" y="605"/>
                </a:lnTo>
                <a:lnTo>
                  <a:pt x="876" y="610"/>
                </a:lnTo>
                <a:lnTo>
                  <a:pt x="876" y="610"/>
                </a:lnTo>
                <a:lnTo>
                  <a:pt x="876" y="612"/>
                </a:lnTo>
                <a:lnTo>
                  <a:pt x="876" y="612"/>
                </a:lnTo>
                <a:lnTo>
                  <a:pt x="878" y="615"/>
                </a:lnTo>
                <a:lnTo>
                  <a:pt x="878" y="615"/>
                </a:lnTo>
                <a:lnTo>
                  <a:pt x="878" y="617"/>
                </a:lnTo>
                <a:lnTo>
                  <a:pt x="878" y="617"/>
                </a:lnTo>
                <a:lnTo>
                  <a:pt x="881" y="625"/>
                </a:lnTo>
                <a:lnTo>
                  <a:pt x="881" y="625"/>
                </a:lnTo>
                <a:lnTo>
                  <a:pt x="881" y="627"/>
                </a:lnTo>
                <a:lnTo>
                  <a:pt x="881" y="627"/>
                </a:lnTo>
                <a:lnTo>
                  <a:pt x="881" y="627"/>
                </a:lnTo>
                <a:lnTo>
                  <a:pt x="881" y="630"/>
                </a:lnTo>
                <a:lnTo>
                  <a:pt x="881" y="630"/>
                </a:lnTo>
                <a:lnTo>
                  <a:pt x="876" y="635"/>
                </a:lnTo>
                <a:lnTo>
                  <a:pt x="876" y="635"/>
                </a:lnTo>
                <a:lnTo>
                  <a:pt x="876" y="637"/>
                </a:lnTo>
                <a:lnTo>
                  <a:pt x="876" y="637"/>
                </a:lnTo>
                <a:lnTo>
                  <a:pt x="876" y="639"/>
                </a:lnTo>
                <a:lnTo>
                  <a:pt x="876" y="639"/>
                </a:lnTo>
                <a:lnTo>
                  <a:pt x="873" y="637"/>
                </a:lnTo>
                <a:lnTo>
                  <a:pt x="873" y="637"/>
                </a:lnTo>
                <a:lnTo>
                  <a:pt x="868" y="637"/>
                </a:lnTo>
                <a:lnTo>
                  <a:pt x="868" y="637"/>
                </a:lnTo>
                <a:lnTo>
                  <a:pt x="866" y="639"/>
                </a:lnTo>
                <a:lnTo>
                  <a:pt x="866" y="639"/>
                </a:lnTo>
                <a:lnTo>
                  <a:pt x="863" y="642"/>
                </a:lnTo>
                <a:lnTo>
                  <a:pt x="863" y="642"/>
                </a:lnTo>
                <a:lnTo>
                  <a:pt x="861" y="644"/>
                </a:lnTo>
                <a:lnTo>
                  <a:pt x="861" y="644"/>
                </a:lnTo>
                <a:lnTo>
                  <a:pt x="861" y="647"/>
                </a:lnTo>
                <a:lnTo>
                  <a:pt x="861" y="647"/>
                </a:lnTo>
                <a:lnTo>
                  <a:pt x="858" y="647"/>
                </a:lnTo>
                <a:lnTo>
                  <a:pt x="858" y="647"/>
                </a:lnTo>
                <a:lnTo>
                  <a:pt x="854" y="652"/>
                </a:lnTo>
                <a:lnTo>
                  <a:pt x="854" y="652"/>
                </a:lnTo>
                <a:lnTo>
                  <a:pt x="851" y="652"/>
                </a:lnTo>
                <a:lnTo>
                  <a:pt x="851" y="652"/>
                </a:lnTo>
                <a:lnTo>
                  <a:pt x="849" y="652"/>
                </a:lnTo>
                <a:lnTo>
                  <a:pt x="849" y="652"/>
                </a:lnTo>
                <a:lnTo>
                  <a:pt x="849" y="654"/>
                </a:lnTo>
                <a:lnTo>
                  <a:pt x="849" y="654"/>
                </a:lnTo>
                <a:lnTo>
                  <a:pt x="839" y="657"/>
                </a:lnTo>
                <a:lnTo>
                  <a:pt x="839" y="657"/>
                </a:lnTo>
                <a:lnTo>
                  <a:pt x="839" y="654"/>
                </a:lnTo>
                <a:lnTo>
                  <a:pt x="839" y="654"/>
                </a:lnTo>
                <a:lnTo>
                  <a:pt x="839" y="652"/>
                </a:lnTo>
                <a:lnTo>
                  <a:pt x="839" y="652"/>
                </a:lnTo>
                <a:lnTo>
                  <a:pt x="839" y="649"/>
                </a:lnTo>
                <a:lnTo>
                  <a:pt x="839" y="649"/>
                </a:lnTo>
                <a:lnTo>
                  <a:pt x="836" y="647"/>
                </a:lnTo>
                <a:lnTo>
                  <a:pt x="836" y="647"/>
                </a:lnTo>
                <a:lnTo>
                  <a:pt x="836" y="644"/>
                </a:lnTo>
                <a:lnTo>
                  <a:pt x="836" y="644"/>
                </a:lnTo>
                <a:lnTo>
                  <a:pt x="839" y="644"/>
                </a:lnTo>
                <a:lnTo>
                  <a:pt x="839" y="644"/>
                </a:lnTo>
                <a:lnTo>
                  <a:pt x="839" y="642"/>
                </a:lnTo>
                <a:lnTo>
                  <a:pt x="839" y="642"/>
                </a:lnTo>
                <a:lnTo>
                  <a:pt x="841" y="637"/>
                </a:lnTo>
                <a:lnTo>
                  <a:pt x="841" y="637"/>
                </a:lnTo>
                <a:lnTo>
                  <a:pt x="839" y="642"/>
                </a:lnTo>
                <a:lnTo>
                  <a:pt x="839" y="642"/>
                </a:lnTo>
                <a:lnTo>
                  <a:pt x="836" y="642"/>
                </a:lnTo>
                <a:lnTo>
                  <a:pt x="836" y="642"/>
                </a:lnTo>
                <a:lnTo>
                  <a:pt x="836" y="635"/>
                </a:lnTo>
                <a:lnTo>
                  <a:pt x="836" y="635"/>
                </a:lnTo>
                <a:lnTo>
                  <a:pt x="834" y="635"/>
                </a:lnTo>
                <a:lnTo>
                  <a:pt x="834" y="635"/>
                </a:lnTo>
                <a:lnTo>
                  <a:pt x="834" y="632"/>
                </a:lnTo>
                <a:lnTo>
                  <a:pt x="834" y="632"/>
                </a:lnTo>
                <a:lnTo>
                  <a:pt x="829" y="632"/>
                </a:lnTo>
                <a:lnTo>
                  <a:pt x="829" y="632"/>
                </a:lnTo>
                <a:lnTo>
                  <a:pt x="829" y="632"/>
                </a:lnTo>
                <a:lnTo>
                  <a:pt x="826" y="632"/>
                </a:lnTo>
                <a:lnTo>
                  <a:pt x="826" y="632"/>
                </a:lnTo>
                <a:lnTo>
                  <a:pt x="824" y="637"/>
                </a:lnTo>
                <a:lnTo>
                  <a:pt x="824" y="637"/>
                </a:lnTo>
                <a:lnTo>
                  <a:pt x="824" y="637"/>
                </a:lnTo>
                <a:lnTo>
                  <a:pt x="829" y="635"/>
                </a:lnTo>
                <a:lnTo>
                  <a:pt x="829" y="635"/>
                </a:lnTo>
                <a:lnTo>
                  <a:pt x="831" y="635"/>
                </a:lnTo>
                <a:lnTo>
                  <a:pt x="831" y="635"/>
                </a:lnTo>
                <a:lnTo>
                  <a:pt x="831" y="637"/>
                </a:lnTo>
                <a:lnTo>
                  <a:pt x="831" y="637"/>
                </a:lnTo>
                <a:lnTo>
                  <a:pt x="834" y="639"/>
                </a:lnTo>
                <a:lnTo>
                  <a:pt x="834" y="639"/>
                </a:lnTo>
                <a:lnTo>
                  <a:pt x="834" y="644"/>
                </a:lnTo>
                <a:lnTo>
                  <a:pt x="834" y="644"/>
                </a:lnTo>
                <a:lnTo>
                  <a:pt x="834" y="647"/>
                </a:lnTo>
                <a:lnTo>
                  <a:pt x="834" y="647"/>
                </a:lnTo>
                <a:lnTo>
                  <a:pt x="836" y="649"/>
                </a:lnTo>
                <a:lnTo>
                  <a:pt x="836" y="649"/>
                </a:lnTo>
                <a:lnTo>
                  <a:pt x="836" y="654"/>
                </a:lnTo>
                <a:lnTo>
                  <a:pt x="836" y="654"/>
                </a:lnTo>
                <a:lnTo>
                  <a:pt x="834" y="654"/>
                </a:lnTo>
                <a:lnTo>
                  <a:pt x="834" y="654"/>
                </a:lnTo>
                <a:lnTo>
                  <a:pt x="836" y="657"/>
                </a:lnTo>
                <a:lnTo>
                  <a:pt x="836" y="657"/>
                </a:lnTo>
                <a:lnTo>
                  <a:pt x="836" y="659"/>
                </a:lnTo>
                <a:lnTo>
                  <a:pt x="836" y="659"/>
                </a:lnTo>
                <a:lnTo>
                  <a:pt x="834" y="659"/>
                </a:lnTo>
                <a:lnTo>
                  <a:pt x="834" y="659"/>
                </a:lnTo>
                <a:lnTo>
                  <a:pt x="829" y="654"/>
                </a:lnTo>
                <a:lnTo>
                  <a:pt x="829" y="654"/>
                </a:lnTo>
                <a:lnTo>
                  <a:pt x="829" y="652"/>
                </a:lnTo>
                <a:lnTo>
                  <a:pt x="829" y="652"/>
                </a:lnTo>
                <a:lnTo>
                  <a:pt x="826" y="652"/>
                </a:lnTo>
                <a:lnTo>
                  <a:pt x="826" y="652"/>
                </a:lnTo>
                <a:lnTo>
                  <a:pt x="826" y="649"/>
                </a:lnTo>
                <a:lnTo>
                  <a:pt x="826" y="649"/>
                </a:lnTo>
                <a:lnTo>
                  <a:pt x="824" y="652"/>
                </a:lnTo>
                <a:lnTo>
                  <a:pt x="824" y="652"/>
                </a:lnTo>
                <a:lnTo>
                  <a:pt x="826" y="654"/>
                </a:lnTo>
                <a:lnTo>
                  <a:pt x="826" y="654"/>
                </a:lnTo>
                <a:lnTo>
                  <a:pt x="826" y="657"/>
                </a:lnTo>
                <a:lnTo>
                  <a:pt x="826" y="657"/>
                </a:lnTo>
                <a:lnTo>
                  <a:pt x="824" y="654"/>
                </a:lnTo>
                <a:lnTo>
                  <a:pt x="824" y="654"/>
                </a:lnTo>
                <a:lnTo>
                  <a:pt x="822" y="654"/>
                </a:lnTo>
                <a:lnTo>
                  <a:pt x="822" y="654"/>
                </a:lnTo>
                <a:lnTo>
                  <a:pt x="819" y="652"/>
                </a:lnTo>
                <a:lnTo>
                  <a:pt x="819" y="652"/>
                </a:lnTo>
                <a:lnTo>
                  <a:pt x="819" y="654"/>
                </a:lnTo>
                <a:lnTo>
                  <a:pt x="819" y="654"/>
                </a:lnTo>
                <a:lnTo>
                  <a:pt x="819" y="652"/>
                </a:lnTo>
                <a:lnTo>
                  <a:pt x="819" y="652"/>
                </a:lnTo>
                <a:lnTo>
                  <a:pt x="819" y="647"/>
                </a:lnTo>
                <a:lnTo>
                  <a:pt x="819" y="647"/>
                </a:lnTo>
                <a:lnTo>
                  <a:pt x="819" y="647"/>
                </a:lnTo>
                <a:lnTo>
                  <a:pt x="819" y="644"/>
                </a:lnTo>
                <a:lnTo>
                  <a:pt x="819" y="644"/>
                </a:lnTo>
                <a:lnTo>
                  <a:pt x="819" y="644"/>
                </a:lnTo>
                <a:lnTo>
                  <a:pt x="814" y="644"/>
                </a:lnTo>
                <a:lnTo>
                  <a:pt x="814" y="644"/>
                </a:lnTo>
                <a:lnTo>
                  <a:pt x="809" y="644"/>
                </a:lnTo>
                <a:lnTo>
                  <a:pt x="809" y="644"/>
                </a:lnTo>
                <a:lnTo>
                  <a:pt x="807" y="644"/>
                </a:lnTo>
                <a:lnTo>
                  <a:pt x="807" y="644"/>
                </a:lnTo>
                <a:lnTo>
                  <a:pt x="804" y="644"/>
                </a:lnTo>
                <a:lnTo>
                  <a:pt x="804" y="644"/>
                </a:lnTo>
                <a:lnTo>
                  <a:pt x="802" y="642"/>
                </a:lnTo>
                <a:lnTo>
                  <a:pt x="802" y="642"/>
                </a:lnTo>
                <a:lnTo>
                  <a:pt x="802" y="644"/>
                </a:lnTo>
                <a:lnTo>
                  <a:pt x="802" y="644"/>
                </a:lnTo>
                <a:lnTo>
                  <a:pt x="802" y="647"/>
                </a:lnTo>
                <a:lnTo>
                  <a:pt x="802" y="647"/>
                </a:lnTo>
                <a:lnTo>
                  <a:pt x="802" y="647"/>
                </a:lnTo>
                <a:lnTo>
                  <a:pt x="802" y="649"/>
                </a:lnTo>
                <a:lnTo>
                  <a:pt x="802" y="649"/>
                </a:lnTo>
                <a:lnTo>
                  <a:pt x="802" y="652"/>
                </a:lnTo>
                <a:lnTo>
                  <a:pt x="802" y="652"/>
                </a:lnTo>
                <a:lnTo>
                  <a:pt x="807" y="654"/>
                </a:lnTo>
                <a:lnTo>
                  <a:pt x="807" y="654"/>
                </a:lnTo>
                <a:lnTo>
                  <a:pt x="807" y="657"/>
                </a:lnTo>
                <a:lnTo>
                  <a:pt x="807" y="657"/>
                </a:lnTo>
                <a:lnTo>
                  <a:pt x="804" y="659"/>
                </a:lnTo>
                <a:lnTo>
                  <a:pt x="804" y="659"/>
                </a:lnTo>
                <a:lnTo>
                  <a:pt x="804" y="662"/>
                </a:lnTo>
                <a:lnTo>
                  <a:pt x="804" y="662"/>
                </a:lnTo>
                <a:lnTo>
                  <a:pt x="797" y="667"/>
                </a:lnTo>
                <a:lnTo>
                  <a:pt x="797" y="667"/>
                </a:lnTo>
                <a:lnTo>
                  <a:pt x="792" y="669"/>
                </a:lnTo>
                <a:lnTo>
                  <a:pt x="792" y="669"/>
                </a:lnTo>
                <a:lnTo>
                  <a:pt x="790" y="674"/>
                </a:lnTo>
                <a:lnTo>
                  <a:pt x="790" y="674"/>
                </a:lnTo>
                <a:lnTo>
                  <a:pt x="787" y="674"/>
                </a:lnTo>
                <a:lnTo>
                  <a:pt x="787" y="674"/>
                </a:lnTo>
                <a:lnTo>
                  <a:pt x="785" y="674"/>
                </a:lnTo>
                <a:lnTo>
                  <a:pt x="785" y="674"/>
                </a:lnTo>
                <a:lnTo>
                  <a:pt x="785" y="679"/>
                </a:lnTo>
                <a:lnTo>
                  <a:pt x="785" y="679"/>
                </a:lnTo>
                <a:lnTo>
                  <a:pt x="780" y="679"/>
                </a:lnTo>
                <a:lnTo>
                  <a:pt x="780" y="679"/>
                </a:lnTo>
                <a:lnTo>
                  <a:pt x="772" y="679"/>
                </a:lnTo>
                <a:lnTo>
                  <a:pt x="772" y="679"/>
                </a:lnTo>
                <a:lnTo>
                  <a:pt x="770" y="674"/>
                </a:lnTo>
                <a:lnTo>
                  <a:pt x="770" y="674"/>
                </a:lnTo>
                <a:lnTo>
                  <a:pt x="767" y="671"/>
                </a:lnTo>
                <a:lnTo>
                  <a:pt x="767" y="671"/>
                </a:lnTo>
                <a:lnTo>
                  <a:pt x="763" y="669"/>
                </a:lnTo>
                <a:lnTo>
                  <a:pt x="763" y="669"/>
                </a:lnTo>
                <a:lnTo>
                  <a:pt x="763" y="669"/>
                </a:lnTo>
                <a:lnTo>
                  <a:pt x="765" y="667"/>
                </a:lnTo>
                <a:lnTo>
                  <a:pt x="765" y="667"/>
                </a:lnTo>
                <a:lnTo>
                  <a:pt x="765" y="667"/>
                </a:lnTo>
                <a:lnTo>
                  <a:pt x="765" y="664"/>
                </a:lnTo>
                <a:lnTo>
                  <a:pt x="765" y="664"/>
                </a:lnTo>
                <a:lnTo>
                  <a:pt x="763" y="664"/>
                </a:lnTo>
                <a:lnTo>
                  <a:pt x="763" y="664"/>
                </a:lnTo>
                <a:lnTo>
                  <a:pt x="758" y="659"/>
                </a:lnTo>
                <a:lnTo>
                  <a:pt x="758" y="659"/>
                </a:lnTo>
                <a:lnTo>
                  <a:pt x="755" y="654"/>
                </a:lnTo>
                <a:lnTo>
                  <a:pt x="755" y="654"/>
                </a:lnTo>
                <a:lnTo>
                  <a:pt x="748" y="654"/>
                </a:lnTo>
                <a:lnTo>
                  <a:pt x="748" y="654"/>
                </a:lnTo>
                <a:lnTo>
                  <a:pt x="743" y="652"/>
                </a:lnTo>
                <a:lnTo>
                  <a:pt x="743" y="652"/>
                </a:lnTo>
                <a:lnTo>
                  <a:pt x="735" y="652"/>
                </a:lnTo>
                <a:lnTo>
                  <a:pt x="735" y="652"/>
                </a:lnTo>
                <a:lnTo>
                  <a:pt x="733" y="652"/>
                </a:lnTo>
                <a:lnTo>
                  <a:pt x="733" y="652"/>
                </a:lnTo>
                <a:lnTo>
                  <a:pt x="733" y="654"/>
                </a:lnTo>
                <a:lnTo>
                  <a:pt x="733" y="654"/>
                </a:lnTo>
                <a:lnTo>
                  <a:pt x="735" y="654"/>
                </a:lnTo>
                <a:lnTo>
                  <a:pt x="735" y="654"/>
                </a:lnTo>
                <a:lnTo>
                  <a:pt x="735" y="654"/>
                </a:lnTo>
                <a:lnTo>
                  <a:pt x="738" y="654"/>
                </a:lnTo>
                <a:lnTo>
                  <a:pt x="738" y="654"/>
                </a:lnTo>
                <a:lnTo>
                  <a:pt x="745" y="657"/>
                </a:lnTo>
                <a:lnTo>
                  <a:pt x="745" y="657"/>
                </a:lnTo>
                <a:lnTo>
                  <a:pt x="753" y="657"/>
                </a:lnTo>
                <a:lnTo>
                  <a:pt x="753" y="657"/>
                </a:lnTo>
                <a:lnTo>
                  <a:pt x="753" y="657"/>
                </a:lnTo>
                <a:lnTo>
                  <a:pt x="753" y="659"/>
                </a:lnTo>
                <a:lnTo>
                  <a:pt x="753" y="659"/>
                </a:lnTo>
                <a:lnTo>
                  <a:pt x="753" y="659"/>
                </a:lnTo>
                <a:lnTo>
                  <a:pt x="750" y="659"/>
                </a:lnTo>
                <a:lnTo>
                  <a:pt x="750" y="659"/>
                </a:lnTo>
                <a:lnTo>
                  <a:pt x="753" y="662"/>
                </a:lnTo>
                <a:lnTo>
                  <a:pt x="753" y="662"/>
                </a:lnTo>
                <a:lnTo>
                  <a:pt x="753" y="667"/>
                </a:lnTo>
                <a:lnTo>
                  <a:pt x="753" y="667"/>
                </a:lnTo>
                <a:lnTo>
                  <a:pt x="753" y="667"/>
                </a:lnTo>
                <a:lnTo>
                  <a:pt x="758" y="674"/>
                </a:lnTo>
                <a:lnTo>
                  <a:pt x="758" y="674"/>
                </a:lnTo>
                <a:lnTo>
                  <a:pt x="760" y="676"/>
                </a:lnTo>
                <a:lnTo>
                  <a:pt x="760" y="676"/>
                </a:lnTo>
                <a:lnTo>
                  <a:pt x="765" y="679"/>
                </a:lnTo>
                <a:lnTo>
                  <a:pt x="765" y="679"/>
                </a:lnTo>
                <a:lnTo>
                  <a:pt x="770" y="681"/>
                </a:lnTo>
                <a:lnTo>
                  <a:pt x="770" y="681"/>
                </a:lnTo>
                <a:lnTo>
                  <a:pt x="782" y="684"/>
                </a:lnTo>
                <a:lnTo>
                  <a:pt x="782" y="684"/>
                </a:lnTo>
                <a:lnTo>
                  <a:pt x="782" y="686"/>
                </a:lnTo>
                <a:lnTo>
                  <a:pt x="782" y="686"/>
                </a:lnTo>
                <a:lnTo>
                  <a:pt x="780" y="689"/>
                </a:lnTo>
                <a:lnTo>
                  <a:pt x="780" y="689"/>
                </a:lnTo>
                <a:lnTo>
                  <a:pt x="777" y="691"/>
                </a:lnTo>
                <a:lnTo>
                  <a:pt x="777" y="691"/>
                </a:lnTo>
                <a:lnTo>
                  <a:pt x="775" y="691"/>
                </a:lnTo>
                <a:lnTo>
                  <a:pt x="775" y="691"/>
                </a:lnTo>
                <a:lnTo>
                  <a:pt x="770" y="698"/>
                </a:lnTo>
                <a:lnTo>
                  <a:pt x="770" y="698"/>
                </a:lnTo>
                <a:lnTo>
                  <a:pt x="770" y="696"/>
                </a:lnTo>
                <a:lnTo>
                  <a:pt x="770" y="696"/>
                </a:lnTo>
                <a:lnTo>
                  <a:pt x="767" y="698"/>
                </a:lnTo>
                <a:lnTo>
                  <a:pt x="767" y="698"/>
                </a:lnTo>
                <a:lnTo>
                  <a:pt x="767" y="698"/>
                </a:lnTo>
                <a:lnTo>
                  <a:pt x="758" y="711"/>
                </a:lnTo>
                <a:lnTo>
                  <a:pt x="758" y="711"/>
                </a:lnTo>
                <a:lnTo>
                  <a:pt x="753" y="711"/>
                </a:lnTo>
                <a:lnTo>
                  <a:pt x="753" y="711"/>
                </a:lnTo>
                <a:lnTo>
                  <a:pt x="750" y="716"/>
                </a:lnTo>
                <a:lnTo>
                  <a:pt x="750" y="716"/>
                </a:lnTo>
                <a:lnTo>
                  <a:pt x="748" y="716"/>
                </a:lnTo>
                <a:lnTo>
                  <a:pt x="748" y="716"/>
                </a:lnTo>
                <a:lnTo>
                  <a:pt x="748" y="716"/>
                </a:lnTo>
                <a:lnTo>
                  <a:pt x="745" y="716"/>
                </a:lnTo>
                <a:lnTo>
                  <a:pt x="745" y="716"/>
                </a:lnTo>
                <a:lnTo>
                  <a:pt x="745" y="718"/>
                </a:lnTo>
                <a:lnTo>
                  <a:pt x="745" y="718"/>
                </a:lnTo>
                <a:lnTo>
                  <a:pt x="740" y="713"/>
                </a:lnTo>
                <a:lnTo>
                  <a:pt x="740" y="713"/>
                </a:lnTo>
                <a:lnTo>
                  <a:pt x="738" y="711"/>
                </a:lnTo>
                <a:lnTo>
                  <a:pt x="738" y="711"/>
                </a:lnTo>
                <a:lnTo>
                  <a:pt x="735" y="713"/>
                </a:lnTo>
                <a:lnTo>
                  <a:pt x="735" y="713"/>
                </a:lnTo>
                <a:lnTo>
                  <a:pt x="735" y="711"/>
                </a:lnTo>
                <a:lnTo>
                  <a:pt x="735" y="711"/>
                </a:lnTo>
                <a:lnTo>
                  <a:pt x="735" y="711"/>
                </a:lnTo>
                <a:lnTo>
                  <a:pt x="738" y="708"/>
                </a:lnTo>
                <a:lnTo>
                  <a:pt x="738" y="708"/>
                </a:lnTo>
                <a:lnTo>
                  <a:pt x="735" y="708"/>
                </a:lnTo>
                <a:lnTo>
                  <a:pt x="735" y="708"/>
                </a:lnTo>
                <a:lnTo>
                  <a:pt x="735" y="706"/>
                </a:lnTo>
                <a:lnTo>
                  <a:pt x="735" y="706"/>
                </a:lnTo>
                <a:lnTo>
                  <a:pt x="733" y="708"/>
                </a:lnTo>
                <a:lnTo>
                  <a:pt x="733" y="708"/>
                </a:lnTo>
                <a:lnTo>
                  <a:pt x="731" y="713"/>
                </a:lnTo>
                <a:lnTo>
                  <a:pt x="731" y="713"/>
                </a:lnTo>
                <a:lnTo>
                  <a:pt x="731" y="711"/>
                </a:lnTo>
                <a:lnTo>
                  <a:pt x="731" y="711"/>
                </a:lnTo>
                <a:lnTo>
                  <a:pt x="728" y="706"/>
                </a:lnTo>
                <a:lnTo>
                  <a:pt x="728" y="706"/>
                </a:lnTo>
                <a:lnTo>
                  <a:pt x="726" y="711"/>
                </a:lnTo>
                <a:lnTo>
                  <a:pt x="726" y="711"/>
                </a:lnTo>
                <a:lnTo>
                  <a:pt x="728" y="713"/>
                </a:lnTo>
                <a:lnTo>
                  <a:pt x="728" y="713"/>
                </a:lnTo>
                <a:lnTo>
                  <a:pt x="728" y="718"/>
                </a:lnTo>
                <a:lnTo>
                  <a:pt x="728" y="718"/>
                </a:lnTo>
                <a:lnTo>
                  <a:pt x="723" y="723"/>
                </a:lnTo>
                <a:lnTo>
                  <a:pt x="723" y="723"/>
                </a:lnTo>
                <a:lnTo>
                  <a:pt x="723" y="723"/>
                </a:lnTo>
                <a:lnTo>
                  <a:pt x="721" y="721"/>
                </a:lnTo>
                <a:lnTo>
                  <a:pt x="721" y="721"/>
                </a:lnTo>
                <a:lnTo>
                  <a:pt x="718" y="718"/>
                </a:lnTo>
                <a:lnTo>
                  <a:pt x="718" y="718"/>
                </a:lnTo>
                <a:lnTo>
                  <a:pt x="718" y="721"/>
                </a:lnTo>
                <a:lnTo>
                  <a:pt x="718" y="721"/>
                </a:lnTo>
                <a:lnTo>
                  <a:pt x="721" y="721"/>
                </a:lnTo>
                <a:lnTo>
                  <a:pt x="721" y="721"/>
                </a:lnTo>
                <a:lnTo>
                  <a:pt x="718" y="723"/>
                </a:lnTo>
                <a:lnTo>
                  <a:pt x="718" y="723"/>
                </a:lnTo>
                <a:lnTo>
                  <a:pt x="718" y="726"/>
                </a:lnTo>
                <a:lnTo>
                  <a:pt x="718" y="726"/>
                </a:lnTo>
                <a:lnTo>
                  <a:pt x="716" y="726"/>
                </a:lnTo>
                <a:lnTo>
                  <a:pt x="716" y="726"/>
                </a:lnTo>
                <a:lnTo>
                  <a:pt x="713" y="726"/>
                </a:lnTo>
                <a:lnTo>
                  <a:pt x="713" y="726"/>
                </a:lnTo>
                <a:lnTo>
                  <a:pt x="713" y="723"/>
                </a:lnTo>
                <a:lnTo>
                  <a:pt x="713" y="723"/>
                </a:lnTo>
                <a:lnTo>
                  <a:pt x="711" y="721"/>
                </a:lnTo>
                <a:lnTo>
                  <a:pt x="711" y="721"/>
                </a:lnTo>
                <a:lnTo>
                  <a:pt x="706" y="716"/>
                </a:lnTo>
                <a:lnTo>
                  <a:pt x="706" y="716"/>
                </a:lnTo>
                <a:lnTo>
                  <a:pt x="701" y="713"/>
                </a:lnTo>
                <a:lnTo>
                  <a:pt x="701" y="713"/>
                </a:lnTo>
                <a:lnTo>
                  <a:pt x="694" y="711"/>
                </a:lnTo>
                <a:lnTo>
                  <a:pt x="694" y="711"/>
                </a:lnTo>
                <a:lnTo>
                  <a:pt x="694" y="706"/>
                </a:lnTo>
                <a:lnTo>
                  <a:pt x="694" y="706"/>
                </a:lnTo>
                <a:lnTo>
                  <a:pt x="691" y="706"/>
                </a:lnTo>
                <a:lnTo>
                  <a:pt x="691" y="706"/>
                </a:lnTo>
                <a:lnTo>
                  <a:pt x="686" y="703"/>
                </a:lnTo>
                <a:lnTo>
                  <a:pt x="686" y="703"/>
                </a:lnTo>
                <a:lnTo>
                  <a:pt x="684" y="701"/>
                </a:lnTo>
                <a:lnTo>
                  <a:pt x="684" y="701"/>
                </a:lnTo>
                <a:lnTo>
                  <a:pt x="684" y="703"/>
                </a:lnTo>
                <a:lnTo>
                  <a:pt x="684" y="703"/>
                </a:lnTo>
                <a:lnTo>
                  <a:pt x="681" y="703"/>
                </a:lnTo>
                <a:lnTo>
                  <a:pt x="681" y="703"/>
                </a:lnTo>
                <a:lnTo>
                  <a:pt x="684" y="708"/>
                </a:lnTo>
                <a:lnTo>
                  <a:pt x="684" y="708"/>
                </a:lnTo>
                <a:lnTo>
                  <a:pt x="686" y="711"/>
                </a:lnTo>
                <a:lnTo>
                  <a:pt x="686" y="711"/>
                </a:lnTo>
                <a:lnTo>
                  <a:pt x="686" y="708"/>
                </a:lnTo>
                <a:lnTo>
                  <a:pt x="686" y="708"/>
                </a:lnTo>
                <a:lnTo>
                  <a:pt x="686" y="708"/>
                </a:lnTo>
                <a:lnTo>
                  <a:pt x="686" y="706"/>
                </a:lnTo>
                <a:lnTo>
                  <a:pt x="686" y="706"/>
                </a:lnTo>
                <a:lnTo>
                  <a:pt x="689" y="706"/>
                </a:lnTo>
                <a:lnTo>
                  <a:pt x="689" y="706"/>
                </a:lnTo>
                <a:lnTo>
                  <a:pt x="694" y="713"/>
                </a:lnTo>
                <a:lnTo>
                  <a:pt x="694" y="713"/>
                </a:lnTo>
                <a:lnTo>
                  <a:pt x="699" y="716"/>
                </a:lnTo>
                <a:lnTo>
                  <a:pt x="699" y="716"/>
                </a:lnTo>
                <a:lnTo>
                  <a:pt x="701" y="718"/>
                </a:lnTo>
                <a:lnTo>
                  <a:pt x="701" y="718"/>
                </a:lnTo>
                <a:lnTo>
                  <a:pt x="696" y="721"/>
                </a:lnTo>
                <a:lnTo>
                  <a:pt x="696" y="721"/>
                </a:lnTo>
                <a:lnTo>
                  <a:pt x="694" y="721"/>
                </a:lnTo>
                <a:lnTo>
                  <a:pt x="694" y="721"/>
                </a:lnTo>
                <a:lnTo>
                  <a:pt x="691" y="721"/>
                </a:lnTo>
                <a:lnTo>
                  <a:pt x="691" y="721"/>
                </a:lnTo>
                <a:lnTo>
                  <a:pt x="691" y="721"/>
                </a:lnTo>
                <a:lnTo>
                  <a:pt x="691" y="723"/>
                </a:lnTo>
                <a:lnTo>
                  <a:pt x="691" y="723"/>
                </a:lnTo>
                <a:lnTo>
                  <a:pt x="694" y="721"/>
                </a:lnTo>
                <a:lnTo>
                  <a:pt x="694" y="721"/>
                </a:lnTo>
                <a:lnTo>
                  <a:pt x="699" y="721"/>
                </a:lnTo>
                <a:lnTo>
                  <a:pt x="699" y="721"/>
                </a:lnTo>
                <a:lnTo>
                  <a:pt x="703" y="718"/>
                </a:lnTo>
                <a:lnTo>
                  <a:pt x="703" y="718"/>
                </a:lnTo>
                <a:lnTo>
                  <a:pt x="703" y="718"/>
                </a:lnTo>
                <a:lnTo>
                  <a:pt x="706" y="721"/>
                </a:lnTo>
                <a:lnTo>
                  <a:pt x="706" y="721"/>
                </a:lnTo>
                <a:lnTo>
                  <a:pt x="706" y="723"/>
                </a:lnTo>
                <a:lnTo>
                  <a:pt x="706" y="723"/>
                </a:lnTo>
                <a:lnTo>
                  <a:pt x="713" y="730"/>
                </a:lnTo>
                <a:lnTo>
                  <a:pt x="713" y="730"/>
                </a:lnTo>
                <a:lnTo>
                  <a:pt x="711" y="738"/>
                </a:lnTo>
                <a:lnTo>
                  <a:pt x="711" y="738"/>
                </a:lnTo>
                <a:lnTo>
                  <a:pt x="708" y="743"/>
                </a:lnTo>
                <a:lnTo>
                  <a:pt x="708" y="743"/>
                </a:lnTo>
                <a:lnTo>
                  <a:pt x="706" y="743"/>
                </a:lnTo>
                <a:lnTo>
                  <a:pt x="706" y="743"/>
                </a:lnTo>
                <a:lnTo>
                  <a:pt x="703" y="743"/>
                </a:lnTo>
                <a:lnTo>
                  <a:pt x="703" y="743"/>
                </a:lnTo>
                <a:lnTo>
                  <a:pt x="699" y="743"/>
                </a:lnTo>
                <a:lnTo>
                  <a:pt x="699" y="743"/>
                </a:lnTo>
                <a:lnTo>
                  <a:pt x="696" y="740"/>
                </a:lnTo>
                <a:lnTo>
                  <a:pt x="696" y="740"/>
                </a:lnTo>
                <a:lnTo>
                  <a:pt x="691" y="740"/>
                </a:lnTo>
                <a:lnTo>
                  <a:pt x="691" y="740"/>
                </a:lnTo>
                <a:lnTo>
                  <a:pt x="686" y="735"/>
                </a:lnTo>
                <a:lnTo>
                  <a:pt x="686" y="735"/>
                </a:lnTo>
                <a:lnTo>
                  <a:pt x="684" y="730"/>
                </a:lnTo>
                <a:lnTo>
                  <a:pt x="684" y="730"/>
                </a:lnTo>
                <a:lnTo>
                  <a:pt x="681" y="728"/>
                </a:lnTo>
                <a:lnTo>
                  <a:pt x="681" y="728"/>
                </a:lnTo>
                <a:lnTo>
                  <a:pt x="681" y="728"/>
                </a:lnTo>
                <a:lnTo>
                  <a:pt x="681" y="730"/>
                </a:lnTo>
                <a:lnTo>
                  <a:pt x="681" y="730"/>
                </a:lnTo>
                <a:lnTo>
                  <a:pt x="681" y="733"/>
                </a:lnTo>
                <a:lnTo>
                  <a:pt x="681" y="733"/>
                </a:lnTo>
                <a:lnTo>
                  <a:pt x="684" y="738"/>
                </a:lnTo>
                <a:lnTo>
                  <a:pt x="684" y="738"/>
                </a:lnTo>
                <a:lnTo>
                  <a:pt x="686" y="743"/>
                </a:lnTo>
                <a:lnTo>
                  <a:pt x="686" y="743"/>
                </a:lnTo>
                <a:lnTo>
                  <a:pt x="691" y="750"/>
                </a:lnTo>
                <a:lnTo>
                  <a:pt x="691" y="750"/>
                </a:lnTo>
                <a:lnTo>
                  <a:pt x="689" y="750"/>
                </a:lnTo>
                <a:lnTo>
                  <a:pt x="689" y="750"/>
                </a:lnTo>
                <a:lnTo>
                  <a:pt x="686" y="750"/>
                </a:lnTo>
                <a:lnTo>
                  <a:pt x="686" y="750"/>
                </a:lnTo>
                <a:lnTo>
                  <a:pt x="684" y="750"/>
                </a:lnTo>
                <a:lnTo>
                  <a:pt x="684" y="750"/>
                </a:lnTo>
                <a:lnTo>
                  <a:pt x="684" y="745"/>
                </a:lnTo>
                <a:lnTo>
                  <a:pt x="684" y="745"/>
                </a:lnTo>
                <a:lnTo>
                  <a:pt x="681" y="748"/>
                </a:lnTo>
                <a:lnTo>
                  <a:pt x="681" y="748"/>
                </a:lnTo>
                <a:lnTo>
                  <a:pt x="681" y="750"/>
                </a:lnTo>
                <a:lnTo>
                  <a:pt x="681" y="750"/>
                </a:lnTo>
                <a:lnTo>
                  <a:pt x="681" y="750"/>
                </a:lnTo>
                <a:lnTo>
                  <a:pt x="684" y="753"/>
                </a:lnTo>
                <a:lnTo>
                  <a:pt x="684" y="753"/>
                </a:lnTo>
                <a:lnTo>
                  <a:pt x="686" y="755"/>
                </a:lnTo>
                <a:lnTo>
                  <a:pt x="686" y="755"/>
                </a:lnTo>
                <a:lnTo>
                  <a:pt x="679" y="753"/>
                </a:lnTo>
                <a:lnTo>
                  <a:pt x="679" y="753"/>
                </a:lnTo>
                <a:lnTo>
                  <a:pt x="679" y="753"/>
                </a:lnTo>
                <a:lnTo>
                  <a:pt x="679" y="755"/>
                </a:lnTo>
                <a:lnTo>
                  <a:pt x="679" y="755"/>
                </a:lnTo>
                <a:lnTo>
                  <a:pt x="679" y="755"/>
                </a:lnTo>
                <a:lnTo>
                  <a:pt x="679" y="758"/>
                </a:lnTo>
                <a:lnTo>
                  <a:pt x="679" y="758"/>
                </a:lnTo>
                <a:lnTo>
                  <a:pt x="679" y="760"/>
                </a:lnTo>
                <a:lnTo>
                  <a:pt x="679" y="760"/>
                </a:lnTo>
                <a:lnTo>
                  <a:pt x="676" y="758"/>
                </a:lnTo>
                <a:lnTo>
                  <a:pt x="676" y="758"/>
                </a:lnTo>
                <a:lnTo>
                  <a:pt x="676" y="758"/>
                </a:lnTo>
                <a:lnTo>
                  <a:pt x="676" y="758"/>
                </a:lnTo>
                <a:lnTo>
                  <a:pt x="676" y="760"/>
                </a:lnTo>
                <a:lnTo>
                  <a:pt x="676" y="760"/>
                </a:lnTo>
                <a:lnTo>
                  <a:pt x="674" y="760"/>
                </a:lnTo>
                <a:lnTo>
                  <a:pt x="674" y="760"/>
                </a:lnTo>
                <a:lnTo>
                  <a:pt x="672" y="760"/>
                </a:lnTo>
                <a:lnTo>
                  <a:pt x="672" y="760"/>
                </a:lnTo>
                <a:lnTo>
                  <a:pt x="669" y="762"/>
                </a:lnTo>
                <a:lnTo>
                  <a:pt x="669" y="762"/>
                </a:lnTo>
                <a:lnTo>
                  <a:pt x="664" y="762"/>
                </a:lnTo>
                <a:lnTo>
                  <a:pt x="664" y="762"/>
                </a:lnTo>
                <a:lnTo>
                  <a:pt x="667" y="765"/>
                </a:lnTo>
                <a:lnTo>
                  <a:pt x="667" y="765"/>
                </a:lnTo>
                <a:lnTo>
                  <a:pt x="669" y="767"/>
                </a:lnTo>
                <a:lnTo>
                  <a:pt x="669" y="767"/>
                </a:lnTo>
                <a:lnTo>
                  <a:pt x="667" y="767"/>
                </a:lnTo>
                <a:lnTo>
                  <a:pt x="667" y="767"/>
                </a:lnTo>
                <a:lnTo>
                  <a:pt x="667" y="767"/>
                </a:lnTo>
                <a:lnTo>
                  <a:pt x="662" y="765"/>
                </a:lnTo>
                <a:lnTo>
                  <a:pt x="662" y="765"/>
                </a:lnTo>
                <a:lnTo>
                  <a:pt x="659" y="762"/>
                </a:lnTo>
                <a:lnTo>
                  <a:pt x="659" y="762"/>
                </a:lnTo>
                <a:lnTo>
                  <a:pt x="659" y="765"/>
                </a:lnTo>
                <a:lnTo>
                  <a:pt x="659" y="765"/>
                </a:lnTo>
                <a:lnTo>
                  <a:pt x="659" y="767"/>
                </a:lnTo>
                <a:lnTo>
                  <a:pt x="659" y="767"/>
                </a:lnTo>
                <a:lnTo>
                  <a:pt x="662" y="770"/>
                </a:lnTo>
                <a:lnTo>
                  <a:pt x="662" y="770"/>
                </a:lnTo>
                <a:lnTo>
                  <a:pt x="662" y="770"/>
                </a:lnTo>
                <a:lnTo>
                  <a:pt x="662" y="772"/>
                </a:lnTo>
                <a:lnTo>
                  <a:pt x="662" y="772"/>
                </a:lnTo>
                <a:lnTo>
                  <a:pt x="657" y="772"/>
                </a:lnTo>
                <a:lnTo>
                  <a:pt x="657" y="772"/>
                </a:lnTo>
                <a:lnTo>
                  <a:pt x="654" y="777"/>
                </a:lnTo>
                <a:lnTo>
                  <a:pt x="654" y="777"/>
                </a:lnTo>
                <a:lnTo>
                  <a:pt x="652" y="777"/>
                </a:lnTo>
                <a:lnTo>
                  <a:pt x="652" y="777"/>
                </a:lnTo>
                <a:lnTo>
                  <a:pt x="654" y="780"/>
                </a:lnTo>
                <a:lnTo>
                  <a:pt x="654" y="780"/>
                </a:lnTo>
                <a:lnTo>
                  <a:pt x="652" y="782"/>
                </a:lnTo>
                <a:lnTo>
                  <a:pt x="652" y="782"/>
                </a:lnTo>
                <a:lnTo>
                  <a:pt x="649" y="782"/>
                </a:lnTo>
                <a:lnTo>
                  <a:pt x="649" y="782"/>
                </a:lnTo>
                <a:lnTo>
                  <a:pt x="649" y="785"/>
                </a:lnTo>
                <a:lnTo>
                  <a:pt x="649" y="785"/>
                </a:lnTo>
                <a:lnTo>
                  <a:pt x="649" y="787"/>
                </a:lnTo>
                <a:lnTo>
                  <a:pt x="649" y="787"/>
                </a:lnTo>
                <a:lnTo>
                  <a:pt x="647" y="787"/>
                </a:lnTo>
                <a:lnTo>
                  <a:pt x="647" y="787"/>
                </a:lnTo>
                <a:lnTo>
                  <a:pt x="642" y="794"/>
                </a:lnTo>
                <a:lnTo>
                  <a:pt x="642" y="794"/>
                </a:lnTo>
                <a:lnTo>
                  <a:pt x="640" y="794"/>
                </a:lnTo>
                <a:lnTo>
                  <a:pt x="640" y="794"/>
                </a:lnTo>
                <a:lnTo>
                  <a:pt x="640" y="797"/>
                </a:lnTo>
                <a:lnTo>
                  <a:pt x="640" y="797"/>
                </a:lnTo>
                <a:lnTo>
                  <a:pt x="635" y="799"/>
                </a:lnTo>
                <a:lnTo>
                  <a:pt x="635" y="799"/>
                </a:lnTo>
                <a:lnTo>
                  <a:pt x="632" y="797"/>
                </a:lnTo>
                <a:lnTo>
                  <a:pt x="632" y="797"/>
                </a:lnTo>
                <a:lnTo>
                  <a:pt x="632" y="799"/>
                </a:lnTo>
                <a:lnTo>
                  <a:pt x="632" y="799"/>
                </a:lnTo>
                <a:lnTo>
                  <a:pt x="632" y="802"/>
                </a:lnTo>
                <a:lnTo>
                  <a:pt x="632" y="802"/>
                </a:lnTo>
                <a:lnTo>
                  <a:pt x="630" y="807"/>
                </a:lnTo>
                <a:lnTo>
                  <a:pt x="630" y="807"/>
                </a:lnTo>
                <a:lnTo>
                  <a:pt x="630" y="812"/>
                </a:lnTo>
                <a:lnTo>
                  <a:pt x="630" y="812"/>
                </a:lnTo>
                <a:lnTo>
                  <a:pt x="627" y="814"/>
                </a:lnTo>
                <a:lnTo>
                  <a:pt x="627" y="814"/>
                </a:lnTo>
                <a:lnTo>
                  <a:pt x="627" y="819"/>
                </a:lnTo>
                <a:lnTo>
                  <a:pt x="627" y="819"/>
                </a:lnTo>
                <a:lnTo>
                  <a:pt x="625" y="819"/>
                </a:lnTo>
                <a:lnTo>
                  <a:pt x="625" y="819"/>
                </a:lnTo>
                <a:lnTo>
                  <a:pt x="622" y="826"/>
                </a:lnTo>
                <a:lnTo>
                  <a:pt x="622" y="826"/>
                </a:lnTo>
                <a:lnTo>
                  <a:pt x="622" y="826"/>
                </a:lnTo>
                <a:lnTo>
                  <a:pt x="622" y="831"/>
                </a:lnTo>
                <a:lnTo>
                  <a:pt x="622" y="831"/>
                </a:lnTo>
                <a:lnTo>
                  <a:pt x="620" y="836"/>
                </a:lnTo>
                <a:lnTo>
                  <a:pt x="620" y="836"/>
                </a:lnTo>
                <a:lnTo>
                  <a:pt x="620" y="839"/>
                </a:lnTo>
                <a:lnTo>
                  <a:pt x="620" y="839"/>
                </a:lnTo>
                <a:lnTo>
                  <a:pt x="615" y="839"/>
                </a:lnTo>
                <a:lnTo>
                  <a:pt x="615" y="839"/>
                </a:lnTo>
                <a:lnTo>
                  <a:pt x="615" y="841"/>
                </a:lnTo>
                <a:lnTo>
                  <a:pt x="615" y="841"/>
                </a:lnTo>
                <a:lnTo>
                  <a:pt x="617" y="841"/>
                </a:lnTo>
                <a:lnTo>
                  <a:pt x="617" y="841"/>
                </a:lnTo>
                <a:lnTo>
                  <a:pt x="620" y="844"/>
                </a:lnTo>
                <a:lnTo>
                  <a:pt x="620" y="844"/>
                </a:lnTo>
                <a:lnTo>
                  <a:pt x="617" y="846"/>
                </a:lnTo>
                <a:lnTo>
                  <a:pt x="617" y="846"/>
                </a:lnTo>
                <a:lnTo>
                  <a:pt x="620" y="849"/>
                </a:lnTo>
                <a:lnTo>
                  <a:pt x="620" y="849"/>
                </a:lnTo>
                <a:lnTo>
                  <a:pt x="620" y="853"/>
                </a:lnTo>
                <a:lnTo>
                  <a:pt x="620" y="853"/>
                </a:lnTo>
                <a:lnTo>
                  <a:pt x="620" y="853"/>
                </a:lnTo>
                <a:lnTo>
                  <a:pt x="617" y="861"/>
                </a:lnTo>
                <a:lnTo>
                  <a:pt x="617" y="861"/>
                </a:lnTo>
                <a:lnTo>
                  <a:pt x="612" y="866"/>
                </a:lnTo>
                <a:lnTo>
                  <a:pt x="612" y="866"/>
                </a:lnTo>
                <a:lnTo>
                  <a:pt x="605" y="866"/>
                </a:lnTo>
                <a:lnTo>
                  <a:pt x="605" y="866"/>
                </a:lnTo>
                <a:lnTo>
                  <a:pt x="605" y="871"/>
                </a:lnTo>
                <a:lnTo>
                  <a:pt x="605" y="871"/>
                </a:lnTo>
                <a:lnTo>
                  <a:pt x="608" y="866"/>
                </a:lnTo>
                <a:lnTo>
                  <a:pt x="608" y="866"/>
                </a:lnTo>
                <a:lnTo>
                  <a:pt x="615" y="866"/>
                </a:lnTo>
                <a:lnTo>
                  <a:pt x="615" y="866"/>
                </a:lnTo>
                <a:lnTo>
                  <a:pt x="620" y="858"/>
                </a:lnTo>
                <a:lnTo>
                  <a:pt x="620" y="858"/>
                </a:lnTo>
                <a:lnTo>
                  <a:pt x="625" y="851"/>
                </a:lnTo>
                <a:lnTo>
                  <a:pt x="625" y="851"/>
                </a:lnTo>
                <a:lnTo>
                  <a:pt x="635" y="851"/>
                </a:lnTo>
                <a:lnTo>
                  <a:pt x="635" y="851"/>
                </a:lnTo>
                <a:lnTo>
                  <a:pt x="637" y="851"/>
                </a:lnTo>
                <a:lnTo>
                  <a:pt x="637" y="851"/>
                </a:lnTo>
                <a:lnTo>
                  <a:pt x="637" y="856"/>
                </a:lnTo>
                <a:lnTo>
                  <a:pt x="637" y="856"/>
                </a:lnTo>
                <a:lnTo>
                  <a:pt x="635" y="858"/>
                </a:lnTo>
                <a:lnTo>
                  <a:pt x="635" y="858"/>
                </a:lnTo>
                <a:lnTo>
                  <a:pt x="635" y="861"/>
                </a:lnTo>
                <a:lnTo>
                  <a:pt x="635" y="861"/>
                </a:lnTo>
                <a:lnTo>
                  <a:pt x="637" y="866"/>
                </a:lnTo>
                <a:lnTo>
                  <a:pt x="637" y="866"/>
                </a:lnTo>
                <a:lnTo>
                  <a:pt x="637" y="873"/>
                </a:lnTo>
                <a:lnTo>
                  <a:pt x="637" y="873"/>
                </a:lnTo>
                <a:lnTo>
                  <a:pt x="635" y="878"/>
                </a:lnTo>
                <a:lnTo>
                  <a:pt x="635" y="878"/>
                </a:lnTo>
                <a:lnTo>
                  <a:pt x="637" y="880"/>
                </a:lnTo>
                <a:lnTo>
                  <a:pt x="637" y="880"/>
                </a:lnTo>
                <a:lnTo>
                  <a:pt x="637" y="888"/>
                </a:lnTo>
                <a:lnTo>
                  <a:pt x="637" y="888"/>
                </a:lnTo>
                <a:lnTo>
                  <a:pt x="637" y="890"/>
                </a:lnTo>
                <a:lnTo>
                  <a:pt x="637" y="890"/>
                </a:lnTo>
                <a:lnTo>
                  <a:pt x="627" y="900"/>
                </a:lnTo>
                <a:lnTo>
                  <a:pt x="627" y="900"/>
                </a:lnTo>
                <a:lnTo>
                  <a:pt x="622" y="900"/>
                </a:lnTo>
                <a:lnTo>
                  <a:pt x="622" y="900"/>
                </a:lnTo>
                <a:lnTo>
                  <a:pt x="620" y="900"/>
                </a:lnTo>
                <a:lnTo>
                  <a:pt x="620" y="900"/>
                </a:lnTo>
                <a:lnTo>
                  <a:pt x="622" y="903"/>
                </a:lnTo>
                <a:lnTo>
                  <a:pt x="622" y="903"/>
                </a:lnTo>
                <a:lnTo>
                  <a:pt x="627" y="903"/>
                </a:lnTo>
                <a:lnTo>
                  <a:pt x="627" y="903"/>
                </a:lnTo>
                <a:lnTo>
                  <a:pt x="637" y="898"/>
                </a:lnTo>
                <a:lnTo>
                  <a:pt x="637" y="898"/>
                </a:lnTo>
                <a:lnTo>
                  <a:pt x="649" y="895"/>
                </a:lnTo>
                <a:lnTo>
                  <a:pt x="649" y="895"/>
                </a:lnTo>
                <a:lnTo>
                  <a:pt x="654" y="893"/>
                </a:lnTo>
                <a:lnTo>
                  <a:pt x="654" y="893"/>
                </a:lnTo>
                <a:lnTo>
                  <a:pt x="662" y="898"/>
                </a:lnTo>
                <a:lnTo>
                  <a:pt x="662" y="898"/>
                </a:lnTo>
                <a:lnTo>
                  <a:pt x="667" y="903"/>
                </a:lnTo>
                <a:lnTo>
                  <a:pt x="667" y="903"/>
                </a:lnTo>
                <a:lnTo>
                  <a:pt x="672" y="905"/>
                </a:lnTo>
                <a:lnTo>
                  <a:pt x="672" y="905"/>
                </a:lnTo>
                <a:lnTo>
                  <a:pt x="674" y="905"/>
                </a:lnTo>
                <a:lnTo>
                  <a:pt x="674" y="905"/>
                </a:lnTo>
                <a:lnTo>
                  <a:pt x="676" y="908"/>
                </a:lnTo>
                <a:lnTo>
                  <a:pt x="676" y="908"/>
                </a:lnTo>
                <a:lnTo>
                  <a:pt x="681" y="912"/>
                </a:lnTo>
                <a:lnTo>
                  <a:pt x="681" y="912"/>
                </a:lnTo>
                <a:lnTo>
                  <a:pt x="684" y="912"/>
                </a:lnTo>
                <a:lnTo>
                  <a:pt x="684" y="912"/>
                </a:lnTo>
                <a:lnTo>
                  <a:pt x="686" y="917"/>
                </a:lnTo>
                <a:lnTo>
                  <a:pt x="686" y="917"/>
                </a:lnTo>
                <a:lnTo>
                  <a:pt x="689" y="920"/>
                </a:lnTo>
                <a:lnTo>
                  <a:pt x="689" y="920"/>
                </a:lnTo>
                <a:lnTo>
                  <a:pt x="689" y="922"/>
                </a:lnTo>
                <a:lnTo>
                  <a:pt x="689" y="922"/>
                </a:lnTo>
                <a:lnTo>
                  <a:pt x="691" y="925"/>
                </a:lnTo>
                <a:lnTo>
                  <a:pt x="691" y="925"/>
                </a:lnTo>
                <a:lnTo>
                  <a:pt x="694" y="930"/>
                </a:lnTo>
                <a:lnTo>
                  <a:pt x="694" y="930"/>
                </a:lnTo>
                <a:lnTo>
                  <a:pt x="694" y="930"/>
                </a:lnTo>
                <a:lnTo>
                  <a:pt x="696" y="930"/>
                </a:lnTo>
                <a:lnTo>
                  <a:pt x="696" y="930"/>
                </a:lnTo>
                <a:lnTo>
                  <a:pt x="696" y="932"/>
                </a:lnTo>
                <a:lnTo>
                  <a:pt x="696" y="932"/>
                </a:lnTo>
                <a:lnTo>
                  <a:pt x="703" y="935"/>
                </a:lnTo>
                <a:lnTo>
                  <a:pt x="703" y="935"/>
                </a:lnTo>
                <a:lnTo>
                  <a:pt x="706" y="937"/>
                </a:lnTo>
                <a:lnTo>
                  <a:pt x="706" y="937"/>
                </a:lnTo>
                <a:lnTo>
                  <a:pt x="711" y="940"/>
                </a:lnTo>
                <a:lnTo>
                  <a:pt x="711" y="940"/>
                </a:lnTo>
                <a:lnTo>
                  <a:pt x="713" y="940"/>
                </a:lnTo>
                <a:lnTo>
                  <a:pt x="713" y="940"/>
                </a:lnTo>
                <a:lnTo>
                  <a:pt x="718" y="944"/>
                </a:lnTo>
                <a:lnTo>
                  <a:pt x="718" y="944"/>
                </a:lnTo>
                <a:lnTo>
                  <a:pt x="718" y="947"/>
                </a:lnTo>
                <a:lnTo>
                  <a:pt x="718" y="947"/>
                </a:lnTo>
                <a:lnTo>
                  <a:pt x="723" y="952"/>
                </a:lnTo>
                <a:lnTo>
                  <a:pt x="723" y="952"/>
                </a:lnTo>
                <a:lnTo>
                  <a:pt x="721" y="952"/>
                </a:lnTo>
                <a:lnTo>
                  <a:pt x="721" y="952"/>
                </a:lnTo>
                <a:lnTo>
                  <a:pt x="723" y="954"/>
                </a:lnTo>
                <a:lnTo>
                  <a:pt x="723" y="954"/>
                </a:lnTo>
                <a:lnTo>
                  <a:pt x="728" y="954"/>
                </a:lnTo>
                <a:lnTo>
                  <a:pt x="728" y="954"/>
                </a:lnTo>
                <a:lnTo>
                  <a:pt x="728" y="954"/>
                </a:lnTo>
                <a:lnTo>
                  <a:pt x="733" y="954"/>
                </a:lnTo>
                <a:lnTo>
                  <a:pt x="733" y="954"/>
                </a:lnTo>
                <a:lnTo>
                  <a:pt x="740" y="954"/>
                </a:lnTo>
                <a:lnTo>
                  <a:pt x="740" y="954"/>
                </a:lnTo>
                <a:lnTo>
                  <a:pt x="740" y="954"/>
                </a:lnTo>
                <a:lnTo>
                  <a:pt x="743" y="954"/>
                </a:lnTo>
                <a:lnTo>
                  <a:pt x="743" y="954"/>
                </a:lnTo>
                <a:lnTo>
                  <a:pt x="748" y="957"/>
                </a:lnTo>
                <a:lnTo>
                  <a:pt x="748" y="957"/>
                </a:lnTo>
                <a:lnTo>
                  <a:pt x="753" y="957"/>
                </a:lnTo>
                <a:lnTo>
                  <a:pt x="753" y="957"/>
                </a:lnTo>
                <a:lnTo>
                  <a:pt x="755" y="957"/>
                </a:lnTo>
                <a:lnTo>
                  <a:pt x="755" y="957"/>
                </a:lnTo>
                <a:lnTo>
                  <a:pt x="758" y="957"/>
                </a:lnTo>
                <a:lnTo>
                  <a:pt x="758" y="957"/>
                </a:lnTo>
                <a:lnTo>
                  <a:pt x="758" y="957"/>
                </a:lnTo>
                <a:lnTo>
                  <a:pt x="760" y="957"/>
                </a:lnTo>
                <a:lnTo>
                  <a:pt x="760" y="957"/>
                </a:lnTo>
                <a:lnTo>
                  <a:pt x="760" y="957"/>
                </a:lnTo>
                <a:lnTo>
                  <a:pt x="760" y="962"/>
                </a:lnTo>
                <a:lnTo>
                  <a:pt x="760" y="962"/>
                </a:lnTo>
                <a:lnTo>
                  <a:pt x="758" y="969"/>
                </a:lnTo>
                <a:lnTo>
                  <a:pt x="758" y="969"/>
                </a:lnTo>
                <a:lnTo>
                  <a:pt x="758" y="971"/>
                </a:lnTo>
                <a:lnTo>
                  <a:pt x="758" y="971"/>
                </a:lnTo>
                <a:lnTo>
                  <a:pt x="755" y="974"/>
                </a:lnTo>
                <a:lnTo>
                  <a:pt x="755" y="974"/>
                </a:lnTo>
                <a:lnTo>
                  <a:pt x="753" y="979"/>
                </a:lnTo>
                <a:lnTo>
                  <a:pt x="753" y="979"/>
                </a:lnTo>
                <a:lnTo>
                  <a:pt x="753" y="981"/>
                </a:lnTo>
                <a:lnTo>
                  <a:pt x="753" y="981"/>
                </a:lnTo>
                <a:lnTo>
                  <a:pt x="755" y="984"/>
                </a:lnTo>
                <a:lnTo>
                  <a:pt x="755" y="984"/>
                </a:lnTo>
                <a:lnTo>
                  <a:pt x="755" y="989"/>
                </a:lnTo>
                <a:lnTo>
                  <a:pt x="755" y="989"/>
                </a:lnTo>
                <a:lnTo>
                  <a:pt x="750" y="996"/>
                </a:lnTo>
                <a:lnTo>
                  <a:pt x="750" y="996"/>
                </a:lnTo>
                <a:lnTo>
                  <a:pt x="750" y="999"/>
                </a:lnTo>
                <a:lnTo>
                  <a:pt x="750" y="999"/>
                </a:lnTo>
                <a:lnTo>
                  <a:pt x="750" y="1003"/>
                </a:lnTo>
                <a:lnTo>
                  <a:pt x="750" y="1003"/>
                </a:lnTo>
                <a:lnTo>
                  <a:pt x="745" y="1006"/>
                </a:lnTo>
                <a:lnTo>
                  <a:pt x="745" y="1006"/>
                </a:lnTo>
                <a:lnTo>
                  <a:pt x="745" y="1011"/>
                </a:lnTo>
                <a:lnTo>
                  <a:pt x="745" y="1011"/>
                </a:lnTo>
                <a:lnTo>
                  <a:pt x="745" y="1013"/>
                </a:lnTo>
                <a:lnTo>
                  <a:pt x="745" y="1013"/>
                </a:lnTo>
                <a:lnTo>
                  <a:pt x="748" y="1016"/>
                </a:lnTo>
                <a:lnTo>
                  <a:pt x="748" y="1016"/>
                </a:lnTo>
                <a:lnTo>
                  <a:pt x="748" y="1021"/>
                </a:lnTo>
                <a:lnTo>
                  <a:pt x="748" y="1021"/>
                </a:lnTo>
                <a:lnTo>
                  <a:pt x="750" y="1021"/>
                </a:lnTo>
                <a:lnTo>
                  <a:pt x="750" y="1021"/>
                </a:lnTo>
                <a:lnTo>
                  <a:pt x="753" y="1023"/>
                </a:lnTo>
                <a:lnTo>
                  <a:pt x="753" y="1023"/>
                </a:lnTo>
                <a:lnTo>
                  <a:pt x="753" y="1026"/>
                </a:lnTo>
                <a:lnTo>
                  <a:pt x="753" y="1026"/>
                </a:lnTo>
                <a:lnTo>
                  <a:pt x="753" y="1028"/>
                </a:lnTo>
                <a:lnTo>
                  <a:pt x="753" y="1028"/>
                </a:lnTo>
                <a:lnTo>
                  <a:pt x="753" y="1031"/>
                </a:lnTo>
                <a:lnTo>
                  <a:pt x="753" y="1031"/>
                </a:lnTo>
                <a:lnTo>
                  <a:pt x="755" y="1031"/>
                </a:lnTo>
                <a:lnTo>
                  <a:pt x="755" y="1031"/>
                </a:lnTo>
                <a:lnTo>
                  <a:pt x="760" y="1033"/>
                </a:lnTo>
                <a:lnTo>
                  <a:pt x="760" y="1033"/>
                </a:lnTo>
                <a:lnTo>
                  <a:pt x="760" y="1033"/>
                </a:lnTo>
                <a:lnTo>
                  <a:pt x="760" y="1035"/>
                </a:lnTo>
                <a:lnTo>
                  <a:pt x="760" y="1035"/>
                </a:lnTo>
                <a:lnTo>
                  <a:pt x="763" y="1038"/>
                </a:lnTo>
                <a:lnTo>
                  <a:pt x="763" y="1038"/>
                </a:lnTo>
                <a:lnTo>
                  <a:pt x="763" y="1043"/>
                </a:lnTo>
                <a:lnTo>
                  <a:pt x="763" y="1043"/>
                </a:lnTo>
                <a:lnTo>
                  <a:pt x="763" y="1045"/>
                </a:lnTo>
                <a:lnTo>
                  <a:pt x="763" y="1045"/>
                </a:lnTo>
                <a:lnTo>
                  <a:pt x="763" y="1048"/>
                </a:lnTo>
                <a:lnTo>
                  <a:pt x="763" y="1048"/>
                </a:lnTo>
                <a:lnTo>
                  <a:pt x="758" y="1055"/>
                </a:lnTo>
                <a:lnTo>
                  <a:pt x="758" y="1055"/>
                </a:lnTo>
                <a:lnTo>
                  <a:pt x="760" y="1053"/>
                </a:lnTo>
                <a:lnTo>
                  <a:pt x="760" y="1053"/>
                </a:lnTo>
                <a:lnTo>
                  <a:pt x="765" y="1050"/>
                </a:lnTo>
                <a:lnTo>
                  <a:pt x="765" y="1050"/>
                </a:lnTo>
                <a:lnTo>
                  <a:pt x="770" y="1050"/>
                </a:lnTo>
                <a:lnTo>
                  <a:pt x="770" y="1050"/>
                </a:lnTo>
                <a:lnTo>
                  <a:pt x="772" y="1053"/>
                </a:lnTo>
                <a:lnTo>
                  <a:pt x="772" y="1053"/>
                </a:lnTo>
                <a:lnTo>
                  <a:pt x="775" y="1053"/>
                </a:lnTo>
                <a:lnTo>
                  <a:pt x="775" y="1053"/>
                </a:lnTo>
                <a:lnTo>
                  <a:pt x="775" y="1050"/>
                </a:lnTo>
                <a:lnTo>
                  <a:pt x="775" y="1050"/>
                </a:lnTo>
                <a:lnTo>
                  <a:pt x="775" y="1048"/>
                </a:lnTo>
                <a:lnTo>
                  <a:pt x="775" y="1048"/>
                </a:lnTo>
                <a:lnTo>
                  <a:pt x="780" y="1040"/>
                </a:lnTo>
                <a:lnTo>
                  <a:pt x="780" y="1040"/>
                </a:lnTo>
                <a:lnTo>
                  <a:pt x="782" y="1040"/>
                </a:lnTo>
                <a:lnTo>
                  <a:pt x="782" y="1040"/>
                </a:lnTo>
                <a:lnTo>
                  <a:pt x="780" y="1043"/>
                </a:lnTo>
                <a:lnTo>
                  <a:pt x="780" y="1043"/>
                </a:lnTo>
                <a:lnTo>
                  <a:pt x="782" y="1045"/>
                </a:lnTo>
                <a:lnTo>
                  <a:pt x="782" y="1045"/>
                </a:lnTo>
                <a:lnTo>
                  <a:pt x="782" y="1045"/>
                </a:lnTo>
                <a:lnTo>
                  <a:pt x="785" y="1053"/>
                </a:lnTo>
                <a:lnTo>
                  <a:pt x="785" y="1053"/>
                </a:lnTo>
                <a:lnTo>
                  <a:pt x="782" y="1055"/>
                </a:lnTo>
                <a:lnTo>
                  <a:pt x="782" y="1055"/>
                </a:lnTo>
                <a:lnTo>
                  <a:pt x="787" y="1058"/>
                </a:lnTo>
                <a:lnTo>
                  <a:pt x="787" y="1058"/>
                </a:lnTo>
                <a:lnTo>
                  <a:pt x="792" y="1060"/>
                </a:lnTo>
                <a:lnTo>
                  <a:pt x="792" y="1060"/>
                </a:lnTo>
                <a:lnTo>
                  <a:pt x="790" y="1058"/>
                </a:lnTo>
                <a:lnTo>
                  <a:pt x="790" y="1058"/>
                </a:lnTo>
                <a:lnTo>
                  <a:pt x="787" y="1055"/>
                </a:lnTo>
                <a:lnTo>
                  <a:pt x="787" y="1055"/>
                </a:lnTo>
                <a:lnTo>
                  <a:pt x="785" y="1050"/>
                </a:lnTo>
                <a:lnTo>
                  <a:pt x="785" y="1050"/>
                </a:lnTo>
                <a:lnTo>
                  <a:pt x="787" y="1045"/>
                </a:lnTo>
                <a:lnTo>
                  <a:pt x="787" y="1045"/>
                </a:lnTo>
                <a:lnTo>
                  <a:pt x="787" y="1043"/>
                </a:lnTo>
                <a:lnTo>
                  <a:pt x="787" y="1043"/>
                </a:lnTo>
                <a:lnTo>
                  <a:pt x="787" y="1043"/>
                </a:lnTo>
                <a:lnTo>
                  <a:pt x="787" y="1038"/>
                </a:lnTo>
                <a:lnTo>
                  <a:pt x="787" y="1038"/>
                </a:lnTo>
                <a:lnTo>
                  <a:pt x="787" y="1040"/>
                </a:lnTo>
                <a:lnTo>
                  <a:pt x="787" y="1040"/>
                </a:lnTo>
                <a:lnTo>
                  <a:pt x="790" y="1040"/>
                </a:lnTo>
                <a:lnTo>
                  <a:pt x="790" y="1040"/>
                </a:lnTo>
                <a:lnTo>
                  <a:pt x="790" y="1035"/>
                </a:lnTo>
                <a:lnTo>
                  <a:pt x="790" y="1035"/>
                </a:lnTo>
                <a:lnTo>
                  <a:pt x="795" y="1031"/>
                </a:lnTo>
                <a:lnTo>
                  <a:pt x="795" y="1031"/>
                </a:lnTo>
                <a:lnTo>
                  <a:pt x="792" y="1031"/>
                </a:lnTo>
                <a:lnTo>
                  <a:pt x="792" y="1031"/>
                </a:lnTo>
                <a:lnTo>
                  <a:pt x="792" y="1026"/>
                </a:lnTo>
                <a:lnTo>
                  <a:pt x="792" y="1026"/>
                </a:lnTo>
                <a:lnTo>
                  <a:pt x="792" y="1023"/>
                </a:lnTo>
                <a:lnTo>
                  <a:pt x="792" y="1023"/>
                </a:lnTo>
                <a:lnTo>
                  <a:pt x="792" y="1021"/>
                </a:lnTo>
                <a:lnTo>
                  <a:pt x="792" y="1021"/>
                </a:lnTo>
                <a:lnTo>
                  <a:pt x="795" y="1018"/>
                </a:lnTo>
                <a:lnTo>
                  <a:pt x="795" y="1018"/>
                </a:lnTo>
                <a:lnTo>
                  <a:pt x="792" y="1016"/>
                </a:lnTo>
                <a:lnTo>
                  <a:pt x="792" y="1016"/>
                </a:lnTo>
                <a:lnTo>
                  <a:pt x="792" y="1013"/>
                </a:lnTo>
                <a:lnTo>
                  <a:pt x="792" y="1013"/>
                </a:lnTo>
                <a:lnTo>
                  <a:pt x="792" y="1013"/>
                </a:lnTo>
                <a:lnTo>
                  <a:pt x="790" y="1011"/>
                </a:lnTo>
                <a:lnTo>
                  <a:pt x="790" y="1011"/>
                </a:lnTo>
                <a:lnTo>
                  <a:pt x="792" y="1003"/>
                </a:lnTo>
                <a:lnTo>
                  <a:pt x="792" y="1003"/>
                </a:lnTo>
                <a:lnTo>
                  <a:pt x="792" y="1001"/>
                </a:lnTo>
                <a:lnTo>
                  <a:pt x="792" y="1001"/>
                </a:lnTo>
                <a:lnTo>
                  <a:pt x="792" y="996"/>
                </a:lnTo>
                <a:lnTo>
                  <a:pt x="792" y="996"/>
                </a:lnTo>
                <a:lnTo>
                  <a:pt x="795" y="994"/>
                </a:lnTo>
                <a:lnTo>
                  <a:pt x="795" y="994"/>
                </a:lnTo>
                <a:lnTo>
                  <a:pt x="795" y="991"/>
                </a:lnTo>
                <a:lnTo>
                  <a:pt x="795" y="991"/>
                </a:lnTo>
                <a:lnTo>
                  <a:pt x="795" y="991"/>
                </a:lnTo>
                <a:lnTo>
                  <a:pt x="795" y="989"/>
                </a:lnTo>
                <a:lnTo>
                  <a:pt x="795" y="989"/>
                </a:lnTo>
                <a:lnTo>
                  <a:pt x="797" y="986"/>
                </a:lnTo>
                <a:lnTo>
                  <a:pt x="797" y="986"/>
                </a:lnTo>
                <a:lnTo>
                  <a:pt x="795" y="986"/>
                </a:lnTo>
                <a:lnTo>
                  <a:pt x="795" y="986"/>
                </a:lnTo>
                <a:lnTo>
                  <a:pt x="795" y="984"/>
                </a:lnTo>
                <a:lnTo>
                  <a:pt x="795" y="984"/>
                </a:lnTo>
                <a:lnTo>
                  <a:pt x="795" y="984"/>
                </a:lnTo>
                <a:lnTo>
                  <a:pt x="795" y="981"/>
                </a:lnTo>
                <a:lnTo>
                  <a:pt x="795" y="981"/>
                </a:lnTo>
                <a:lnTo>
                  <a:pt x="795" y="979"/>
                </a:lnTo>
                <a:lnTo>
                  <a:pt x="795" y="979"/>
                </a:lnTo>
                <a:lnTo>
                  <a:pt x="792" y="976"/>
                </a:lnTo>
                <a:lnTo>
                  <a:pt x="792" y="976"/>
                </a:lnTo>
                <a:lnTo>
                  <a:pt x="792" y="971"/>
                </a:lnTo>
                <a:lnTo>
                  <a:pt x="792" y="971"/>
                </a:lnTo>
                <a:lnTo>
                  <a:pt x="792" y="971"/>
                </a:lnTo>
                <a:lnTo>
                  <a:pt x="795" y="969"/>
                </a:lnTo>
                <a:lnTo>
                  <a:pt x="795" y="969"/>
                </a:lnTo>
                <a:lnTo>
                  <a:pt x="802" y="969"/>
                </a:lnTo>
                <a:lnTo>
                  <a:pt x="802" y="969"/>
                </a:lnTo>
                <a:lnTo>
                  <a:pt x="804" y="967"/>
                </a:lnTo>
                <a:lnTo>
                  <a:pt x="804" y="967"/>
                </a:lnTo>
                <a:lnTo>
                  <a:pt x="809" y="967"/>
                </a:lnTo>
                <a:lnTo>
                  <a:pt x="809" y="967"/>
                </a:lnTo>
                <a:lnTo>
                  <a:pt x="809" y="964"/>
                </a:lnTo>
                <a:lnTo>
                  <a:pt x="809" y="964"/>
                </a:lnTo>
                <a:lnTo>
                  <a:pt x="817" y="962"/>
                </a:lnTo>
                <a:lnTo>
                  <a:pt x="817" y="962"/>
                </a:lnTo>
                <a:lnTo>
                  <a:pt x="826" y="957"/>
                </a:lnTo>
                <a:lnTo>
                  <a:pt x="826" y="957"/>
                </a:lnTo>
                <a:lnTo>
                  <a:pt x="826" y="957"/>
                </a:lnTo>
                <a:lnTo>
                  <a:pt x="826" y="954"/>
                </a:lnTo>
                <a:lnTo>
                  <a:pt x="826" y="954"/>
                </a:lnTo>
                <a:lnTo>
                  <a:pt x="834" y="952"/>
                </a:lnTo>
                <a:lnTo>
                  <a:pt x="834" y="952"/>
                </a:lnTo>
                <a:lnTo>
                  <a:pt x="836" y="949"/>
                </a:lnTo>
                <a:lnTo>
                  <a:pt x="836" y="949"/>
                </a:lnTo>
                <a:lnTo>
                  <a:pt x="839" y="947"/>
                </a:lnTo>
                <a:lnTo>
                  <a:pt x="839" y="947"/>
                </a:lnTo>
                <a:lnTo>
                  <a:pt x="844" y="940"/>
                </a:lnTo>
                <a:lnTo>
                  <a:pt x="844" y="940"/>
                </a:lnTo>
                <a:lnTo>
                  <a:pt x="846" y="942"/>
                </a:lnTo>
                <a:lnTo>
                  <a:pt x="846" y="942"/>
                </a:lnTo>
                <a:lnTo>
                  <a:pt x="846" y="942"/>
                </a:lnTo>
                <a:lnTo>
                  <a:pt x="849" y="942"/>
                </a:lnTo>
                <a:lnTo>
                  <a:pt x="849" y="942"/>
                </a:lnTo>
                <a:lnTo>
                  <a:pt x="851" y="940"/>
                </a:lnTo>
                <a:lnTo>
                  <a:pt x="851" y="940"/>
                </a:lnTo>
                <a:lnTo>
                  <a:pt x="849" y="937"/>
                </a:lnTo>
                <a:lnTo>
                  <a:pt x="849" y="937"/>
                </a:lnTo>
                <a:lnTo>
                  <a:pt x="849" y="932"/>
                </a:lnTo>
                <a:lnTo>
                  <a:pt x="849" y="932"/>
                </a:lnTo>
                <a:lnTo>
                  <a:pt x="846" y="935"/>
                </a:lnTo>
                <a:lnTo>
                  <a:pt x="846" y="935"/>
                </a:lnTo>
                <a:lnTo>
                  <a:pt x="846" y="937"/>
                </a:lnTo>
                <a:lnTo>
                  <a:pt x="846" y="937"/>
                </a:lnTo>
                <a:lnTo>
                  <a:pt x="846" y="937"/>
                </a:lnTo>
                <a:lnTo>
                  <a:pt x="846" y="932"/>
                </a:lnTo>
                <a:lnTo>
                  <a:pt x="846" y="932"/>
                </a:lnTo>
                <a:lnTo>
                  <a:pt x="849" y="925"/>
                </a:lnTo>
                <a:lnTo>
                  <a:pt x="849" y="925"/>
                </a:lnTo>
                <a:lnTo>
                  <a:pt x="851" y="925"/>
                </a:lnTo>
                <a:lnTo>
                  <a:pt x="851" y="925"/>
                </a:lnTo>
                <a:lnTo>
                  <a:pt x="851" y="920"/>
                </a:lnTo>
                <a:lnTo>
                  <a:pt x="851" y="920"/>
                </a:lnTo>
                <a:lnTo>
                  <a:pt x="851" y="915"/>
                </a:lnTo>
                <a:lnTo>
                  <a:pt x="851" y="915"/>
                </a:lnTo>
                <a:lnTo>
                  <a:pt x="849" y="910"/>
                </a:lnTo>
                <a:lnTo>
                  <a:pt x="849" y="910"/>
                </a:lnTo>
                <a:lnTo>
                  <a:pt x="849" y="900"/>
                </a:lnTo>
                <a:lnTo>
                  <a:pt x="849" y="900"/>
                </a:lnTo>
                <a:lnTo>
                  <a:pt x="849" y="893"/>
                </a:lnTo>
                <a:lnTo>
                  <a:pt x="849" y="893"/>
                </a:lnTo>
                <a:lnTo>
                  <a:pt x="844" y="885"/>
                </a:lnTo>
                <a:lnTo>
                  <a:pt x="844" y="885"/>
                </a:lnTo>
                <a:lnTo>
                  <a:pt x="839" y="883"/>
                </a:lnTo>
                <a:lnTo>
                  <a:pt x="839" y="883"/>
                </a:lnTo>
                <a:lnTo>
                  <a:pt x="839" y="880"/>
                </a:lnTo>
                <a:lnTo>
                  <a:pt x="839" y="880"/>
                </a:lnTo>
                <a:lnTo>
                  <a:pt x="836" y="880"/>
                </a:lnTo>
                <a:lnTo>
                  <a:pt x="836" y="880"/>
                </a:lnTo>
                <a:lnTo>
                  <a:pt x="834" y="878"/>
                </a:lnTo>
                <a:lnTo>
                  <a:pt x="834" y="878"/>
                </a:lnTo>
                <a:lnTo>
                  <a:pt x="836" y="871"/>
                </a:lnTo>
                <a:lnTo>
                  <a:pt x="836" y="871"/>
                </a:lnTo>
                <a:lnTo>
                  <a:pt x="839" y="871"/>
                </a:lnTo>
                <a:lnTo>
                  <a:pt x="839" y="871"/>
                </a:lnTo>
                <a:lnTo>
                  <a:pt x="849" y="861"/>
                </a:lnTo>
                <a:lnTo>
                  <a:pt x="849" y="861"/>
                </a:lnTo>
                <a:lnTo>
                  <a:pt x="851" y="861"/>
                </a:lnTo>
                <a:lnTo>
                  <a:pt x="851" y="861"/>
                </a:lnTo>
                <a:lnTo>
                  <a:pt x="851" y="858"/>
                </a:lnTo>
                <a:lnTo>
                  <a:pt x="851" y="858"/>
                </a:lnTo>
                <a:lnTo>
                  <a:pt x="851" y="856"/>
                </a:lnTo>
                <a:lnTo>
                  <a:pt x="851" y="856"/>
                </a:lnTo>
                <a:lnTo>
                  <a:pt x="851" y="856"/>
                </a:lnTo>
                <a:lnTo>
                  <a:pt x="851" y="853"/>
                </a:lnTo>
                <a:lnTo>
                  <a:pt x="851" y="853"/>
                </a:lnTo>
                <a:lnTo>
                  <a:pt x="854" y="851"/>
                </a:lnTo>
                <a:lnTo>
                  <a:pt x="854" y="851"/>
                </a:lnTo>
                <a:lnTo>
                  <a:pt x="856" y="851"/>
                </a:lnTo>
                <a:lnTo>
                  <a:pt x="856" y="851"/>
                </a:lnTo>
                <a:lnTo>
                  <a:pt x="858" y="853"/>
                </a:lnTo>
                <a:lnTo>
                  <a:pt x="858" y="853"/>
                </a:lnTo>
                <a:lnTo>
                  <a:pt x="858" y="856"/>
                </a:lnTo>
                <a:lnTo>
                  <a:pt x="858" y="856"/>
                </a:lnTo>
                <a:lnTo>
                  <a:pt x="858" y="853"/>
                </a:lnTo>
                <a:lnTo>
                  <a:pt x="858" y="853"/>
                </a:lnTo>
                <a:lnTo>
                  <a:pt x="858" y="851"/>
                </a:lnTo>
                <a:lnTo>
                  <a:pt x="858" y="851"/>
                </a:lnTo>
                <a:lnTo>
                  <a:pt x="861" y="849"/>
                </a:lnTo>
                <a:lnTo>
                  <a:pt x="861" y="849"/>
                </a:lnTo>
                <a:lnTo>
                  <a:pt x="866" y="844"/>
                </a:lnTo>
                <a:lnTo>
                  <a:pt x="866" y="844"/>
                </a:lnTo>
                <a:lnTo>
                  <a:pt x="863" y="841"/>
                </a:lnTo>
                <a:lnTo>
                  <a:pt x="863" y="841"/>
                </a:lnTo>
                <a:lnTo>
                  <a:pt x="861" y="841"/>
                </a:lnTo>
                <a:lnTo>
                  <a:pt x="861" y="841"/>
                </a:lnTo>
                <a:lnTo>
                  <a:pt x="861" y="839"/>
                </a:lnTo>
                <a:lnTo>
                  <a:pt x="861" y="839"/>
                </a:lnTo>
                <a:lnTo>
                  <a:pt x="863" y="836"/>
                </a:lnTo>
                <a:lnTo>
                  <a:pt x="863" y="836"/>
                </a:lnTo>
                <a:lnTo>
                  <a:pt x="861" y="834"/>
                </a:lnTo>
                <a:lnTo>
                  <a:pt x="861" y="834"/>
                </a:lnTo>
                <a:lnTo>
                  <a:pt x="861" y="831"/>
                </a:lnTo>
                <a:lnTo>
                  <a:pt x="861" y="831"/>
                </a:lnTo>
                <a:lnTo>
                  <a:pt x="863" y="829"/>
                </a:lnTo>
                <a:lnTo>
                  <a:pt x="863" y="829"/>
                </a:lnTo>
                <a:lnTo>
                  <a:pt x="866" y="829"/>
                </a:lnTo>
                <a:lnTo>
                  <a:pt x="866" y="829"/>
                </a:lnTo>
                <a:lnTo>
                  <a:pt x="861" y="829"/>
                </a:lnTo>
                <a:lnTo>
                  <a:pt x="861" y="829"/>
                </a:lnTo>
                <a:lnTo>
                  <a:pt x="861" y="826"/>
                </a:lnTo>
                <a:lnTo>
                  <a:pt x="861" y="826"/>
                </a:lnTo>
                <a:lnTo>
                  <a:pt x="863" y="821"/>
                </a:lnTo>
                <a:lnTo>
                  <a:pt x="863" y="821"/>
                </a:lnTo>
                <a:lnTo>
                  <a:pt x="866" y="821"/>
                </a:lnTo>
                <a:lnTo>
                  <a:pt x="866" y="821"/>
                </a:lnTo>
                <a:lnTo>
                  <a:pt x="863" y="819"/>
                </a:lnTo>
                <a:lnTo>
                  <a:pt x="863" y="819"/>
                </a:lnTo>
                <a:lnTo>
                  <a:pt x="858" y="821"/>
                </a:lnTo>
                <a:lnTo>
                  <a:pt x="858" y="821"/>
                </a:lnTo>
                <a:lnTo>
                  <a:pt x="856" y="819"/>
                </a:lnTo>
                <a:lnTo>
                  <a:pt x="856" y="819"/>
                </a:lnTo>
                <a:lnTo>
                  <a:pt x="856" y="817"/>
                </a:lnTo>
                <a:lnTo>
                  <a:pt x="856" y="817"/>
                </a:lnTo>
                <a:lnTo>
                  <a:pt x="863" y="812"/>
                </a:lnTo>
                <a:lnTo>
                  <a:pt x="863" y="812"/>
                </a:lnTo>
                <a:lnTo>
                  <a:pt x="868" y="807"/>
                </a:lnTo>
                <a:lnTo>
                  <a:pt x="868" y="807"/>
                </a:lnTo>
                <a:lnTo>
                  <a:pt x="868" y="802"/>
                </a:lnTo>
                <a:lnTo>
                  <a:pt x="868" y="802"/>
                </a:lnTo>
                <a:lnTo>
                  <a:pt x="871" y="804"/>
                </a:lnTo>
                <a:lnTo>
                  <a:pt x="871" y="804"/>
                </a:lnTo>
                <a:lnTo>
                  <a:pt x="871" y="802"/>
                </a:lnTo>
                <a:lnTo>
                  <a:pt x="871" y="802"/>
                </a:lnTo>
                <a:lnTo>
                  <a:pt x="871" y="797"/>
                </a:lnTo>
                <a:lnTo>
                  <a:pt x="871" y="797"/>
                </a:lnTo>
                <a:lnTo>
                  <a:pt x="871" y="797"/>
                </a:lnTo>
                <a:lnTo>
                  <a:pt x="871" y="797"/>
                </a:lnTo>
                <a:lnTo>
                  <a:pt x="868" y="797"/>
                </a:lnTo>
                <a:lnTo>
                  <a:pt x="868" y="797"/>
                </a:lnTo>
                <a:lnTo>
                  <a:pt x="866" y="792"/>
                </a:lnTo>
                <a:lnTo>
                  <a:pt x="866" y="792"/>
                </a:lnTo>
                <a:lnTo>
                  <a:pt x="866" y="787"/>
                </a:lnTo>
                <a:lnTo>
                  <a:pt x="866" y="787"/>
                </a:lnTo>
                <a:lnTo>
                  <a:pt x="868" y="782"/>
                </a:lnTo>
                <a:lnTo>
                  <a:pt x="868" y="782"/>
                </a:lnTo>
                <a:lnTo>
                  <a:pt x="868" y="777"/>
                </a:lnTo>
                <a:lnTo>
                  <a:pt x="868" y="777"/>
                </a:lnTo>
                <a:lnTo>
                  <a:pt x="871" y="777"/>
                </a:lnTo>
                <a:lnTo>
                  <a:pt x="871" y="777"/>
                </a:lnTo>
                <a:lnTo>
                  <a:pt x="873" y="777"/>
                </a:lnTo>
                <a:lnTo>
                  <a:pt x="873" y="777"/>
                </a:lnTo>
                <a:lnTo>
                  <a:pt x="873" y="777"/>
                </a:lnTo>
                <a:lnTo>
                  <a:pt x="873" y="775"/>
                </a:lnTo>
                <a:lnTo>
                  <a:pt x="873" y="775"/>
                </a:lnTo>
                <a:lnTo>
                  <a:pt x="876" y="775"/>
                </a:lnTo>
                <a:lnTo>
                  <a:pt x="876" y="775"/>
                </a:lnTo>
                <a:lnTo>
                  <a:pt x="878" y="775"/>
                </a:lnTo>
                <a:lnTo>
                  <a:pt x="878" y="775"/>
                </a:lnTo>
                <a:lnTo>
                  <a:pt x="881" y="772"/>
                </a:lnTo>
                <a:lnTo>
                  <a:pt x="881" y="772"/>
                </a:lnTo>
                <a:lnTo>
                  <a:pt x="883" y="775"/>
                </a:lnTo>
                <a:lnTo>
                  <a:pt x="883" y="775"/>
                </a:lnTo>
                <a:lnTo>
                  <a:pt x="888" y="775"/>
                </a:lnTo>
                <a:lnTo>
                  <a:pt x="888" y="775"/>
                </a:lnTo>
                <a:lnTo>
                  <a:pt x="893" y="777"/>
                </a:lnTo>
                <a:lnTo>
                  <a:pt x="893" y="777"/>
                </a:lnTo>
                <a:lnTo>
                  <a:pt x="900" y="782"/>
                </a:lnTo>
                <a:lnTo>
                  <a:pt x="900" y="782"/>
                </a:lnTo>
                <a:lnTo>
                  <a:pt x="903" y="782"/>
                </a:lnTo>
                <a:lnTo>
                  <a:pt x="903" y="782"/>
                </a:lnTo>
                <a:lnTo>
                  <a:pt x="903" y="785"/>
                </a:lnTo>
                <a:lnTo>
                  <a:pt x="903" y="785"/>
                </a:lnTo>
                <a:lnTo>
                  <a:pt x="898" y="785"/>
                </a:lnTo>
                <a:lnTo>
                  <a:pt x="898" y="785"/>
                </a:lnTo>
                <a:lnTo>
                  <a:pt x="903" y="785"/>
                </a:lnTo>
                <a:lnTo>
                  <a:pt x="903" y="785"/>
                </a:lnTo>
                <a:lnTo>
                  <a:pt x="908" y="782"/>
                </a:lnTo>
                <a:lnTo>
                  <a:pt x="908" y="782"/>
                </a:lnTo>
                <a:lnTo>
                  <a:pt x="910" y="782"/>
                </a:lnTo>
                <a:lnTo>
                  <a:pt x="910" y="782"/>
                </a:lnTo>
                <a:lnTo>
                  <a:pt x="913" y="785"/>
                </a:lnTo>
                <a:lnTo>
                  <a:pt x="913" y="785"/>
                </a:lnTo>
                <a:lnTo>
                  <a:pt x="915" y="785"/>
                </a:lnTo>
                <a:lnTo>
                  <a:pt x="915" y="785"/>
                </a:lnTo>
                <a:lnTo>
                  <a:pt x="918" y="787"/>
                </a:lnTo>
                <a:lnTo>
                  <a:pt x="918" y="787"/>
                </a:lnTo>
                <a:lnTo>
                  <a:pt x="918" y="785"/>
                </a:lnTo>
                <a:lnTo>
                  <a:pt x="918" y="785"/>
                </a:lnTo>
                <a:lnTo>
                  <a:pt x="920" y="785"/>
                </a:lnTo>
                <a:lnTo>
                  <a:pt x="920" y="785"/>
                </a:lnTo>
                <a:lnTo>
                  <a:pt x="922" y="785"/>
                </a:lnTo>
                <a:lnTo>
                  <a:pt x="922" y="785"/>
                </a:lnTo>
                <a:lnTo>
                  <a:pt x="925" y="785"/>
                </a:lnTo>
                <a:lnTo>
                  <a:pt x="925" y="785"/>
                </a:lnTo>
                <a:lnTo>
                  <a:pt x="927" y="782"/>
                </a:lnTo>
                <a:lnTo>
                  <a:pt x="927" y="782"/>
                </a:lnTo>
                <a:lnTo>
                  <a:pt x="932" y="785"/>
                </a:lnTo>
                <a:lnTo>
                  <a:pt x="932" y="785"/>
                </a:lnTo>
                <a:lnTo>
                  <a:pt x="932" y="789"/>
                </a:lnTo>
                <a:lnTo>
                  <a:pt x="932" y="789"/>
                </a:lnTo>
                <a:lnTo>
                  <a:pt x="937" y="792"/>
                </a:lnTo>
                <a:lnTo>
                  <a:pt x="937" y="792"/>
                </a:lnTo>
                <a:lnTo>
                  <a:pt x="940" y="792"/>
                </a:lnTo>
                <a:lnTo>
                  <a:pt x="940" y="792"/>
                </a:lnTo>
                <a:lnTo>
                  <a:pt x="940" y="797"/>
                </a:lnTo>
                <a:lnTo>
                  <a:pt x="940" y="797"/>
                </a:lnTo>
                <a:lnTo>
                  <a:pt x="937" y="799"/>
                </a:lnTo>
                <a:lnTo>
                  <a:pt x="937" y="799"/>
                </a:lnTo>
                <a:lnTo>
                  <a:pt x="937" y="802"/>
                </a:lnTo>
                <a:lnTo>
                  <a:pt x="937" y="802"/>
                </a:lnTo>
                <a:lnTo>
                  <a:pt x="940" y="799"/>
                </a:lnTo>
                <a:lnTo>
                  <a:pt x="940" y="799"/>
                </a:lnTo>
                <a:lnTo>
                  <a:pt x="942" y="802"/>
                </a:lnTo>
                <a:lnTo>
                  <a:pt x="942" y="802"/>
                </a:lnTo>
                <a:lnTo>
                  <a:pt x="945" y="807"/>
                </a:lnTo>
                <a:lnTo>
                  <a:pt x="945" y="807"/>
                </a:lnTo>
                <a:lnTo>
                  <a:pt x="942" y="807"/>
                </a:lnTo>
                <a:lnTo>
                  <a:pt x="942" y="807"/>
                </a:lnTo>
                <a:lnTo>
                  <a:pt x="945" y="809"/>
                </a:lnTo>
                <a:lnTo>
                  <a:pt x="945" y="809"/>
                </a:lnTo>
                <a:lnTo>
                  <a:pt x="947" y="807"/>
                </a:lnTo>
                <a:lnTo>
                  <a:pt x="947" y="807"/>
                </a:lnTo>
                <a:lnTo>
                  <a:pt x="949" y="809"/>
                </a:lnTo>
                <a:lnTo>
                  <a:pt x="949" y="809"/>
                </a:lnTo>
                <a:lnTo>
                  <a:pt x="949" y="812"/>
                </a:lnTo>
                <a:lnTo>
                  <a:pt x="949" y="812"/>
                </a:lnTo>
                <a:lnTo>
                  <a:pt x="947" y="809"/>
                </a:lnTo>
                <a:lnTo>
                  <a:pt x="947" y="809"/>
                </a:lnTo>
                <a:lnTo>
                  <a:pt x="945" y="814"/>
                </a:lnTo>
                <a:lnTo>
                  <a:pt x="945" y="814"/>
                </a:lnTo>
                <a:lnTo>
                  <a:pt x="942" y="814"/>
                </a:lnTo>
                <a:lnTo>
                  <a:pt x="942" y="814"/>
                </a:lnTo>
                <a:lnTo>
                  <a:pt x="947" y="817"/>
                </a:lnTo>
                <a:lnTo>
                  <a:pt x="947" y="817"/>
                </a:lnTo>
                <a:lnTo>
                  <a:pt x="947" y="819"/>
                </a:lnTo>
                <a:lnTo>
                  <a:pt x="947" y="819"/>
                </a:lnTo>
                <a:lnTo>
                  <a:pt x="949" y="817"/>
                </a:lnTo>
                <a:lnTo>
                  <a:pt x="949" y="817"/>
                </a:lnTo>
                <a:lnTo>
                  <a:pt x="949" y="819"/>
                </a:lnTo>
                <a:lnTo>
                  <a:pt x="949" y="819"/>
                </a:lnTo>
                <a:lnTo>
                  <a:pt x="952" y="819"/>
                </a:lnTo>
                <a:lnTo>
                  <a:pt x="952" y="819"/>
                </a:lnTo>
                <a:lnTo>
                  <a:pt x="957" y="821"/>
                </a:lnTo>
                <a:lnTo>
                  <a:pt x="957" y="821"/>
                </a:lnTo>
                <a:lnTo>
                  <a:pt x="959" y="821"/>
                </a:lnTo>
                <a:lnTo>
                  <a:pt x="959" y="821"/>
                </a:lnTo>
                <a:lnTo>
                  <a:pt x="959" y="824"/>
                </a:lnTo>
                <a:lnTo>
                  <a:pt x="959" y="824"/>
                </a:lnTo>
                <a:lnTo>
                  <a:pt x="962" y="821"/>
                </a:lnTo>
                <a:lnTo>
                  <a:pt x="962" y="821"/>
                </a:lnTo>
                <a:lnTo>
                  <a:pt x="967" y="824"/>
                </a:lnTo>
                <a:lnTo>
                  <a:pt x="967" y="824"/>
                </a:lnTo>
                <a:lnTo>
                  <a:pt x="967" y="829"/>
                </a:lnTo>
                <a:lnTo>
                  <a:pt x="967" y="829"/>
                </a:lnTo>
                <a:lnTo>
                  <a:pt x="967" y="831"/>
                </a:lnTo>
                <a:lnTo>
                  <a:pt x="967" y="831"/>
                </a:lnTo>
                <a:lnTo>
                  <a:pt x="972" y="829"/>
                </a:lnTo>
                <a:lnTo>
                  <a:pt x="972" y="829"/>
                </a:lnTo>
                <a:lnTo>
                  <a:pt x="972" y="824"/>
                </a:lnTo>
                <a:lnTo>
                  <a:pt x="972" y="824"/>
                </a:lnTo>
                <a:lnTo>
                  <a:pt x="974" y="824"/>
                </a:lnTo>
                <a:lnTo>
                  <a:pt x="974" y="824"/>
                </a:lnTo>
                <a:lnTo>
                  <a:pt x="974" y="829"/>
                </a:lnTo>
                <a:lnTo>
                  <a:pt x="974" y="829"/>
                </a:lnTo>
                <a:lnTo>
                  <a:pt x="974" y="834"/>
                </a:lnTo>
                <a:lnTo>
                  <a:pt x="974" y="834"/>
                </a:lnTo>
                <a:lnTo>
                  <a:pt x="969" y="834"/>
                </a:lnTo>
                <a:lnTo>
                  <a:pt x="969" y="834"/>
                </a:lnTo>
                <a:lnTo>
                  <a:pt x="967" y="839"/>
                </a:lnTo>
                <a:lnTo>
                  <a:pt x="967" y="839"/>
                </a:lnTo>
                <a:lnTo>
                  <a:pt x="967" y="846"/>
                </a:lnTo>
                <a:lnTo>
                  <a:pt x="967" y="846"/>
                </a:lnTo>
                <a:lnTo>
                  <a:pt x="967" y="849"/>
                </a:lnTo>
                <a:lnTo>
                  <a:pt x="967" y="849"/>
                </a:lnTo>
                <a:lnTo>
                  <a:pt x="967" y="846"/>
                </a:lnTo>
                <a:lnTo>
                  <a:pt x="967" y="846"/>
                </a:lnTo>
                <a:lnTo>
                  <a:pt x="964" y="849"/>
                </a:lnTo>
                <a:lnTo>
                  <a:pt x="964" y="849"/>
                </a:lnTo>
                <a:lnTo>
                  <a:pt x="964" y="851"/>
                </a:lnTo>
                <a:lnTo>
                  <a:pt x="964" y="851"/>
                </a:lnTo>
                <a:lnTo>
                  <a:pt x="957" y="851"/>
                </a:lnTo>
                <a:lnTo>
                  <a:pt x="957" y="851"/>
                </a:lnTo>
                <a:lnTo>
                  <a:pt x="949" y="849"/>
                </a:lnTo>
                <a:lnTo>
                  <a:pt x="949" y="849"/>
                </a:lnTo>
                <a:lnTo>
                  <a:pt x="957" y="853"/>
                </a:lnTo>
                <a:lnTo>
                  <a:pt x="957" y="853"/>
                </a:lnTo>
                <a:lnTo>
                  <a:pt x="962" y="853"/>
                </a:lnTo>
                <a:lnTo>
                  <a:pt x="962" y="853"/>
                </a:lnTo>
                <a:lnTo>
                  <a:pt x="967" y="856"/>
                </a:lnTo>
                <a:lnTo>
                  <a:pt x="967" y="856"/>
                </a:lnTo>
                <a:lnTo>
                  <a:pt x="964" y="863"/>
                </a:lnTo>
                <a:lnTo>
                  <a:pt x="964" y="863"/>
                </a:lnTo>
                <a:lnTo>
                  <a:pt x="962" y="866"/>
                </a:lnTo>
                <a:lnTo>
                  <a:pt x="962" y="866"/>
                </a:lnTo>
                <a:lnTo>
                  <a:pt x="962" y="868"/>
                </a:lnTo>
                <a:lnTo>
                  <a:pt x="962" y="868"/>
                </a:lnTo>
                <a:lnTo>
                  <a:pt x="959" y="873"/>
                </a:lnTo>
                <a:lnTo>
                  <a:pt x="959" y="873"/>
                </a:lnTo>
                <a:lnTo>
                  <a:pt x="959" y="873"/>
                </a:lnTo>
                <a:lnTo>
                  <a:pt x="964" y="878"/>
                </a:lnTo>
                <a:lnTo>
                  <a:pt x="964" y="878"/>
                </a:lnTo>
                <a:lnTo>
                  <a:pt x="967" y="880"/>
                </a:lnTo>
                <a:lnTo>
                  <a:pt x="967" y="880"/>
                </a:lnTo>
                <a:lnTo>
                  <a:pt x="964" y="880"/>
                </a:lnTo>
                <a:lnTo>
                  <a:pt x="964" y="880"/>
                </a:lnTo>
                <a:lnTo>
                  <a:pt x="959" y="878"/>
                </a:lnTo>
                <a:lnTo>
                  <a:pt x="959" y="878"/>
                </a:lnTo>
                <a:lnTo>
                  <a:pt x="962" y="883"/>
                </a:lnTo>
                <a:lnTo>
                  <a:pt x="962" y="883"/>
                </a:lnTo>
                <a:lnTo>
                  <a:pt x="967" y="885"/>
                </a:lnTo>
                <a:lnTo>
                  <a:pt x="967" y="885"/>
                </a:lnTo>
                <a:lnTo>
                  <a:pt x="967" y="885"/>
                </a:lnTo>
                <a:lnTo>
                  <a:pt x="967" y="880"/>
                </a:lnTo>
                <a:lnTo>
                  <a:pt x="967" y="880"/>
                </a:lnTo>
                <a:lnTo>
                  <a:pt x="969" y="880"/>
                </a:lnTo>
                <a:lnTo>
                  <a:pt x="969" y="880"/>
                </a:lnTo>
                <a:lnTo>
                  <a:pt x="972" y="885"/>
                </a:lnTo>
                <a:lnTo>
                  <a:pt x="972" y="885"/>
                </a:lnTo>
                <a:lnTo>
                  <a:pt x="974" y="888"/>
                </a:lnTo>
                <a:lnTo>
                  <a:pt x="974" y="888"/>
                </a:lnTo>
                <a:lnTo>
                  <a:pt x="972" y="890"/>
                </a:lnTo>
                <a:lnTo>
                  <a:pt x="972" y="890"/>
                </a:lnTo>
                <a:lnTo>
                  <a:pt x="972" y="895"/>
                </a:lnTo>
                <a:lnTo>
                  <a:pt x="972" y="895"/>
                </a:lnTo>
                <a:lnTo>
                  <a:pt x="969" y="900"/>
                </a:lnTo>
                <a:lnTo>
                  <a:pt x="969" y="900"/>
                </a:lnTo>
                <a:lnTo>
                  <a:pt x="969" y="903"/>
                </a:lnTo>
                <a:lnTo>
                  <a:pt x="969" y="903"/>
                </a:lnTo>
                <a:lnTo>
                  <a:pt x="967" y="905"/>
                </a:lnTo>
                <a:lnTo>
                  <a:pt x="967" y="905"/>
                </a:lnTo>
                <a:lnTo>
                  <a:pt x="969" y="905"/>
                </a:lnTo>
                <a:lnTo>
                  <a:pt x="969" y="905"/>
                </a:lnTo>
                <a:lnTo>
                  <a:pt x="974" y="895"/>
                </a:lnTo>
                <a:lnTo>
                  <a:pt x="974" y="895"/>
                </a:lnTo>
                <a:lnTo>
                  <a:pt x="979" y="893"/>
                </a:lnTo>
                <a:lnTo>
                  <a:pt x="979" y="893"/>
                </a:lnTo>
                <a:lnTo>
                  <a:pt x="979" y="893"/>
                </a:lnTo>
                <a:lnTo>
                  <a:pt x="979" y="895"/>
                </a:lnTo>
                <a:lnTo>
                  <a:pt x="979" y="895"/>
                </a:lnTo>
                <a:lnTo>
                  <a:pt x="979" y="900"/>
                </a:lnTo>
                <a:lnTo>
                  <a:pt x="979" y="900"/>
                </a:lnTo>
                <a:lnTo>
                  <a:pt x="977" y="903"/>
                </a:lnTo>
                <a:lnTo>
                  <a:pt x="977" y="903"/>
                </a:lnTo>
                <a:lnTo>
                  <a:pt x="979" y="905"/>
                </a:lnTo>
                <a:lnTo>
                  <a:pt x="979" y="905"/>
                </a:lnTo>
                <a:lnTo>
                  <a:pt x="977" y="908"/>
                </a:lnTo>
                <a:lnTo>
                  <a:pt x="977" y="908"/>
                </a:lnTo>
                <a:lnTo>
                  <a:pt x="979" y="905"/>
                </a:lnTo>
                <a:lnTo>
                  <a:pt x="979" y="905"/>
                </a:lnTo>
                <a:lnTo>
                  <a:pt x="981" y="900"/>
                </a:lnTo>
                <a:lnTo>
                  <a:pt x="981" y="900"/>
                </a:lnTo>
                <a:lnTo>
                  <a:pt x="984" y="898"/>
                </a:lnTo>
                <a:lnTo>
                  <a:pt x="984" y="898"/>
                </a:lnTo>
                <a:lnTo>
                  <a:pt x="986" y="898"/>
                </a:lnTo>
                <a:lnTo>
                  <a:pt x="986" y="898"/>
                </a:lnTo>
                <a:lnTo>
                  <a:pt x="989" y="895"/>
                </a:lnTo>
                <a:lnTo>
                  <a:pt x="989" y="895"/>
                </a:lnTo>
                <a:lnTo>
                  <a:pt x="991" y="895"/>
                </a:lnTo>
                <a:lnTo>
                  <a:pt x="991" y="895"/>
                </a:lnTo>
                <a:lnTo>
                  <a:pt x="991" y="898"/>
                </a:lnTo>
                <a:lnTo>
                  <a:pt x="991" y="898"/>
                </a:lnTo>
                <a:lnTo>
                  <a:pt x="994" y="895"/>
                </a:lnTo>
                <a:lnTo>
                  <a:pt x="994" y="895"/>
                </a:lnTo>
                <a:lnTo>
                  <a:pt x="996" y="895"/>
                </a:lnTo>
                <a:lnTo>
                  <a:pt x="996" y="895"/>
                </a:lnTo>
                <a:lnTo>
                  <a:pt x="996" y="893"/>
                </a:lnTo>
                <a:lnTo>
                  <a:pt x="996" y="893"/>
                </a:lnTo>
                <a:lnTo>
                  <a:pt x="999" y="890"/>
                </a:lnTo>
                <a:lnTo>
                  <a:pt x="999" y="890"/>
                </a:lnTo>
                <a:lnTo>
                  <a:pt x="1004" y="885"/>
                </a:lnTo>
                <a:lnTo>
                  <a:pt x="1004" y="885"/>
                </a:lnTo>
                <a:lnTo>
                  <a:pt x="1004" y="888"/>
                </a:lnTo>
                <a:lnTo>
                  <a:pt x="1004" y="888"/>
                </a:lnTo>
                <a:lnTo>
                  <a:pt x="1006" y="893"/>
                </a:lnTo>
                <a:lnTo>
                  <a:pt x="1006" y="893"/>
                </a:lnTo>
                <a:lnTo>
                  <a:pt x="1006" y="895"/>
                </a:lnTo>
                <a:lnTo>
                  <a:pt x="1006" y="895"/>
                </a:lnTo>
                <a:lnTo>
                  <a:pt x="1006" y="890"/>
                </a:lnTo>
                <a:lnTo>
                  <a:pt x="1006" y="890"/>
                </a:lnTo>
                <a:lnTo>
                  <a:pt x="1006" y="888"/>
                </a:lnTo>
                <a:lnTo>
                  <a:pt x="1006" y="888"/>
                </a:lnTo>
                <a:lnTo>
                  <a:pt x="1009" y="885"/>
                </a:lnTo>
                <a:lnTo>
                  <a:pt x="1009" y="885"/>
                </a:lnTo>
                <a:lnTo>
                  <a:pt x="1009" y="885"/>
                </a:lnTo>
                <a:lnTo>
                  <a:pt x="1011" y="883"/>
                </a:lnTo>
                <a:lnTo>
                  <a:pt x="1011" y="883"/>
                </a:lnTo>
                <a:lnTo>
                  <a:pt x="1013" y="880"/>
                </a:lnTo>
                <a:lnTo>
                  <a:pt x="1013" y="880"/>
                </a:lnTo>
                <a:lnTo>
                  <a:pt x="1013" y="878"/>
                </a:lnTo>
                <a:lnTo>
                  <a:pt x="1013" y="878"/>
                </a:lnTo>
                <a:lnTo>
                  <a:pt x="1016" y="876"/>
                </a:lnTo>
                <a:lnTo>
                  <a:pt x="1016" y="876"/>
                </a:lnTo>
                <a:lnTo>
                  <a:pt x="1018" y="873"/>
                </a:lnTo>
                <a:lnTo>
                  <a:pt x="1018" y="873"/>
                </a:lnTo>
                <a:lnTo>
                  <a:pt x="1018" y="871"/>
                </a:lnTo>
                <a:lnTo>
                  <a:pt x="1018" y="871"/>
                </a:lnTo>
                <a:lnTo>
                  <a:pt x="1021" y="871"/>
                </a:lnTo>
                <a:lnTo>
                  <a:pt x="1021" y="871"/>
                </a:lnTo>
                <a:lnTo>
                  <a:pt x="1023" y="873"/>
                </a:lnTo>
                <a:lnTo>
                  <a:pt x="1023" y="873"/>
                </a:lnTo>
                <a:lnTo>
                  <a:pt x="1023" y="873"/>
                </a:lnTo>
                <a:lnTo>
                  <a:pt x="1021" y="871"/>
                </a:lnTo>
                <a:lnTo>
                  <a:pt x="1021" y="871"/>
                </a:lnTo>
                <a:lnTo>
                  <a:pt x="1018" y="871"/>
                </a:lnTo>
                <a:lnTo>
                  <a:pt x="1018" y="871"/>
                </a:lnTo>
                <a:lnTo>
                  <a:pt x="1018" y="868"/>
                </a:lnTo>
                <a:lnTo>
                  <a:pt x="1018" y="868"/>
                </a:lnTo>
                <a:lnTo>
                  <a:pt x="1021" y="863"/>
                </a:lnTo>
                <a:lnTo>
                  <a:pt x="1021" y="863"/>
                </a:lnTo>
                <a:lnTo>
                  <a:pt x="1023" y="863"/>
                </a:lnTo>
                <a:lnTo>
                  <a:pt x="1023" y="863"/>
                </a:lnTo>
                <a:lnTo>
                  <a:pt x="1023" y="863"/>
                </a:lnTo>
                <a:lnTo>
                  <a:pt x="1023" y="861"/>
                </a:lnTo>
                <a:lnTo>
                  <a:pt x="1023" y="861"/>
                </a:lnTo>
                <a:lnTo>
                  <a:pt x="1026" y="861"/>
                </a:lnTo>
                <a:lnTo>
                  <a:pt x="1026" y="861"/>
                </a:lnTo>
                <a:lnTo>
                  <a:pt x="1026" y="858"/>
                </a:lnTo>
                <a:lnTo>
                  <a:pt x="1026" y="858"/>
                </a:lnTo>
                <a:lnTo>
                  <a:pt x="1028" y="853"/>
                </a:lnTo>
                <a:lnTo>
                  <a:pt x="1028" y="853"/>
                </a:lnTo>
                <a:lnTo>
                  <a:pt x="1031" y="851"/>
                </a:lnTo>
                <a:lnTo>
                  <a:pt x="1031" y="851"/>
                </a:lnTo>
                <a:lnTo>
                  <a:pt x="1031" y="849"/>
                </a:lnTo>
                <a:lnTo>
                  <a:pt x="1031" y="849"/>
                </a:lnTo>
                <a:lnTo>
                  <a:pt x="1033" y="846"/>
                </a:lnTo>
                <a:lnTo>
                  <a:pt x="1033" y="846"/>
                </a:lnTo>
                <a:lnTo>
                  <a:pt x="1036" y="844"/>
                </a:lnTo>
                <a:lnTo>
                  <a:pt x="1036" y="844"/>
                </a:lnTo>
                <a:lnTo>
                  <a:pt x="1038" y="846"/>
                </a:lnTo>
                <a:lnTo>
                  <a:pt x="1038" y="846"/>
                </a:lnTo>
                <a:lnTo>
                  <a:pt x="1036" y="849"/>
                </a:lnTo>
                <a:lnTo>
                  <a:pt x="1036" y="849"/>
                </a:lnTo>
                <a:lnTo>
                  <a:pt x="1038" y="846"/>
                </a:lnTo>
                <a:lnTo>
                  <a:pt x="1038" y="846"/>
                </a:lnTo>
                <a:lnTo>
                  <a:pt x="1038" y="849"/>
                </a:lnTo>
                <a:lnTo>
                  <a:pt x="1038" y="849"/>
                </a:lnTo>
                <a:lnTo>
                  <a:pt x="1036" y="849"/>
                </a:lnTo>
                <a:lnTo>
                  <a:pt x="1036" y="849"/>
                </a:lnTo>
                <a:lnTo>
                  <a:pt x="1036" y="851"/>
                </a:lnTo>
                <a:lnTo>
                  <a:pt x="1036" y="851"/>
                </a:lnTo>
                <a:lnTo>
                  <a:pt x="1038" y="853"/>
                </a:lnTo>
                <a:lnTo>
                  <a:pt x="1038" y="853"/>
                </a:lnTo>
                <a:lnTo>
                  <a:pt x="1036" y="856"/>
                </a:lnTo>
                <a:lnTo>
                  <a:pt x="1036" y="856"/>
                </a:lnTo>
                <a:lnTo>
                  <a:pt x="1036" y="856"/>
                </a:lnTo>
                <a:lnTo>
                  <a:pt x="1036" y="856"/>
                </a:lnTo>
                <a:lnTo>
                  <a:pt x="1036" y="856"/>
                </a:lnTo>
                <a:lnTo>
                  <a:pt x="1038" y="856"/>
                </a:lnTo>
                <a:lnTo>
                  <a:pt x="1038" y="856"/>
                </a:lnTo>
                <a:lnTo>
                  <a:pt x="1038" y="861"/>
                </a:lnTo>
                <a:lnTo>
                  <a:pt x="1038" y="861"/>
                </a:lnTo>
                <a:lnTo>
                  <a:pt x="1036" y="861"/>
                </a:lnTo>
                <a:lnTo>
                  <a:pt x="1036" y="861"/>
                </a:lnTo>
                <a:lnTo>
                  <a:pt x="1038" y="861"/>
                </a:lnTo>
                <a:lnTo>
                  <a:pt x="1038" y="861"/>
                </a:lnTo>
                <a:lnTo>
                  <a:pt x="1038" y="863"/>
                </a:lnTo>
                <a:lnTo>
                  <a:pt x="1038" y="863"/>
                </a:lnTo>
                <a:lnTo>
                  <a:pt x="1038" y="866"/>
                </a:lnTo>
                <a:lnTo>
                  <a:pt x="1038" y="866"/>
                </a:lnTo>
                <a:lnTo>
                  <a:pt x="1038" y="868"/>
                </a:lnTo>
                <a:lnTo>
                  <a:pt x="1038" y="868"/>
                </a:lnTo>
                <a:lnTo>
                  <a:pt x="1041" y="871"/>
                </a:lnTo>
                <a:lnTo>
                  <a:pt x="1041" y="871"/>
                </a:lnTo>
                <a:lnTo>
                  <a:pt x="1041" y="873"/>
                </a:lnTo>
                <a:lnTo>
                  <a:pt x="1041" y="873"/>
                </a:lnTo>
                <a:lnTo>
                  <a:pt x="1041" y="876"/>
                </a:lnTo>
                <a:lnTo>
                  <a:pt x="1041" y="876"/>
                </a:lnTo>
                <a:lnTo>
                  <a:pt x="1038" y="873"/>
                </a:lnTo>
                <a:lnTo>
                  <a:pt x="1038" y="873"/>
                </a:lnTo>
                <a:lnTo>
                  <a:pt x="1036" y="876"/>
                </a:lnTo>
                <a:lnTo>
                  <a:pt x="1036" y="876"/>
                </a:lnTo>
                <a:lnTo>
                  <a:pt x="1038" y="878"/>
                </a:lnTo>
                <a:lnTo>
                  <a:pt x="1038" y="878"/>
                </a:lnTo>
                <a:lnTo>
                  <a:pt x="1038" y="878"/>
                </a:lnTo>
                <a:lnTo>
                  <a:pt x="1041" y="878"/>
                </a:lnTo>
                <a:lnTo>
                  <a:pt x="1041" y="878"/>
                </a:lnTo>
                <a:lnTo>
                  <a:pt x="1043" y="876"/>
                </a:lnTo>
                <a:lnTo>
                  <a:pt x="1043" y="876"/>
                </a:lnTo>
                <a:lnTo>
                  <a:pt x="1043" y="878"/>
                </a:lnTo>
                <a:lnTo>
                  <a:pt x="1043" y="878"/>
                </a:lnTo>
                <a:lnTo>
                  <a:pt x="1045" y="880"/>
                </a:lnTo>
                <a:lnTo>
                  <a:pt x="1045" y="880"/>
                </a:lnTo>
                <a:lnTo>
                  <a:pt x="1043" y="883"/>
                </a:lnTo>
                <a:lnTo>
                  <a:pt x="1043" y="883"/>
                </a:lnTo>
                <a:lnTo>
                  <a:pt x="1041" y="885"/>
                </a:lnTo>
                <a:lnTo>
                  <a:pt x="1041" y="885"/>
                </a:lnTo>
                <a:lnTo>
                  <a:pt x="1036" y="883"/>
                </a:lnTo>
                <a:lnTo>
                  <a:pt x="1036" y="883"/>
                </a:lnTo>
                <a:lnTo>
                  <a:pt x="1036" y="885"/>
                </a:lnTo>
                <a:lnTo>
                  <a:pt x="1036" y="885"/>
                </a:lnTo>
                <a:lnTo>
                  <a:pt x="1038" y="888"/>
                </a:lnTo>
                <a:lnTo>
                  <a:pt x="1038" y="888"/>
                </a:lnTo>
                <a:lnTo>
                  <a:pt x="1043" y="885"/>
                </a:lnTo>
                <a:lnTo>
                  <a:pt x="1043" y="885"/>
                </a:lnTo>
                <a:lnTo>
                  <a:pt x="1045" y="885"/>
                </a:lnTo>
                <a:lnTo>
                  <a:pt x="1045" y="885"/>
                </a:lnTo>
                <a:lnTo>
                  <a:pt x="1045" y="888"/>
                </a:lnTo>
                <a:lnTo>
                  <a:pt x="1045" y="888"/>
                </a:lnTo>
                <a:lnTo>
                  <a:pt x="1043" y="893"/>
                </a:lnTo>
                <a:lnTo>
                  <a:pt x="1043" y="893"/>
                </a:lnTo>
                <a:lnTo>
                  <a:pt x="1045" y="893"/>
                </a:lnTo>
                <a:lnTo>
                  <a:pt x="1045" y="893"/>
                </a:lnTo>
                <a:lnTo>
                  <a:pt x="1048" y="890"/>
                </a:lnTo>
                <a:lnTo>
                  <a:pt x="1048" y="890"/>
                </a:lnTo>
                <a:lnTo>
                  <a:pt x="1048" y="895"/>
                </a:lnTo>
                <a:lnTo>
                  <a:pt x="1048" y="895"/>
                </a:lnTo>
                <a:lnTo>
                  <a:pt x="1045" y="898"/>
                </a:lnTo>
                <a:lnTo>
                  <a:pt x="1045" y="898"/>
                </a:lnTo>
                <a:lnTo>
                  <a:pt x="1041" y="898"/>
                </a:lnTo>
                <a:lnTo>
                  <a:pt x="1041" y="898"/>
                </a:lnTo>
                <a:lnTo>
                  <a:pt x="1038" y="898"/>
                </a:lnTo>
                <a:lnTo>
                  <a:pt x="1038" y="898"/>
                </a:lnTo>
                <a:lnTo>
                  <a:pt x="1038" y="898"/>
                </a:lnTo>
                <a:lnTo>
                  <a:pt x="1038" y="900"/>
                </a:lnTo>
                <a:lnTo>
                  <a:pt x="1038" y="900"/>
                </a:lnTo>
                <a:lnTo>
                  <a:pt x="1036" y="903"/>
                </a:lnTo>
                <a:lnTo>
                  <a:pt x="1036" y="903"/>
                </a:lnTo>
                <a:lnTo>
                  <a:pt x="1041" y="903"/>
                </a:lnTo>
                <a:lnTo>
                  <a:pt x="1041" y="903"/>
                </a:lnTo>
                <a:lnTo>
                  <a:pt x="1045" y="903"/>
                </a:lnTo>
                <a:lnTo>
                  <a:pt x="1045" y="903"/>
                </a:lnTo>
                <a:lnTo>
                  <a:pt x="1048" y="900"/>
                </a:lnTo>
                <a:lnTo>
                  <a:pt x="1048" y="900"/>
                </a:lnTo>
                <a:lnTo>
                  <a:pt x="1050" y="900"/>
                </a:lnTo>
                <a:lnTo>
                  <a:pt x="1050" y="900"/>
                </a:lnTo>
                <a:lnTo>
                  <a:pt x="1048" y="903"/>
                </a:lnTo>
                <a:lnTo>
                  <a:pt x="1048" y="903"/>
                </a:lnTo>
                <a:lnTo>
                  <a:pt x="1048" y="905"/>
                </a:lnTo>
                <a:lnTo>
                  <a:pt x="1048" y="905"/>
                </a:lnTo>
                <a:lnTo>
                  <a:pt x="1045" y="905"/>
                </a:lnTo>
                <a:lnTo>
                  <a:pt x="1045" y="905"/>
                </a:lnTo>
                <a:lnTo>
                  <a:pt x="1043" y="905"/>
                </a:lnTo>
                <a:lnTo>
                  <a:pt x="1043" y="905"/>
                </a:lnTo>
                <a:lnTo>
                  <a:pt x="1038" y="912"/>
                </a:lnTo>
                <a:lnTo>
                  <a:pt x="1038" y="912"/>
                </a:lnTo>
                <a:lnTo>
                  <a:pt x="1043" y="910"/>
                </a:lnTo>
                <a:lnTo>
                  <a:pt x="1043" y="910"/>
                </a:lnTo>
                <a:lnTo>
                  <a:pt x="1045" y="910"/>
                </a:lnTo>
                <a:lnTo>
                  <a:pt x="1045" y="910"/>
                </a:lnTo>
                <a:lnTo>
                  <a:pt x="1048" y="908"/>
                </a:lnTo>
                <a:lnTo>
                  <a:pt x="1048" y="908"/>
                </a:lnTo>
                <a:lnTo>
                  <a:pt x="1050" y="910"/>
                </a:lnTo>
                <a:lnTo>
                  <a:pt x="1050" y="910"/>
                </a:lnTo>
                <a:lnTo>
                  <a:pt x="1050" y="912"/>
                </a:lnTo>
                <a:lnTo>
                  <a:pt x="1050" y="912"/>
                </a:lnTo>
                <a:lnTo>
                  <a:pt x="1048" y="912"/>
                </a:lnTo>
                <a:lnTo>
                  <a:pt x="1048" y="912"/>
                </a:lnTo>
                <a:lnTo>
                  <a:pt x="1045" y="915"/>
                </a:lnTo>
                <a:lnTo>
                  <a:pt x="1045" y="915"/>
                </a:lnTo>
                <a:lnTo>
                  <a:pt x="1045" y="917"/>
                </a:lnTo>
                <a:lnTo>
                  <a:pt x="1045" y="917"/>
                </a:lnTo>
                <a:lnTo>
                  <a:pt x="1045" y="915"/>
                </a:lnTo>
                <a:lnTo>
                  <a:pt x="1045" y="915"/>
                </a:lnTo>
                <a:lnTo>
                  <a:pt x="1050" y="917"/>
                </a:lnTo>
                <a:lnTo>
                  <a:pt x="1050" y="917"/>
                </a:lnTo>
                <a:lnTo>
                  <a:pt x="1050" y="915"/>
                </a:lnTo>
                <a:lnTo>
                  <a:pt x="1050" y="915"/>
                </a:lnTo>
                <a:lnTo>
                  <a:pt x="1053" y="917"/>
                </a:lnTo>
                <a:lnTo>
                  <a:pt x="1053" y="917"/>
                </a:lnTo>
                <a:lnTo>
                  <a:pt x="1055" y="922"/>
                </a:lnTo>
                <a:lnTo>
                  <a:pt x="1055" y="922"/>
                </a:lnTo>
                <a:lnTo>
                  <a:pt x="1053" y="925"/>
                </a:lnTo>
                <a:lnTo>
                  <a:pt x="1053" y="925"/>
                </a:lnTo>
                <a:lnTo>
                  <a:pt x="1050" y="925"/>
                </a:lnTo>
                <a:lnTo>
                  <a:pt x="1050" y="925"/>
                </a:lnTo>
                <a:lnTo>
                  <a:pt x="1048" y="925"/>
                </a:lnTo>
                <a:lnTo>
                  <a:pt x="1048" y="925"/>
                </a:lnTo>
                <a:lnTo>
                  <a:pt x="1045" y="925"/>
                </a:lnTo>
                <a:lnTo>
                  <a:pt x="1045" y="925"/>
                </a:lnTo>
                <a:lnTo>
                  <a:pt x="1048" y="927"/>
                </a:lnTo>
                <a:lnTo>
                  <a:pt x="1048" y="927"/>
                </a:lnTo>
                <a:lnTo>
                  <a:pt x="1050" y="927"/>
                </a:lnTo>
                <a:lnTo>
                  <a:pt x="1050" y="927"/>
                </a:lnTo>
                <a:lnTo>
                  <a:pt x="1050" y="927"/>
                </a:lnTo>
                <a:lnTo>
                  <a:pt x="1055" y="927"/>
                </a:lnTo>
                <a:lnTo>
                  <a:pt x="1055" y="927"/>
                </a:lnTo>
                <a:lnTo>
                  <a:pt x="1055" y="930"/>
                </a:lnTo>
                <a:lnTo>
                  <a:pt x="1055" y="930"/>
                </a:lnTo>
                <a:lnTo>
                  <a:pt x="1055" y="932"/>
                </a:lnTo>
                <a:lnTo>
                  <a:pt x="1055" y="932"/>
                </a:lnTo>
                <a:lnTo>
                  <a:pt x="1053" y="932"/>
                </a:lnTo>
                <a:lnTo>
                  <a:pt x="1053" y="932"/>
                </a:lnTo>
                <a:lnTo>
                  <a:pt x="1055" y="935"/>
                </a:lnTo>
                <a:lnTo>
                  <a:pt x="1055" y="935"/>
                </a:lnTo>
                <a:lnTo>
                  <a:pt x="1058" y="935"/>
                </a:lnTo>
                <a:lnTo>
                  <a:pt x="1058" y="935"/>
                </a:lnTo>
                <a:lnTo>
                  <a:pt x="1060" y="937"/>
                </a:lnTo>
                <a:lnTo>
                  <a:pt x="1060" y="937"/>
                </a:lnTo>
                <a:lnTo>
                  <a:pt x="1060" y="940"/>
                </a:lnTo>
                <a:lnTo>
                  <a:pt x="1060" y="940"/>
                </a:lnTo>
                <a:lnTo>
                  <a:pt x="1058" y="940"/>
                </a:lnTo>
                <a:lnTo>
                  <a:pt x="1058" y="940"/>
                </a:lnTo>
                <a:lnTo>
                  <a:pt x="1053" y="944"/>
                </a:lnTo>
                <a:lnTo>
                  <a:pt x="1053" y="944"/>
                </a:lnTo>
                <a:lnTo>
                  <a:pt x="1053" y="942"/>
                </a:lnTo>
                <a:lnTo>
                  <a:pt x="1053" y="942"/>
                </a:lnTo>
                <a:lnTo>
                  <a:pt x="1050" y="944"/>
                </a:lnTo>
                <a:lnTo>
                  <a:pt x="1050" y="944"/>
                </a:lnTo>
                <a:lnTo>
                  <a:pt x="1053" y="944"/>
                </a:lnTo>
                <a:lnTo>
                  <a:pt x="1053" y="944"/>
                </a:lnTo>
                <a:lnTo>
                  <a:pt x="1053" y="947"/>
                </a:lnTo>
                <a:lnTo>
                  <a:pt x="1053" y="947"/>
                </a:lnTo>
                <a:lnTo>
                  <a:pt x="1050" y="947"/>
                </a:lnTo>
                <a:lnTo>
                  <a:pt x="1050" y="947"/>
                </a:lnTo>
                <a:lnTo>
                  <a:pt x="1045" y="944"/>
                </a:lnTo>
                <a:lnTo>
                  <a:pt x="1045" y="944"/>
                </a:lnTo>
                <a:lnTo>
                  <a:pt x="1043" y="944"/>
                </a:lnTo>
                <a:lnTo>
                  <a:pt x="1043" y="944"/>
                </a:lnTo>
                <a:lnTo>
                  <a:pt x="1045" y="947"/>
                </a:lnTo>
                <a:lnTo>
                  <a:pt x="1045" y="947"/>
                </a:lnTo>
                <a:lnTo>
                  <a:pt x="1045" y="949"/>
                </a:lnTo>
                <a:lnTo>
                  <a:pt x="1045" y="949"/>
                </a:lnTo>
                <a:lnTo>
                  <a:pt x="1050" y="952"/>
                </a:lnTo>
                <a:lnTo>
                  <a:pt x="1050" y="952"/>
                </a:lnTo>
                <a:lnTo>
                  <a:pt x="1050" y="954"/>
                </a:lnTo>
                <a:lnTo>
                  <a:pt x="1050" y="954"/>
                </a:lnTo>
                <a:lnTo>
                  <a:pt x="1050" y="957"/>
                </a:lnTo>
                <a:lnTo>
                  <a:pt x="1050" y="957"/>
                </a:lnTo>
                <a:lnTo>
                  <a:pt x="1048" y="957"/>
                </a:lnTo>
                <a:lnTo>
                  <a:pt x="1048" y="957"/>
                </a:lnTo>
                <a:lnTo>
                  <a:pt x="1045" y="959"/>
                </a:lnTo>
                <a:lnTo>
                  <a:pt x="1045" y="959"/>
                </a:lnTo>
                <a:lnTo>
                  <a:pt x="1041" y="959"/>
                </a:lnTo>
                <a:lnTo>
                  <a:pt x="1041" y="959"/>
                </a:lnTo>
                <a:lnTo>
                  <a:pt x="1048" y="959"/>
                </a:lnTo>
                <a:lnTo>
                  <a:pt x="1048" y="959"/>
                </a:lnTo>
                <a:lnTo>
                  <a:pt x="1048" y="959"/>
                </a:lnTo>
                <a:lnTo>
                  <a:pt x="1050" y="959"/>
                </a:lnTo>
                <a:lnTo>
                  <a:pt x="1050" y="959"/>
                </a:lnTo>
                <a:lnTo>
                  <a:pt x="1053" y="957"/>
                </a:lnTo>
                <a:lnTo>
                  <a:pt x="1053" y="957"/>
                </a:lnTo>
                <a:lnTo>
                  <a:pt x="1055" y="957"/>
                </a:lnTo>
                <a:lnTo>
                  <a:pt x="1055" y="957"/>
                </a:lnTo>
                <a:lnTo>
                  <a:pt x="1055" y="959"/>
                </a:lnTo>
                <a:lnTo>
                  <a:pt x="1055" y="959"/>
                </a:lnTo>
                <a:lnTo>
                  <a:pt x="1055" y="962"/>
                </a:lnTo>
                <a:lnTo>
                  <a:pt x="1055" y="962"/>
                </a:lnTo>
                <a:lnTo>
                  <a:pt x="1055" y="962"/>
                </a:lnTo>
                <a:lnTo>
                  <a:pt x="1058" y="962"/>
                </a:lnTo>
                <a:lnTo>
                  <a:pt x="1058" y="962"/>
                </a:lnTo>
                <a:lnTo>
                  <a:pt x="1058" y="964"/>
                </a:lnTo>
                <a:lnTo>
                  <a:pt x="1058" y="964"/>
                </a:lnTo>
                <a:lnTo>
                  <a:pt x="1058" y="967"/>
                </a:lnTo>
                <a:lnTo>
                  <a:pt x="1058" y="967"/>
                </a:lnTo>
                <a:lnTo>
                  <a:pt x="1058" y="967"/>
                </a:lnTo>
                <a:lnTo>
                  <a:pt x="1060" y="964"/>
                </a:lnTo>
                <a:lnTo>
                  <a:pt x="1060" y="964"/>
                </a:lnTo>
                <a:lnTo>
                  <a:pt x="1063" y="967"/>
                </a:lnTo>
                <a:lnTo>
                  <a:pt x="1063" y="967"/>
                </a:lnTo>
                <a:lnTo>
                  <a:pt x="1063" y="967"/>
                </a:lnTo>
                <a:lnTo>
                  <a:pt x="1063" y="969"/>
                </a:lnTo>
                <a:lnTo>
                  <a:pt x="1063" y="969"/>
                </a:lnTo>
                <a:lnTo>
                  <a:pt x="1063" y="971"/>
                </a:lnTo>
                <a:lnTo>
                  <a:pt x="1063" y="971"/>
                </a:lnTo>
                <a:lnTo>
                  <a:pt x="1063" y="974"/>
                </a:lnTo>
                <a:lnTo>
                  <a:pt x="1063" y="974"/>
                </a:lnTo>
                <a:lnTo>
                  <a:pt x="1063" y="974"/>
                </a:lnTo>
                <a:lnTo>
                  <a:pt x="1068" y="969"/>
                </a:lnTo>
                <a:lnTo>
                  <a:pt x="1068" y="969"/>
                </a:lnTo>
                <a:lnTo>
                  <a:pt x="1068" y="969"/>
                </a:lnTo>
                <a:lnTo>
                  <a:pt x="1068" y="971"/>
                </a:lnTo>
                <a:lnTo>
                  <a:pt x="1068" y="971"/>
                </a:lnTo>
                <a:lnTo>
                  <a:pt x="1068" y="974"/>
                </a:lnTo>
                <a:lnTo>
                  <a:pt x="1068" y="974"/>
                </a:lnTo>
                <a:lnTo>
                  <a:pt x="1065" y="976"/>
                </a:lnTo>
                <a:lnTo>
                  <a:pt x="1065" y="976"/>
                </a:lnTo>
                <a:lnTo>
                  <a:pt x="1060" y="981"/>
                </a:lnTo>
                <a:lnTo>
                  <a:pt x="1060" y="981"/>
                </a:lnTo>
                <a:lnTo>
                  <a:pt x="1058" y="984"/>
                </a:lnTo>
                <a:lnTo>
                  <a:pt x="1058" y="984"/>
                </a:lnTo>
                <a:lnTo>
                  <a:pt x="1055" y="984"/>
                </a:lnTo>
                <a:lnTo>
                  <a:pt x="1055" y="984"/>
                </a:lnTo>
                <a:lnTo>
                  <a:pt x="1058" y="986"/>
                </a:lnTo>
                <a:lnTo>
                  <a:pt x="1058" y="986"/>
                </a:lnTo>
                <a:lnTo>
                  <a:pt x="1060" y="984"/>
                </a:lnTo>
                <a:lnTo>
                  <a:pt x="1060" y="984"/>
                </a:lnTo>
                <a:lnTo>
                  <a:pt x="1065" y="979"/>
                </a:lnTo>
                <a:lnTo>
                  <a:pt x="1065" y="979"/>
                </a:lnTo>
                <a:lnTo>
                  <a:pt x="1068" y="979"/>
                </a:lnTo>
                <a:lnTo>
                  <a:pt x="1068" y="979"/>
                </a:lnTo>
                <a:lnTo>
                  <a:pt x="1068" y="981"/>
                </a:lnTo>
                <a:lnTo>
                  <a:pt x="1068" y="981"/>
                </a:lnTo>
                <a:lnTo>
                  <a:pt x="1065" y="984"/>
                </a:lnTo>
                <a:lnTo>
                  <a:pt x="1065" y="984"/>
                </a:lnTo>
                <a:lnTo>
                  <a:pt x="1065" y="986"/>
                </a:lnTo>
                <a:lnTo>
                  <a:pt x="1065" y="986"/>
                </a:lnTo>
                <a:lnTo>
                  <a:pt x="1065" y="986"/>
                </a:lnTo>
                <a:lnTo>
                  <a:pt x="1068" y="984"/>
                </a:lnTo>
                <a:lnTo>
                  <a:pt x="1068" y="984"/>
                </a:lnTo>
                <a:lnTo>
                  <a:pt x="1072" y="979"/>
                </a:lnTo>
                <a:lnTo>
                  <a:pt x="1072" y="979"/>
                </a:lnTo>
                <a:lnTo>
                  <a:pt x="1075" y="979"/>
                </a:lnTo>
                <a:lnTo>
                  <a:pt x="1075" y="979"/>
                </a:lnTo>
                <a:lnTo>
                  <a:pt x="1075" y="981"/>
                </a:lnTo>
                <a:lnTo>
                  <a:pt x="1075" y="981"/>
                </a:lnTo>
                <a:lnTo>
                  <a:pt x="1072" y="981"/>
                </a:lnTo>
                <a:lnTo>
                  <a:pt x="1072" y="981"/>
                </a:lnTo>
                <a:lnTo>
                  <a:pt x="1070" y="984"/>
                </a:lnTo>
                <a:lnTo>
                  <a:pt x="1070" y="984"/>
                </a:lnTo>
                <a:lnTo>
                  <a:pt x="1072" y="984"/>
                </a:lnTo>
                <a:lnTo>
                  <a:pt x="1072" y="984"/>
                </a:lnTo>
                <a:lnTo>
                  <a:pt x="1077" y="981"/>
                </a:lnTo>
                <a:lnTo>
                  <a:pt x="1077" y="981"/>
                </a:lnTo>
                <a:lnTo>
                  <a:pt x="1077" y="984"/>
                </a:lnTo>
                <a:lnTo>
                  <a:pt x="1077" y="984"/>
                </a:lnTo>
                <a:lnTo>
                  <a:pt x="1072" y="986"/>
                </a:lnTo>
                <a:lnTo>
                  <a:pt x="1072" y="986"/>
                </a:lnTo>
                <a:lnTo>
                  <a:pt x="1070" y="989"/>
                </a:lnTo>
                <a:lnTo>
                  <a:pt x="1070" y="989"/>
                </a:lnTo>
                <a:lnTo>
                  <a:pt x="1072" y="989"/>
                </a:lnTo>
                <a:lnTo>
                  <a:pt x="1072" y="989"/>
                </a:lnTo>
                <a:lnTo>
                  <a:pt x="1075" y="986"/>
                </a:lnTo>
                <a:lnTo>
                  <a:pt x="1075" y="986"/>
                </a:lnTo>
                <a:lnTo>
                  <a:pt x="1080" y="981"/>
                </a:lnTo>
                <a:lnTo>
                  <a:pt x="1080" y="981"/>
                </a:lnTo>
                <a:lnTo>
                  <a:pt x="1082" y="981"/>
                </a:lnTo>
                <a:lnTo>
                  <a:pt x="1082" y="981"/>
                </a:lnTo>
                <a:lnTo>
                  <a:pt x="1080" y="984"/>
                </a:lnTo>
                <a:lnTo>
                  <a:pt x="1080" y="984"/>
                </a:lnTo>
                <a:lnTo>
                  <a:pt x="1080" y="986"/>
                </a:lnTo>
                <a:lnTo>
                  <a:pt x="1080" y="986"/>
                </a:lnTo>
                <a:lnTo>
                  <a:pt x="1085" y="981"/>
                </a:lnTo>
                <a:lnTo>
                  <a:pt x="1085" y="981"/>
                </a:lnTo>
                <a:lnTo>
                  <a:pt x="1085" y="984"/>
                </a:lnTo>
                <a:lnTo>
                  <a:pt x="1085" y="984"/>
                </a:lnTo>
                <a:lnTo>
                  <a:pt x="1085" y="989"/>
                </a:lnTo>
                <a:lnTo>
                  <a:pt x="1085" y="989"/>
                </a:lnTo>
                <a:lnTo>
                  <a:pt x="1082" y="989"/>
                </a:lnTo>
                <a:lnTo>
                  <a:pt x="1082" y="989"/>
                </a:lnTo>
                <a:lnTo>
                  <a:pt x="1082" y="991"/>
                </a:lnTo>
                <a:lnTo>
                  <a:pt x="1082" y="991"/>
                </a:lnTo>
                <a:lnTo>
                  <a:pt x="1085" y="991"/>
                </a:lnTo>
                <a:lnTo>
                  <a:pt x="1085" y="991"/>
                </a:lnTo>
                <a:lnTo>
                  <a:pt x="1090" y="994"/>
                </a:lnTo>
                <a:lnTo>
                  <a:pt x="1090" y="994"/>
                </a:lnTo>
                <a:lnTo>
                  <a:pt x="1092" y="991"/>
                </a:lnTo>
                <a:lnTo>
                  <a:pt x="1092" y="991"/>
                </a:lnTo>
                <a:lnTo>
                  <a:pt x="1097" y="989"/>
                </a:lnTo>
                <a:lnTo>
                  <a:pt x="1097" y="989"/>
                </a:lnTo>
                <a:lnTo>
                  <a:pt x="1097" y="991"/>
                </a:lnTo>
                <a:lnTo>
                  <a:pt x="1097" y="991"/>
                </a:lnTo>
                <a:lnTo>
                  <a:pt x="1097" y="994"/>
                </a:lnTo>
                <a:lnTo>
                  <a:pt x="1097" y="994"/>
                </a:lnTo>
                <a:lnTo>
                  <a:pt x="1095" y="994"/>
                </a:lnTo>
                <a:lnTo>
                  <a:pt x="1095" y="994"/>
                </a:lnTo>
                <a:lnTo>
                  <a:pt x="1095" y="994"/>
                </a:lnTo>
                <a:lnTo>
                  <a:pt x="1102" y="996"/>
                </a:lnTo>
                <a:lnTo>
                  <a:pt x="1102" y="996"/>
                </a:lnTo>
                <a:lnTo>
                  <a:pt x="1104" y="999"/>
                </a:lnTo>
                <a:lnTo>
                  <a:pt x="1104" y="999"/>
                </a:lnTo>
                <a:lnTo>
                  <a:pt x="1100" y="999"/>
                </a:lnTo>
                <a:lnTo>
                  <a:pt x="1100" y="999"/>
                </a:lnTo>
                <a:lnTo>
                  <a:pt x="1100" y="1001"/>
                </a:lnTo>
                <a:lnTo>
                  <a:pt x="1100" y="1001"/>
                </a:lnTo>
                <a:lnTo>
                  <a:pt x="1092" y="1001"/>
                </a:lnTo>
                <a:lnTo>
                  <a:pt x="1092" y="1001"/>
                </a:lnTo>
                <a:lnTo>
                  <a:pt x="1092" y="1001"/>
                </a:lnTo>
                <a:lnTo>
                  <a:pt x="1087" y="1003"/>
                </a:lnTo>
                <a:lnTo>
                  <a:pt x="1087" y="1003"/>
                </a:lnTo>
                <a:lnTo>
                  <a:pt x="1085" y="1006"/>
                </a:lnTo>
                <a:lnTo>
                  <a:pt x="1085" y="1006"/>
                </a:lnTo>
                <a:lnTo>
                  <a:pt x="1077" y="1006"/>
                </a:lnTo>
                <a:lnTo>
                  <a:pt x="1077" y="1006"/>
                </a:lnTo>
                <a:lnTo>
                  <a:pt x="1070" y="1006"/>
                </a:lnTo>
                <a:lnTo>
                  <a:pt x="1070" y="1006"/>
                </a:lnTo>
                <a:lnTo>
                  <a:pt x="1070" y="1008"/>
                </a:lnTo>
                <a:lnTo>
                  <a:pt x="1070" y="1008"/>
                </a:lnTo>
                <a:lnTo>
                  <a:pt x="1075" y="1008"/>
                </a:lnTo>
                <a:lnTo>
                  <a:pt x="1075" y="1008"/>
                </a:lnTo>
                <a:lnTo>
                  <a:pt x="1082" y="1006"/>
                </a:lnTo>
                <a:lnTo>
                  <a:pt x="1082" y="1006"/>
                </a:lnTo>
                <a:lnTo>
                  <a:pt x="1085" y="1006"/>
                </a:lnTo>
                <a:lnTo>
                  <a:pt x="1085" y="1006"/>
                </a:lnTo>
                <a:lnTo>
                  <a:pt x="1085" y="1008"/>
                </a:lnTo>
                <a:lnTo>
                  <a:pt x="1085" y="1008"/>
                </a:lnTo>
                <a:lnTo>
                  <a:pt x="1077" y="1008"/>
                </a:lnTo>
                <a:lnTo>
                  <a:pt x="1077" y="1008"/>
                </a:lnTo>
                <a:lnTo>
                  <a:pt x="1072" y="1011"/>
                </a:lnTo>
                <a:lnTo>
                  <a:pt x="1072" y="1011"/>
                </a:lnTo>
                <a:lnTo>
                  <a:pt x="1068" y="1013"/>
                </a:lnTo>
                <a:lnTo>
                  <a:pt x="1068" y="1013"/>
                </a:lnTo>
                <a:lnTo>
                  <a:pt x="1065" y="1013"/>
                </a:lnTo>
                <a:lnTo>
                  <a:pt x="1065" y="1013"/>
                </a:lnTo>
                <a:lnTo>
                  <a:pt x="1063" y="1013"/>
                </a:lnTo>
                <a:lnTo>
                  <a:pt x="1063" y="1013"/>
                </a:lnTo>
                <a:lnTo>
                  <a:pt x="1063" y="1018"/>
                </a:lnTo>
                <a:lnTo>
                  <a:pt x="1063" y="1018"/>
                </a:lnTo>
                <a:lnTo>
                  <a:pt x="1060" y="1018"/>
                </a:lnTo>
                <a:lnTo>
                  <a:pt x="1060" y="1018"/>
                </a:lnTo>
                <a:lnTo>
                  <a:pt x="1055" y="1016"/>
                </a:lnTo>
                <a:lnTo>
                  <a:pt x="1055" y="1016"/>
                </a:lnTo>
                <a:lnTo>
                  <a:pt x="1053" y="1008"/>
                </a:lnTo>
                <a:lnTo>
                  <a:pt x="1053" y="1008"/>
                </a:lnTo>
                <a:lnTo>
                  <a:pt x="1053" y="1013"/>
                </a:lnTo>
                <a:lnTo>
                  <a:pt x="1053" y="1013"/>
                </a:lnTo>
                <a:lnTo>
                  <a:pt x="1050" y="1013"/>
                </a:lnTo>
                <a:lnTo>
                  <a:pt x="1050" y="1013"/>
                </a:lnTo>
                <a:lnTo>
                  <a:pt x="1053" y="1016"/>
                </a:lnTo>
                <a:lnTo>
                  <a:pt x="1053" y="1016"/>
                </a:lnTo>
                <a:lnTo>
                  <a:pt x="1053" y="1016"/>
                </a:lnTo>
                <a:lnTo>
                  <a:pt x="1060" y="1021"/>
                </a:lnTo>
                <a:lnTo>
                  <a:pt x="1060" y="1021"/>
                </a:lnTo>
                <a:lnTo>
                  <a:pt x="1060" y="1023"/>
                </a:lnTo>
                <a:lnTo>
                  <a:pt x="1060" y="1023"/>
                </a:lnTo>
                <a:lnTo>
                  <a:pt x="1058" y="1023"/>
                </a:lnTo>
                <a:lnTo>
                  <a:pt x="1058" y="1023"/>
                </a:lnTo>
                <a:lnTo>
                  <a:pt x="1055" y="1023"/>
                </a:lnTo>
                <a:lnTo>
                  <a:pt x="1055" y="1023"/>
                </a:lnTo>
                <a:lnTo>
                  <a:pt x="1058" y="1026"/>
                </a:lnTo>
                <a:lnTo>
                  <a:pt x="1058" y="1026"/>
                </a:lnTo>
                <a:lnTo>
                  <a:pt x="1058" y="1028"/>
                </a:lnTo>
                <a:lnTo>
                  <a:pt x="1058" y="1028"/>
                </a:lnTo>
                <a:lnTo>
                  <a:pt x="1060" y="1026"/>
                </a:lnTo>
                <a:lnTo>
                  <a:pt x="1060" y="1026"/>
                </a:lnTo>
                <a:lnTo>
                  <a:pt x="1060" y="1026"/>
                </a:lnTo>
                <a:lnTo>
                  <a:pt x="1063" y="1021"/>
                </a:lnTo>
                <a:lnTo>
                  <a:pt x="1063" y="1021"/>
                </a:lnTo>
                <a:lnTo>
                  <a:pt x="1068" y="1021"/>
                </a:lnTo>
                <a:lnTo>
                  <a:pt x="1068" y="1021"/>
                </a:lnTo>
                <a:lnTo>
                  <a:pt x="1072" y="1018"/>
                </a:lnTo>
                <a:lnTo>
                  <a:pt x="1072" y="1018"/>
                </a:lnTo>
                <a:lnTo>
                  <a:pt x="1075" y="1018"/>
                </a:lnTo>
                <a:lnTo>
                  <a:pt x="1075" y="1018"/>
                </a:lnTo>
                <a:lnTo>
                  <a:pt x="1075" y="1016"/>
                </a:lnTo>
                <a:lnTo>
                  <a:pt x="1075" y="1016"/>
                </a:lnTo>
                <a:lnTo>
                  <a:pt x="1077" y="1011"/>
                </a:lnTo>
                <a:lnTo>
                  <a:pt x="1077" y="1011"/>
                </a:lnTo>
                <a:lnTo>
                  <a:pt x="1082" y="1011"/>
                </a:lnTo>
                <a:lnTo>
                  <a:pt x="1082" y="1011"/>
                </a:lnTo>
                <a:lnTo>
                  <a:pt x="1087" y="1008"/>
                </a:lnTo>
                <a:lnTo>
                  <a:pt x="1087" y="1008"/>
                </a:lnTo>
                <a:lnTo>
                  <a:pt x="1090" y="1008"/>
                </a:lnTo>
                <a:lnTo>
                  <a:pt x="1090" y="1008"/>
                </a:lnTo>
                <a:lnTo>
                  <a:pt x="1095" y="1008"/>
                </a:lnTo>
                <a:lnTo>
                  <a:pt x="1095" y="1008"/>
                </a:lnTo>
                <a:lnTo>
                  <a:pt x="1092" y="1008"/>
                </a:lnTo>
                <a:lnTo>
                  <a:pt x="1092" y="1008"/>
                </a:lnTo>
                <a:lnTo>
                  <a:pt x="1090" y="1008"/>
                </a:lnTo>
                <a:lnTo>
                  <a:pt x="1090" y="1008"/>
                </a:lnTo>
                <a:lnTo>
                  <a:pt x="1087" y="1008"/>
                </a:lnTo>
                <a:lnTo>
                  <a:pt x="1087" y="1008"/>
                </a:lnTo>
                <a:lnTo>
                  <a:pt x="1090" y="1006"/>
                </a:lnTo>
                <a:lnTo>
                  <a:pt x="1090" y="1006"/>
                </a:lnTo>
                <a:lnTo>
                  <a:pt x="1097" y="1006"/>
                </a:lnTo>
                <a:lnTo>
                  <a:pt x="1097" y="1006"/>
                </a:lnTo>
                <a:lnTo>
                  <a:pt x="1102" y="1006"/>
                </a:lnTo>
                <a:lnTo>
                  <a:pt x="1102" y="1006"/>
                </a:lnTo>
                <a:lnTo>
                  <a:pt x="1104" y="1011"/>
                </a:lnTo>
                <a:lnTo>
                  <a:pt x="1104" y="1011"/>
                </a:lnTo>
                <a:lnTo>
                  <a:pt x="1104" y="1016"/>
                </a:lnTo>
                <a:lnTo>
                  <a:pt x="1104" y="1016"/>
                </a:lnTo>
                <a:lnTo>
                  <a:pt x="1100" y="1018"/>
                </a:lnTo>
                <a:lnTo>
                  <a:pt x="1100" y="1018"/>
                </a:lnTo>
                <a:lnTo>
                  <a:pt x="1100" y="1018"/>
                </a:lnTo>
                <a:lnTo>
                  <a:pt x="1097" y="1021"/>
                </a:lnTo>
                <a:lnTo>
                  <a:pt x="1097" y="1021"/>
                </a:lnTo>
                <a:lnTo>
                  <a:pt x="1100" y="1021"/>
                </a:lnTo>
                <a:lnTo>
                  <a:pt x="1100" y="1021"/>
                </a:lnTo>
                <a:lnTo>
                  <a:pt x="1102" y="1023"/>
                </a:lnTo>
                <a:lnTo>
                  <a:pt x="1102" y="1023"/>
                </a:lnTo>
                <a:lnTo>
                  <a:pt x="1102" y="1021"/>
                </a:lnTo>
                <a:lnTo>
                  <a:pt x="1102" y="1021"/>
                </a:lnTo>
                <a:lnTo>
                  <a:pt x="1104" y="1018"/>
                </a:lnTo>
                <a:lnTo>
                  <a:pt x="1104" y="1018"/>
                </a:lnTo>
                <a:lnTo>
                  <a:pt x="1109" y="1016"/>
                </a:lnTo>
                <a:lnTo>
                  <a:pt x="1109" y="1016"/>
                </a:lnTo>
                <a:lnTo>
                  <a:pt x="1112" y="1016"/>
                </a:lnTo>
                <a:lnTo>
                  <a:pt x="1112" y="1016"/>
                </a:lnTo>
                <a:lnTo>
                  <a:pt x="1112" y="1018"/>
                </a:lnTo>
                <a:lnTo>
                  <a:pt x="1112" y="1018"/>
                </a:lnTo>
                <a:lnTo>
                  <a:pt x="1112" y="1018"/>
                </a:lnTo>
                <a:lnTo>
                  <a:pt x="1112" y="1021"/>
                </a:lnTo>
                <a:lnTo>
                  <a:pt x="1112" y="1021"/>
                </a:lnTo>
                <a:lnTo>
                  <a:pt x="1114" y="1021"/>
                </a:lnTo>
                <a:lnTo>
                  <a:pt x="1114" y="1021"/>
                </a:lnTo>
                <a:lnTo>
                  <a:pt x="1119" y="1023"/>
                </a:lnTo>
                <a:lnTo>
                  <a:pt x="1119" y="1023"/>
                </a:lnTo>
                <a:lnTo>
                  <a:pt x="1119" y="1023"/>
                </a:lnTo>
                <a:lnTo>
                  <a:pt x="1117" y="1023"/>
                </a:lnTo>
                <a:lnTo>
                  <a:pt x="1117" y="1023"/>
                </a:lnTo>
                <a:lnTo>
                  <a:pt x="1114" y="1023"/>
                </a:lnTo>
                <a:lnTo>
                  <a:pt x="1114" y="1023"/>
                </a:lnTo>
                <a:lnTo>
                  <a:pt x="1117" y="1026"/>
                </a:lnTo>
                <a:lnTo>
                  <a:pt x="1117" y="1026"/>
                </a:lnTo>
                <a:lnTo>
                  <a:pt x="1119" y="1028"/>
                </a:lnTo>
                <a:lnTo>
                  <a:pt x="1119" y="1028"/>
                </a:lnTo>
                <a:lnTo>
                  <a:pt x="1122" y="1031"/>
                </a:lnTo>
                <a:lnTo>
                  <a:pt x="1122" y="1031"/>
                </a:lnTo>
                <a:lnTo>
                  <a:pt x="1119" y="1031"/>
                </a:lnTo>
                <a:lnTo>
                  <a:pt x="1119" y="1031"/>
                </a:lnTo>
                <a:lnTo>
                  <a:pt x="1117" y="1031"/>
                </a:lnTo>
                <a:lnTo>
                  <a:pt x="1117" y="1031"/>
                </a:lnTo>
                <a:lnTo>
                  <a:pt x="1114" y="1033"/>
                </a:lnTo>
                <a:lnTo>
                  <a:pt x="1114" y="1033"/>
                </a:lnTo>
                <a:lnTo>
                  <a:pt x="1119" y="1035"/>
                </a:lnTo>
                <a:lnTo>
                  <a:pt x="1119" y="1035"/>
                </a:lnTo>
                <a:lnTo>
                  <a:pt x="1117" y="1038"/>
                </a:lnTo>
                <a:lnTo>
                  <a:pt x="1117" y="1038"/>
                </a:lnTo>
                <a:lnTo>
                  <a:pt x="1114" y="1038"/>
                </a:lnTo>
                <a:lnTo>
                  <a:pt x="1114" y="1038"/>
                </a:lnTo>
                <a:lnTo>
                  <a:pt x="1114" y="1040"/>
                </a:lnTo>
                <a:lnTo>
                  <a:pt x="1114" y="1040"/>
                </a:lnTo>
                <a:lnTo>
                  <a:pt x="1112" y="1043"/>
                </a:lnTo>
                <a:lnTo>
                  <a:pt x="1112" y="1043"/>
                </a:lnTo>
                <a:lnTo>
                  <a:pt x="1107" y="1040"/>
                </a:lnTo>
                <a:lnTo>
                  <a:pt x="1107" y="1040"/>
                </a:lnTo>
                <a:lnTo>
                  <a:pt x="1109" y="1043"/>
                </a:lnTo>
                <a:lnTo>
                  <a:pt x="1109" y="1043"/>
                </a:lnTo>
                <a:lnTo>
                  <a:pt x="1114" y="1045"/>
                </a:lnTo>
                <a:lnTo>
                  <a:pt x="1114" y="1045"/>
                </a:lnTo>
                <a:lnTo>
                  <a:pt x="1117" y="1043"/>
                </a:lnTo>
                <a:lnTo>
                  <a:pt x="1117" y="1043"/>
                </a:lnTo>
                <a:lnTo>
                  <a:pt x="1119" y="1045"/>
                </a:lnTo>
                <a:lnTo>
                  <a:pt x="1119" y="1045"/>
                </a:lnTo>
                <a:lnTo>
                  <a:pt x="1117" y="1048"/>
                </a:lnTo>
                <a:lnTo>
                  <a:pt x="1117" y="1048"/>
                </a:lnTo>
                <a:lnTo>
                  <a:pt x="1114" y="1048"/>
                </a:lnTo>
                <a:lnTo>
                  <a:pt x="1114" y="1048"/>
                </a:lnTo>
                <a:lnTo>
                  <a:pt x="1112" y="1048"/>
                </a:lnTo>
                <a:lnTo>
                  <a:pt x="1112" y="1048"/>
                </a:lnTo>
                <a:lnTo>
                  <a:pt x="1114" y="1048"/>
                </a:lnTo>
                <a:lnTo>
                  <a:pt x="1114" y="1048"/>
                </a:lnTo>
                <a:lnTo>
                  <a:pt x="1117" y="1048"/>
                </a:lnTo>
                <a:lnTo>
                  <a:pt x="1117" y="1048"/>
                </a:lnTo>
                <a:lnTo>
                  <a:pt x="1119" y="1048"/>
                </a:lnTo>
                <a:lnTo>
                  <a:pt x="1119" y="1048"/>
                </a:lnTo>
                <a:lnTo>
                  <a:pt x="1117" y="1053"/>
                </a:lnTo>
                <a:lnTo>
                  <a:pt x="1117" y="1053"/>
                </a:lnTo>
                <a:lnTo>
                  <a:pt x="1117" y="1055"/>
                </a:lnTo>
                <a:lnTo>
                  <a:pt x="1117" y="1055"/>
                </a:lnTo>
                <a:lnTo>
                  <a:pt x="1114" y="1055"/>
                </a:lnTo>
                <a:lnTo>
                  <a:pt x="1114" y="1055"/>
                </a:lnTo>
                <a:lnTo>
                  <a:pt x="1112" y="1058"/>
                </a:lnTo>
                <a:lnTo>
                  <a:pt x="1112" y="1058"/>
                </a:lnTo>
                <a:lnTo>
                  <a:pt x="1109" y="1060"/>
                </a:lnTo>
                <a:lnTo>
                  <a:pt x="1109" y="1060"/>
                </a:lnTo>
                <a:lnTo>
                  <a:pt x="1104" y="1060"/>
                </a:lnTo>
                <a:lnTo>
                  <a:pt x="1104" y="1060"/>
                </a:lnTo>
                <a:lnTo>
                  <a:pt x="1102" y="1062"/>
                </a:lnTo>
                <a:lnTo>
                  <a:pt x="1102" y="1062"/>
                </a:lnTo>
                <a:lnTo>
                  <a:pt x="1102" y="1062"/>
                </a:lnTo>
                <a:lnTo>
                  <a:pt x="1100" y="1065"/>
                </a:lnTo>
                <a:lnTo>
                  <a:pt x="1100" y="1065"/>
                </a:lnTo>
                <a:lnTo>
                  <a:pt x="1097" y="1065"/>
                </a:lnTo>
                <a:lnTo>
                  <a:pt x="1097" y="1065"/>
                </a:lnTo>
                <a:lnTo>
                  <a:pt x="1097" y="1067"/>
                </a:lnTo>
                <a:lnTo>
                  <a:pt x="1097" y="1067"/>
                </a:lnTo>
                <a:lnTo>
                  <a:pt x="1095" y="1067"/>
                </a:lnTo>
                <a:lnTo>
                  <a:pt x="1095" y="1067"/>
                </a:lnTo>
                <a:lnTo>
                  <a:pt x="1092" y="1065"/>
                </a:lnTo>
                <a:lnTo>
                  <a:pt x="1092" y="1065"/>
                </a:lnTo>
                <a:lnTo>
                  <a:pt x="1090" y="1067"/>
                </a:lnTo>
                <a:lnTo>
                  <a:pt x="1090" y="1067"/>
                </a:lnTo>
                <a:lnTo>
                  <a:pt x="1087" y="1067"/>
                </a:lnTo>
                <a:lnTo>
                  <a:pt x="1087" y="1067"/>
                </a:lnTo>
                <a:lnTo>
                  <a:pt x="1087" y="1065"/>
                </a:lnTo>
                <a:lnTo>
                  <a:pt x="1087" y="1065"/>
                </a:lnTo>
                <a:lnTo>
                  <a:pt x="1082" y="1067"/>
                </a:lnTo>
                <a:lnTo>
                  <a:pt x="1082" y="1067"/>
                </a:lnTo>
                <a:lnTo>
                  <a:pt x="1080" y="1067"/>
                </a:lnTo>
                <a:lnTo>
                  <a:pt x="1080" y="1067"/>
                </a:lnTo>
                <a:lnTo>
                  <a:pt x="1077" y="1065"/>
                </a:lnTo>
                <a:lnTo>
                  <a:pt x="1077" y="1065"/>
                </a:lnTo>
                <a:lnTo>
                  <a:pt x="1077" y="1065"/>
                </a:lnTo>
                <a:lnTo>
                  <a:pt x="1077" y="1067"/>
                </a:lnTo>
                <a:lnTo>
                  <a:pt x="1077" y="1067"/>
                </a:lnTo>
                <a:lnTo>
                  <a:pt x="1075" y="1070"/>
                </a:lnTo>
                <a:lnTo>
                  <a:pt x="1075" y="1070"/>
                </a:lnTo>
                <a:lnTo>
                  <a:pt x="1072" y="1067"/>
                </a:lnTo>
                <a:lnTo>
                  <a:pt x="1072" y="1067"/>
                </a:lnTo>
                <a:lnTo>
                  <a:pt x="1070" y="1070"/>
                </a:lnTo>
                <a:lnTo>
                  <a:pt x="1070" y="1070"/>
                </a:lnTo>
                <a:lnTo>
                  <a:pt x="1072" y="1070"/>
                </a:lnTo>
                <a:lnTo>
                  <a:pt x="1072" y="1070"/>
                </a:lnTo>
                <a:lnTo>
                  <a:pt x="1072" y="1072"/>
                </a:lnTo>
                <a:lnTo>
                  <a:pt x="1072" y="1072"/>
                </a:lnTo>
                <a:lnTo>
                  <a:pt x="1070" y="1075"/>
                </a:lnTo>
                <a:lnTo>
                  <a:pt x="1070" y="1075"/>
                </a:lnTo>
                <a:lnTo>
                  <a:pt x="1068" y="1075"/>
                </a:lnTo>
                <a:lnTo>
                  <a:pt x="1068" y="1075"/>
                </a:lnTo>
                <a:lnTo>
                  <a:pt x="1068" y="1077"/>
                </a:lnTo>
                <a:lnTo>
                  <a:pt x="1068" y="1077"/>
                </a:lnTo>
                <a:lnTo>
                  <a:pt x="1065" y="1080"/>
                </a:lnTo>
                <a:lnTo>
                  <a:pt x="1065" y="1080"/>
                </a:lnTo>
                <a:lnTo>
                  <a:pt x="1063" y="1080"/>
                </a:lnTo>
                <a:lnTo>
                  <a:pt x="1063" y="1080"/>
                </a:lnTo>
                <a:lnTo>
                  <a:pt x="1063" y="1082"/>
                </a:lnTo>
                <a:lnTo>
                  <a:pt x="1063" y="1082"/>
                </a:lnTo>
                <a:lnTo>
                  <a:pt x="1060" y="1082"/>
                </a:lnTo>
                <a:lnTo>
                  <a:pt x="1060" y="1082"/>
                </a:lnTo>
                <a:lnTo>
                  <a:pt x="1058" y="1087"/>
                </a:lnTo>
                <a:lnTo>
                  <a:pt x="1058" y="1087"/>
                </a:lnTo>
                <a:lnTo>
                  <a:pt x="1055" y="1085"/>
                </a:lnTo>
                <a:lnTo>
                  <a:pt x="1055" y="1085"/>
                </a:lnTo>
                <a:lnTo>
                  <a:pt x="1055" y="1087"/>
                </a:lnTo>
                <a:lnTo>
                  <a:pt x="1055" y="1087"/>
                </a:lnTo>
                <a:lnTo>
                  <a:pt x="1050" y="1087"/>
                </a:lnTo>
                <a:lnTo>
                  <a:pt x="1050" y="1087"/>
                </a:lnTo>
                <a:lnTo>
                  <a:pt x="1050" y="1090"/>
                </a:lnTo>
                <a:lnTo>
                  <a:pt x="1050" y="1090"/>
                </a:lnTo>
                <a:lnTo>
                  <a:pt x="1048" y="1090"/>
                </a:lnTo>
                <a:lnTo>
                  <a:pt x="1048" y="1090"/>
                </a:lnTo>
                <a:lnTo>
                  <a:pt x="1045" y="1090"/>
                </a:lnTo>
                <a:lnTo>
                  <a:pt x="1045" y="1090"/>
                </a:lnTo>
                <a:lnTo>
                  <a:pt x="1041" y="1090"/>
                </a:lnTo>
                <a:lnTo>
                  <a:pt x="1041" y="1090"/>
                </a:lnTo>
                <a:lnTo>
                  <a:pt x="1041" y="1087"/>
                </a:lnTo>
                <a:lnTo>
                  <a:pt x="1041" y="1087"/>
                </a:lnTo>
                <a:lnTo>
                  <a:pt x="1036" y="1090"/>
                </a:lnTo>
                <a:lnTo>
                  <a:pt x="1036" y="1090"/>
                </a:lnTo>
                <a:lnTo>
                  <a:pt x="1033" y="1090"/>
                </a:lnTo>
                <a:lnTo>
                  <a:pt x="1033" y="1090"/>
                </a:lnTo>
                <a:lnTo>
                  <a:pt x="1028" y="1092"/>
                </a:lnTo>
                <a:lnTo>
                  <a:pt x="1028" y="1092"/>
                </a:lnTo>
                <a:lnTo>
                  <a:pt x="1023" y="1090"/>
                </a:lnTo>
                <a:lnTo>
                  <a:pt x="1023" y="1090"/>
                </a:lnTo>
                <a:lnTo>
                  <a:pt x="1026" y="1090"/>
                </a:lnTo>
                <a:lnTo>
                  <a:pt x="1026" y="1090"/>
                </a:lnTo>
                <a:lnTo>
                  <a:pt x="1023" y="1087"/>
                </a:lnTo>
                <a:lnTo>
                  <a:pt x="1023" y="1087"/>
                </a:lnTo>
                <a:lnTo>
                  <a:pt x="1021" y="1090"/>
                </a:lnTo>
                <a:lnTo>
                  <a:pt x="1021" y="1090"/>
                </a:lnTo>
                <a:lnTo>
                  <a:pt x="1018" y="1090"/>
                </a:lnTo>
                <a:lnTo>
                  <a:pt x="1018" y="1090"/>
                </a:lnTo>
                <a:lnTo>
                  <a:pt x="1013" y="1087"/>
                </a:lnTo>
                <a:lnTo>
                  <a:pt x="1013" y="1087"/>
                </a:lnTo>
                <a:lnTo>
                  <a:pt x="1011" y="1087"/>
                </a:lnTo>
                <a:lnTo>
                  <a:pt x="1011" y="1087"/>
                </a:lnTo>
                <a:lnTo>
                  <a:pt x="1009" y="1087"/>
                </a:lnTo>
                <a:lnTo>
                  <a:pt x="1009" y="1087"/>
                </a:lnTo>
                <a:lnTo>
                  <a:pt x="1006" y="1085"/>
                </a:lnTo>
                <a:lnTo>
                  <a:pt x="1006" y="1085"/>
                </a:lnTo>
                <a:lnTo>
                  <a:pt x="1004" y="1085"/>
                </a:lnTo>
                <a:lnTo>
                  <a:pt x="1004" y="1085"/>
                </a:lnTo>
                <a:lnTo>
                  <a:pt x="1001" y="1087"/>
                </a:lnTo>
                <a:lnTo>
                  <a:pt x="1001" y="1087"/>
                </a:lnTo>
                <a:lnTo>
                  <a:pt x="996" y="1087"/>
                </a:lnTo>
                <a:lnTo>
                  <a:pt x="996" y="1087"/>
                </a:lnTo>
                <a:lnTo>
                  <a:pt x="994" y="1085"/>
                </a:lnTo>
                <a:lnTo>
                  <a:pt x="994" y="1085"/>
                </a:lnTo>
                <a:lnTo>
                  <a:pt x="991" y="1087"/>
                </a:lnTo>
                <a:lnTo>
                  <a:pt x="991" y="1087"/>
                </a:lnTo>
                <a:lnTo>
                  <a:pt x="989" y="1087"/>
                </a:lnTo>
                <a:lnTo>
                  <a:pt x="989" y="1087"/>
                </a:lnTo>
                <a:lnTo>
                  <a:pt x="986" y="1085"/>
                </a:lnTo>
                <a:lnTo>
                  <a:pt x="986" y="1085"/>
                </a:lnTo>
                <a:lnTo>
                  <a:pt x="984" y="1087"/>
                </a:lnTo>
                <a:lnTo>
                  <a:pt x="984" y="1087"/>
                </a:lnTo>
                <a:lnTo>
                  <a:pt x="981" y="1085"/>
                </a:lnTo>
                <a:lnTo>
                  <a:pt x="981" y="1085"/>
                </a:lnTo>
                <a:lnTo>
                  <a:pt x="979" y="1085"/>
                </a:lnTo>
                <a:lnTo>
                  <a:pt x="979" y="1085"/>
                </a:lnTo>
                <a:lnTo>
                  <a:pt x="974" y="1085"/>
                </a:lnTo>
                <a:lnTo>
                  <a:pt x="974" y="1085"/>
                </a:lnTo>
                <a:lnTo>
                  <a:pt x="969" y="1085"/>
                </a:lnTo>
                <a:lnTo>
                  <a:pt x="969" y="1085"/>
                </a:lnTo>
                <a:lnTo>
                  <a:pt x="964" y="1085"/>
                </a:lnTo>
                <a:lnTo>
                  <a:pt x="964" y="1085"/>
                </a:lnTo>
                <a:lnTo>
                  <a:pt x="962" y="1080"/>
                </a:lnTo>
                <a:lnTo>
                  <a:pt x="962" y="1080"/>
                </a:lnTo>
                <a:lnTo>
                  <a:pt x="959" y="1082"/>
                </a:lnTo>
                <a:lnTo>
                  <a:pt x="959" y="1082"/>
                </a:lnTo>
                <a:lnTo>
                  <a:pt x="957" y="1085"/>
                </a:lnTo>
                <a:lnTo>
                  <a:pt x="957" y="1085"/>
                </a:lnTo>
                <a:lnTo>
                  <a:pt x="959" y="1085"/>
                </a:lnTo>
                <a:lnTo>
                  <a:pt x="959" y="1085"/>
                </a:lnTo>
                <a:lnTo>
                  <a:pt x="957" y="1087"/>
                </a:lnTo>
                <a:lnTo>
                  <a:pt x="957" y="1087"/>
                </a:lnTo>
                <a:lnTo>
                  <a:pt x="954" y="1087"/>
                </a:lnTo>
                <a:lnTo>
                  <a:pt x="954" y="1087"/>
                </a:lnTo>
                <a:lnTo>
                  <a:pt x="949" y="1092"/>
                </a:lnTo>
                <a:lnTo>
                  <a:pt x="949" y="1092"/>
                </a:lnTo>
                <a:lnTo>
                  <a:pt x="945" y="1094"/>
                </a:lnTo>
                <a:lnTo>
                  <a:pt x="945" y="1094"/>
                </a:lnTo>
                <a:lnTo>
                  <a:pt x="945" y="1097"/>
                </a:lnTo>
                <a:lnTo>
                  <a:pt x="945" y="1097"/>
                </a:lnTo>
                <a:lnTo>
                  <a:pt x="945" y="1097"/>
                </a:lnTo>
                <a:lnTo>
                  <a:pt x="945" y="1102"/>
                </a:lnTo>
                <a:lnTo>
                  <a:pt x="945" y="1102"/>
                </a:lnTo>
                <a:lnTo>
                  <a:pt x="942" y="1104"/>
                </a:lnTo>
                <a:lnTo>
                  <a:pt x="942" y="1104"/>
                </a:lnTo>
                <a:lnTo>
                  <a:pt x="937" y="1104"/>
                </a:lnTo>
                <a:lnTo>
                  <a:pt x="937" y="1104"/>
                </a:lnTo>
                <a:lnTo>
                  <a:pt x="935" y="1104"/>
                </a:lnTo>
                <a:lnTo>
                  <a:pt x="935" y="1104"/>
                </a:lnTo>
                <a:lnTo>
                  <a:pt x="930" y="1107"/>
                </a:lnTo>
                <a:lnTo>
                  <a:pt x="930" y="1107"/>
                </a:lnTo>
                <a:lnTo>
                  <a:pt x="927" y="1109"/>
                </a:lnTo>
                <a:lnTo>
                  <a:pt x="927" y="1109"/>
                </a:lnTo>
                <a:lnTo>
                  <a:pt x="925" y="1109"/>
                </a:lnTo>
                <a:lnTo>
                  <a:pt x="925" y="1109"/>
                </a:lnTo>
                <a:lnTo>
                  <a:pt x="925" y="1109"/>
                </a:lnTo>
                <a:lnTo>
                  <a:pt x="922" y="1109"/>
                </a:lnTo>
                <a:lnTo>
                  <a:pt x="922" y="1109"/>
                </a:lnTo>
                <a:lnTo>
                  <a:pt x="920" y="1114"/>
                </a:lnTo>
                <a:lnTo>
                  <a:pt x="920" y="1114"/>
                </a:lnTo>
                <a:lnTo>
                  <a:pt x="918" y="1114"/>
                </a:lnTo>
                <a:lnTo>
                  <a:pt x="918" y="1114"/>
                </a:lnTo>
                <a:lnTo>
                  <a:pt x="913" y="1117"/>
                </a:lnTo>
                <a:lnTo>
                  <a:pt x="913" y="1117"/>
                </a:lnTo>
                <a:lnTo>
                  <a:pt x="913" y="1117"/>
                </a:lnTo>
                <a:lnTo>
                  <a:pt x="910" y="1119"/>
                </a:lnTo>
                <a:lnTo>
                  <a:pt x="910" y="1119"/>
                </a:lnTo>
                <a:lnTo>
                  <a:pt x="908" y="1124"/>
                </a:lnTo>
                <a:lnTo>
                  <a:pt x="908" y="1124"/>
                </a:lnTo>
                <a:lnTo>
                  <a:pt x="900" y="1126"/>
                </a:lnTo>
                <a:lnTo>
                  <a:pt x="900" y="1126"/>
                </a:lnTo>
                <a:lnTo>
                  <a:pt x="900" y="1131"/>
                </a:lnTo>
                <a:lnTo>
                  <a:pt x="900" y="1131"/>
                </a:lnTo>
                <a:lnTo>
                  <a:pt x="895" y="1134"/>
                </a:lnTo>
                <a:lnTo>
                  <a:pt x="895" y="1134"/>
                </a:lnTo>
                <a:lnTo>
                  <a:pt x="893" y="1139"/>
                </a:lnTo>
                <a:lnTo>
                  <a:pt x="893" y="1139"/>
                </a:lnTo>
                <a:lnTo>
                  <a:pt x="890" y="1139"/>
                </a:lnTo>
                <a:lnTo>
                  <a:pt x="890" y="1139"/>
                </a:lnTo>
                <a:lnTo>
                  <a:pt x="888" y="1144"/>
                </a:lnTo>
                <a:lnTo>
                  <a:pt x="888" y="1144"/>
                </a:lnTo>
                <a:lnTo>
                  <a:pt x="886" y="1146"/>
                </a:lnTo>
                <a:lnTo>
                  <a:pt x="886" y="1146"/>
                </a:lnTo>
                <a:lnTo>
                  <a:pt x="878" y="1151"/>
                </a:lnTo>
                <a:lnTo>
                  <a:pt x="878" y="1151"/>
                </a:lnTo>
                <a:lnTo>
                  <a:pt x="878" y="1153"/>
                </a:lnTo>
                <a:lnTo>
                  <a:pt x="878" y="1153"/>
                </a:lnTo>
                <a:lnTo>
                  <a:pt x="871" y="1156"/>
                </a:lnTo>
                <a:lnTo>
                  <a:pt x="871" y="1156"/>
                </a:lnTo>
                <a:lnTo>
                  <a:pt x="866" y="1156"/>
                </a:lnTo>
                <a:lnTo>
                  <a:pt x="866" y="1156"/>
                </a:lnTo>
                <a:lnTo>
                  <a:pt x="868" y="1158"/>
                </a:lnTo>
                <a:lnTo>
                  <a:pt x="868" y="1158"/>
                </a:lnTo>
                <a:lnTo>
                  <a:pt x="878" y="1153"/>
                </a:lnTo>
                <a:lnTo>
                  <a:pt x="878" y="1153"/>
                </a:lnTo>
                <a:lnTo>
                  <a:pt x="883" y="1151"/>
                </a:lnTo>
                <a:lnTo>
                  <a:pt x="883" y="1151"/>
                </a:lnTo>
                <a:lnTo>
                  <a:pt x="890" y="1146"/>
                </a:lnTo>
                <a:lnTo>
                  <a:pt x="890" y="1146"/>
                </a:lnTo>
                <a:lnTo>
                  <a:pt x="893" y="1141"/>
                </a:lnTo>
                <a:lnTo>
                  <a:pt x="893" y="1141"/>
                </a:lnTo>
                <a:lnTo>
                  <a:pt x="898" y="1139"/>
                </a:lnTo>
                <a:lnTo>
                  <a:pt x="898" y="1139"/>
                </a:lnTo>
                <a:lnTo>
                  <a:pt x="900" y="1136"/>
                </a:lnTo>
                <a:lnTo>
                  <a:pt x="900" y="1136"/>
                </a:lnTo>
                <a:lnTo>
                  <a:pt x="908" y="1129"/>
                </a:lnTo>
                <a:lnTo>
                  <a:pt x="908" y="1129"/>
                </a:lnTo>
                <a:lnTo>
                  <a:pt x="918" y="1124"/>
                </a:lnTo>
                <a:lnTo>
                  <a:pt x="918" y="1124"/>
                </a:lnTo>
                <a:lnTo>
                  <a:pt x="925" y="1119"/>
                </a:lnTo>
                <a:lnTo>
                  <a:pt x="925" y="1119"/>
                </a:lnTo>
                <a:lnTo>
                  <a:pt x="930" y="1117"/>
                </a:lnTo>
                <a:lnTo>
                  <a:pt x="930" y="1117"/>
                </a:lnTo>
                <a:lnTo>
                  <a:pt x="932" y="1117"/>
                </a:lnTo>
                <a:lnTo>
                  <a:pt x="932" y="1117"/>
                </a:lnTo>
                <a:lnTo>
                  <a:pt x="942" y="1114"/>
                </a:lnTo>
                <a:lnTo>
                  <a:pt x="942" y="1114"/>
                </a:lnTo>
                <a:lnTo>
                  <a:pt x="949" y="1112"/>
                </a:lnTo>
                <a:lnTo>
                  <a:pt x="949" y="1112"/>
                </a:lnTo>
                <a:lnTo>
                  <a:pt x="954" y="1112"/>
                </a:lnTo>
                <a:lnTo>
                  <a:pt x="954" y="1112"/>
                </a:lnTo>
                <a:lnTo>
                  <a:pt x="957" y="1109"/>
                </a:lnTo>
                <a:lnTo>
                  <a:pt x="957" y="1109"/>
                </a:lnTo>
                <a:lnTo>
                  <a:pt x="967" y="1109"/>
                </a:lnTo>
                <a:lnTo>
                  <a:pt x="967" y="1109"/>
                </a:lnTo>
                <a:lnTo>
                  <a:pt x="974" y="1112"/>
                </a:lnTo>
                <a:lnTo>
                  <a:pt x="974" y="1112"/>
                </a:lnTo>
                <a:lnTo>
                  <a:pt x="979" y="1114"/>
                </a:lnTo>
                <a:lnTo>
                  <a:pt x="979" y="1114"/>
                </a:lnTo>
                <a:lnTo>
                  <a:pt x="979" y="1117"/>
                </a:lnTo>
                <a:lnTo>
                  <a:pt x="979" y="1117"/>
                </a:lnTo>
                <a:lnTo>
                  <a:pt x="974" y="1117"/>
                </a:lnTo>
                <a:lnTo>
                  <a:pt x="974" y="1117"/>
                </a:lnTo>
                <a:lnTo>
                  <a:pt x="974" y="1117"/>
                </a:lnTo>
                <a:lnTo>
                  <a:pt x="974" y="1117"/>
                </a:lnTo>
                <a:lnTo>
                  <a:pt x="977" y="1117"/>
                </a:lnTo>
                <a:lnTo>
                  <a:pt x="977" y="1117"/>
                </a:lnTo>
                <a:lnTo>
                  <a:pt x="979" y="1119"/>
                </a:lnTo>
                <a:lnTo>
                  <a:pt x="979" y="1119"/>
                </a:lnTo>
                <a:lnTo>
                  <a:pt x="981" y="1119"/>
                </a:lnTo>
                <a:lnTo>
                  <a:pt x="981" y="1119"/>
                </a:lnTo>
                <a:lnTo>
                  <a:pt x="979" y="1122"/>
                </a:lnTo>
                <a:lnTo>
                  <a:pt x="979" y="1122"/>
                </a:lnTo>
                <a:lnTo>
                  <a:pt x="981" y="1122"/>
                </a:lnTo>
                <a:lnTo>
                  <a:pt x="981" y="1122"/>
                </a:lnTo>
                <a:lnTo>
                  <a:pt x="979" y="1126"/>
                </a:lnTo>
                <a:lnTo>
                  <a:pt x="979" y="1126"/>
                </a:lnTo>
                <a:lnTo>
                  <a:pt x="974" y="1129"/>
                </a:lnTo>
                <a:lnTo>
                  <a:pt x="974" y="1129"/>
                </a:lnTo>
                <a:lnTo>
                  <a:pt x="972" y="1131"/>
                </a:lnTo>
                <a:lnTo>
                  <a:pt x="972" y="1131"/>
                </a:lnTo>
                <a:lnTo>
                  <a:pt x="969" y="1131"/>
                </a:lnTo>
                <a:lnTo>
                  <a:pt x="969" y="1131"/>
                </a:lnTo>
                <a:lnTo>
                  <a:pt x="967" y="1134"/>
                </a:lnTo>
                <a:lnTo>
                  <a:pt x="967" y="1134"/>
                </a:lnTo>
                <a:lnTo>
                  <a:pt x="962" y="1134"/>
                </a:lnTo>
                <a:lnTo>
                  <a:pt x="962" y="1134"/>
                </a:lnTo>
                <a:lnTo>
                  <a:pt x="959" y="1131"/>
                </a:lnTo>
                <a:lnTo>
                  <a:pt x="959" y="1131"/>
                </a:lnTo>
                <a:lnTo>
                  <a:pt x="957" y="1131"/>
                </a:lnTo>
                <a:lnTo>
                  <a:pt x="957" y="1131"/>
                </a:lnTo>
                <a:lnTo>
                  <a:pt x="954" y="1131"/>
                </a:lnTo>
                <a:lnTo>
                  <a:pt x="954" y="1131"/>
                </a:lnTo>
                <a:lnTo>
                  <a:pt x="949" y="1134"/>
                </a:lnTo>
                <a:lnTo>
                  <a:pt x="949" y="1134"/>
                </a:lnTo>
                <a:lnTo>
                  <a:pt x="947" y="1131"/>
                </a:lnTo>
                <a:lnTo>
                  <a:pt x="947" y="1131"/>
                </a:lnTo>
                <a:lnTo>
                  <a:pt x="942" y="1134"/>
                </a:lnTo>
                <a:lnTo>
                  <a:pt x="942" y="1134"/>
                </a:lnTo>
                <a:lnTo>
                  <a:pt x="947" y="1134"/>
                </a:lnTo>
                <a:lnTo>
                  <a:pt x="947" y="1134"/>
                </a:lnTo>
                <a:lnTo>
                  <a:pt x="952" y="1134"/>
                </a:lnTo>
                <a:lnTo>
                  <a:pt x="952" y="1134"/>
                </a:lnTo>
                <a:lnTo>
                  <a:pt x="957" y="1136"/>
                </a:lnTo>
                <a:lnTo>
                  <a:pt x="957" y="1136"/>
                </a:lnTo>
                <a:lnTo>
                  <a:pt x="959" y="1139"/>
                </a:lnTo>
                <a:lnTo>
                  <a:pt x="959" y="1139"/>
                </a:lnTo>
                <a:lnTo>
                  <a:pt x="959" y="1141"/>
                </a:lnTo>
                <a:lnTo>
                  <a:pt x="959" y="1141"/>
                </a:lnTo>
                <a:lnTo>
                  <a:pt x="964" y="1139"/>
                </a:lnTo>
                <a:lnTo>
                  <a:pt x="964" y="1139"/>
                </a:lnTo>
                <a:lnTo>
                  <a:pt x="967" y="1136"/>
                </a:lnTo>
                <a:lnTo>
                  <a:pt x="967" y="1136"/>
                </a:lnTo>
                <a:lnTo>
                  <a:pt x="969" y="1136"/>
                </a:lnTo>
                <a:lnTo>
                  <a:pt x="969" y="1136"/>
                </a:lnTo>
                <a:lnTo>
                  <a:pt x="969" y="1139"/>
                </a:lnTo>
                <a:lnTo>
                  <a:pt x="969" y="1139"/>
                </a:lnTo>
                <a:lnTo>
                  <a:pt x="972" y="1139"/>
                </a:lnTo>
                <a:lnTo>
                  <a:pt x="972" y="1139"/>
                </a:lnTo>
                <a:lnTo>
                  <a:pt x="974" y="1139"/>
                </a:lnTo>
                <a:lnTo>
                  <a:pt x="974" y="1139"/>
                </a:lnTo>
                <a:lnTo>
                  <a:pt x="969" y="1141"/>
                </a:lnTo>
                <a:lnTo>
                  <a:pt x="969" y="1141"/>
                </a:lnTo>
                <a:lnTo>
                  <a:pt x="967" y="1151"/>
                </a:lnTo>
                <a:lnTo>
                  <a:pt x="967" y="1151"/>
                </a:lnTo>
                <a:lnTo>
                  <a:pt x="964" y="1151"/>
                </a:lnTo>
                <a:lnTo>
                  <a:pt x="964" y="1151"/>
                </a:lnTo>
                <a:lnTo>
                  <a:pt x="962" y="1153"/>
                </a:lnTo>
                <a:lnTo>
                  <a:pt x="962" y="1153"/>
                </a:lnTo>
                <a:lnTo>
                  <a:pt x="969" y="1153"/>
                </a:lnTo>
                <a:lnTo>
                  <a:pt x="969" y="1153"/>
                </a:lnTo>
                <a:lnTo>
                  <a:pt x="969" y="1153"/>
                </a:lnTo>
                <a:lnTo>
                  <a:pt x="967" y="1156"/>
                </a:lnTo>
                <a:lnTo>
                  <a:pt x="967" y="1156"/>
                </a:lnTo>
                <a:lnTo>
                  <a:pt x="969" y="1158"/>
                </a:lnTo>
                <a:lnTo>
                  <a:pt x="969" y="1158"/>
                </a:lnTo>
                <a:lnTo>
                  <a:pt x="969" y="1161"/>
                </a:lnTo>
                <a:lnTo>
                  <a:pt x="969" y="1161"/>
                </a:lnTo>
                <a:lnTo>
                  <a:pt x="969" y="1166"/>
                </a:lnTo>
                <a:lnTo>
                  <a:pt x="969" y="1166"/>
                </a:lnTo>
                <a:lnTo>
                  <a:pt x="969" y="1166"/>
                </a:lnTo>
                <a:lnTo>
                  <a:pt x="972" y="1171"/>
                </a:lnTo>
                <a:lnTo>
                  <a:pt x="972" y="1171"/>
                </a:lnTo>
                <a:lnTo>
                  <a:pt x="974" y="1171"/>
                </a:lnTo>
                <a:lnTo>
                  <a:pt x="974" y="1171"/>
                </a:lnTo>
                <a:lnTo>
                  <a:pt x="977" y="1173"/>
                </a:lnTo>
                <a:lnTo>
                  <a:pt x="977" y="1173"/>
                </a:lnTo>
                <a:lnTo>
                  <a:pt x="981" y="1173"/>
                </a:lnTo>
                <a:lnTo>
                  <a:pt x="981" y="1173"/>
                </a:lnTo>
                <a:lnTo>
                  <a:pt x="979" y="1176"/>
                </a:lnTo>
                <a:lnTo>
                  <a:pt x="979" y="1176"/>
                </a:lnTo>
                <a:lnTo>
                  <a:pt x="977" y="1176"/>
                </a:lnTo>
                <a:lnTo>
                  <a:pt x="977" y="1176"/>
                </a:lnTo>
                <a:lnTo>
                  <a:pt x="981" y="1178"/>
                </a:lnTo>
                <a:lnTo>
                  <a:pt x="981" y="1178"/>
                </a:lnTo>
                <a:lnTo>
                  <a:pt x="986" y="1178"/>
                </a:lnTo>
                <a:lnTo>
                  <a:pt x="986" y="1178"/>
                </a:lnTo>
                <a:lnTo>
                  <a:pt x="989" y="1181"/>
                </a:lnTo>
                <a:lnTo>
                  <a:pt x="989" y="1181"/>
                </a:lnTo>
                <a:lnTo>
                  <a:pt x="989" y="1178"/>
                </a:lnTo>
                <a:lnTo>
                  <a:pt x="989" y="1178"/>
                </a:lnTo>
                <a:lnTo>
                  <a:pt x="994" y="1181"/>
                </a:lnTo>
                <a:lnTo>
                  <a:pt x="994" y="1181"/>
                </a:lnTo>
                <a:lnTo>
                  <a:pt x="994" y="1183"/>
                </a:lnTo>
                <a:lnTo>
                  <a:pt x="994" y="1183"/>
                </a:lnTo>
                <a:lnTo>
                  <a:pt x="999" y="1183"/>
                </a:lnTo>
                <a:lnTo>
                  <a:pt x="999" y="1183"/>
                </a:lnTo>
                <a:lnTo>
                  <a:pt x="1001" y="1181"/>
                </a:lnTo>
                <a:lnTo>
                  <a:pt x="1001" y="1181"/>
                </a:lnTo>
                <a:lnTo>
                  <a:pt x="1006" y="1178"/>
                </a:lnTo>
                <a:lnTo>
                  <a:pt x="1006" y="1178"/>
                </a:lnTo>
                <a:lnTo>
                  <a:pt x="1006" y="1181"/>
                </a:lnTo>
                <a:lnTo>
                  <a:pt x="1006" y="1181"/>
                </a:lnTo>
                <a:lnTo>
                  <a:pt x="1004" y="1183"/>
                </a:lnTo>
                <a:lnTo>
                  <a:pt x="1004" y="1183"/>
                </a:lnTo>
                <a:lnTo>
                  <a:pt x="1009" y="1183"/>
                </a:lnTo>
                <a:lnTo>
                  <a:pt x="1009" y="1183"/>
                </a:lnTo>
                <a:lnTo>
                  <a:pt x="1013" y="1185"/>
                </a:lnTo>
                <a:lnTo>
                  <a:pt x="1013" y="1185"/>
                </a:lnTo>
                <a:lnTo>
                  <a:pt x="1013" y="1188"/>
                </a:lnTo>
                <a:lnTo>
                  <a:pt x="1013" y="1188"/>
                </a:lnTo>
                <a:lnTo>
                  <a:pt x="1011" y="1188"/>
                </a:lnTo>
                <a:lnTo>
                  <a:pt x="1011" y="1188"/>
                </a:lnTo>
                <a:lnTo>
                  <a:pt x="1011" y="1188"/>
                </a:lnTo>
                <a:lnTo>
                  <a:pt x="1013" y="1190"/>
                </a:lnTo>
                <a:lnTo>
                  <a:pt x="1013" y="1190"/>
                </a:lnTo>
                <a:lnTo>
                  <a:pt x="1016" y="1190"/>
                </a:lnTo>
                <a:lnTo>
                  <a:pt x="1016" y="1190"/>
                </a:lnTo>
                <a:lnTo>
                  <a:pt x="1018" y="1190"/>
                </a:lnTo>
                <a:lnTo>
                  <a:pt x="1018" y="1190"/>
                </a:lnTo>
                <a:lnTo>
                  <a:pt x="1016" y="1193"/>
                </a:lnTo>
                <a:lnTo>
                  <a:pt x="1016" y="1193"/>
                </a:lnTo>
                <a:lnTo>
                  <a:pt x="1013" y="1190"/>
                </a:lnTo>
                <a:lnTo>
                  <a:pt x="1013" y="1190"/>
                </a:lnTo>
                <a:lnTo>
                  <a:pt x="1011" y="1193"/>
                </a:lnTo>
                <a:lnTo>
                  <a:pt x="1011" y="1193"/>
                </a:lnTo>
                <a:lnTo>
                  <a:pt x="1006" y="1193"/>
                </a:lnTo>
                <a:lnTo>
                  <a:pt x="1006" y="1193"/>
                </a:lnTo>
                <a:lnTo>
                  <a:pt x="999" y="1198"/>
                </a:lnTo>
                <a:lnTo>
                  <a:pt x="999" y="1198"/>
                </a:lnTo>
                <a:lnTo>
                  <a:pt x="996" y="1198"/>
                </a:lnTo>
                <a:lnTo>
                  <a:pt x="996" y="1198"/>
                </a:lnTo>
                <a:lnTo>
                  <a:pt x="991" y="1198"/>
                </a:lnTo>
                <a:lnTo>
                  <a:pt x="991" y="1198"/>
                </a:lnTo>
                <a:lnTo>
                  <a:pt x="986" y="1200"/>
                </a:lnTo>
                <a:lnTo>
                  <a:pt x="986" y="1200"/>
                </a:lnTo>
                <a:lnTo>
                  <a:pt x="981" y="1203"/>
                </a:lnTo>
                <a:lnTo>
                  <a:pt x="981" y="1203"/>
                </a:lnTo>
                <a:lnTo>
                  <a:pt x="979" y="1203"/>
                </a:lnTo>
                <a:lnTo>
                  <a:pt x="979" y="1203"/>
                </a:lnTo>
                <a:lnTo>
                  <a:pt x="979" y="1203"/>
                </a:lnTo>
                <a:lnTo>
                  <a:pt x="974" y="1203"/>
                </a:lnTo>
                <a:lnTo>
                  <a:pt x="974" y="1203"/>
                </a:lnTo>
                <a:lnTo>
                  <a:pt x="974" y="1200"/>
                </a:lnTo>
                <a:lnTo>
                  <a:pt x="974" y="1200"/>
                </a:lnTo>
                <a:lnTo>
                  <a:pt x="972" y="1200"/>
                </a:lnTo>
                <a:lnTo>
                  <a:pt x="972" y="1200"/>
                </a:lnTo>
                <a:lnTo>
                  <a:pt x="972" y="1203"/>
                </a:lnTo>
                <a:lnTo>
                  <a:pt x="972" y="1203"/>
                </a:lnTo>
                <a:lnTo>
                  <a:pt x="969" y="1200"/>
                </a:lnTo>
                <a:lnTo>
                  <a:pt x="969" y="1200"/>
                </a:lnTo>
                <a:lnTo>
                  <a:pt x="967" y="1205"/>
                </a:lnTo>
                <a:lnTo>
                  <a:pt x="967" y="1205"/>
                </a:lnTo>
                <a:lnTo>
                  <a:pt x="969" y="1208"/>
                </a:lnTo>
                <a:lnTo>
                  <a:pt x="969" y="1208"/>
                </a:lnTo>
                <a:lnTo>
                  <a:pt x="964" y="1210"/>
                </a:lnTo>
                <a:lnTo>
                  <a:pt x="964" y="1210"/>
                </a:lnTo>
                <a:lnTo>
                  <a:pt x="959" y="1215"/>
                </a:lnTo>
                <a:lnTo>
                  <a:pt x="959" y="1215"/>
                </a:lnTo>
                <a:lnTo>
                  <a:pt x="957" y="1217"/>
                </a:lnTo>
                <a:lnTo>
                  <a:pt x="957" y="1217"/>
                </a:lnTo>
                <a:lnTo>
                  <a:pt x="952" y="1220"/>
                </a:lnTo>
                <a:lnTo>
                  <a:pt x="952" y="1220"/>
                </a:lnTo>
                <a:lnTo>
                  <a:pt x="952" y="1220"/>
                </a:lnTo>
                <a:lnTo>
                  <a:pt x="949" y="1220"/>
                </a:lnTo>
                <a:lnTo>
                  <a:pt x="949" y="1220"/>
                </a:lnTo>
                <a:lnTo>
                  <a:pt x="949" y="1222"/>
                </a:lnTo>
                <a:lnTo>
                  <a:pt x="949" y="1222"/>
                </a:lnTo>
                <a:lnTo>
                  <a:pt x="949" y="1222"/>
                </a:lnTo>
                <a:lnTo>
                  <a:pt x="947" y="1222"/>
                </a:lnTo>
                <a:lnTo>
                  <a:pt x="947" y="1222"/>
                </a:lnTo>
                <a:lnTo>
                  <a:pt x="945" y="1222"/>
                </a:lnTo>
                <a:lnTo>
                  <a:pt x="945" y="1222"/>
                </a:lnTo>
                <a:lnTo>
                  <a:pt x="942" y="1222"/>
                </a:lnTo>
                <a:lnTo>
                  <a:pt x="942" y="1222"/>
                </a:lnTo>
                <a:lnTo>
                  <a:pt x="942" y="1217"/>
                </a:lnTo>
                <a:lnTo>
                  <a:pt x="942" y="1217"/>
                </a:lnTo>
                <a:lnTo>
                  <a:pt x="940" y="1217"/>
                </a:lnTo>
                <a:lnTo>
                  <a:pt x="940" y="1217"/>
                </a:lnTo>
                <a:lnTo>
                  <a:pt x="940" y="1217"/>
                </a:lnTo>
                <a:lnTo>
                  <a:pt x="940" y="1215"/>
                </a:lnTo>
                <a:lnTo>
                  <a:pt x="940" y="1215"/>
                </a:lnTo>
                <a:lnTo>
                  <a:pt x="937" y="1213"/>
                </a:lnTo>
                <a:lnTo>
                  <a:pt x="937" y="1213"/>
                </a:lnTo>
                <a:lnTo>
                  <a:pt x="937" y="1208"/>
                </a:lnTo>
                <a:lnTo>
                  <a:pt x="937" y="1208"/>
                </a:lnTo>
                <a:lnTo>
                  <a:pt x="940" y="1203"/>
                </a:lnTo>
                <a:lnTo>
                  <a:pt x="940" y="1203"/>
                </a:lnTo>
                <a:lnTo>
                  <a:pt x="945" y="1200"/>
                </a:lnTo>
                <a:lnTo>
                  <a:pt x="945" y="1200"/>
                </a:lnTo>
                <a:lnTo>
                  <a:pt x="945" y="1198"/>
                </a:lnTo>
                <a:lnTo>
                  <a:pt x="945" y="1198"/>
                </a:lnTo>
                <a:lnTo>
                  <a:pt x="949" y="1195"/>
                </a:lnTo>
                <a:lnTo>
                  <a:pt x="949" y="1195"/>
                </a:lnTo>
                <a:lnTo>
                  <a:pt x="957" y="1193"/>
                </a:lnTo>
                <a:lnTo>
                  <a:pt x="957" y="1193"/>
                </a:lnTo>
                <a:lnTo>
                  <a:pt x="962" y="1190"/>
                </a:lnTo>
                <a:lnTo>
                  <a:pt x="962" y="1190"/>
                </a:lnTo>
                <a:lnTo>
                  <a:pt x="967" y="1188"/>
                </a:lnTo>
                <a:lnTo>
                  <a:pt x="967" y="1188"/>
                </a:lnTo>
                <a:lnTo>
                  <a:pt x="969" y="1190"/>
                </a:lnTo>
                <a:lnTo>
                  <a:pt x="969" y="1190"/>
                </a:lnTo>
                <a:lnTo>
                  <a:pt x="969" y="1193"/>
                </a:lnTo>
                <a:lnTo>
                  <a:pt x="969" y="1193"/>
                </a:lnTo>
                <a:lnTo>
                  <a:pt x="972" y="1193"/>
                </a:lnTo>
                <a:lnTo>
                  <a:pt x="972" y="1193"/>
                </a:lnTo>
                <a:lnTo>
                  <a:pt x="972" y="1193"/>
                </a:lnTo>
                <a:lnTo>
                  <a:pt x="972" y="1190"/>
                </a:lnTo>
                <a:lnTo>
                  <a:pt x="972" y="1190"/>
                </a:lnTo>
                <a:lnTo>
                  <a:pt x="974" y="1190"/>
                </a:lnTo>
                <a:lnTo>
                  <a:pt x="974" y="1190"/>
                </a:lnTo>
                <a:lnTo>
                  <a:pt x="979" y="1188"/>
                </a:lnTo>
                <a:lnTo>
                  <a:pt x="979" y="1188"/>
                </a:lnTo>
                <a:lnTo>
                  <a:pt x="981" y="1188"/>
                </a:lnTo>
                <a:lnTo>
                  <a:pt x="981" y="1188"/>
                </a:lnTo>
                <a:lnTo>
                  <a:pt x="977" y="1188"/>
                </a:lnTo>
                <a:lnTo>
                  <a:pt x="977" y="1188"/>
                </a:lnTo>
                <a:lnTo>
                  <a:pt x="972" y="1188"/>
                </a:lnTo>
                <a:lnTo>
                  <a:pt x="972" y="1188"/>
                </a:lnTo>
                <a:lnTo>
                  <a:pt x="969" y="1185"/>
                </a:lnTo>
                <a:lnTo>
                  <a:pt x="969" y="1185"/>
                </a:lnTo>
                <a:lnTo>
                  <a:pt x="967" y="1185"/>
                </a:lnTo>
                <a:lnTo>
                  <a:pt x="967" y="1185"/>
                </a:lnTo>
                <a:lnTo>
                  <a:pt x="964" y="1188"/>
                </a:lnTo>
                <a:lnTo>
                  <a:pt x="964" y="1188"/>
                </a:lnTo>
                <a:lnTo>
                  <a:pt x="959" y="1188"/>
                </a:lnTo>
                <a:lnTo>
                  <a:pt x="959" y="1188"/>
                </a:lnTo>
                <a:lnTo>
                  <a:pt x="964" y="1183"/>
                </a:lnTo>
                <a:lnTo>
                  <a:pt x="964" y="1183"/>
                </a:lnTo>
                <a:lnTo>
                  <a:pt x="967" y="1183"/>
                </a:lnTo>
                <a:lnTo>
                  <a:pt x="967" y="1183"/>
                </a:lnTo>
                <a:lnTo>
                  <a:pt x="969" y="1181"/>
                </a:lnTo>
                <a:lnTo>
                  <a:pt x="969" y="1181"/>
                </a:lnTo>
                <a:lnTo>
                  <a:pt x="969" y="1178"/>
                </a:lnTo>
                <a:lnTo>
                  <a:pt x="969" y="1178"/>
                </a:lnTo>
                <a:lnTo>
                  <a:pt x="967" y="1178"/>
                </a:lnTo>
                <a:lnTo>
                  <a:pt x="967" y="1178"/>
                </a:lnTo>
                <a:lnTo>
                  <a:pt x="967" y="1178"/>
                </a:lnTo>
                <a:lnTo>
                  <a:pt x="964" y="1181"/>
                </a:lnTo>
                <a:lnTo>
                  <a:pt x="964" y="1181"/>
                </a:lnTo>
                <a:lnTo>
                  <a:pt x="962" y="1183"/>
                </a:lnTo>
                <a:lnTo>
                  <a:pt x="962" y="1183"/>
                </a:lnTo>
                <a:lnTo>
                  <a:pt x="959" y="1185"/>
                </a:lnTo>
                <a:lnTo>
                  <a:pt x="959" y="1185"/>
                </a:lnTo>
                <a:lnTo>
                  <a:pt x="954" y="1185"/>
                </a:lnTo>
                <a:lnTo>
                  <a:pt x="954" y="1185"/>
                </a:lnTo>
                <a:lnTo>
                  <a:pt x="954" y="1188"/>
                </a:lnTo>
                <a:lnTo>
                  <a:pt x="954" y="1188"/>
                </a:lnTo>
                <a:lnTo>
                  <a:pt x="947" y="1190"/>
                </a:lnTo>
                <a:lnTo>
                  <a:pt x="947" y="1190"/>
                </a:lnTo>
                <a:lnTo>
                  <a:pt x="945" y="1188"/>
                </a:lnTo>
                <a:lnTo>
                  <a:pt x="945" y="1188"/>
                </a:lnTo>
                <a:lnTo>
                  <a:pt x="947" y="1188"/>
                </a:lnTo>
                <a:lnTo>
                  <a:pt x="947" y="1188"/>
                </a:lnTo>
                <a:lnTo>
                  <a:pt x="945" y="1188"/>
                </a:lnTo>
                <a:lnTo>
                  <a:pt x="945" y="1188"/>
                </a:lnTo>
                <a:lnTo>
                  <a:pt x="947" y="1183"/>
                </a:lnTo>
                <a:lnTo>
                  <a:pt x="947" y="1183"/>
                </a:lnTo>
                <a:lnTo>
                  <a:pt x="945" y="1188"/>
                </a:lnTo>
                <a:lnTo>
                  <a:pt x="945" y="1188"/>
                </a:lnTo>
                <a:lnTo>
                  <a:pt x="942" y="1190"/>
                </a:lnTo>
                <a:lnTo>
                  <a:pt x="942" y="1190"/>
                </a:lnTo>
                <a:lnTo>
                  <a:pt x="940" y="1190"/>
                </a:lnTo>
                <a:lnTo>
                  <a:pt x="940" y="1190"/>
                </a:lnTo>
                <a:lnTo>
                  <a:pt x="937" y="1190"/>
                </a:lnTo>
                <a:lnTo>
                  <a:pt x="937" y="1190"/>
                </a:lnTo>
                <a:lnTo>
                  <a:pt x="935" y="1193"/>
                </a:lnTo>
                <a:lnTo>
                  <a:pt x="935" y="1193"/>
                </a:lnTo>
                <a:lnTo>
                  <a:pt x="932" y="1190"/>
                </a:lnTo>
                <a:lnTo>
                  <a:pt x="932" y="1190"/>
                </a:lnTo>
                <a:lnTo>
                  <a:pt x="932" y="1188"/>
                </a:lnTo>
                <a:lnTo>
                  <a:pt x="932" y="1188"/>
                </a:lnTo>
                <a:lnTo>
                  <a:pt x="930" y="1190"/>
                </a:lnTo>
                <a:lnTo>
                  <a:pt x="930" y="1190"/>
                </a:lnTo>
                <a:lnTo>
                  <a:pt x="925" y="1188"/>
                </a:lnTo>
                <a:lnTo>
                  <a:pt x="925" y="1188"/>
                </a:lnTo>
                <a:lnTo>
                  <a:pt x="925" y="1188"/>
                </a:lnTo>
                <a:lnTo>
                  <a:pt x="922" y="1188"/>
                </a:lnTo>
                <a:lnTo>
                  <a:pt x="922" y="1188"/>
                </a:lnTo>
                <a:lnTo>
                  <a:pt x="925" y="1185"/>
                </a:lnTo>
                <a:lnTo>
                  <a:pt x="925" y="1185"/>
                </a:lnTo>
                <a:lnTo>
                  <a:pt x="925" y="1185"/>
                </a:lnTo>
                <a:lnTo>
                  <a:pt x="925" y="1183"/>
                </a:lnTo>
                <a:lnTo>
                  <a:pt x="925" y="1183"/>
                </a:lnTo>
                <a:lnTo>
                  <a:pt x="925" y="1181"/>
                </a:lnTo>
                <a:lnTo>
                  <a:pt x="925" y="1181"/>
                </a:lnTo>
                <a:lnTo>
                  <a:pt x="922" y="1178"/>
                </a:lnTo>
                <a:lnTo>
                  <a:pt x="922" y="1178"/>
                </a:lnTo>
                <a:lnTo>
                  <a:pt x="922" y="1178"/>
                </a:lnTo>
                <a:lnTo>
                  <a:pt x="920" y="1176"/>
                </a:lnTo>
                <a:lnTo>
                  <a:pt x="920" y="1176"/>
                </a:lnTo>
                <a:lnTo>
                  <a:pt x="922" y="1176"/>
                </a:lnTo>
                <a:lnTo>
                  <a:pt x="922" y="1176"/>
                </a:lnTo>
                <a:lnTo>
                  <a:pt x="925" y="1156"/>
                </a:lnTo>
                <a:lnTo>
                  <a:pt x="925" y="1156"/>
                </a:lnTo>
                <a:lnTo>
                  <a:pt x="925" y="1151"/>
                </a:lnTo>
                <a:lnTo>
                  <a:pt x="925" y="1151"/>
                </a:lnTo>
                <a:lnTo>
                  <a:pt x="918" y="1144"/>
                </a:lnTo>
                <a:lnTo>
                  <a:pt x="918" y="1144"/>
                </a:lnTo>
                <a:lnTo>
                  <a:pt x="918" y="1146"/>
                </a:lnTo>
                <a:lnTo>
                  <a:pt x="918" y="1146"/>
                </a:lnTo>
                <a:lnTo>
                  <a:pt x="913" y="1144"/>
                </a:lnTo>
                <a:lnTo>
                  <a:pt x="913" y="1144"/>
                </a:lnTo>
                <a:lnTo>
                  <a:pt x="910" y="1146"/>
                </a:lnTo>
                <a:lnTo>
                  <a:pt x="910" y="1146"/>
                </a:lnTo>
                <a:lnTo>
                  <a:pt x="908" y="1144"/>
                </a:lnTo>
                <a:lnTo>
                  <a:pt x="908" y="1144"/>
                </a:lnTo>
                <a:lnTo>
                  <a:pt x="905" y="1141"/>
                </a:lnTo>
                <a:lnTo>
                  <a:pt x="905" y="1141"/>
                </a:lnTo>
                <a:lnTo>
                  <a:pt x="905" y="1141"/>
                </a:lnTo>
                <a:lnTo>
                  <a:pt x="903" y="1144"/>
                </a:lnTo>
                <a:lnTo>
                  <a:pt x="903" y="1144"/>
                </a:lnTo>
                <a:lnTo>
                  <a:pt x="900" y="1146"/>
                </a:lnTo>
                <a:lnTo>
                  <a:pt x="900" y="1146"/>
                </a:lnTo>
                <a:lnTo>
                  <a:pt x="895" y="1153"/>
                </a:lnTo>
                <a:lnTo>
                  <a:pt x="895" y="1153"/>
                </a:lnTo>
                <a:lnTo>
                  <a:pt x="893" y="1156"/>
                </a:lnTo>
                <a:lnTo>
                  <a:pt x="893" y="1156"/>
                </a:lnTo>
                <a:lnTo>
                  <a:pt x="893" y="1158"/>
                </a:lnTo>
                <a:lnTo>
                  <a:pt x="893" y="1158"/>
                </a:lnTo>
                <a:lnTo>
                  <a:pt x="890" y="1161"/>
                </a:lnTo>
                <a:lnTo>
                  <a:pt x="890" y="1161"/>
                </a:lnTo>
                <a:lnTo>
                  <a:pt x="888" y="1166"/>
                </a:lnTo>
                <a:lnTo>
                  <a:pt x="888" y="1166"/>
                </a:lnTo>
                <a:lnTo>
                  <a:pt x="888" y="1168"/>
                </a:lnTo>
                <a:lnTo>
                  <a:pt x="888" y="1168"/>
                </a:lnTo>
                <a:lnTo>
                  <a:pt x="883" y="1173"/>
                </a:lnTo>
                <a:lnTo>
                  <a:pt x="883" y="1173"/>
                </a:lnTo>
                <a:lnTo>
                  <a:pt x="881" y="1173"/>
                </a:lnTo>
                <a:lnTo>
                  <a:pt x="881" y="1173"/>
                </a:lnTo>
                <a:lnTo>
                  <a:pt x="876" y="1181"/>
                </a:lnTo>
                <a:lnTo>
                  <a:pt x="876" y="1181"/>
                </a:lnTo>
                <a:lnTo>
                  <a:pt x="876" y="1181"/>
                </a:lnTo>
                <a:lnTo>
                  <a:pt x="873" y="1183"/>
                </a:lnTo>
                <a:lnTo>
                  <a:pt x="873" y="1183"/>
                </a:lnTo>
                <a:lnTo>
                  <a:pt x="871" y="1183"/>
                </a:lnTo>
                <a:lnTo>
                  <a:pt x="871" y="1183"/>
                </a:lnTo>
                <a:lnTo>
                  <a:pt x="868" y="1183"/>
                </a:lnTo>
                <a:lnTo>
                  <a:pt x="868" y="1183"/>
                </a:lnTo>
                <a:lnTo>
                  <a:pt x="868" y="1183"/>
                </a:lnTo>
                <a:lnTo>
                  <a:pt x="866" y="1183"/>
                </a:lnTo>
                <a:lnTo>
                  <a:pt x="866" y="1183"/>
                </a:lnTo>
                <a:lnTo>
                  <a:pt x="863" y="1188"/>
                </a:lnTo>
                <a:lnTo>
                  <a:pt x="863" y="1188"/>
                </a:lnTo>
                <a:lnTo>
                  <a:pt x="819" y="1185"/>
                </a:lnTo>
                <a:lnTo>
                  <a:pt x="819" y="1185"/>
                </a:lnTo>
                <a:lnTo>
                  <a:pt x="812" y="1188"/>
                </a:lnTo>
                <a:lnTo>
                  <a:pt x="812" y="1188"/>
                </a:lnTo>
                <a:lnTo>
                  <a:pt x="809" y="1190"/>
                </a:lnTo>
                <a:lnTo>
                  <a:pt x="809" y="1190"/>
                </a:lnTo>
                <a:lnTo>
                  <a:pt x="807" y="1190"/>
                </a:lnTo>
                <a:lnTo>
                  <a:pt x="807" y="1190"/>
                </a:lnTo>
                <a:lnTo>
                  <a:pt x="802" y="1193"/>
                </a:lnTo>
                <a:lnTo>
                  <a:pt x="802" y="1193"/>
                </a:lnTo>
                <a:lnTo>
                  <a:pt x="797" y="1200"/>
                </a:lnTo>
                <a:lnTo>
                  <a:pt x="797" y="1200"/>
                </a:lnTo>
                <a:lnTo>
                  <a:pt x="792" y="1200"/>
                </a:lnTo>
                <a:lnTo>
                  <a:pt x="792" y="1200"/>
                </a:lnTo>
                <a:lnTo>
                  <a:pt x="790" y="1203"/>
                </a:lnTo>
                <a:lnTo>
                  <a:pt x="790" y="1203"/>
                </a:lnTo>
                <a:lnTo>
                  <a:pt x="777" y="1213"/>
                </a:lnTo>
                <a:lnTo>
                  <a:pt x="777" y="1213"/>
                </a:lnTo>
                <a:lnTo>
                  <a:pt x="748" y="1222"/>
                </a:lnTo>
                <a:lnTo>
                  <a:pt x="748" y="1222"/>
                </a:lnTo>
                <a:lnTo>
                  <a:pt x="745" y="1230"/>
                </a:lnTo>
                <a:lnTo>
                  <a:pt x="745" y="1230"/>
                </a:lnTo>
                <a:lnTo>
                  <a:pt x="738" y="1232"/>
                </a:lnTo>
                <a:lnTo>
                  <a:pt x="738" y="1232"/>
                </a:lnTo>
                <a:lnTo>
                  <a:pt x="686" y="1244"/>
                </a:lnTo>
                <a:lnTo>
                  <a:pt x="686" y="1244"/>
                </a:lnTo>
                <a:lnTo>
                  <a:pt x="684" y="1240"/>
                </a:lnTo>
                <a:lnTo>
                  <a:pt x="684" y="1240"/>
                </a:lnTo>
                <a:lnTo>
                  <a:pt x="686" y="1237"/>
                </a:lnTo>
                <a:lnTo>
                  <a:pt x="686" y="1237"/>
                </a:lnTo>
                <a:lnTo>
                  <a:pt x="691" y="1235"/>
                </a:lnTo>
                <a:lnTo>
                  <a:pt x="691" y="1235"/>
                </a:lnTo>
                <a:lnTo>
                  <a:pt x="694" y="1230"/>
                </a:lnTo>
                <a:lnTo>
                  <a:pt x="694" y="1230"/>
                </a:lnTo>
                <a:lnTo>
                  <a:pt x="696" y="1227"/>
                </a:lnTo>
                <a:lnTo>
                  <a:pt x="696" y="1227"/>
                </a:lnTo>
                <a:lnTo>
                  <a:pt x="699" y="1225"/>
                </a:lnTo>
                <a:lnTo>
                  <a:pt x="699" y="1225"/>
                </a:lnTo>
                <a:lnTo>
                  <a:pt x="699" y="1203"/>
                </a:lnTo>
                <a:lnTo>
                  <a:pt x="699" y="1203"/>
                </a:lnTo>
                <a:lnTo>
                  <a:pt x="689" y="1156"/>
                </a:lnTo>
                <a:lnTo>
                  <a:pt x="689" y="1156"/>
                </a:lnTo>
                <a:lnTo>
                  <a:pt x="679" y="1149"/>
                </a:lnTo>
                <a:lnTo>
                  <a:pt x="679" y="1149"/>
                </a:lnTo>
                <a:lnTo>
                  <a:pt x="676" y="1144"/>
                </a:lnTo>
                <a:lnTo>
                  <a:pt x="676" y="1144"/>
                </a:lnTo>
                <a:lnTo>
                  <a:pt x="615" y="1114"/>
                </a:lnTo>
                <a:lnTo>
                  <a:pt x="615" y="1114"/>
                </a:lnTo>
                <a:lnTo>
                  <a:pt x="612" y="1112"/>
                </a:lnTo>
                <a:lnTo>
                  <a:pt x="612" y="1112"/>
                </a:lnTo>
                <a:lnTo>
                  <a:pt x="608" y="1112"/>
                </a:lnTo>
                <a:lnTo>
                  <a:pt x="608" y="1112"/>
                </a:lnTo>
                <a:lnTo>
                  <a:pt x="608" y="1109"/>
                </a:lnTo>
                <a:lnTo>
                  <a:pt x="608" y="1109"/>
                </a:lnTo>
                <a:lnTo>
                  <a:pt x="600" y="1109"/>
                </a:lnTo>
                <a:lnTo>
                  <a:pt x="600" y="1109"/>
                </a:lnTo>
                <a:lnTo>
                  <a:pt x="598" y="1107"/>
                </a:lnTo>
                <a:lnTo>
                  <a:pt x="598" y="1107"/>
                </a:lnTo>
                <a:lnTo>
                  <a:pt x="595" y="1107"/>
                </a:lnTo>
                <a:lnTo>
                  <a:pt x="595" y="1107"/>
                </a:lnTo>
                <a:lnTo>
                  <a:pt x="593" y="1107"/>
                </a:lnTo>
                <a:lnTo>
                  <a:pt x="593" y="1107"/>
                </a:lnTo>
                <a:lnTo>
                  <a:pt x="588" y="1107"/>
                </a:lnTo>
                <a:lnTo>
                  <a:pt x="588" y="1107"/>
                </a:lnTo>
                <a:lnTo>
                  <a:pt x="585" y="1107"/>
                </a:lnTo>
                <a:lnTo>
                  <a:pt x="585" y="1107"/>
                </a:lnTo>
                <a:lnTo>
                  <a:pt x="585" y="1104"/>
                </a:lnTo>
                <a:lnTo>
                  <a:pt x="585" y="1104"/>
                </a:lnTo>
                <a:lnTo>
                  <a:pt x="580" y="1104"/>
                </a:lnTo>
                <a:lnTo>
                  <a:pt x="580" y="1104"/>
                </a:lnTo>
                <a:lnTo>
                  <a:pt x="576" y="1102"/>
                </a:lnTo>
                <a:lnTo>
                  <a:pt x="576" y="1102"/>
                </a:lnTo>
                <a:lnTo>
                  <a:pt x="576" y="1097"/>
                </a:lnTo>
                <a:lnTo>
                  <a:pt x="576" y="1097"/>
                </a:lnTo>
                <a:lnTo>
                  <a:pt x="573" y="1097"/>
                </a:lnTo>
                <a:lnTo>
                  <a:pt x="573" y="1097"/>
                </a:lnTo>
                <a:lnTo>
                  <a:pt x="568" y="1094"/>
                </a:lnTo>
                <a:lnTo>
                  <a:pt x="568" y="1094"/>
                </a:lnTo>
                <a:lnTo>
                  <a:pt x="566" y="1094"/>
                </a:lnTo>
                <a:lnTo>
                  <a:pt x="566" y="1094"/>
                </a:lnTo>
                <a:lnTo>
                  <a:pt x="563" y="1094"/>
                </a:lnTo>
                <a:lnTo>
                  <a:pt x="563" y="1094"/>
                </a:lnTo>
                <a:lnTo>
                  <a:pt x="561" y="1094"/>
                </a:lnTo>
                <a:lnTo>
                  <a:pt x="561" y="1094"/>
                </a:lnTo>
                <a:lnTo>
                  <a:pt x="558" y="1097"/>
                </a:lnTo>
                <a:lnTo>
                  <a:pt x="558" y="1097"/>
                </a:lnTo>
                <a:lnTo>
                  <a:pt x="558" y="1094"/>
                </a:lnTo>
                <a:lnTo>
                  <a:pt x="558" y="1094"/>
                </a:lnTo>
                <a:lnTo>
                  <a:pt x="553" y="1092"/>
                </a:lnTo>
                <a:lnTo>
                  <a:pt x="553" y="1092"/>
                </a:lnTo>
                <a:lnTo>
                  <a:pt x="553" y="1092"/>
                </a:lnTo>
                <a:lnTo>
                  <a:pt x="551" y="1092"/>
                </a:lnTo>
                <a:lnTo>
                  <a:pt x="551" y="1092"/>
                </a:lnTo>
                <a:lnTo>
                  <a:pt x="551" y="1090"/>
                </a:lnTo>
                <a:lnTo>
                  <a:pt x="551" y="1090"/>
                </a:lnTo>
                <a:lnTo>
                  <a:pt x="549" y="1090"/>
                </a:lnTo>
                <a:lnTo>
                  <a:pt x="549" y="1090"/>
                </a:lnTo>
                <a:lnTo>
                  <a:pt x="549" y="1087"/>
                </a:lnTo>
                <a:lnTo>
                  <a:pt x="549" y="1087"/>
                </a:lnTo>
                <a:lnTo>
                  <a:pt x="544" y="1085"/>
                </a:lnTo>
                <a:lnTo>
                  <a:pt x="544" y="1085"/>
                </a:lnTo>
                <a:lnTo>
                  <a:pt x="541" y="1085"/>
                </a:lnTo>
                <a:lnTo>
                  <a:pt x="541" y="1085"/>
                </a:lnTo>
                <a:lnTo>
                  <a:pt x="539" y="1085"/>
                </a:lnTo>
                <a:lnTo>
                  <a:pt x="138" y="104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72"/>
          <p:cNvSpPr>
            <a:spLocks noEditPoints="1"/>
          </p:cNvSpPr>
          <p:nvPr/>
        </p:nvSpPr>
        <p:spPr bwMode="auto">
          <a:xfrm>
            <a:off x="601608" y="1810462"/>
            <a:ext cx="1355326" cy="975385"/>
          </a:xfrm>
          <a:custGeom>
            <a:avLst/>
            <a:gdLst/>
            <a:ahLst/>
            <a:cxnLst>
              <a:cxn ang="0">
                <a:pos x="728" y="510"/>
              </a:cxn>
              <a:cxn ang="0">
                <a:pos x="819" y="111"/>
              </a:cxn>
              <a:cxn ang="0">
                <a:pos x="763" y="79"/>
              </a:cxn>
              <a:cxn ang="0">
                <a:pos x="726" y="32"/>
              </a:cxn>
              <a:cxn ang="0">
                <a:pos x="689" y="25"/>
              </a:cxn>
              <a:cxn ang="0">
                <a:pos x="647" y="13"/>
              </a:cxn>
              <a:cxn ang="0">
                <a:pos x="568" y="42"/>
              </a:cxn>
              <a:cxn ang="0">
                <a:pos x="507" y="141"/>
              </a:cxn>
              <a:cxn ang="0">
                <a:pos x="497" y="168"/>
              </a:cxn>
              <a:cxn ang="0">
                <a:pos x="475" y="160"/>
              </a:cxn>
              <a:cxn ang="0">
                <a:pos x="403" y="180"/>
              </a:cxn>
              <a:cxn ang="0">
                <a:pos x="435" y="232"/>
              </a:cxn>
              <a:cxn ang="0">
                <a:pos x="458" y="256"/>
              </a:cxn>
              <a:cxn ang="0">
                <a:pos x="379" y="298"/>
              </a:cxn>
              <a:cxn ang="0">
                <a:pos x="349" y="347"/>
              </a:cxn>
              <a:cxn ang="0">
                <a:pos x="337" y="369"/>
              </a:cxn>
              <a:cxn ang="0">
                <a:pos x="362" y="406"/>
              </a:cxn>
              <a:cxn ang="0">
                <a:pos x="374" y="433"/>
              </a:cxn>
              <a:cxn ang="0">
                <a:pos x="401" y="458"/>
              </a:cxn>
              <a:cxn ang="0">
                <a:pos x="325" y="519"/>
              </a:cxn>
              <a:cxn ang="0">
                <a:pos x="278" y="544"/>
              </a:cxn>
              <a:cxn ang="0">
                <a:pos x="325" y="532"/>
              </a:cxn>
              <a:cxn ang="0">
                <a:pos x="371" y="510"/>
              </a:cxn>
              <a:cxn ang="0">
                <a:pos x="426" y="478"/>
              </a:cxn>
              <a:cxn ang="0">
                <a:pos x="460" y="436"/>
              </a:cxn>
              <a:cxn ang="0">
                <a:pos x="529" y="391"/>
              </a:cxn>
              <a:cxn ang="0">
                <a:pos x="502" y="428"/>
              </a:cxn>
              <a:cxn ang="0">
                <a:pos x="522" y="441"/>
              </a:cxn>
              <a:cxn ang="0">
                <a:pos x="563" y="414"/>
              </a:cxn>
              <a:cxn ang="0">
                <a:pos x="588" y="414"/>
              </a:cxn>
              <a:cxn ang="0">
                <a:pos x="610" y="441"/>
              </a:cxn>
              <a:cxn ang="0">
                <a:pos x="669" y="463"/>
              </a:cxn>
              <a:cxn ang="0">
                <a:pos x="691" y="519"/>
              </a:cxn>
              <a:cxn ang="0">
                <a:pos x="706" y="527"/>
              </a:cxn>
              <a:cxn ang="0">
                <a:pos x="726" y="539"/>
              </a:cxn>
              <a:cxn ang="0">
                <a:pos x="731" y="588"/>
              </a:cxn>
              <a:cxn ang="0">
                <a:pos x="736" y="625"/>
              </a:cxn>
              <a:cxn ang="0">
                <a:pos x="721" y="620"/>
              </a:cxn>
              <a:cxn ang="0">
                <a:pos x="696" y="613"/>
              </a:cxn>
              <a:cxn ang="0">
                <a:pos x="713" y="603"/>
              </a:cxn>
              <a:cxn ang="0">
                <a:pos x="704" y="610"/>
              </a:cxn>
              <a:cxn ang="0">
                <a:pos x="718" y="581"/>
              </a:cxn>
              <a:cxn ang="0">
                <a:pos x="701" y="569"/>
              </a:cxn>
              <a:cxn ang="0">
                <a:pos x="694" y="573"/>
              </a:cxn>
              <a:cxn ang="0">
                <a:pos x="701" y="559"/>
              </a:cxn>
              <a:cxn ang="0">
                <a:pos x="701" y="532"/>
              </a:cxn>
              <a:cxn ang="0">
                <a:pos x="691" y="529"/>
              </a:cxn>
              <a:cxn ang="0">
                <a:pos x="394" y="276"/>
              </a:cxn>
              <a:cxn ang="0">
                <a:pos x="576" y="419"/>
              </a:cxn>
              <a:cxn ang="0">
                <a:pos x="566" y="423"/>
              </a:cxn>
              <a:cxn ang="0">
                <a:pos x="312" y="227"/>
              </a:cxn>
              <a:cxn ang="0">
                <a:pos x="310" y="377"/>
              </a:cxn>
              <a:cxn ang="0">
                <a:pos x="472" y="468"/>
              </a:cxn>
              <a:cxn ang="0">
                <a:pos x="443" y="482"/>
              </a:cxn>
              <a:cxn ang="0">
                <a:pos x="453" y="500"/>
              </a:cxn>
              <a:cxn ang="0">
                <a:pos x="413" y="522"/>
              </a:cxn>
              <a:cxn ang="0">
                <a:pos x="310" y="539"/>
              </a:cxn>
              <a:cxn ang="0">
                <a:pos x="22" y="596"/>
              </a:cxn>
              <a:cxn ang="0">
                <a:pos x="69" y="601"/>
              </a:cxn>
              <a:cxn ang="0">
                <a:pos x="150" y="593"/>
              </a:cxn>
              <a:cxn ang="0">
                <a:pos x="204" y="571"/>
              </a:cxn>
              <a:cxn ang="0">
                <a:pos x="239" y="564"/>
              </a:cxn>
              <a:cxn ang="0">
                <a:pos x="253" y="541"/>
              </a:cxn>
            </a:cxnLst>
            <a:rect l="0" t="0" r="r" b="b"/>
            <a:pathLst>
              <a:path w="831" h="635">
                <a:moveTo>
                  <a:pt x="748" y="605"/>
                </a:moveTo>
                <a:lnTo>
                  <a:pt x="748" y="605"/>
                </a:lnTo>
                <a:lnTo>
                  <a:pt x="748" y="605"/>
                </a:lnTo>
                <a:lnTo>
                  <a:pt x="748" y="603"/>
                </a:lnTo>
                <a:lnTo>
                  <a:pt x="748" y="603"/>
                </a:lnTo>
                <a:lnTo>
                  <a:pt x="750" y="603"/>
                </a:lnTo>
                <a:lnTo>
                  <a:pt x="750" y="603"/>
                </a:lnTo>
                <a:lnTo>
                  <a:pt x="750" y="601"/>
                </a:lnTo>
                <a:lnTo>
                  <a:pt x="750" y="601"/>
                </a:lnTo>
                <a:lnTo>
                  <a:pt x="750" y="601"/>
                </a:lnTo>
                <a:lnTo>
                  <a:pt x="750" y="598"/>
                </a:lnTo>
                <a:lnTo>
                  <a:pt x="750" y="598"/>
                </a:lnTo>
                <a:lnTo>
                  <a:pt x="748" y="598"/>
                </a:lnTo>
                <a:lnTo>
                  <a:pt x="748" y="598"/>
                </a:lnTo>
                <a:lnTo>
                  <a:pt x="748" y="593"/>
                </a:lnTo>
                <a:lnTo>
                  <a:pt x="748" y="593"/>
                </a:lnTo>
                <a:lnTo>
                  <a:pt x="745" y="591"/>
                </a:lnTo>
                <a:lnTo>
                  <a:pt x="745" y="591"/>
                </a:lnTo>
                <a:lnTo>
                  <a:pt x="743" y="588"/>
                </a:lnTo>
                <a:lnTo>
                  <a:pt x="743" y="588"/>
                </a:lnTo>
                <a:lnTo>
                  <a:pt x="740" y="588"/>
                </a:lnTo>
                <a:lnTo>
                  <a:pt x="740" y="588"/>
                </a:lnTo>
                <a:lnTo>
                  <a:pt x="740" y="586"/>
                </a:lnTo>
                <a:lnTo>
                  <a:pt x="740" y="586"/>
                </a:lnTo>
                <a:lnTo>
                  <a:pt x="738" y="581"/>
                </a:lnTo>
                <a:lnTo>
                  <a:pt x="738" y="581"/>
                </a:lnTo>
                <a:lnTo>
                  <a:pt x="736" y="581"/>
                </a:lnTo>
                <a:lnTo>
                  <a:pt x="736" y="581"/>
                </a:lnTo>
                <a:lnTo>
                  <a:pt x="733" y="581"/>
                </a:lnTo>
                <a:lnTo>
                  <a:pt x="733" y="581"/>
                </a:lnTo>
                <a:lnTo>
                  <a:pt x="733" y="578"/>
                </a:lnTo>
                <a:lnTo>
                  <a:pt x="733" y="578"/>
                </a:lnTo>
                <a:lnTo>
                  <a:pt x="733" y="578"/>
                </a:lnTo>
                <a:lnTo>
                  <a:pt x="733" y="576"/>
                </a:lnTo>
                <a:lnTo>
                  <a:pt x="733" y="576"/>
                </a:lnTo>
                <a:lnTo>
                  <a:pt x="733" y="573"/>
                </a:lnTo>
                <a:lnTo>
                  <a:pt x="733" y="573"/>
                </a:lnTo>
                <a:lnTo>
                  <a:pt x="731" y="573"/>
                </a:lnTo>
                <a:lnTo>
                  <a:pt x="731" y="573"/>
                </a:lnTo>
                <a:lnTo>
                  <a:pt x="733" y="571"/>
                </a:lnTo>
                <a:lnTo>
                  <a:pt x="733" y="571"/>
                </a:lnTo>
                <a:lnTo>
                  <a:pt x="733" y="571"/>
                </a:lnTo>
                <a:lnTo>
                  <a:pt x="733" y="569"/>
                </a:lnTo>
                <a:lnTo>
                  <a:pt x="733" y="569"/>
                </a:lnTo>
                <a:lnTo>
                  <a:pt x="731" y="569"/>
                </a:lnTo>
                <a:lnTo>
                  <a:pt x="731" y="569"/>
                </a:lnTo>
                <a:lnTo>
                  <a:pt x="731" y="569"/>
                </a:lnTo>
                <a:lnTo>
                  <a:pt x="731" y="566"/>
                </a:lnTo>
                <a:lnTo>
                  <a:pt x="731" y="566"/>
                </a:lnTo>
                <a:lnTo>
                  <a:pt x="733" y="564"/>
                </a:lnTo>
                <a:lnTo>
                  <a:pt x="733" y="564"/>
                </a:lnTo>
                <a:lnTo>
                  <a:pt x="733" y="554"/>
                </a:lnTo>
                <a:lnTo>
                  <a:pt x="733" y="554"/>
                </a:lnTo>
                <a:lnTo>
                  <a:pt x="733" y="541"/>
                </a:lnTo>
                <a:lnTo>
                  <a:pt x="733" y="541"/>
                </a:lnTo>
                <a:lnTo>
                  <a:pt x="733" y="534"/>
                </a:lnTo>
                <a:lnTo>
                  <a:pt x="733" y="534"/>
                </a:lnTo>
                <a:lnTo>
                  <a:pt x="733" y="532"/>
                </a:lnTo>
                <a:lnTo>
                  <a:pt x="733" y="532"/>
                </a:lnTo>
                <a:lnTo>
                  <a:pt x="733" y="529"/>
                </a:lnTo>
                <a:lnTo>
                  <a:pt x="733" y="529"/>
                </a:lnTo>
                <a:lnTo>
                  <a:pt x="733" y="524"/>
                </a:lnTo>
                <a:lnTo>
                  <a:pt x="733" y="524"/>
                </a:lnTo>
                <a:lnTo>
                  <a:pt x="733" y="522"/>
                </a:lnTo>
                <a:lnTo>
                  <a:pt x="733" y="522"/>
                </a:lnTo>
                <a:lnTo>
                  <a:pt x="731" y="519"/>
                </a:lnTo>
                <a:lnTo>
                  <a:pt x="731" y="519"/>
                </a:lnTo>
                <a:lnTo>
                  <a:pt x="731" y="514"/>
                </a:lnTo>
                <a:lnTo>
                  <a:pt x="731" y="514"/>
                </a:lnTo>
                <a:lnTo>
                  <a:pt x="728" y="510"/>
                </a:lnTo>
                <a:lnTo>
                  <a:pt x="728" y="510"/>
                </a:lnTo>
                <a:lnTo>
                  <a:pt x="726" y="505"/>
                </a:lnTo>
                <a:lnTo>
                  <a:pt x="726" y="505"/>
                </a:lnTo>
                <a:lnTo>
                  <a:pt x="728" y="502"/>
                </a:lnTo>
                <a:lnTo>
                  <a:pt x="728" y="502"/>
                </a:lnTo>
                <a:lnTo>
                  <a:pt x="723" y="492"/>
                </a:lnTo>
                <a:lnTo>
                  <a:pt x="723" y="492"/>
                </a:lnTo>
                <a:lnTo>
                  <a:pt x="726" y="492"/>
                </a:lnTo>
                <a:lnTo>
                  <a:pt x="726" y="492"/>
                </a:lnTo>
                <a:lnTo>
                  <a:pt x="728" y="487"/>
                </a:lnTo>
                <a:lnTo>
                  <a:pt x="728" y="487"/>
                </a:lnTo>
                <a:lnTo>
                  <a:pt x="726" y="485"/>
                </a:lnTo>
                <a:lnTo>
                  <a:pt x="726" y="485"/>
                </a:lnTo>
                <a:lnTo>
                  <a:pt x="726" y="482"/>
                </a:lnTo>
                <a:lnTo>
                  <a:pt x="726" y="482"/>
                </a:lnTo>
                <a:lnTo>
                  <a:pt x="723" y="480"/>
                </a:lnTo>
                <a:lnTo>
                  <a:pt x="723" y="480"/>
                </a:lnTo>
                <a:lnTo>
                  <a:pt x="718" y="480"/>
                </a:lnTo>
                <a:lnTo>
                  <a:pt x="718" y="480"/>
                </a:lnTo>
                <a:lnTo>
                  <a:pt x="713" y="480"/>
                </a:lnTo>
                <a:lnTo>
                  <a:pt x="713" y="480"/>
                </a:lnTo>
                <a:lnTo>
                  <a:pt x="711" y="482"/>
                </a:lnTo>
                <a:lnTo>
                  <a:pt x="711" y="482"/>
                </a:lnTo>
                <a:lnTo>
                  <a:pt x="706" y="482"/>
                </a:lnTo>
                <a:lnTo>
                  <a:pt x="706" y="482"/>
                </a:lnTo>
                <a:lnTo>
                  <a:pt x="704" y="487"/>
                </a:lnTo>
                <a:lnTo>
                  <a:pt x="704" y="487"/>
                </a:lnTo>
                <a:lnTo>
                  <a:pt x="699" y="492"/>
                </a:lnTo>
                <a:lnTo>
                  <a:pt x="699" y="492"/>
                </a:lnTo>
                <a:lnTo>
                  <a:pt x="694" y="495"/>
                </a:lnTo>
                <a:lnTo>
                  <a:pt x="694" y="495"/>
                </a:lnTo>
                <a:lnTo>
                  <a:pt x="689" y="497"/>
                </a:lnTo>
                <a:lnTo>
                  <a:pt x="689" y="497"/>
                </a:lnTo>
                <a:lnTo>
                  <a:pt x="684" y="497"/>
                </a:lnTo>
                <a:lnTo>
                  <a:pt x="684" y="497"/>
                </a:lnTo>
                <a:lnTo>
                  <a:pt x="684" y="497"/>
                </a:lnTo>
                <a:lnTo>
                  <a:pt x="684" y="495"/>
                </a:lnTo>
                <a:lnTo>
                  <a:pt x="684" y="495"/>
                </a:lnTo>
                <a:lnTo>
                  <a:pt x="686" y="490"/>
                </a:lnTo>
                <a:lnTo>
                  <a:pt x="686" y="490"/>
                </a:lnTo>
                <a:lnTo>
                  <a:pt x="684" y="487"/>
                </a:lnTo>
                <a:lnTo>
                  <a:pt x="684" y="487"/>
                </a:lnTo>
                <a:lnTo>
                  <a:pt x="679" y="470"/>
                </a:lnTo>
                <a:lnTo>
                  <a:pt x="679" y="470"/>
                </a:lnTo>
                <a:lnTo>
                  <a:pt x="677" y="460"/>
                </a:lnTo>
                <a:lnTo>
                  <a:pt x="677" y="460"/>
                </a:lnTo>
                <a:lnTo>
                  <a:pt x="677" y="458"/>
                </a:lnTo>
                <a:lnTo>
                  <a:pt x="677" y="458"/>
                </a:lnTo>
                <a:lnTo>
                  <a:pt x="679" y="450"/>
                </a:lnTo>
                <a:lnTo>
                  <a:pt x="679" y="450"/>
                </a:lnTo>
                <a:lnTo>
                  <a:pt x="672" y="450"/>
                </a:lnTo>
                <a:lnTo>
                  <a:pt x="672" y="450"/>
                </a:lnTo>
                <a:lnTo>
                  <a:pt x="664" y="453"/>
                </a:lnTo>
                <a:lnTo>
                  <a:pt x="664" y="453"/>
                </a:lnTo>
                <a:lnTo>
                  <a:pt x="662" y="450"/>
                </a:lnTo>
                <a:lnTo>
                  <a:pt x="662" y="450"/>
                </a:lnTo>
                <a:lnTo>
                  <a:pt x="652" y="450"/>
                </a:lnTo>
                <a:lnTo>
                  <a:pt x="652" y="450"/>
                </a:lnTo>
                <a:lnTo>
                  <a:pt x="831" y="123"/>
                </a:lnTo>
                <a:lnTo>
                  <a:pt x="831" y="123"/>
                </a:lnTo>
                <a:lnTo>
                  <a:pt x="831" y="123"/>
                </a:lnTo>
                <a:lnTo>
                  <a:pt x="827" y="123"/>
                </a:lnTo>
                <a:lnTo>
                  <a:pt x="827" y="123"/>
                </a:lnTo>
                <a:lnTo>
                  <a:pt x="824" y="123"/>
                </a:lnTo>
                <a:lnTo>
                  <a:pt x="824" y="123"/>
                </a:lnTo>
                <a:lnTo>
                  <a:pt x="824" y="121"/>
                </a:lnTo>
                <a:lnTo>
                  <a:pt x="824" y="121"/>
                </a:lnTo>
                <a:lnTo>
                  <a:pt x="822" y="114"/>
                </a:lnTo>
                <a:lnTo>
                  <a:pt x="822" y="114"/>
                </a:lnTo>
                <a:lnTo>
                  <a:pt x="819" y="111"/>
                </a:lnTo>
                <a:lnTo>
                  <a:pt x="819" y="111"/>
                </a:lnTo>
                <a:lnTo>
                  <a:pt x="819" y="111"/>
                </a:lnTo>
                <a:lnTo>
                  <a:pt x="817" y="106"/>
                </a:lnTo>
                <a:lnTo>
                  <a:pt x="817" y="106"/>
                </a:lnTo>
                <a:lnTo>
                  <a:pt x="817" y="104"/>
                </a:lnTo>
                <a:lnTo>
                  <a:pt x="817" y="104"/>
                </a:lnTo>
                <a:lnTo>
                  <a:pt x="814" y="101"/>
                </a:lnTo>
                <a:lnTo>
                  <a:pt x="814" y="101"/>
                </a:lnTo>
                <a:lnTo>
                  <a:pt x="809" y="101"/>
                </a:lnTo>
                <a:lnTo>
                  <a:pt x="809" y="101"/>
                </a:lnTo>
                <a:lnTo>
                  <a:pt x="807" y="101"/>
                </a:lnTo>
                <a:lnTo>
                  <a:pt x="807" y="101"/>
                </a:lnTo>
                <a:lnTo>
                  <a:pt x="804" y="101"/>
                </a:lnTo>
                <a:lnTo>
                  <a:pt x="804" y="101"/>
                </a:lnTo>
                <a:lnTo>
                  <a:pt x="800" y="104"/>
                </a:lnTo>
                <a:lnTo>
                  <a:pt x="800" y="104"/>
                </a:lnTo>
                <a:lnTo>
                  <a:pt x="797" y="101"/>
                </a:lnTo>
                <a:lnTo>
                  <a:pt x="797" y="101"/>
                </a:lnTo>
                <a:lnTo>
                  <a:pt x="797" y="101"/>
                </a:lnTo>
                <a:lnTo>
                  <a:pt x="795" y="101"/>
                </a:lnTo>
                <a:lnTo>
                  <a:pt x="795" y="101"/>
                </a:lnTo>
                <a:lnTo>
                  <a:pt x="795" y="101"/>
                </a:lnTo>
                <a:lnTo>
                  <a:pt x="792" y="101"/>
                </a:lnTo>
                <a:lnTo>
                  <a:pt x="792" y="101"/>
                </a:lnTo>
                <a:lnTo>
                  <a:pt x="792" y="101"/>
                </a:lnTo>
                <a:lnTo>
                  <a:pt x="795" y="101"/>
                </a:lnTo>
                <a:lnTo>
                  <a:pt x="795" y="101"/>
                </a:lnTo>
                <a:lnTo>
                  <a:pt x="795" y="99"/>
                </a:lnTo>
                <a:lnTo>
                  <a:pt x="795" y="99"/>
                </a:lnTo>
                <a:lnTo>
                  <a:pt x="792" y="96"/>
                </a:lnTo>
                <a:lnTo>
                  <a:pt x="792" y="96"/>
                </a:lnTo>
                <a:lnTo>
                  <a:pt x="790" y="99"/>
                </a:lnTo>
                <a:lnTo>
                  <a:pt x="790" y="99"/>
                </a:lnTo>
                <a:lnTo>
                  <a:pt x="787" y="96"/>
                </a:lnTo>
                <a:lnTo>
                  <a:pt x="787" y="96"/>
                </a:lnTo>
                <a:lnTo>
                  <a:pt x="787" y="96"/>
                </a:lnTo>
                <a:lnTo>
                  <a:pt x="790" y="96"/>
                </a:lnTo>
                <a:lnTo>
                  <a:pt x="790" y="96"/>
                </a:lnTo>
                <a:lnTo>
                  <a:pt x="787" y="94"/>
                </a:lnTo>
                <a:lnTo>
                  <a:pt x="787" y="94"/>
                </a:lnTo>
                <a:lnTo>
                  <a:pt x="787" y="94"/>
                </a:lnTo>
                <a:lnTo>
                  <a:pt x="785" y="94"/>
                </a:lnTo>
                <a:lnTo>
                  <a:pt x="785" y="94"/>
                </a:lnTo>
                <a:lnTo>
                  <a:pt x="785" y="91"/>
                </a:lnTo>
                <a:lnTo>
                  <a:pt x="785" y="91"/>
                </a:lnTo>
                <a:lnTo>
                  <a:pt x="782" y="89"/>
                </a:lnTo>
                <a:lnTo>
                  <a:pt x="782" y="89"/>
                </a:lnTo>
                <a:lnTo>
                  <a:pt x="777" y="86"/>
                </a:lnTo>
                <a:lnTo>
                  <a:pt x="777" y="86"/>
                </a:lnTo>
                <a:lnTo>
                  <a:pt x="777" y="86"/>
                </a:lnTo>
                <a:lnTo>
                  <a:pt x="775" y="86"/>
                </a:lnTo>
                <a:lnTo>
                  <a:pt x="775" y="86"/>
                </a:lnTo>
                <a:lnTo>
                  <a:pt x="775" y="86"/>
                </a:lnTo>
                <a:lnTo>
                  <a:pt x="772" y="86"/>
                </a:lnTo>
                <a:lnTo>
                  <a:pt x="772" y="86"/>
                </a:lnTo>
                <a:lnTo>
                  <a:pt x="772" y="86"/>
                </a:lnTo>
                <a:lnTo>
                  <a:pt x="772" y="86"/>
                </a:lnTo>
                <a:lnTo>
                  <a:pt x="770" y="84"/>
                </a:lnTo>
                <a:lnTo>
                  <a:pt x="770" y="84"/>
                </a:lnTo>
                <a:lnTo>
                  <a:pt x="768" y="86"/>
                </a:lnTo>
                <a:lnTo>
                  <a:pt x="768" y="86"/>
                </a:lnTo>
                <a:lnTo>
                  <a:pt x="768" y="86"/>
                </a:lnTo>
                <a:lnTo>
                  <a:pt x="768" y="84"/>
                </a:lnTo>
                <a:lnTo>
                  <a:pt x="768" y="84"/>
                </a:lnTo>
                <a:lnTo>
                  <a:pt x="768" y="84"/>
                </a:lnTo>
                <a:lnTo>
                  <a:pt x="768" y="82"/>
                </a:lnTo>
                <a:lnTo>
                  <a:pt x="768" y="82"/>
                </a:lnTo>
                <a:lnTo>
                  <a:pt x="765" y="82"/>
                </a:lnTo>
                <a:lnTo>
                  <a:pt x="765" y="82"/>
                </a:lnTo>
                <a:lnTo>
                  <a:pt x="763" y="82"/>
                </a:lnTo>
                <a:lnTo>
                  <a:pt x="763" y="82"/>
                </a:lnTo>
                <a:lnTo>
                  <a:pt x="763" y="79"/>
                </a:lnTo>
                <a:lnTo>
                  <a:pt x="763" y="79"/>
                </a:lnTo>
                <a:lnTo>
                  <a:pt x="763" y="79"/>
                </a:lnTo>
                <a:lnTo>
                  <a:pt x="760" y="77"/>
                </a:lnTo>
                <a:lnTo>
                  <a:pt x="760" y="77"/>
                </a:lnTo>
                <a:lnTo>
                  <a:pt x="758" y="74"/>
                </a:lnTo>
                <a:lnTo>
                  <a:pt x="758" y="74"/>
                </a:lnTo>
                <a:lnTo>
                  <a:pt x="758" y="74"/>
                </a:lnTo>
                <a:lnTo>
                  <a:pt x="758" y="72"/>
                </a:lnTo>
                <a:lnTo>
                  <a:pt x="758" y="72"/>
                </a:lnTo>
                <a:lnTo>
                  <a:pt x="755" y="72"/>
                </a:lnTo>
                <a:lnTo>
                  <a:pt x="755" y="72"/>
                </a:lnTo>
                <a:lnTo>
                  <a:pt x="755" y="74"/>
                </a:lnTo>
                <a:lnTo>
                  <a:pt x="755" y="74"/>
                </a:lnTo>
                <a:lnTo>
                  <a:pt x="748" y="79"/>
                </a:lnTo>
                <a:lnTo>
                  <a:pt x="748" y="79"/>
                </a:lnTo>
                <a:lnTo>
                  <a:pt x="743" y="82"/>
                </a:lnTo>
                <a:lnTo>
                  <a:pt x="743" y="82"/>
                </a:lnTo>
                <a:lnTo>
                  <a:pt x="748" y="79"/>
                </a:lnTo>
                <a:lnTo>
                  <a:pt x="748" y="79"/>
                </a:lnTo>
                <a:lnTo>
                  <a:pt x="750" y="72"/>
                </a:lnTo>
                <a:lnTo>
                  <a:pt x="750" y="72"/>
                </a:lnTo>
                <a:lnTo>
                  <a:pt x="755" y="69"/>
                </a:lnTo>
                <a:lnTo>
                  <a:pt x="755" y="69"/>
                </a:lnTo>
                <a:lnTo>
                  <a:pt x="755" y="64"/>
                </a:lnTo>
                <a:lnTo>
                  <a:pt x="755" y="64"/>
                </a:lnTo>
                <a:lnTo>
                  <a:pt x="753" y="64"/>
                </a:lnTo>
                <a:lnTo>
                  <a:pt x="753" y="64"/>
                </a:lnTo>
                <a:lnTo>
                  <a:pt x="750" y="62"/>
                </a:lnTo>
                <a:lnTo>
                  <a:pt x="750" y="62"/>
                </a:lnTo>
                <a:lnTo>
                  <a:pt x="745" y="62"/>
                </a:lnTo>
                <a:lnTo>
                  <a:pt x="745" y="62"/>
                </a:lnTo>
                <a:lnTo>
                  <a:pt x="740" y="62"/>
                </a:lnTo>
                <a:lnTo>
                  <a:pt x="740" y="62"/>
                </a:lnTo>
                <a:lnTo>
                  <a:pt x="738" y="62"/>
                </a:lnTo>
                <a:lnTo>
                  <a:pt x="738" y="62"/>
                </a:lnTo>
                <a:lnTo>
                  <a:pt x="738" y="64"/>
                </a:lnTo>
                <a:lnTo>
                  <a:pt x="738" y="64"/>
                </a:lnTo>
                <a:lnTo>
                  <a:pt x="733" y="64"/>
                </a:lnTo>
                <a:lnTo>
                  <a:pt x="733" y="64"/>
                </a:lnTo>
                <a:lnTo>
                  <a:pt x="731" y="69"/>
                </a:lnTo>
                <a:lnTo>
                  <a:pt x="731" y="69"/>
                </a:lnTo>
                <a:lnTo>
                  <a:pt x="726" y="72"/>
                </a:lnTo>
                <a:lnTo>
                  <a:pt x="726" y="72"/>
                </a:lnTo>
                <a:lnTo>
                  <a:pt x="728" y="69"/>
                </a:lnTo>
                <a:lnTo>
                  <a:pt x="728" y="69"/>
                </a:lnTo>
                <a:lnTo>
                  <a:pt x="728" y="64"/>
                </a:lnTo>
                <a:lnTo>
                  <a:pt x="728" y="64"/>
                </a:lnTo>
                <a:lnTo>
                  <a:pt x="728" y="59"/>
                </a:lnTo>
                <a:lnTo>
                  <a:pt x="728" y="59"/>
                </a:lnTo>
                <a:lnTo>
                  <a:pt x="728" y="57"/>
                </a:lnTo>
                <a:lnTo>
                  <a:pt x="728" y="57"/>
                </a:lnTo>
                <a:lnTo>
                  <a:pt x="723" y="55"/>
                </a:lnTo>
                <a:lnTo>
                  <a:pt x="723" y="55"/>
                </a:lnTo>
                <a:lnTo>
                  <a:pt x="723" y="55"/>
                </a:lnTo>
                <a:lnTo>
                  <a:pt x="726" y="52"/>
                </a:lnTo>
                <a:lnTo>
                  <a:pt x="726" y="52"/>
                </a:lnTo>
                <a:lnTo>
                  <a:pt x="728" y="52"/>
                </a:lnTo>
                <a:lnTo>
                  <a:pt x="728" y="52"/>
                </a:lnTo>
                <a:lnTo>
                  <a:pt x="728" y="52"/>
                </a:lnTo>
                <a:lnTo>
                  <a:pt x="721" y="47"/>
                </a:lnTo>
                <a:lnTo>
                  <a:pt x="721" y="47"/>
                </a:lnTo>
                <a:lnTo>
                  <a:pt x="721" y="45"/>
                </a:lnTo>
                <a:lnTo>
                  <a:pt x="721" y="45"/>
                </a:lnTo>
                <a:lnTo>
                  <a:pt x="723" y="42"/>
                </a:lnTo>
                <a:lnTo>
                  <a:pt x="723" y="42"/>
                </a:lnTo>
                <a:lnTo>
                  <a:pt x="726" y="40"/>
                </a:lnTo>
                <a:lnTo>
                  <a:pt x="726" y="40"/>
                </a:lnTo>
                <a:lnTo>
                  <a:pt x="728" y="40"/>
                </a:lnTo>
                <a:lnTo>
                  <a:pt x="728" y="40"/>
                </a:lnTo>
                <a:lnTo>
                  <a:pt x="728" y="37"/>
                </a:lnTo>
                <a:lnTo>
                  <a:pt x="728" y="37"/>
                </a:lnTo>
                <a:lnTo>
                  <a:pt x="726" y="32"/>
                </a:lnTo>
                <a:lnTo>
                  <a:pt x="726" y="32"/>
                </a:lnTo>
                <a:lnTo>
                  <a:pt x="723" y="32"/>
                </a:lnTo>
                <a:lnTo>
                  <a:pt x="723" y="32"/>
                </a:lnTo>
                <a:lnTo>
                  <a:pt x="723" y="35"/>
                </a:lnTo>
                <a:lnTo>
                  <a:pt x="723" y="35"/>
                </a:lnTo>
                <a:lnTo>
                  <a:pt x="721" y="32"/>
                </a:lnTo>
                <a:lnTo>
                  <a:pt x="721" y="32"/>
                </a:lnTo>
                <a:lnTo>
                  <a:pt x="718" y="30"/>
                </a:lnTo>
                <a:lnTo>
                  <a:pt x="718" y="30"/>
                </a:lnTo>
                <a:lnTo>
                  <a:pt x="716" y="32"/>
                </a:lnTo>
                <a:lnTo>
                  <a:pt x="716" y="32"/>
                </a:lnTo>
                <a:lnTo>
                  <a:pt x="713" y="30"/>
                </a:lnTo>
                <a:lnTo>
                  <a:pt x="713" y="30"/>
                </a:lnTo>
                <a:lnTo>
                  <a:pt x="711" y="30"/>
                </a:lnTo>
                <a:lnTo>
                  <a:pt x="711" y="30"/>
                </a:lnTo>
                <a:lnTo>
                  <a:pt x="708" y="30"/>
                </a:lnTo>
                <a:lnTo>
                  <a:pt x="708" y="30"/>
                </a:lnTo>
                <a:lnTo>
                  <a:pt x="706" y="30"/>
                </a:lnTo>
                <a:lnTo>
                  <a:pt x="706" y="30"/>
                </a:lnTo>
                <a:lnTo>
                  <a:pt x="704" y="32"/>
                </a:lnTo>
                <a:lnTo>
                  <a:pt x="704" y="32"/>
                </a:lnTo>
                <a:lnTo>
                  <a:pt x="704" y="35"/>
                </a:lnTo>
                <a:lnTo>
                  <a:pt x="704" y="35"/>
                </a:lnTo>
                <a:lnTo>
                  <a:pt x="701" y="32"/>
                </a:lnTo>
                <a:lnTo>
                  <a:pt x="701" y="32"/>
                </a:lnTo>
                <a:lnTo>
                  <a:pt x="704" y="30"/>
                </a:lnTo>
                <a:lnTo>
                  <a:pt x="704" y="30"/>
                </a:lnTo>
                <a:lnTo>
                  <a:pt x="704" y="27"/>
                </a:lnTo>
                <a:lnTo>
                  <a:pt x="704" y="27"/>
                </a:lnTo>
                <a:lnTo>
                  <a:pt x="704" y="25"/>
                </a:lnTo>
                <a:lnTo>
                  <a:pt x="704" y="25"/>
                </a:lnTo>
                <a:lnTo>
                  <a:pt x="704" y="23"/>
                </a:lnTo>
                <a:lnTo>
                  <a:pt x="704" y="23"/>
                </a:lnTo>
                <a:lnTo>
                  <a:pt x="706" y="23"/>
                </a:lnTo>
                <a:lnTo>
                  <a:pt x="706" y="23"/>
                </a:lnTo>
                <a:lnTo>
                  <a:pt x="706" y="20"/>
                </a:lnTo>
                <a:lnTo>
                  <a:pt x="706" y="20"/>
                </a:lnTo>
                <a:lnTo>
                  <a:pt x="708" y="18"/>
                </a:lnTo>
                <a:lnTo>
                  <a:pt x="708" y="18"/>
                </a:lnTo>
                <a:lnTo>
                  <a:pt x="706" y="15"/>
                </a:lnTo>
                <a:lnTo>
                  <a:pt x="706" y="15"/>
                </a:lnTo>
                <a:lnTo>
                  <a:pt x="706" y="15"/>
                </a:lnTo>
                <a:lnTo>
                  <a:pt x="701" y="18"/>
                </a:lnTo>
                <a:lnTo>
                  <a:pt x="701" y="18"/>
                </a:lnTo>
                <a:lnTo>
                  <a:pt x="701" y="20"/>
                </a:lnTo>
                <a:lnTo>
                  <a:pt x="701" y="20"/>
                </a:lnTo>
                <a:lnTo>
                  <a:pt x="701" y="20"/>
                </a:lnTo>
                <a:lnTo>
                  <a:pt x="699" y="20"/>
                </a:lnTo>
                <a:lnTo>
                  <a:pt x="699" y="20"/>
                </a:lnTo>
                <a:lnTo>
                  <a:pt x="696" y="20"/>
                </a:lnTo>
                <a:lnTo>
                  <a:pt x="696" y="20"/>
                </a:lnTo>
                <a:lnTo>
                  <a:pt x="694" y="23"/>
                </a:lnTo>
                <a:lnTo>
                  <a:pt x="694" y="23"/>
                </a:lnTo>
                <a:lnTo>
                  <a:pt x="696" y="25"/>
                </a:lnTo>
                <a:lnTo>
                  <a:pt x="696" y="25"/>
                </a:lnTo>
                <a:lnTo>
                  <a:pt x="694" y="27"/>
                </a:lnTo>
                <a:lnTo>
                  <a:pt x="694" y="27"/>
                </a:lnTo>
                <a:lnTo>
                  <a:pt x="691" y="27"/>
                </a:lnTo>
                <a:lnTo>
                  <a:pt x="691" y="27"/>
                </a:lnTo>
                <a:lnTo>
                  <a:pt x="691" y="27"/>
                </a:lnTo>
                <a:lnTo>
                  <a:pt x="689" y="30"/>
                </a:lnTo>
                <a:lnTo>
                  <a:pt x="689" y="30"/>
                </a:lnTo>
                <a:lnTo>
                  <a:pt x="689" y="32"/>
                </a:lnTo>
                <a:lnTo>
                  <a:pt x="689" y="32"/>
                </a:lnTo>
                <a:lnTo>
                  <a:pt x="689" y="30"/>
                </a:lnTo>
                <a:lnTo>
                  <a:pt x="689" y="30"/>
                </a:lnTo>
                <a:lnTo>
                  <a:pt x="689" y="27"/>
                </a:lnTo>
                <a:lnTo>
                  <a:pt x="689" y="27"/>
                </a:lnTo>
                <a:lnTo>
                  <a:pt x="689" y="25"/>
                </a:lnTo>
                <a:lnTo>
                  <a:pt x="689" y="25"/>
                </a:lnTo>
                <a:lnTo>
                  <a:pt x="689" y="25"/>
                </a:lnTo>
                <a:lnTo>
                  <a:pt x="686" y="27"/>
                </a:lnTo>
                <a:lnTo>
                  <a:pt x="686" y="27"/>
                </a:lnTo>
                <a:lnTo>
                  <a:pt x="686" y="27"/>
                </a:lnTo>
                <a:lnTo>
                  <a:pt x="684" y="30"/>
                </a:lnTo>
                <a:lnTo>
                  <a:pt x="684" y="30"/>
                </a:lnTo>
                <a:lnTo>
                  <a:pt x="684" y="25"/>
                </a:lnTo>
                <a:lnTo>
                  <a:pt x="684" y="25"/>
                </a:lnTo>
                <a:lnTo>
                  <a:pt x="684" y="23"/>
                </a:lnTo>
                <a:lnTo>
                  <a:pt x="684" y="23"/>
                </a:lnTo>
                <a:lnTo>
                  <a:pt x="679" y="23"/>
                </a:lnTo>
                <a:lnTo>
                  <a:pt x="679" y="23"/>
                </a:lnTo>
                <a:lnTo>
                  <a:pt x="681" y="20"/>
                </a:lnTo>
                <a:lnTo>
                  <a:pt x="681" y="20"/>
                </a:lnTo>
                <a:lnTo>
                  <a:pt x="684" y="18"/>
                </a:lnTo>
                <a:lnTo>
                  <a:pt x="684" y="18"/>
                </a:lnTo>
                <a:lnTo>
                  <a:pt x="686" y="15"/>
                </a:lnTo>
                <a:lnTo>
                  <a:pt x="686" y="15"/>
                </a:lnTo>
                <a:lnTo>
                  <a:pt x="691" y="18"/>
                </a:lnTo>
                <a:lnTo>
                  <a:pt x="691" y="18"/>
                </a:lnTo>
                <a:lnTo>
                  <a:pt x="694" y="18"/>
                </a:lnTo>
                <a:lnTo>
                  <a:pt x="694" y="18"/>
                </a:lnTo>
                <a:lnTo>
                  <a:pt x="699" y="15"/>
                </a:lnTo>
                <a:lnTo>
                  <a:pt x="699" y="15"/>
                </a:lnTo>
                <a:lnTo>
                  <a:pt x="701" y="13"/>
                </a:lnTo>
                <a:lnTo>
                  <a:pt x="701" y="13"/>
                </a:lnTo>
                <a:lnTo>
                  <a:pt x="701" y="13"/>
                </a:lnTo>
                <a:lnTo>
                  <a:pt x="701" y="10"/>
                </a:lnTo>
                <a:lnTo>
                  <a:pt x="701" y="10"/>
                </a:lnTo>
                <a:lnTo>
                  <a:pt x="701" y="10"/>
                </a:lnTo>
                <a:lnTo>
                  <a:pt x="699" y="8"/>
                </a:lnTo>
                <a:lnTo>
                  <a:pt x="699" y="8"/>
                </a:lnTo>
                <a:lnTo>
                  <a:pt x="696" y="8"/>
                </a:lnTo>
                <a:lnTo>
                  <a:pt x="696" y="8"/>
                </a:lnTo>
                <a:lnTo>
                  <a:pt x="696" y="5"/>
                </a:lnTo>
                <a:lnTo>
                  <a:pt x="696" y="5"/>
                </a:lnTo>
                <a:lnTo>
                  <a:pt x="694" y="3"/>
                </a:lnTo>
                <a:lnTo>
                  <a:pt x="694" y="3"/>
                </a:lnTo>
                <a:lnTo>
                  <a:pt x="694" y="3"/>
                </a:lnTo>
                <a:lnTo>
                  <a:pt x="694" y="3"/>
                </a:lnTo>
                <a:lnTo>
                  <a:pt x="696" y="0"/>
                </a:lnTo>
                <a:lnTo>
                  <a:pt x="696" y="0"/>
                </a:lnTo>
                <a:lnTo>
                  <a:pt x="696" y="0"/>
                </a:lnTo>
                <a:lnTo>
                  <a:pt x="696" y="0"/>
                </a:lnTo>
                <a:lnTo>
                  <a:pt x="689" y="3"/>
                </a:lnTo>
                <a:lnTo>
                  <a:pt x="689" y="3"/>
                </a:lnTo>
                <a:lnTo>
                  <a:pt x="689" y="5"/>
                </a:lnTo>
                <a:lnTo>
                  <a:pt x="689" y="5"/>
                </a:lnTo>
                <a:lnTo>
                  <a:pt x="684" y="5"/>
                </a:lnTo>
                <a:lnTo>
                  <a:pt x="684" y="5"/>
                </a:lnTo>
                <a:lnTo>
                  <a:pt x="681" y="5"/>
                </a:lnTo>
                <a:lnTo>
                  <a:pt x="681" y="5"/>
                </a:lnTo>
                <a:lnTo>
                  <a:pt x="674" y="13"/>
                </a:lnTo>
                <a:lnTo>
                  <a:pt x="674" y="13"/>
                </a:lnTo>
                <a:lnTo>
                  <a:pt x="669" y="13"/>
                </a:lnTo>
                <a:lnTo>
                  <a:pt x="669" y="13"/>
                </a:lnTo>
                <a:lnTo>
                  <a:pt x="664" y="13"/>
                </a:lnTo>
                <a:lnTo>
                  <a:pt x="664" y="13"/>
                </a:lnTo>
                <a:lnTo>
                  <a:pt x="659" y="10"/>
                </a:lnTo>
                <a:lnTo>
                  <a:pt x="659" y="10"/>
                </a:lnTo>
                <a:lnTo>
                  <a:pt x="657" y="10"/>
                </a:lnTo>
                <a:lnTo>
                  <a:pt x="657" y="10"/>
                </a:lnTo>
                <a:lnTo>
                  <a:pt x="657" y="10"/>
                </a:lnTo>
                <a:lnTo>
                  <a:pt x="654" y="10"/>
                </a:lnTo>
                <a:lnTo>
                  <a:pt x="654" y="10"/>
                </a:lnTo>
                <a:lnTo>
                  <a:pt x="652" y="8"/>
                </a:lnTo>
                <a:lnTo>
                  <a:pt x="652" y="8"/>
                </a:lnTo>
                <a:lnTo>
                  <a:pt x="649" y="10"/>
                </a:lnTo>
                <a:lnTo>
                  <a:pt x="649" y="10"/>
                </a:lnTo>
                <a:lnTo>
                  <a:pt x="649" y="13"/>
                </a:lnTo>
                <a:lnTo>
                  <a:pt x="649" y="13"/>
                </a:lnTo>
                <a:lnTo>
                  <a:pt x="647" y="13"/>
                </a:lnTo>
                <a:lnTo>
                  <a:pt x="647" y="13"/>
                </a:lnTo>
                <a:lnTo>
                  <a:pt x="647" y="10"/>
                </a:lnTo>
                <a:lnTo>
                  <a:pt x="647" y="10"/>
                </a:lnTo>
                <a:lnTo>
                  <a:pt x="647" y="8"/>
                </a:lnTo>
                <a:lnTo>
                  <a:pt x="647" y="8"/>
                </a:lnTo>
                <a:lnTo>
                  <a:pt x="649" y="8"/>
                </a:lnTo>
                <a:lnTo>
                  <a:pt x="649" y="8"/>
                </a:lnTo>
                <a:lnTo>
                  <a:pt x="647" y="5"/>
                </a:lnTo>
                <a:lnTo>
                  <a:pt x="647" y="5"/>
                </a:lnTo>
                <a:lnTo>
                  <a:pt x="645" y="8"/>
                </a:lnTo>
                <a:lnTo>
                  <a:pt x="645" y="8"/>
                </a:lnTo>
                <a:lnTo>
                  <a:pt x="637" y="10"/>
                </a:lnTo>
                <a:lnTo>
                  <a:pt x="637" y="10"/>
                </a:lnTo>
                <a:lnTo>
                  <a:pt x="635" y="13"/>
                </a:lnTo>
                <a:lnTo>
                  <a:pt x="635" y="13"/>
                </a:lnTo>
                <a:lnTo>
                  <a:pt x="632" y="15"/>
                </a:lnTo>
                <a:lnTo>
                  <a:pt x="632" y="15"/>
                </a:lnTo>
                <a:lnTo>
                  <a:pt x="632" y="18"/>
                </a:lnTo>
                <a:lnTo>
                  <a:pt x="632" y="18"/>
                </a:lnTo>
                <a:lnTo>
                  <a:pt x="637" y="18"/>
                </a:lnTo>
                <a:lnTo>
                  <a:pt x="637" y="18"/>
                </a:lnTo>
                <a:lnTo>
                  <a:pt x="635" y="20"/>
                </a:lnTo>
                <a:lnTo>
                  <a:pt x="635" y="20"/>
                </a:lnTo>
                <a:lnTo>
                  <a:pt x="630" y="20"/>
                </a:lnTo>
                <a:lnTo>
                  <a:pt x="630" y="20"/>
                </a:lnTo>
                <a:lnTo>
                  <a:pt x="627" y="23"/>
                </a:lnTo>
                <a:lnTo>
                  <a:pt x="627" y="23"/>
                </a:lnTo>
                <a:lnTo>
                  <a:pt x="625" y="30"/>
                </a:lnTo>
                <a:lnTo>
                  <a:pt x="625" y="30"/>
                </a:lnTo>
                <a:lnTo>
                  <a:pt x="622" y="35"/>
                </a:lnTo>
                <a:lnTo>
                  <a:pt x="622" y="35"/>
                </a:lnTo>
                <a:lnTo>
                  <a:pt x="620" y="35"/>
                </a:lnTo>
                <a:lnTo>
                  <a:pt x="620" y="35"/>
                </a:lnTo>
                <a:lnTo>
                  <a:pt x="620" y="35"/>
                </a:lnTo>
                <a:lnTo>
                  <a:pt x="620" y="30"/>
                </a:lnTo>
                <a:lnTo>
                  <a:pt x="620" y="30"/>
                </a:lnTo>
                <a:lnTo>
                  <a:pt x="625" y="23"/>
                </a:lnTo>
                <a:lnTo>
                  <a:pt x="625" y="23"/>
                </a:lnTo>
                <a:lnTo>
                  <a:pt x="625" y="20"/>
                </a:lnTo>
                <a:lnTo>
                  <a:pt x="625" y="20"/>
                </a:lnTo>
                <a:lnTo>
                  <a:pt x="625" y="20"/>
                </a:lnTo>
                <a:lnTo>
                  <a:pt x="617" y="25"/>
                </a:lnTo>
                <a:lnTo>
                  <a:pt x="617" y="25"/>
                </a:lnTo>
                <a:lnTo>
                  <a:pt x="613" y="25"/>
                </a:lnTo>
                <a:lnTo>
                  <a:pt x="613" y="25"/>
                </a:lnTo>
                <a:lnTo>
                  <a:pt x="613" y="23"/>
                </a:lnTo>
                <a:lnTo>
                  <a:pt x="613" y="23"/>
                </a:lnTo>
                <a:lnTo>
                  <a:pt x="610" y="20"/>
                </a:lnTo>
                <a:lnTo>
                  <a:pt x="610" y="20"/>
                </a:lnTo>
                <a:lnTo>
                  <a:pt x="605" y="20"/>
                </a:lnTo>
                <a:lnTo>
                  <a:pt x="605" y="20"/>
                </a:lnTo>
                <a:lnTo>
                  <a:pt x="603" y="20"/>
                </a:lnTo>
                <a:lnTo>
                  <a:pt x="603" y="20"/>
                </a:lnTo>
                <a:lnTo>
                  <a:pt x="603" y="20"/>
                </a:lnTo>
                <a:lnTo>
                  <a:pt x="608" y="23"/>
                </a:lnTo>
                <a:lnTo>
                  <a:pt x="608" y="23"/>
                </a:lnTo>
                <a:lnTo>
                  <a:pt x="610" y="25"/>
                </a:lnTo>
                <a:lnTo>
                  <a:pt x="610" y="25"/>
                </a:lnTo>
                <a:lnTo>
                  <a:pt x="608" y="25"/>
                </a:lnTo>
                <a:lnTo>
                  <a:pt x="608" y="25"/>
                </a:lnTo>
                <a:lnTo>
                  <a:pt x="605" y="25"/>
                </a:lnTo>
                <a:lnTo>
                  <a:pt x="605" y="25"/>
                </a:lnTo>
                <a:lnTo>
                  <a:pt x="598" y="23"/>
                </a:lnTo>
                <a:lnTo>
                  <a:pt x="598" y="23"/>
                </a:lnTo>
                <a:lnTo>
                  <a:pt x="593" y="27"/>
                </a:lnTo>
                <a:lnTo>
                  <a:pt x="593" y="27"/>
                </a:lnTo>
                <a:lnTo>
                  <a:pt x="585" y="32"/>
                </a:lnTo>
                <a:lnTo>
                  <a:pt x="585" y="32"/>
                </a:lnTo>
                <a:lnTo>
                  <a:pt x="576" y="37"/>
                </a:lnTo>
                <a:lnTo>
                  <a:pt x="576" y="37"/>
                </a:lnTo>
                <a:lnTo>
                  <a:pt x="568" y="42"/>
                </a:lnTo>
                <a:lnTo>
                  <a:pt x="568" y="42"/>
                </a:lnTo>
                <a:lnTo>
                  <a:pt x="563" y="47"/>
                </a:lnTo>
                <a:lnTo>
                  <a:pt x="563" y="47"/>
                </a:lnTo>
                <a:lnTo>
                  <a:pt x="556" y="55"/>
                </a:lnTo>
                <a:lnTo>
                  <a:pt x="556" y="55"/>
                </a:lnTo>
                <a:lnTo>
                  <a:pt x="551" y="57"/>
                </a:lnTo>
                <a:lnTo>
                  <a:pt x="551" y="57"/>
                </a:lnTo>
                <a:lnTo>
                  <a:pt x="546" y="57"/>
                </a:lnTo>
                <a:lnTo>
                  <a:pt x="546" y="57"/>
                </a:lnTo>
                <a:lnTo>
                  <a:pt x="544" y="59"/>
                </a:lnTo>
                <a:lnTo>
                  <a:pt x="544" y="59"/>
                </a:lnTo>
                <a:lnTo>
                  <a:pt x="539" y="59"/>
                </a:lnTo>
                <a:lnTo>
                  <a:pt x="539" y="59"/>
                </a:lnTo>
                <a:lnTo>
                  <a:pt x="534" y="64"/>
                </a:lnTo>
                <a:lnTo>
                  <a:pt x="534" y="64"/>
                </a:lnTo>
                <a:lnTo>
                  <a:pt x="529" y="64"/>
                </a:lnTo>
                <a:lnTo>
                  <a:pt x="529" y="64"/>
                </a:lnTo>
                <a:lnTo>
                  <a:pt x="526" y="62"/>
                </a:lnTo>
                <a:lnTo>
                  <a:pt x="526" y="62"/>
                </a:lnTo>
                <a:lnTo>
                  <a:pt x="524" y="62"/>
                </a:lnTo>
                <a:lnTo>
                  <a:pt x="524" y="62"/>
                </a:lnTo>
                <a:lnTo>
                  <a:pt x="519" y="59"/>
                </a:lnTo>
                <a:lnTo>
                  <a:pt x="519" y="59"/>
                </a:lnTo>
                <a:lnTo>
                  <a:pt x="517" y="57"/>
                </a:lnTo>
                <a:lnTo>
                  <a:pt x="517" y="57"/>
                </a:lnTo>
                <a:lnTo>
                  <a:pt x="512" y="55"/>
                </a:lnTo>
                <a:lnTo>
                  <a:pt x="512" y="55"/>
                </a:lnTo>
                <a:lnTo>
                  <a:pt x="509" y="55"/>
                </a:lnTo>
                <a:lnTo>
                  <a:pt x="509" y="55"/>
                </a:lnTo>
                <a:lnTo>
                  <a:pt x="504" y="59"/>
                </a:lnTo>
                <a:lnTo>
                  <a:pt x="504" y="59"/>
                </a:lnTo>
                <a:lnTo>
                  <a:pt x="499" y="64"/>
                </a:lnTo>
                <a:lnTo>
                  <a:pt x="499" y="64"/>
                </a:lnTo>
                <a:lnTo>
                  <a:pt x="499" y="67"/>
                </a:lnTo>
                <a:lnTo>
                  <a:pt x="499" y="67"/>
                </a:lnTo>
                <a:lnTo>
                  <a:pt x="494" y="72"/>
                </a:lnTo>
                <a:lnTo>
                  <a:pt x="494" y="72"/>
                </a:lnTo>
                <a:lnTo>
                  <a:pt x="494" y="74"/>
                </a:lnTo>
                <a:lnTo>
                  <a:pt x="494" y="74"/>
                </a:lnTo>
                <a:lnTo>
                  <a:pt x="492" y="74"/>
                </a:lnTo>
                <a:lnTo>
                  <a:pt x="492" y="74"/>
                </a:lnTo>
                <a:lnTo>
                  <a:pt x="490" y="72"/>
                </a:lnTo>
                <a:lnTo>
                  <a:pt x="490" y="72"/>
                </a:lnTo>
                <a:lnTo>
                  <a:pt x="487" y="74"/>
                </a:lnTo>
                <a:lnTo>
                  <a:pt x="487" y="74"/>
                </a:lnTo>
                <a:lnTo>
                  <a:pt x="490" y="82"/>
                </a:lnTo>
                <a:lnTo>
                  <a:pt x="490" y="82"/>
                </a:lnTo>
                <a:lnTo>
                  <a:pt x="494" y="94"/>
                </a:lnTo>
                <a:lnTo>
                  <a:pt x="494" y="94"/>
                </a:lnTo>
                <a:lnTo>
                  <a:pt x="497" y="104"/>
                </a:lnTo>
                <a:lnTo>
                  <a:pt x="497" y="104"/>
                </a:lnTo>
                <a:lnTo>
                  <a:pt x="499" y="114"/>
                </a:lnTo>
                <a:lnTo>
                  <a:pt x="499" y="114"/>
                </a:lnTo>
                <a:lnTo>
                  <a:pt x="499" y="123"/>
                </a:lnTo>
                <a:lnTo>
                  <a:pt x="499" y="123"/>
                </a:lnTo>
                <a:lnTo>
                  <a:pt x="494" y="128"/>
                </a:lnTo>
                <a:lnTo>
                  <a:pt x="494" y="128"/>
                </a:lnTo>
                <a:lnTo>
                  <a:pt x="492" y="133"/>
                </a:lnTo>
                <a:lnTo>
                  <a:pt x="492" y="133"/>
                </a:lnTo>
                <a:lnTo>
                  <a:pt x="492" y="133"/>
                </a:lnTo>
                <a:lnTo>
                  <a:pt x="499" y="141"/>
                </a:lnTo>
                <a:lnTo>
                  <a:pt x="499" y="141"/>
                </a:lnTo>
                <a:lnTo>
                  <a:pt x="502" y="143"/>
                </a:lnTo>
                <a:lnTo>
                  <a:pt x="502" y="143"/>
                </a:lnTo>
                <a:lnTo>
                  <a:pt x="502" y="141"/>
                </a:lnTo>
                <a:lnTo>
                  <a:pt x="502" y="141"/>
                </a:lnTo>
                <a:lnTo>
                  <a:pt x="502" y="141"/>
                </a:lnTo>
                <a:lnTo>
                  <a:pt x="504" y="141"/>
                </a:lnTo>
                <a:lnTo>
                  <a:pt x="504" y="141"/>
                </a:lnTo>
                <a:lnTo>
                  <a:pt x="507" y="141"/>
                </a:lnTo>
                <a:lnTo>
                  <a:pt x="507" y="141"/>
                </a:lnTo>
                <a:lnTo>
                  <a:pt x="504" y="141"/>
                </a:lnTo>
                <a:lnTo>
                  <a:pt x="504" y="141"/>
                </a:lnTo>
                <a:lnTo>
                  <a:pt x="504" y="143"/>
                </a:lnTo>
                <a:lnTo>
                  <a:pt x="504" y="143"/>
                </a:lnTo>
                <a:lnTo>
                  <a:pt x="512" y="150"/>
                </a:lnTo>
                <a:lnTo>
                  <a:pt x="512" y="150"/>
                </a:lnTo>
                <a:lnTo>
                  <a:pt x="512" y="150"/>
                </a:lnTo>
                <a:lnTo>
                  <a:pt x="507" y="150"/>
                </a:lnTo>
                <a:lnTo>
                  <a:pt x="507" y="150"/>
                </a:lnTo>
                <a:lnTo>
                  <a:pt x="507" y="153"/>
                </a:lnTo>
                <a:lnTo>
                  <a:pt x="507" y="153"/>
                </a:lnTo>
                <a:lnTo>
                  <a:pt x="507" y="160"/>
                </a:lnTo>
                <a:lnTo>
                  <a:pt x="507" y="160"/>
                </a:lnTo>
                <a:lnTo>
                  <a:pt x="507" y="163"/>
                </a:lnTo>
                <a:lnTo>
                  <a:pt x="507" y="163"/>
                </a:lnTo>
                <a:lnTo>
                  <a:pt x="509" y="165"/>
                </a:lnTo>
                <a:lnTo>
                  <a:pt x="509" y="165"/>
                </a:lnTo>
                <a:lnTo>
                  <a:pt x="512" y="163"/>
                </a:lnTo>
                <a:lnTo>
                  <a:pt x="512" y="163"/>
                </a:lnTo>
                <a:lnTo>
                  <a:pt x="514" y="163"/>
                </a:lnTo>
                <a:lnTo>
                  <a:pt x="514" y="163"/>
                </a:lnTo>
                <a:lnTo>
                  <a:pt x="517" y="163"/>
                </a:lnTo>
                <a:lnTo>
                  <a:pt x="517" y="163"/>
                </a:lnTo>
                <a:lnTo>
                  <a:pt x="517" y="165"/>
                </a:lnTo>
                <a:lnTo>
                  <a:pt x="517" y="165"/>
                </a:lnTo>
                <a:lnTo>
                  <a:pt x="522" y="165"/>
                </a:lnTo>
                <a:lnTo>
                  <a:pt x="522" y="165"/>
                </a:lnTo>
                <a:lnTo>
                  <a:pt x="526" y="165"/>
                </a:lnTo>
                <a:lnTo>
                  <a:pt x="526" y="165"/>
                </a:lnTo>
                <a:lnTo>
                  <a:pt x="531" y="168"/>
                </a:lnTo>
                <a:lnTo>
                  <a:pt x="531" y="168"/>
                </a:lnTo>
                <a:lnTo>
                  <a:pt x="526" y="170"/>
                </a:lnTo>
                <a:lnTo>
                  <a:pt x="526" y="170"/>
                </a:lnTo>
                <a:lnTo>
                  <a:pt x="526" y="173"/>
                </a:lnTo>
                <a:lnTo>
                  <a:pt x="526" y="173"/>
                </a:lnTo>
                <a:lnTo>
                  <a:pt x="526" y="177"/>
                </a:lnTo>
                <a:lnTo>
                  <a:pt x="526" y="177"/>
                </a:lnTo>
                <a:lnTo>
                  <a:pt x="522" y="177"/>
                </a:lnTo>
                <a:lnTo>
                  <a:pt x="522" y="177"/>
                </a:lnTo>
                <a:lnTo>
                  <a:pt x="522" y="175"/>
                </a:lnTo>
                <a:lnTo>
                  <a:pt x="522" y="175"/>
                </a:lnTo>
                <a:lnTo>
                  <a:pt x="519" y="173"/>
                </a:lnTo>
                <a:lnTo>
                  <a:pt x="519" y="173"/>
                </a:lnTo>
                <a:lnTo>
                  <a:pt x="517" y="175"/>
                </a:lnTo>
                <a:lnTo>
                  <a:pt x="517" y="175"/>
                </a:lnTo>
                <a:lnTo>
                  <a:pt x="512" y="175"/>
                </a:lnTo>
                <a:lnTo>
                  <a:pt x="512" y="175"/>
                </a:lnTo>
                <a:lnTo>
                  <a:pt x="512" y="173"/>
                </a:lnTo>
                <a:lnTo>
                  <a:pt x="512" y="173"/>
                </a:lnTo>
                <a:lnTo>
                  <a:pt x="509" y="168"/>
                </a:lnTo>
                <a:lnTo>
                  <a:pt x="509" y="168"/>
                </a:lnTo>
                <a:lnTo>
                  <a:pt x="507" y="168"/>
                </a:lnTo>
                <a:lnTo>
                  <a:pt x="507" y="168"/>
                </a:lnTo>
                <a:lnTo>
                  <a:pt x="504" y="168"/>
                </a:lnTo>
                <a:lnTo>
                  <a:pt x="504" y="168"/>
                </a:lnTo>
                <a:lnTo>
                  <a:pt x="502" y="165"/>
                </a:lnTo>
                <a:lnTo>
                  <a:pt x="502" y="165"/>
                </a:lnTo>
                <a:lnTo>
                  <a:pt x="502" y="160"/>
                </a:lnTo>
                <a:lnTo>
                  <a:pt x="502" y="160"/>
                </a:lnTo>
                <a:lnTo>
                  <a:pt x="507" y="150"/>
                </a:lnTo>
                <a:lnTo>
                  <a:pt x="507" y="150"/>
                </a:lnTo>
                <a:lnTo>
                  <a:pt x="504" y="148"/>
                </a:lnTo>
                <a:lnTo>
                  <a:pt x="504" y="148"/>
                </a:lnTo>
                <a:lnTo>
                  <a:pt x="504" y="148"/>
                </a:lnTo>
                <a:lnTo>
                  <a:pt x="502" y="150"/>
                </a:lnTo>
                <a:lnTo>
                  <a:pt x="502" y="150"/>
                </a:lnTo>
                <a:lnTo>
                  <a:pt x="502" y="160"/>
                </a:lnTo>
                <a:lnTo>
                  <a:pt x="502" y="160"/>
                </a:lnTo>
                <a:lnTo>
                  <a:pt x="499" y="165"/>
                </a:lnTo>
                <a:lnTo>
                  <a:pt x="499" y="165"/>
                </a:lnTo>
                <a:lnTo>
                  <a:pt x="497" y="168"/>
                </a:lnTo>
                <a:lnTo>
                  <a:pt x="497" y="168"/>
                </a:lnTo>
                <a:lnTo>
                  <a:pt x="497" y="170"/>
                </a:lnTo>
                <a:lnTo>
                  <a:pt x="497" y="170"/>
                </a:lnTo>
                <a:lnTo>
                  <a:pt x="499" y="168"/>
                </a:lnTo>
                <a:lnTo>
                  <a:pt x="499" y="168"/>
                </a:lnTo>
                <a:lnTo>
                  <a:pt x="502" y="168"/>
                </a:lnTo>
                <a:lnTo>
                  <a:pt x="502" y="168"/>
                </a:lnTo>
                <a:lnTo>
                  <a:pt x="502" y="170"/>
                </a:lnTo>
                <a:lnTo>
                  <a:pt x="502" y="170"/>
                </a:lnTo>
                <a:lnTo>
                  <a:pt x="507" y="170"/>
                </a:lnTo>
                <a:lnTo>
                  <a:pt x="507" y="170"/>
                </a:lnTo>
                <a:lnTo>
                  <a:pt x="507" y="173"/>
                </a:lnTo>
                <a:lnTo>
                  <a:pt x="507" y="173"/>
                </a:lnTo>
                <a:lnTo>
                  <a:pt x="507" y="177"/>
                </a:lnTo>
                <a:lnTo>
                  <a:pt x="507" y="177"/>
                </a:lnTo>
                <a:lnTo>
                  <a:pt x="504" y="182"/>
                </a:lnTo>
                <a:lnTo>
                  <a:pt x="504" y="182"/>
                </a:lnTo>
                <a:lnTo>
                  <a:pt x="499" y="182"/>
                </a:lnTo>
                <a:lnTo>
                  <a:pt x="499" y="182"/>
                </a:lnTo>
                <a:lnTo>
                  <a:pt x="504" y="177"/>
                </a:lnTo>
                <a:lnTo>
                  <a:pt x="504" y="177"/>
                </a:lnTo>
                <a:lnTo>
                  <a:pt x="504" y="175"/>
                </a:lnTo>
                <a:lnTo>
                  <a:pt x="504" y="175"/>
                </a:lnTo>
                <a:lnTo>
                  <a:pt x="502" y="175"/>
                </a:lnTo>
                <a:lnTo>
                  <a:pt x="502" y="175"/>
                </a:lnTo>
                <a:lnTo>
                  <a:pt x="499" y="175"/>
                </a:lnTo>
                <a:lnTo>
                  <a:pt x="499" y="175"/>
                </a:lnTo>
                <a:lnTo>
                  <a:pt x="499" y="175"/>
                </a:lnTo>
                <a:lnTo>
                  <a:pt x="494" y="180"/>
                </a:lnTo>
                <a:lnTo>
                  <a:pt x="494" y="180"/>
                </a:lnTo>
                <a:lnTo>
                  <a:pt x="494" y="182"/>
                </a:lnTo>
                <a:lnTo>
                  <a:pt x="494" y="182"/>
                </a:lnTo>
                <a:lnTo>
                  <a:pt x="492" y="182"/>
                </a:lnTo>
                <a:lnTo>
                  <a:pt x="492" y="182"/>
                </a:lnTo>
                <a:lnTo>
                  <a:pt x="487" y="185"/>
                </a:lnTo>
                <a:lnTo>
                  <a:pt x="487" y="185"/>
                </a:lnTo>
                <a:lnTo>
                  <a:pt x="487" y="182"/>
                </a:lnTo>
                <a:lnTo>
                  <a:pt x="487" y="182"/>
                </a:lnTo>
                <a:lnTo>
                  <a:pt x="487" y="180"/>
                </a:lnTo>
                <a:lnTo>
                  <a:pt x="487" y="180"/>
                </a:lnTo>
                <a:lnTo>
                  <a:pt x="482" y="180"/>
                </a:lnTo>
                <a:lnTo>
                  <a:pt x="482" y="180"/>
                </a:lnTo>
                <a:lnTo>
                  <a:pt x="480" y="180"/>
                </a:lnTo>
                <a:lnTo>
                  <a:pt x="480" y="180"/>
                </a:lnTo>
                <a:lnTo>
                  <a:pt x="480" y="177"/>
                </a:lnTo>
                <a:lnTo>
                  <a:pt x="480" y="177"/>
                </a:lnTo>
                <a:lnTo>
                  <a:pt x="477" y="177"/>
                </a:lnTo>
                <a:lnTo>
                  <a:pt x="477" y="177"/>
                </a:lnTo>
                <a:lnTo>
                  <a:pt x="475" y="177"/>
                </a:lnTo>
                <a:lnTo>
                  <a:pt x="475" y="177"/>
                </a:lnTo>
                <a:lnTo>
                  <a:pt x="472" y="177"/>
                </a:lnTo>
                <a:lnTo>
                  <a:pt x="472" y="177"/>
                </a:lnTo>
                <a:lnTo>
                  <a:pt x="472" y="175"/>
                </a:lnTo>
                <a:lnTo>
                  <a:pt x="472" y="175"/>
                </a:lnTo>
                <a:lnTo>
                  <a:pt x="470" y="173"/>
                </a:lnTo>
                <a:lnTo>
                  <a:pt x="470" y="173"/>
                </a:lnTo>
                <a:lnTo>
                  <a:pt x="470" y="175"/>
                </a:lnTo>
                <a:lnTo>
                  <a:pt x="470" y="175"/>
                </a:lnTo>
                <a:lnTo>
                  <a:pt x="467" y="175"/>
                </a:lnTo>
                <a:lnTo>
                  <a:pt x="467" y="175"/>
                </a:lnTo>
                <a:lnTo>
                  <a:pt x="467" y="170"/>
                </a:lnTo>
                <a:lnTo>
                  <a:pt x="467" y="170"/>
                </a:lnTo>
                <a:lnTo>
                  <a:pt x="465" y="168"/>
                </a:lnTo>
                <a:lnTo>
                  <a:pt x="465" y="168"/>
                </a:lnTo>
                <a:lnTo>
                  <a:pt x="465" y="165"/>
                </a:lnTo>
                <a:lnTo>
                  <a:pt x="465" y="165"/>
                </a:lnTo>
                <a:lnTo>
                  <a:pt x="470" y="165"/>
                </a:lnTo>
                <a:lnTo>
                  <a:pt x="470" y="165"/>
                </a:lnTo>
                <a:lnTo>
                  <a:pt x="472" y="160"/>
                </a:lnTo>
                <a:lnTo>
                  <a:pt x="472" y="160"/>
                </a:lnTo>
                <a:lnTo>
                  <a:pt x="475" y="160"/>
                </a:lnTo>
                <a:lnTo>
                  <a:pt x="475" y="160"/>
                </a:lnTo>
                <a:lnTo>
                  <a:pt x="475" y="158"/>
                </a:lnTo>
                <a:lnTo>
                  <a:pt x="475" y="158"/>
                </a:lnTo>
                <a:lnTo>
                  <a:pt x="475" y="155"/>
                </a:lnTo>
                <a:lnTo>
                  <a:pt x="475" y="155"/>
                </a:lnTo>
                <a:lnTo>
                  <a:pt x="472" y="153"/>
                </a:lnTo>
                <a:lnTo>
                  <a:pt x="472" y="153"/>
                </a:lnTo>
                <a:lnTo>
                  <a:pt x="470" y="150"/>
                </a:lnTo>
                <a:lnTo>
                  <a:pt x="470" y="150"/>
                </a:lnTo>
                <a:lnTo>
                  <a:pt x="465" y="150"/>
                </a:lnTo>
                <a:lnTo>
                  <a:pt x="465" y="150"/>
                </a:lnTo>
                <a:lnTo>
                  <a:pt x="460" y="153"/>
                </a:lnTo>
                <a:lnTo>
                  <a:pt x="460" y="153"/>
                </a:lnTo>
                <a:lnTo>
                  <a:pt x="458" y="153"/>
                </a:lnTo>
                <a:lnTo>
                  <a:pt x="458" y="153"/>
                </a:lnTo>
                <a:lnTo>
                  <a:pt x="455" y="153"/>
                </a:lnTo>
                <a:lnTo>
                  <a:pt x="455" y="153"/>
                </a:lnTo>
                <a:lnTo>
                  <a:pt x="453" y="153"/>
                </a:lnTo>
                <a:lnTo>
                  <a:pt x="453" y="153"/>
                </a:lnTo>
                <a:lnTo>
                  <a:pt x="443" y="155"/>
                </a:lnTo>
                <a:lnTo>
                  <a:pt x="443" y="155"/>
                </a:lnTo>
                <a:lnTo>
                  <a:pt x="443" y="158"/>
                </a:lnTo>
                <a:lnTo>
                  <a:pt x="443" y="158"/>
                </a:lnTo>
                <a:lnTo>
                  <a:pt x="445" y="158"/>
                </a:lnTo>
                <a:lnTo>
                  <a:pt x="445" y="158"/>
                </a:lnTo>
                <a:lnTo>
                  <a:pt x="448" y="163"/>
                </a:lnTo>
                <a:lnTo>
                  <a:pt x="448" y="163"/>
                </a:lnTo>
                <a:lnTo>
                  <a:pt x="448" y="163"/>
                </a:lnTo>
                <a:lnTo>
                  <a:pt x="445" y="163"/>
                </a:lnTo>
                <a:lnTo>
                  <a:pt x="445" y="163"/>
                </a:lnTo>
                <a:lnTo>
                  <a:pt x="443" y="163"/>
                </a:lnTo>
                <a:lnTo>
                  <a:pt x="443" y="163"/>
                </a:lnTo>
                <a:lnTo>
                  <a:pt x="440" y="160"/>
                </a:lnTo>
                <a:lnTo>
                  <a:pt x="440" y="160"/>
                </a:lnTo>
                <a:lnTo>
                  <a:pt x="438" y="160"/>
                </a:lnTo>
                <a:lnTo>
                  <a:pt x="438" y="160"/>
                </a:lnTo>
                <a:lnTo>
                  <a:pt x="433" y="158"/>
                </a:lnTo>
                <a:lnTo>
                  <a:pt x="433" y="158"/>
                </a:lnTo>
                <a:lnTo>
                  <a:pt x="428" y="160"/>
                </a:lnTo>
                <a:lnTo>
                  <a:pt x="428" y="160"/>
                </a:lnTo>
                <a:lnTo>
                  <a:pt x="426" y="163"/>
                </a:lnTo>
                <a:lnTo>
                  <a:pt x="426" y="163"/>
                </a:lnTo>
                <a:lnTo>
                  <a:pt x="426" y="163"/>
                </a:lnTo>
                <a:lnTo>
                  <a:pt x="421" y="163"/>
                </a:lnTo>
                <a:lnTo>
                  <a:pt x="421" y="163"/>
                </a:lnTo>
                <a:lnTo>
                  <a:pt x="421" y="163"/>
                </a:lnTo>
                <a:lnTo>
                  <a:pt x="418" y="163"/>
                </a:lnTo>
                <a:lnTo>
                  <a:pt x="418" y="163"/>
                </a:lnTo>
                <a:lnTo>
                  <a:pt x="413" y="165"/>
                </a:lnTo>
                <a:lnTo>
                  <a:pt x="413" y="165"/>
                </a:lnTo>
                <a:lnTo>
                  <a:pt x="413" y="168"/>
                </a:lnTo>
                <a:lnTo>
                  <a:pt x="413" y="168"/>
                </a:lnTo>
                <a:lnTo>
                  <a:pt x="411" y="168"/>
                </a:lnTo>
                <a:lnTo>
                  <a:pt x="411" y="168"/>
                </a:lnTo>
                <a:lnTo>
                  <a:pt x="408" y="170"/>
                </a:lnTo>
                <a:lnTo>
                  <a:pt x="408" y="170"/>
                </a:lnTo>
                <a:lnTo>
                  <a:pt x="403" y="173"/>
                </a:lnTo>
                <a:lnTo>
                  <a:pt x="403" y="173"/>
                </a:lnTo>
                <a:lnTo>
                  <a:pt x="401" y="173"/>
                </a:lnTo>
                <a:lnTo>
                  <a:pt x="401" y="173"/>
                </a:lnTo>
                <a:lnTo>
                  <a:pt x="403" y="170"/>
                </a:lnTo>
                <a:lnTo>
                  <a:pt x="403" y="170"/>
                </a:lnTo>
                <a:lnTo>
                  <a:pt x="403" y="170"/>
                </a:lnTo>
                <a:lnTo>
                  <a:pt x="401" y="170"/>
                </a:lnTo>
                <a:lnTo>
                  <a:pt x="401" y="170"/>
                </a:lnTo>
                <a:lnTo>
                  <a:pt x="399" y="173"/>
                </a:lnTo>
                <a:lnTo>
                  <a:pt x="399" y="173"/>
                </a:lnTo>
                <a:lnTo>
                  <a:pt x="399" y="175"/>
                </a:lnTo>
                <a:lnTo>
                  <a:pt x="399" y="175"/>
                </a:lnTo>
                <a:lnTo>
                  <a:pt x="403" y="180"/>
                </a:lnTo>
                <a:lnTo>
                  <a:pt x="403" y="180"/>
                </a:lnTo>
                <a:lnTo>
                  <a:pt x="406" y="187"/>
                </a:lnTo>
                <a:lnTo>
                  <a:pt x="406" y="187"/>
                </a:lnTo>
                <a:lnTo>
                  <a:pt x="411" y="187"/>
                </a:lnTo>
                <a:lnTo>
                  <a:pt x="411" y="187"/>
                </a:lnTo>
                <a:lnTo>
                  <a:pt x="413" y="192"/>
                </a:lnTo>
                <a:lnTo>
                  <a:pt x="413" y="192"/>
                </a:lnTo>
                <a:lnTo>
                  <a:pt x="418" y="195"/>
                </a:lnTo>
                <a:lnTo>
                  <a:pt x="418" y="195"/>
                </a:lnTo>
                <a:lnTo>
                  <a:pt x="418" y="197"/>
                </a:lnTo>
                <a:lnTo>
                  <a:pt x="418" y="197"/>
                </a:lnTo>
                <a:lnTo>
                  <a:pt x="423" y="197"/>
                </a:lnTo>
                <a:lnTo>
                  <a:pt x="423" y="197"/>
                </a:lnTo>
                <a:lnTo>
                  <a:pt x="426" y="200"/>
                </a:lnTo>
                <a:lnTo>
                  <a:pt x="426" y="200"/>
                </a:lnTo>
                <a:lnTo>
                  <a:pt x="426" y="202"/>
                </a:lnTo>
                <a:lnTo>
                  <a:pt x="426" y="202"/>
                </a:lnTo>
                <a:lnTo>
                  <a:pt x="418" y="202"/>
                </a:lnTo>
                <a:lnTo>
                  <a:pt x="418" y="202"/>
                </a:lnTo>
                <a:lnTo>
                  <a:pt x="418" y="197"/>
                </a:lnTo>
                <a:lnTo>
                  <a:pt x="418" y="197"/>
                </a:lnTo>
                <a:lnTo>
                  <a:pt x="416" y="195"/>
                </a:lnTo>
                <a:lnTo>
                  <a:pt x="416" y="195"/>
                </a:lnTo>
                <a:lnTo>
                  <a:pt x="413" y="195"/>
                </a:lnTo>
                <a:lnTo>
                  <a:pt x="413" y="195"/>
                </a:lnTo>
                <a:lnTo>
                  <a:pt x="411" y="195"/>
                </a:lnTo>
                <a:lnTo>
                  <a:pt x="411" y="195"/>
                </a:lnTo>
                <a:lnTo>
                  <a:pt x="408" y="197"/>
                </a:lnTo>
                <a:lnTo>
                  <a:pt x="408" y="197"/>
                </a:lnTo>
                <a:lnTo>
                  <a:pt x="406" y="197"/>
                </a:lnTo>
                <a:lnTo>
                  <a:pt x="406" y="197"/>
                </a:lnTo>
                <a:lnTo>
                  <a:pt x="403" y="195"/>
                </a:lnTo>
                <a:lnTo>
                  <a:pt x="403" y="195"/>
                </a:lnTo>
                <a:lnTo>
                  <a:pt x="406" y="192"/>
                </a:lnTo>
                <a:lnTo>
                  <a:pt x="406" y="192"/>
                </a:lnTo>
                <a:lnTo>
                  <a:pt x="406" y="190"/>
                </a:lnTo>
                <a:lnTo>
                  <a:pt x="406" y="190"/>
                </a:lnTo>
                <a:lnTo>
                  <a:pt x="403" y="190"/>
                </a:lnTo>
                <a:lnTo>
                  <a:pt x="403" y="190"/>
                </a:lnTo>
                <a:lnTo>
                  <a:pt x="401" y="195"/>
                </a:lnTo>
                <a:lnTo>
                  <a:pt x="401" y="195"/>
                </a:lnTo>
                <a:lnTo>
                  <a:pt x="403" y="200"/>
                </a:lnTo>
                <a:lnTo>
                  <a:pt x="403" y="200"/>
                </a:lnTo>
                <a:lnTo>
                  <a:pt x="403" y="202"/>
                </a:lnTo>
                <a:lnTo>
                  <a:pt x="403" y="202"/>
                </a:lnTo>
                <a:lnTo>
                  <a:pt x="403" y="205"/>
                </a:lnTo>
                <a:lnTo>
                  <a:pt x="403" y="205"/>
                </a:lnTo>
                <a:lnTo>
                  <a:pt x="401" y="207"/>
                </a:lnTo>
                <a:lnTo>
                  <a:pt x="401" y="207"/>
                </a:lnTo>
                <a:lnTo>
                  <a:pt x="399" y="209"/>
                </a:lnTo>
                <a:lnTo>
                  <a:pt x="399" y="209"/>
                </a:lnTo>
                <a:lnTo>
                  <a:pt x="396" y="214"/>
                </a:lnTo>
                <a:lnTo>
                  <a:pt x="396" y="214"/>
                </a:lnTo>
                <a:lnTo>
                  <a:pt x="399" y="219"/>
                </a:lnTo>
                <a:lnTo>
                  <a:pt x="399" y="219"/>
                </a:lnTo>
                <a:lnTo>
                  <a:pt x="403" y="224"/>
                </a:lnTo>
                <a:lnTo>
                  <a:pt x="403" y="224"/>
                </a:lnTo>
                <a:lnTo>
                  <a:pt x="408" y="227"/>
                </a:lnTo>
                <a:lnTo>
                  <a:pt x="408" y="227"/>
                </a:lnTo>
                <a:lnTo>
                  <a:pt x="411" y="232"/>
                </a:lnTo>
                <a:lnTo>
                  <a:pt x="411" y="232"/>
                </a:lnTo>
                <a:lnTo>
                  <a:pt x="413" y="232"/>
                </a:lnTo>
                <a:lnTo>
                  <a:pt x="413" y="232"/>
                </a:lnTo>
                <a:lnTo>
                  <a:pt x="418" y="229"/>
                </a:lnTo>
                <a:lnTo>
                  <a:pt x="418" y="229"/>
                </a:lnTo>
                <a:lnTo>
                  <a:pt x="421" y="227"/>
                </a:lnTo>
                <a:lnTo>
                  <a:pt x="421" y="227"/>
                </a:lnTo>
                <a:lnTo>
                  <a:pt x="426" y="229"/>
                </a:lnTo>
                <a:lnTo>
                  <a:pt x="426" y="229"/>
                </a:lnTo>
                <a:lnTo>
                  <a:pt x="433" y="229"/>
                </a:lnTo>
                <a:lnTo>
                  <a:pt x="433" y="229"/>
                </a:lnTo>
                <a:lnTo>
                  <a:pt x="435" y="232"/>
                </a:lnTo>
                <a:lnTo>
                  <a:pt x="435" y="232"/>
                </a:lnTo>
                <a:lnTo>
                  <a:pt x="435" y="234"/>
                </a:lnTo>
                <a:lnTo>
                  <a:pt x="435" y="234"/>
                </a:lnTo>
                <a:lnTo>
                  <a:pt x="438" y="237"/>
                </a:lnTo>
                <a:lnTo>
                  <a:pt x="438" y="237"/>
                </a:lnTo>
                <a:lnTo>
                  <a:pt x="438" y="234"/>
                </a:lnTo>
                <a:lnTo>
                  <a:pt x="438" y="234"/>
                </a:lnTo>
                <a:lnTo>
                  <a:pt x="438" y="229"/>
                </a:lnTo>
                <a:lnTo>
                  <a:pt x="438" y="229"/>
                </a:lnTo>
                <a:lnTo>
                  <a:pt x="440" y="229"/>
                </a:lnTo>
                <a:lnTo>
                  <a:pt x="440" y="229"/>
                </a:lnTo>
                <a:lnTo>
                  <a:pt x="443" y="229"/>
                </a:lnTo>
                <a:lnTo>
                  <a:pt x="443" y="229"/>
                </a:lnTo>
                <a:lnTo>
                  <a:pt x="443" y="232"/>
                </a:lnTo>
                <a:lnTo>
                  <a:pt x="443" y="232"/>
                </a:lnTo>
                <a:lnTo>
                  <a:pt x="440" y="234"/>
                </a:lnTo>
                <a:lnTo>
                  <a:pt x="440" y="234"/>
                </a:lnTo>
                <a:lnTo>
                  <a:pt x="440" y="239"/>
                </a:lnTo>
                <a:lnTo>
                  <a:pt x="440" y="239"/>
                </a:lnTo>
                <a:lnTo>
                  <a:pt x="440" y="239"/>
                </a:lnTo>
                <a:lnTo>
                  <a:pt x="445" y="234"/>
                </a:lnTo>
                <a:lnTo>
                  <a:pt x="445" y="234"/>
                </a:lnTo>
                <a:lnTo>
                  <a:pt x="445" y="234"/>
                </a:lnTo>
                <a:lnTo>
                  <a:pt x="450" y="232"/>
                </a:lnTo>
                <a:lnTo>
                  <a:pt x="450" y="232"/>
                </a:lnTo>
                <a:lnTo>
                  <a:pt x="458" y="229"/>
                </a:lnTo>
                <a:lnTo>
                  <a:pt x="458" y="229"/>
                </a:lnTo>
                <a:lnTo>
                  <a:pt x="462" y="227"/>
                </a:lnTo>
                <a:lnTo>
                  <a:pt x="462" y="227"/>
                </a:lnTo>
                <a:lnTo>
                  <a:pt x="465" y="224"/>
                </a:lnTo>
                <a:lnTo>
                  <a:pt x="465" y="224"/>
                </a:lnTo>
                <a:lnTo>
                  <a:pt x="465" y="224"/>
                </a:lnTo>
                <a:lnTo>
                  <a:pt x="465" y="227"/>
                </a:lnTo>
                <a:lnTo>
                  <a:pt x="465" y="227"/>
                </a:lnTo>
                <a:lnTo>
                  <a:pt x="467" y="227"/>
                </a:lnTo>
                <a:lnTo>
                  <a:pt x="467" y="227"/>
                </a:lnTo>
                <a:lnTo>
                  <a:pt x="472" y="224"/>
                </a:lnTo>
                <a:lnTo>
                  <a:pt x="472" y="224"/>
                </a:lnTo>
                <a:lnTo>
                  <a:pt x="477" y="224"/>
                </a:lnTo>
                <a:lnTo>
                  <a:pt x="477" y="224"/>
                </a:lnTo>
                <a:lnTo>
                  <a:pt x="477" y="222"/>
                </a:lnTo>
                <a:lnTo>
                  <a:pt x="477" y="222"/>
                </a:lnTo>
                <a:lnTo>
                  <a:pt x="477" y="224"/>
                </a:lnTo>
                <a:lnTo>
                  <a:pt x="477" y="224"/>
                </a:lnTo>
                <a:lnTo>
                  <a:pt x="472" y="227"/>
                </a:lnTo>
                <a:lnTo>
                  <a:pt x="472" y="227"/>
                </a:lnTo>
                <a:lnTo>
                  <a:pt x="475" y="229"/>
                </a:lnTo>
                <a:lnTo>
                  <a:pt x="475" y="229"/>
                </a:lnTo>
                <a:lnTo>
                  <a:pt x="475" y="229"/>
                </a:lnTo>
                <a:lnTo>
                  <a:pt x="472" y="234"/>
                </a:lnTo>
                <a:lnTo>
                  <a:pt x="472" y="234"/>
                </a:lnTo>
                <a:lnTo>
                  <a:pt x="467" y="234"/>
                </a:lnTo>
                <a:lnTo>
                  <a:pt x="467" y="234"/>
                </a:lnTo>
                <a:lnTo>
                  <a:pt x="467" y="234"/>
                </a:lnTo>
                <a:lnTo>
                  <a:pt x="465" y="234"/>
                </a:lnTo>
                <a:lnTo>
                  <a:pt x="465" y="234"/>
                </a:lnTo>
                <a:lnTo>
                  <a:pt x="460" y="237"/>
                </a:lnTo>
                <a:lnTo>
                  <a:pt x="460" y="237"/>
                </a:lnTo>
                <a:lnTo>
                  <a:pt x="460" y="237"/>
                </a:lnTo>
                <a:lnTo>
                  <a:pt x="465" y="237"/>
                </a:lnTo>
                <a:lnTo>
                  <a:pt x="465" y="237"/>
                </a:lnTo>
                <a:lnTo>
                  <a:pt x="467" y="239"/>
                </a:lnTo>
                <a:lnTo>
                  <a:pt x="467" y="239"/>
                </a:lnTo>
                <a:lnTo>
                  <a:pt x="465" y="244"/>
                </a:lnTo>
                <a:lnTo>
                  <a:pt x="465" y="244"/>
                </a:lnTo>
                <a:lnTo>
                  <a:pt x="460" y="249"/>
                </a:lnTo>
                <a:lnTo>
                  <a:pt x="460" y="249"/>
                </a:lnTo>
                <a:lnTo>
                  <a:pt x="460" y="254"/>
                </a:lnTo>
                <a:lnTo>
                  <a:pt x="460" y="254"/>
                </a:lnTo>
                <a:lnTo>
                  <a:pt x="458" y="256"/>
                </a:lnTo>
                <a:lnTo>
                  <a:pt x="458" y="256"/>
                </a:lnTo>
                <a:lnTo>
                  <a:pt x="458" y="256"/>
                </a:lnTo>
                <a:lnTo>
                  <a:pt x="458" y="259"/>
                </a:lnTo>
                <a:lnTo>
                  <a:pt x="458" y="259"/>
                </a:lnTo>
                <a:lnTo>
                  <a:pt x="460" y="261"/>
                </a:lnTo>
                <a:lnTo>
                  <a:pt x="460" y="261"/>
                </a:lnTo>
                <a:lnTo>
                  <a:pt x="458" y="264"/>
                </a:lnTo>
                <a:lnTo>
                  <a:pt x="458" y="264"/>
                </a:lnTo>
                <a:lnTo>
                  <a:pt x="455" y="268"/>
                </a:lnTo>
                <a:lnTo>
                  <a:pt x="455" y="268"/>
                </a:lnTo>
                <a:lnTo>
                  <a:pt x="453" y="271"/>
                </a:lnTo>
                <a:lnTo>
                  <a:pt x="453" y="271"/>
                </a:lnTo>
                <a:lnTo>
                  <a:pt x="450" y="268"/>
                </a:lnTo>
                <a:lnTo>
                  <a:pt x="450" y="268"/>
                </a:lnTo>
                <a:lnTo>
                  <a:pt x="448" y="271"/>
                </a:lnTo>
                <a:lnTo>
                  <a:pt x="448" y="271"/>
                </a:lnTo>
                <a:lnTo>
                  <a:pt x="445" y="273"/>
                </a:lnTo>
                <a:lnTo>
                  <a:pt x="445" y="273"/>
                </a:lnTo>
                <a:lnTo>
                  <a:pt x="443" y="273"/>
                </a:lnTo>
                <a:lnTo>
                  <a:pt x="443" y="273"/>
                </a:lnTo>
                <a:lnTo>
                  <a:pt x="438" y="273"/>
                </a:lnTo>
                <a:lnTo>
                  <a:pt x="438" y="273"/>
                </a:lnTo>
                <a:lnTo>
                  <a:pt x="435" y="271"/>
                </a:lnTo>
                <a:lnTo>
                  <a:pt x="435" y="271"/>
                </a:lnTo>
                <a:lnTo>
                  <a:pt x="433" y="271"/>
                </a:lnTo>
                <a:lnTo>
                  <a:pt x="433" y="271"/>
                </a:lnTo>
                <a:lnTo>
                  <a:pt x="433" y="271"/>
                </a:lnTo>
                <a:lnTo>
                  <a:pt x="431" y="268"/>
                </a:lnTo>
                <a:lnTo>
                  <a:pt x="431" y="268"/>
                </a:lnTo>
                <a:lnTo>
                  <a:pt x="428" y="268"/>
                </a:lnTo>
                <a:lnTo>
                  <a:pt x="428" y="268"/>
                </a:lnTo>
                <a:lnTo>
                  <a:pt x="426" y="271"/>
                </a:lnTo>
                <a:lnTo>
                  <a:pt x="426" y="271"/>
                </a:lnTo>
                <a:lnTo>
                  <a:pt x="423" y="273"/>
                </a:lnTo>
                <a:lnTo>
                  <a:pt x="423" y="273"/>
                </a:lnTo>
                <a:lnTo>
                  <a:pt x="421" y="278"/>
                </a:lnTo>
                <a:lnTo>
                  <a:pt x="421" y="278"/>
                </a:lnTo>
                <a:lnTo>
                  <a:pt x="413" y="278"/>
                </a:lnTo>
                <a:lnTo>
                  <a:pt x="413" y="278"/>
                </a:lnTo>
                <a:lnTo>
                  <a:pt x="411" y="281"/>
                </a:lnTo>
                <a:lnTo>
                  <a:pt x="411" y="281"/>
                </a:lnTo>
                <a:lnTo>
                  <a:pt x="408" y="281"/>
                </a:lnTo>
                <a:lnTo>
                  <a:pt x="408" y="281"/>
                </a:lnTo>
                <a:lnTo>
                  <a:pt x="406" y="281"/>
                </a:lnTo>
                <a:lnTo>
                  <a:pt x="406" y="281"/>
                </a:lnTo>
                <a:lnTo>
                  <a:pt x="401" y="281"/>
                </a:lnTo>
                <a:lnTo>
                  <a:pt x="401" y="281"/>
                </a:lnTo>
                <a:lnTo>
                  <a:pt x="399" y="283"/>
                </a:lnTo>
                <a:lnTo>
                  <a:pt x="399" y="283"/>
                </a:lnTo>
                <a:lnTo>
                  <a:pt x="394" y="283"/>
                </a:lnTo>
                <a:lnTo>
                  <a:pt x="394" y="283"/>
                </a:lnTo>
                <a:lnTo>
                  <a:pt x="391" y="286"/>
                </a:lnTo>
                <a:lnTo>
                  <a:pt x="391" y="286"/>
                </a:lnTo>
                <a:lnTo>
                  <a:pt x="391" y="288"/>
                </a:lnTo>
                <a:lnTo>
                  <a:pt x="391" y="288"/>
                </a:lnTo>
                <a:lnTo>
                  <a:pt x="389" y="293"/>
                </a:lnTo>
                <a:lnTo>
                  <a:pt x="389" y="293"/>
                </a:lnTo>
                <a:lnTo>
                  <a:pt x="389" y="296"/>
                </a:lnTo>
                <a:lnTo>
                  <a:pt x="389" y="296"/>
                </a:lnTo>
                <a:lnTo>
                  <a:pt x="386" y="296"/>
                </a:lnTo>
                <a:lnTo>
                  <a:pt x="386" y="296"/>
                </a:lnTo>
                <a:lnTo>
                  <a:pt x="384" y="291"/>
                </a:lnTo>
                <a:lnTo>
                  <a:pt x="384" y="291"/>
                </a:lnTo>
                <a:lnTo>
                  <a:pt x="379" y="291"/>
                </a:lnTo>
                <a:lnTo>
                  <a:pt x="379" y="291"/>
                </a:lnTo>
                <a:lnTo>
                  <a:pt x="376" y="291"/>
                </a:lnTo>
                <a:lnTo>
                  <a:pt x="376" y="291"/>
                </a:lnTo>
                <a:lnTo>
                  <a:pt x="379" y="293"/>
                </a:lnTo>
                <a:lnTo>
                  <a:pt x="379" y="293"/>
                </a:lnTo>
                <a:lnTo>
                  <a:pt x="379" y="296"/>
                </a:lnTo>
                <a:lnTo>
                  <a:pt x="379" y="296"/>
                </a:lnTo>
                <a:lnTo>
                  <a:pt x="379" y="298"/>
                </a:lnTo>
                <a:lnTo>
                  <a:pt x="379" y="298"/>
                </a:lnTo>
                <a:lnTo>
                  <a:pt x="376" y="298"/>
                </a:lnTo>
                <a:lnTo>
                  <a:pt x="376" y="298"/>
                </a:lnTo>
                <a:lnTo>
                  <a:pt x="376" y="296"/>
                </a:lnTo>
                <a:lnTo>
                  <a:pt x="376" y="296"/>
                </a:lnTo>
                <a:lnTo>
                  <a:pt x="374" y="291"/>
                </a:lnTo>
                <a:lnTo>
                  <a:pt x="374" y="291"/>
                </a:lnTo>
                <a:lnTo>
                  <a:pt x="371" y="293"/>
                </a:lnTo>
                <a:lnTo>
                  <a:pt x="371" y="293"/>
                </a:lnTo>
                <a:lnTo>
                  <a:pt x="367" y="296"/>
                </a:lnTo>
                <a:lnTo>
                  <a:pt x="367" y="296"/>
                </a:lnTo>
                <a:lnTo>
                  <a:pt x="367" y="300"/>
                </a:lnTo>
                <a:lnTo>
                  <a:pt x="367" y="300"/>
                </a:lnTo>
                <a:lnTo>
                  <a:pt x="364" y="300"/>
                </a:lnTo>
                <a:lnTo>
                  <a:pt x="364" y="300"/>
                </a:lnTo>
                <a:lnTo>
                  <a:pt x="362" y="300"/>
                </a:lnTo>
                <a:lnTo>
                  <a:pt x="362" y="300"/>
                </a:lnTo>
                <a:lnTo>
                  <a:pt x="354" y="308"/>
                </a:lnTo>
                <a:lnTo>
                  <a:pt x="354" y="308"/>
                </a:lnTo>
                <a:lnTo>
                  <a:pt x="354" y="313"/>
                </a:lnTo>
                <a:lnTo>
                  <a:pt x="354" y="313"/>
                </a:lnTo>
                <a:lnTo>
                  <a:pt x="352" y="313"/>
                </a:lnTo>
                <a:lnTo>
                  <a:pt x="352" y="313"/>
                </a:lnTo>
                <a:lnTo>
                  <a:pt x="349" y="313"/>
                </a:lnTo>
                <a:lnTo>
                  <a:pt x="349" y="313"/>
                </a:lnTo>
                <a:lnTo>
                  <a:pt x="347" y="313"/>
                </a:lnTo>
                <a:lnTo>
                  <a:pt x="347" y="313"/>
                </a:lnTo>
                <a:lnTo>
                  <a:pt x="344" y="313"/>
                </a:lnTo>
                <a:lnTo>
                  <a:pt x="344" y="313"/>
                </a:lnTo>
                <a:lnTo>
                  <a:pt x="349" y="318"/>
                </a:lnTo>
                <a:lnTo>
                  <a:pt x="349" y="318"/>
                </a:lnTo>
                <a:lnTo>
                  <a:pt x="347" y="320"/>
                </a:lnTo>
                <a:lnTo>
                  <a:pt x="347" y="320"/>
                </a:lnTo>
                <a:lnTo>
                  <a:pt x="347" y="320"/>
                </a:lnTo>
                <a:lnTo>
                  <a:pt x="344" y="318"/>
                </a:lnTo>
                <a:lnTo>
                  <a:pt x="344" y="318"/>
                </a:lnTo>
                <a:lnTo>
                  <a:pt x="342" y="318"/>
                </a:lnTo>
                <a:lnTo>
                  <a:pt x="342" y="318"/>
                </a:lnTo>
                <a:lnTo>
                  <a:pt x="342" y="320"/>
                </a:lnTo>
                <a:lnTo>
                  <a:pt x="342" y="320"/>
                </a:lnTo>
                <a:lnTo>
                  <a:pt x="337" y="325"/>
                </a:lnTo>
                <a:lnTo>
                  <a:pt x="337" y="325"/>
                </a:lnTo>
                <a:lnTo>
                  <a:pt x="337" y="325"/>
                </a:lnTo>
                <a:lnTo>
                  <a:pt x="339" y="330"/>
                </a:lnTo>
                <a:lnTo>
                  <a:pt x="339" y="330"/>
                </a:lnTo>
                <a:lnTo>
                  <a:pt x="342" y="335"/>
                </a:lnTo>
                <a:lnTo>
                  <a:pt x="342" y="335"/>
                </a:lnTo>
                <a:lnTo>
                  <a:pt x="339" y="337"/>
                </a:lnTo>
                <a:lnTo>
                  <a:pt x="339" y="337"/>
                </a:lnTo>
                <a:lnTo>
                  <a:pt x="339" y="340"/>
                </a:lnTo>
                <a:lnTo>
                  <a:pt x="339" y="340"/>
                </a:lnTo>
                <a:lnTo>
                  <a:pt x="339" y="342"/>
                </a:lnTo>
                <a:lnTo>
                  <a:pt x="339" y="342"/>
                </a:lnTo>
                <a:lnTo>
                  <a:pt x="342" y="342"/>
                </a:lnTo>
                <a:lnTo>
                  <a:pt x="342" y="342"/>
                </a:lnTo>
                <a:lnTo>
                  <a:pt x="344" y="340"/>
                </a:lnTo>
                <a:lnTo>
                  <a:pt x="344" y="340"/>
                </a:lnTo>
                <a:lnTo>
                  <a:pt x="344" y="340"/>
                </a:lnTo>
                <a:lnTo>
                  <a:pt x="344" y="345"/>
                </a:lnTo>
                <a:lnTo>
                  <a:pt x="344" y="345"/>
                </a:lnTo>
                <a:lnTo>
                  <a:pt x="342" y="345"/>
                </a:lnTo>
                <a:lnTo>
                  <a:pt x="342" y="345"/>
                </a:lnTo>
                <a:lnTo>
                  <a:pt x="342" y="347"/>
                </a:lnTo>
                <a:lnTo>
                  <a:pt x="342" y="347"/>
                </a:lnTo>
                <a:lnTo>
                  <a:pt x="342" y="347"/>
                </a:lnTo>
                <a:lnTo>
                  <a:pt x="344" y="347"/>
                </a:lnTo>
                <a:lnTo>
                  <a:pt x="344" y="347"/>
                </a:lnTo>
                <a:lnTo>
                  <a:pt x="347" y="347"/>
                </a:lnTo>
                <a:lnTo>
                  <a:pt x="347" y="347"/>
                </a:lnTo>
                <a:lnTo>
                  <a:pt x="349" y="347"/>
                </a:lnTo>
                <a:lnTo>
                  <a:pt x="349" y="347"/>
                </a:lnTo>
                <a:lnTo>
                  <a:pt x="349" y="347"/>
                </a:lnTo>
                <a:lnTo>
                  <a:pt x="349" y="350"/>
                </a:lnTo>
                <a:lnTo>
                  <a:pt x="349" y="350"/>
                </a:lnTo>
                <a:lnTo>
                  <a:pt x="352" y="350"/>
                </a:lnTo>
                <a:lnTo>
                  <a:pt x="352" y="350"/>
                </a:lnTo>
                <a:lnTo>
                  <a:pt x="354" y="352"/>
                </a:lnTo>
                <a:lnTo>
                  <a:pt x="354" y="352"/>
                </a:lnTo>
                <a:lnTo>
                  <a:pt x="359" y="352"/>
                </a:lnTo>
                <a:lnTo>
                  <a:pt x="359" y="352"/>
                </a:lnTo>
                <a:lnTo>
                  <a:pt x="362" y="350"/>
                </a:lnTo>
                <a:lnTo>
                  <a:pt x="362" y="350"/>
                </a:lnTo>
                <a:lnTo>
                  <a:pt x="362" y="345"/>
                </a:lnTo>
                <a:lnTo>
                  <a:pt x="362" y="345"/>
                </a:lnTo>
                <a:lnTo>
                  <a:pt x="364" y="342"/>
                </a:lnTo>
                <a:lnTo>
                  <a:pt x="364" y="342"/>
                </a:lnTo>
                <a:lnTo>
                  <a:pt x="369" y="342"/>
                </a:lnTo>
                <a:lnTo>
                  <a:pt x="369" y="342"/>
                </a:lnTo>
                <a:lnTo>
                  <a:pt x="371" y="340"/>
                </a:lnTo>
                <a:lnTo>
                  <a:pt x="371" y="340"/>
                </a:lnTo>
                <a:lnTo>
                  <a:pt x="369" y="342"/>
                </a:lnTo>
                <a:lnTo>
                  <a:pt x="369" y="342"/>
                </a:lnTo>
                <a:lnTo>
                  <a:pt x="367" y="342"/>
                </a:lnTo>
                <a:lnTo>
                  <a:pt x="367" y="342"/>
                </a:lnTo>
                <a:lnTo>
                  <a:pt x="362" y="347"/>
                </a:lnTo>
                <a:lnTo>
                  <a:pt x="362" y="347"/>
                </a:lnTo>
                <a:lnTo>
                  <a:pt x="362" y="352"/>
                </a:lnTo>
                <a:lnTo>
                  <a:pt x="362" y="352"/>
                </a:lnTo>
                <a:lnTo>
                  <a:pt x="359" y="352"/>
                </a:lnTo>
                <a:lnTo>
                  <a:pt x="359" y="352"/>
                </a:lnTo>
                <a:lnTo>
                  <a:pt x="362" y="357"/>
                </a:lnTo>
                <a:lnTo>
                  <a:pt x="362" y="357"/>
                </a:lnTo>
                <a:lnTo>
                  <a:pt x="362" y="359"/>
                </a:lnTo>
                <a:lnTo>
                  <a:pt x="362" y="359"/>
                </a:lnTo>
                <a:lnTo>
                  <a:pt x="359" y="359"/>
                </a:lnTo>
                <a:lnTo>
                  <a:pt x="359" y="359"/>
                </a:lnTo>
                <a:lnTo>
                  <a:pt x="357" y="357"/>
                </a:lnTo>
                <a:lnTo>
                  <a:pt x="357" y="357"/>
                </a:lnTo>
                <a:lnTo>
                  <a:pt x="357" y="357"/>
                </a:lnTo>
                <a:lnTo>
                  <a:pt x="357" y="355"/>
                </a:lnTo>
                <a:lnTo>
                  <a:pt x="357" y="355"/>
                </a:lnTo>
                <a:lnTo>
                  <a:pt x="354" y="355"/>
                </a:lnTo>
                <a:lnTo>
                  <a:pt x="354" y="355"/>
                </a:lnTo>
                <a:lnTo>
                  <a:pt x="352" y="352"/>
                </a:lnTo>
                <a:lnTo>
                  <a:pt x="352" y="352"/>
                </a:lnTo>
                <a:lnTo>
                  <a:pt x="347" y="352"/>
                </a:lnTo>
                <a:lnTo>
                  <a:pt x="347" y="352"/>
                </a:lnTo>
                <a:lnTo>
                  <a:pt x="347" y="350"/>
                </a:lnTo>
                <a:lnTo>
                  <a:pt x="347" y="350"/>
                </a:lnTo>
                <a:lnTo>
                  <a:pt x="344" y="352"/>
                </a:lnTo>
                <a:lnTo>
                  <a:pt x="344" y="352"/>
                </a:lnTo>
                <a:lnTo>
                  <a:pt x="342" y="352"/>
                </a:lnTo>
                <a:lnTo>
                  <a:pt x="342" y="352"/>
                </a:lnTo>
                <a:lnTo>
                  <a:pt x="339" y="355"/>
                </a:lnTo>
                <a:lnTo>
                  <a:pt x="339" y="355"/>
                </a:lnTo>
                <a:lnTo>
                  <a:pt x="337" y="357"/>
                </a:lnTo>
                <a:lnTo>
                  <a:pt x="337" y="357"/>
                </a:lnTo>
                <a:lnTo>
                  <a:pt x="335" y="355"/>
                </a:lnTo>
                <a:lnTo>
                  <a:pt x="335" y="355"/>
                </a:lnTo>
                <a:lnTo>
                  <a:pt x="335" y="357"/>
                </a:lnTo>
                <a:lnTo>
                  <a:pt x="335" y="357"/>
                </a:lnTo>
                <a:lnTo>
                  <a:pt x="335" y="359"/>
                </a:lnTo>
                <a:lnTo>
                  <a:pt x="335" y="359"/>
                </a:lnTo>
                <a:lnTo>
                  <a:pt x="337" y="359"/>
                </a:lnTo>
                <a:lnTo>
                  <a:pt x="337" y="359"/>
                </a:lnTo>
                <a:lnTo>
                  <a:pt x="335" y="362"/>
                </a:lnTo>
                <a:lnTo>
                  <a:pt x="335" y="362"/>
                </a:lnTo>
                <a:lnTo>
                  <a:pt x="335" y="367"/>
                </a:lnTo>
                <a:lnTo>
                  <a:pt x="335" y="367"/>
                </a:lnTo>
                <a:lnTo>
                  <a:pt x="335" y="369"/>
                </a:lnTo>
                <a:lnTo>
                  <a:pt x="335" y="369"/>
                </a:lnTo>
                <a:lnTo>
                  <a:pt x="337" y="369"/>
                </a:lnTo>
                <a:lnTo>
                  <a:pt x="337" y="369"/>
                </a:lnTo>
                <a:lnTo>
                  <a:pt x="337" y="374"/>
                </a:lnTo>
                <a:lnTo>
                  <a:pt x="337" y="374"/>
                </a:lnTo>
                <a:lnTo>
                  <a:pt x="339" y="377"/>
                </a:lnTo>
                <a:lnTo>
                  <a:pt x="339" y="377"/>
                </a:lnTo>
                <a:lnTo>
                  <a:pt x="339" y="379"/>
                </a:lnTo>
                <a:lnTo>
                  <a:pt x="339" y="379"/>
                </a:lnTo>
                <a:lnTo>
                  <a:pt x="342" y="382"/>
                </a:lnTo>
                <a:lnTo>
                  <a:pt x="342" y="382"/>
                </a:lnTo>
                <a:lnTo>
                  <a:pt x="342" y="382"/>
                </a:lnTo>
                <a:lnTo>
                  <a:pt x="337" y="382"/>
                </a:lnTo>
                <a:lnTo>
                  <a:pt x="337" y="382"/>
                </a:lnTo>
                <a:lnTo>
                  <a:pt x="337" y="384"/>
                </a:lnTo>
                <a:lnTo>
                  <a:pt x="337" y="384"/>
                </a:lnTo>
                <a:lnTo>
                  <a:pt x="347" y="389"/>
                </a:lnTo>
                <a:lnTo>
                  <a:pt x="347" y="389"/>
                </a:lnTo>
                <a:lnTo>
                  <a:pt x="352" y="389"/>
                </a:lnTo>
                <a:lnTo>
                  <a:pt x="352" y="389"/>
                </a:lnTo>
                <a:lnTo>
                  <a:pt x="357" y="387"/>
                </a:lnTo>
                <a:lnTo>
                  <a:pt x="357" y="387"/>
                </a:lnTo>
                <a:lnTo>
                  <a:pt x="359" y="387"/>
                </a:lnTo>
                <a:lnTo>
                  <a:pt x="359" y="387"/>
                </a:lnTo>
                <a:lnTo>
                  <a:pt x="359" y="387"/>
                </a:lnTo>
                <a:lnTo>
                  <a:pt x="362" y="387"/>
                </a:lnTo>
                <a:lnTo>
                  <a:pt x="362" y="387"/>
                </a:lnTo>
                <a:lnTo>
                  <a:pt x="367" y="382"/>
                </a:lnTo>
                <a:lnTo>
                  <a:pt x="367" y="382"/>
                </a:lnTo>
                <a:lnTo>
                  <a:pt x="367" y="379"/>
                </a:lnTo>
                <a:lnTo>
                  <a:pt x="367" y="379"/>
                </a:lnTo>
                <a:lnTo>
                  <a:pt x="364" y="377"/>
                </a:lnTo>
                <a:lnTo>
                  <a:pt x="364" y="377"/>
                </a:lnTo>
                <a:lnTo>
                  <a:pt x="364" y="374"/>
                </a:lnTo>
                <a:lnTo>
                  <a:pt x="364" y="374"/>
                </a:lnTo>
                <a:lnTo>
                  <a:pt x="369" y="374"/>
                </a:lnTo>
                <a:lnTo>
                  <a:pt x="369" y="374"/>
                </a:lnTo>
                <a:lnTo>
                  <a:pt x="374" y="369"/>
                </a:lnTo>
                <a:lnTo>
                  <a:pt x="374" y="369"/>
                </a:lnTo>
                <a:lnTo>
                  <a:pt x="379" y="364"/>
                </a:lnTo>
                <a:lnTo>
                  <a:pt x="379" y="364"/>
                </a:lnTo>
                <a:lnTo>
                  <a:pt x="381" y="367"/>
                </a:lnTo>
                <a:lnTo>
                  <a:pt x="381" y="367"/>
                </a:lnTo>
                <a:lnTo>
                  <a:pt x="379" y="367"/>
                </a:lnTo>
                <a:lnTo>
                  <a:pt x="379" y="367"/>
                </a:lnTo>
                <a:lnTo>
                  <a:pt x="374" y="372"/>
                </a:lnTo>
                <a:lnTo>
                  <a:pt x="374" y="372"/>
                </a:lnTo>
                <a:lnTo>
                  <a:pt x="369" y="374"/>
                </a:lnTo>
                <a:lnTo>
                  <a:pt x="369" y="374"/>
                </a:lnTo>
                <a:lnTo>
                  <a:pt x="369" y="377"/>
                </a:lnTo>
                <a:lnTo>
                  <a:pt x="369" y="377"/>
                </a:lnTo>
                <a:lnTo>
                  <a:pt x="371" y="379"/>
                </a:lnTo>
                <a:lnTo>
                  <a:pt x="371" y="379"/>
                </a:lnTo>
                <a:lnTo>
                  <a:pt x="371" y="382"/>
                </a:lnTo>
                <a:lnTo>
                  <a:pt x="371" y="382"/>
                </a:lnTo>
                <a:lnTo>
                  <a:pt x="369" y="384"/>
                </a:lnTo>
                <a:lnTo>
                  <a:pt x="369" y="384"/>
                </a:lnTo>
                <a:lnTo>
                  <a:pt x="367" y="387"/>
                </a:lnTo>
                <a:lnTo>
                  <a:pt x="367" y="387"/>
                </a:lnTo>
                <a:lnTo>
                  <a:pt x="364" y="391"/>
                </a:lnTo>
                <a:lnTo>
                  <a:pt x="364" y="391"/>
                </a:lnTo>
                <a:lnTo>
                  <a:pt x="367" y="394"/>
                </a:lnTo>
                <a:lnTo>
                  <a:pt x="367" y="394"/>
                </a:lnTo>
                <a:lnTo>
                  <a:pt x="364" y="396"/>
                </a:lnTo>
                <a:lnTo>
                  <a:pt x="364" y="396"/>
                </a:lnTo>
                <a:lnTo>
                  <a:pt x="364" y="399"/>
                </a:lnTo>
                <a:lnTo>
                  <a:pt x="364" y="399"/>
                </a:lnTo>
                <a:lnTo>
                  <a:pt x="364" y="401"/>
                </a:lnTo>
                <a:lnTo>
                  <a:pt x="364" y="401"/>
                </a:lnTo>
                <a:lnTo>
                  <a:pt x="364" y="404"/>
                </a:lnTo>
                <a:lnTo>
                  <a:pt x="364" y="404"/>
                </a:lnTo>
                <a:lnTo>
                  <a:pt x="362" y="406"/>
                </a:lnTo>
                <a:lnTo>
                  <a:pt x="362" y="406"/>
                </a:lnTo>
                <a:lnTo>
                  <a:pt x="359" y="409"/>
                </a:lnTo>
                <a:lnTo>
                  <a:pt x="359" y="409"/>
                </a:lnTo>
                <a:lnTo>
                  <a:pt x="359" y="411"/>
                </a:lnTo>
                <a:lnTo>
                  <a:pt x="359" y="411"/>
                </a:lnTo>
                <a:lnTo>
                  <a:pt x="357" y="409"/>
                </a:lnTo>
                <a:lnTo>
                  <a:pt x="357" y="409"/>
                </a:lnTo>
                <a:lnTo>
                  <a:pt x="357" y="411"/>
                </a:lnTo>
                <a:lnTo>
                  <a:pt x="357" y="411"/>
                </a:lnTo>
                <a:lnTo>
                  <a:pt x="357" y="414"/>
                </a:lnTo>
                <a:lnTo>
                  <a:pt x="357" y="414"/>
                </a:lnTo>
                <a:lnTo>
                  <a:pt x="357" y="416"/>
                </a:lnTo>
                <a:lnTo>
                  <a:pt x="357" y="416"/>
                </a:lnTo>
                <a:lnTo>
                  <a:pt x="359" y="419"/>
                </a:lnTo>
                <a:lnTo>
                  <a:pt x="359" y="419"/>
                </a:lnTo>
                <a:lnTo>
                  <a:pt x="362" y="416"/>
                </a:lnTo>
                <a:lnTo>
                  <a:pt x="362" y="416"/>
                </a:lnTo>
                <a:lnTo>
                  <a:pt x="364" y="416"/>
                </a:lnTo>
                <a:lnTo>
                  <a:pt x="364" y="416"/>
                </a:lnTo>
                <a:lnTo>
                  <a:pt x="364" y="419"/>
                </a:lnTo>
                <a:lnTo>
                  <a:pt x="364" y="419"/>
                </a:lnTo>
                <a:lnTo>
                  <a:pt x="362" y="421"/>
                </a:lnTo>
                <a:lnTo>
                  <a:pt x="362" y="421"/>
                </a:lnTo>
                <a:lnTo>
                  <a:pt x="359" y="421"/>
                </a:lnTo>
                <a:lnTo>
                  <a:pt x="359" y="421"/>
                </a:lnTo>
                <a:lnTo>
                  <a:pt x="357" y="421"/>
                </a:lnTo>
                <a:lnTo>
                  <a:pt x="357" y="421"/>
                </a:lnTo>
                <a:lnTo>
                  <a:pt x="359" y="423"/>
                </a:lnTo>
                <a:lnTo>
                  <a:pt x="359" y="423"/>
                </a:lnTo>
                <a:lnTo>
                  <a:pt x="357" y="423"/>
                </a:lnTo>
                <a:lnTo>
                  <a:pt x="357" y="423"/>
                </a:lnTo>
                <a:lnTo>
                  <a:pt x="359" y="426"/>
                </a:lnTo>
                <a:lnTo>
                  <a:pt x="359" y="426"/>
                </a:lnTo>
                <a:lnTo>
                  <a:pt x="357" y="428"/>
                </a:lnTo>
                <a:lnTo>
                  <a:pt x="357" y="428"/>
                </a:lnTo>
                <a:lnTo>
                  <a:pt x="354" y="428"/>
                </a:lnTo>
                <a:lnTo>
                  <a:pt x="354" y="428"/>
                </a:lnTo>
                <a:lnTo>
                  <a:pt x="352" y="431"/>
                </a:lnTo>
                <a:lnTo>
                  <a:pt x="352" y="431"/>
                </a:lnTo>
                <a:lnTo>
                  <a:pt x="349" y="428"/>
                </a:lnTo>
                <a:lnTo>
                  <a:pt x="349" y="428"/>
                </a:lnTo>
                <a:lnTo>
                  <a:pt x="349" y="431"/>
                </a:lnTo>
                <a:lnTo>
                  <a:pt x="349" y="431"/>
                </a:lnTo>
                <a:lnTo>
                  <a:pt x="349" y="431"/>
                </a:lnTo>
                <a:lnTo>
                  <a:pt x="354" y="431"/>
                </a:lnTo>
                <a:lnTo>
                  <a:pt x="354" y="431"/>
                </a:lnTo>
                <a:lnTo>
                  <a:pt x="354" y="433"/>
                </a:lnTo>
                <a:lnTo>
                  <a:pt x="354" y="433"/>
                </a:lnTo>
                <a:lnTo>
                  <a:pt x="359" y="431"/>
                </a:lnTo>
                <a:lnTo>
                  <a:pt x="359" y="431"/>
                </a:lnTo>
                <a:lnTo>
                  <a:pt x="364" y="426"/>
                </a:lnTo>
                <a:lnTo>
                  <a:pt x="364" y="426"/>
                </a:lnTo>
                <a:lnTo>
                  <a:pt x="367" y="426"/>
                </a:lnTo>
                <a:lnTo>
                  <a:pt x="367" y="426"/>
                </a:lnTo>
                <a:lnTo>
                  <a:pt x="369" y="426"/>
                </a:lnTo>
                <a:lnTo>
                  <a:pt x="369" y="426"/>
                </a:lnTo>
                <a:lnTo>
                  <a:pt x="371" y="423"/>
                </a:lnTo>
                <a:lnTo>
                  <a:pt x="371" y="423"/>
                </a:lnTo>
                <a:lnTo>
                  <a:pt x="376" y="423"/>
                </a:lnTo>
                <a:lnTo>
                  <a:pt x="376" y="423"/>
                </a:lnTo>
                <a:lnTo>
                  <a:pt x="374" y="426"/>
                </a:lnTo>
                <a:lnTo>
                  <a:pt x="374" y="426"/>
                </a:lnTo>
                <a:lnTo>
                  <a:pt x="371" y="426"/>
                </a:lnTo>
                <a:lnTo>
                  <a:pt x="371" y="426"/>
                </a:lnTo>
                <a:lnTo>
                  <a:pt x="371" y="428"/>
                </a:lnTo>
                <a:lnTo>
                  <a:pt x="371" y="428"/>
                </a:lnTo>
                <a:lnTo>
                  <a:pt x="374" y="428"/>
                </a:lnTo>
                <a:lnTo>
                  <a:pt x="374" y="428"/>
                </a:lnTo>
                <a:lnTo>
                  <a:pt x="376" y="431"/>
                </a:lnTo>
                <a:lnTo>
                  <a:pt x="376" y="431"/>
                </a:lnTo>
                <a:lnTo>
                  <a:pt x="374" y="433"/>
                </a:lnTo>
                <a:lnTo>
                  <a:pt x="374" y="433"/>
                </a:lnTo>
                <a:lnTo>
                  <a:pt x="376" y="433"/>
                </a:lnTo>
                <a:lnTo>
                  <a:pt x="376" y="433"/>
                </a:lnTo>
                <a:lnTo>
                  <a:pt x="379" y="433"/>
                </a:lnTo>
                <a:lnTo>
                  <a:pt x="379" y="433"/>
                </a:lnTo>
                <a:lnTo>
                  <a:pt x="381" y="431"/>
                </a:lnTo>
                <a:lnTo>
                  <a:pt x="381" y="431"/>
                </a:lnTo>
                <a:lnTo>
                  <a:pt x="381" y="431"/>
                </a:lnTo>
                <a:lnTo>
                  <a:pt x="381" y="433"/>
                </a:lnTo>
                <a:lnTo>
                  <a:pt x="381" y="433"/>
                </a:lnTo>
                <a:lnTo>
                  <a:pt x="384" y="436"/>
                </a:lnTo>
                <a:lnTo>
                  <a:pt x="384" y="436"/>
                </a:lnTo>
                <a:lnTo>
                  <a:pt x="384" y="441"/>
                </a:lnTo>
                <a:lnTo>
                  <a:pt x="384" y="441"/>
                </a:lnTo>
                <a:lnTo>
                  <a:pt x="384" y="443"/>
                </a:lnTo>
                <a:lnTo>
                  <a:pt x="384" y="443"/>
                </a:lnTo>
                <a:lnTo>
                  <a:pt x="386" y="448"/>
                </a:lnTo>
                <a:lnTo>
                  <a:pt x="386" y="448"/>
                </a:lnTo>
                <a:lnTo>
                  <a:pt x="386" y="448"/>
                </a:lnTo>
                <a:lnTo>
                  <a:pt x="389" y="446"/>
                </a:lnTo>
                <a:lnTo>
                  <a:pt x="389" y="446"/>
                </a:lnTo>
                <a:lnTo>
                  <a:pt x="389" y="441"/>
                </a:lnTo>
                <a:lnTo>
                  <a:pt x="389" y="441"/>
                </a:lnTo>
                <a:lnTo>
                  <a:pt x="391" y="436"/>
                </a:lnTo>
                <a:lnTo>
                  <a:pt x="391" y="436"/>
                </a:lnTo>
                <a:lnTo>
                  <a:pt x="391" y="433"/>
                </a:lnTo>
                <a:lnTo>
                  <a:pt x="391" y="433"/>
                </a:lnTo>
                <a:lnTo>
                  <a:pt x="394" y="431"/>
                </a:lnTo>
                <a:lnTo>
                  <a:pt x="394" y="431"/>
                </a:lnTo>
                <a:lnTo>
                  <a:pt x="396" y="431"/>
                </a:lnTo>
                <a:lnTo>
                  <a:pt x="396" y="431"/>
                </a:lnTo>
                <a:lnTo>
                  <a:pt x="399" y="428"/>
                </a:lnTo>
                <a:lnTo>
                  <a:pt x="399" y="428"/>
                </a:lnTo>
                <a:lnTo>
                  <a:pt x="403" y="428"/>
                </a:lnTo>
                <a:lnTo>
                  <a:pt x="403" y="428"/>
                </a:lnTo>
                <a:lnTo>
                  <a:pt x="399" y="431"/>
                </a:lnTo>
                <a:lnTo>
                  <a:pt x="399" y="431"/>
                </a:lnTo>
                <a:lnTo>
                  <a:pt x="396" y="436"/>
                </a:lnTo>
                <a:lnTo>
                  <a:pt x="396" y="436"/>
                </a:lnTo>
                <a:lnTo>
                  <a:pt x="394" y="438"/>
                </a:lnTo>
                <a:lnTo>
                  <a:pt x="394" y="438"/>
                </a:lnTo>
                <a:lnTo>
                  <a:pt x="399" y="441"/>
                </a:lnTo>
                <a:lnTo>
                  <a:pt x="399" y="441"/>
                </a:lnTo>
                <a:lnTo>
                  <a:pt x="401" y="443"/>
                </a:lnTo>
                <a:lnTo>
                  <a:pt x="401" y="443"/>
                </a:lnTo>
                <a:lnTo>
                  <a:pt x="406" y="441"/>
                </a:lnTo>
                <a:lnTo>
                  <a:pt x="406" y="441"/>
                </a:lnTo>
                <a:lnTo>
                  <a:pt x="411" y="438"/>
                </a:lnTo>
                <a:lnTo>
                  <a:pt x="411" y="438"/>
                </a:lnTo>
                <a:lnTo>
                  <a:pt x="413" y="436"/>
                </a:lnTo>
                <a:lnTo>
                  <a:pt x="413" y="436"/>
                </a:lnTo>
                <a:lnTo>
                  <a:pt x="416" y="436"/>
                </a:lnTo>
                <a:lnTo>
                  <a:pt x="416" y="436"/>
                </a:lnTo>
                <a:lnTo>
                  <a:pt x="421" y="433"/>
                </a:lnTo>
                <a:lnTo>
                  <a:pt x="421" y="433"/>
                </a:lnTo>
                <a:lnTo>
                  <a:pt x="423" y="433"/>
                </a:lnTo>
                <a:lnTo>
                  <a:pt x="423" y="433"/>
                </a:lnTo>
                <a:lnTo>
                  <a:pt x="421" y="436"/>
                </a:lnTo>
                <a:lnTo>
                  <a:pt x="421" y="436"/>
                </a:lnTo>
                <a:lnTo>
                  <a:pt x="418" y="438"/>
                </a:lnTo>
                <a:lnTo>
                  <a:pt x="418" y="438"/>
                </a:lnTo>
                <a:lnTo>
                  <a:pt x="418" y="441"/>
                </a:lnTo>
                <a:lnTo>
                  <a:pt x="418" y="441"/>
                </a:lnTo>
                <a:lnTo>
                  <a:pt x="416" y="443"/>
                </a:lnTo>
                <a:lnTo>
                  <a:pt x="416" y="443"/>
                </a:lnTo>
                <a:lnTo>
                  <a:pt x="406" y="448"/>
                </a:lnTo>
                <a:lnTo>
                  <a:pt x="406" y="448"/>
                </a:lnTo>
                <a:lnTo>
                  <a:pt x="403" y="450"/>
                </a:lnTo>
                <a:lnTo>
                  <a:pt x="403" y="450"/>
                </a:lnTo>
                <a:lnTo>
                  <a:pt x="401" y="455"/>
                </a:lnTo>
                <a:lnTo>
                  <a:pt x="401" y="455"/>
                </a:lnTo>
                <a:lnTo>
                  <a:pt x="401" y="458"/>
                </a:lnTo>
                <a:lnTo>
                  <a:pt x="401" y="458"/>
                </a:lnTo>
                <a:lnTo>
                  <a:pt x="401" y="460"/>
                </a:lnTo>
                <a:lnTo>
                  <a:pt x="401" y="460"/>
                </a:lnTo>
                <a:lnTo>
                  <a:pt x="403" y="463"/>
                </a:lnTo>
                <a:lnTo>
                  <a:pt x="403" y="463"/>
                </a:lnTo>
                <a:lnTo>
                  <a:pt x="399" y="463"/>
                </a:lnTo>
                <a:lnTo>
                  <a:pt x="399" y="463"/>
                </a:lnTo>
                <a:lnTo>
                  <a:pt x="396" y="463"/>
                </a:lnTo>
                <a:lnTo>
                  <a:pt x="396" y="463"/>
                </a:lnTo>
                <a:lnTo>
                  <a:pt x="394" y="465"/>
                </a:lnTo>
                <a:lnTo>
                  <a:pt x="394" y="465"/>
                </a:lnTo>
                <a:lnTo>
                  <a:pt x="394" y="470"/>
                </a:lnTo>
                <a:lnTo>
                  <a:pt x="394" y="470"/>
                </a:lnTo>
                <a:lnTo>
                  <a:pt x="389" y="475"/>
                </a:lnTo>
                <a:lnTo>
                  <a:pt x="389" y="475"/>
                </a:lnTo>
                <a:lnTo>
                  <a:pt x="389" y="478"/>
                </a:lnTo>
                <a:lnTo>
                  <a:pt x="389" y="478"/>
                </a:lnTo>
                <a:lnTo>
                  <a:pt x="389" y="478"/>
                </a:lnTo>
                <a:lnTo>
                  <a:pt x="389" y="480"/>
                </a:lnTo>
                <a:lnTo>
                  <a:pt x="389" y="480"/>
                </a:lnTo>
                <a:lnTo>
                  <a:pt x="389" y="482"/>
                </a:lnTo>
                <a:lnTo>
                  <a:pt x="389" y="482"/>
                </a:lnTo>
                <a:lnTo>
                  <a:pt x="386" y="482"/>
                </a:lnTo>
                <a:lnTo>
                  <a:pt x="386" y="482"/>
                </a:lnTo>
                <a:lnTo>
                  <a:pt x="386" y="480"/>
                </a:lnTo>
                <a:lnTo>
                  <a:pt x="386" y="480"/>
                </a:lnTo>
                <a:lnTo>
                  <a:pt x="384" y="480"/>
                </a:lnTo>
                <a:lnTo>
                  <a:pt x="384" y="480"/>
                </a:lnTo>
                <a:lnTo>
                  <a:pt x="381" y="482"/>
                </a:lnTo>
                <a:lnTo>
                  <a:pt x="381" y="482"/>
                </a:lnTo>
                <a:lnTo>
                  <a:pt x="379" y="485"/>
                </a:lnTo>
                <a:lnTo>
                  <a:pt x="379" y="485"/>
                </a:lnTo>
                <a:lnTo>
                  <a:pt x="379" y="487"/>
                </a:lnTo>
                <a:lnTo>
                  <a:pt x="379" y="487"/>
                </a:lnTo>
                <a:lnTo>
                  <a:pt x="379" y="487"/>
                </a:lnTo>
                <a:lnTo>
                  <a:pt x="376" y="487"/>
                </a:lnTo>
                <a:lnTo>
                  <a:pt x="376" y="487"/>
                </a:lnTo>
                <a:lnTo>
                  <a:pt x="374" y="487"/>
                </a:lnTo>
                <a:lnTo>
                  <a:pt x="374" y="487"/>
                </a:lnTo>
                <a:lnTo>
                  <a:pt x="374" y="487"/>
                </a:lnTo>
                <a:lnTo>
                  <a:pt x="367" y="492"/>
                </a:lnTo>
                <a:lnTo>
                  <a:pt x="367" y="492"/>
                </a:lnTo>
                <a:lnTo>
                  <a:pt x="364" y="497"/>
                </a:lnTo>
                <a:lnTo>
                  <a:pt x="364" y="497"/>
                </a:lnTo>
                <a:lnTo>
                  <a:pt x="364" y="497"/>
                </a:lnTo>
                <a:lnTo>
                  <a:pt x="364" y="500"/>
                </a:lnTo>
                <a:lnTo>
                  <a:pt x="364" y="500"/>
                </a:lnTo>
                <a:lnTo>
                  <a:pt x="362" y="497"/>
                </a:lnTo>
                <a:lnTo>
                  <a:pt x="362" y="497"/>
                </a:lnTo>
                <a:lnTo>
                  <a:pt x="362" y="495"/>
                </a:lnTo>
                <a:lnTo>
                  <a:pt x="362" y="495"/>
                </a:lnTo>
                <a:lnTo>
                  <a:pt x="357" y="497"/>
                </a:lnTo>
                <a:lnTo>
                  <a:pt x="357" y="497"/>
                </a:lnTo>
                <a:lnTo>
                  <a:pt x="354" y="500"/>
                </a:lnTo>
                <a:lnTo>
                  <a:pt x="354" y="500"/>
                </a:lnTo>
                <a:lnTo>
                  <a:pt x="352" y="500"/>
                </a:lnTo>
                <a:lnTo>
                  <a:pt x="352" y="500"/>
                </a:lnTo>
                <a:lnTo>
                  <a:pt x="352" y="502"/>
                </a:lnTo>
                <a:lnTo>
                  <a:pt x="352" y="502"/>
                </a:lnTo>
                <a:lnTo>
                  <a:pt x="347" y="505"/>
                </a:lnTo>
                <a:lnTo>
                  <a:pt x="347" y="505"/>
                </a:lnTo>
                <a:lnTo>
                  <a:pt x="344" y="505"/>
                </a:lnTo>
                <a:lnTo>
                  <a:pt x="344" y="505"/>
                </a:lnTo>
                <a:lnTo>
                  <a:pt x="339" y="507"/>
                </a:lnTo>
                <a:lnTo>
                  <a:pt x="339" y="507"/>
                </a:lnTo>
                <a:lnTo>
                  <a:pt x="332" y="510"/>
                </a:lnTo>
                <a:lnTo>
                  <a:pt x="332" y="510"/>
                </a:lnTo>
                <a:lnTo>
                  <a:pt x="327" y="514"/>
                </a:lnTo>
                <a:lnTo>
                  <a:pt x="327" y="514"/>
                </a:lnTo>
                <a:lnTo>
                  <a:pt x="325" y="519"/>
                </a:lnTo>
                <a:lnTo>
                  <a:pt x="325" y="519"/>
                </a:lnTo>
                <a:lnTo>
                  <a:pt x="325" y="519"/>
                </a:lnTo>
                <a:lnTo>
                  <a:pt x="327" y="522"/>
                </a:lnTo>
                <a:lnTo>
                  <a:pt x="327" y="522"/>
                </a:lnTo>
                <a:lnTo>
                  <a:pt x="327" y="524"/>
                </a:lnTo>
                <a:lnTo>
                  <a:pt x="327" y="524"/>
                </a:lnTo>
                <a:lnTo>
                  <a:pt x="325" y="527"/>
                </a:lnTo>
                <a:lnTo>
                  <a:pt x="325" y="527"/>
                </a:lnTo>
                <a:lnTo>
                  <a:pt x="325" y="524"/>
                </a:lnTo>
                <a:lnTo>
                  <a:pt x="325" y="524"/>
                </a:lnTo>
                <a:lnTo>
                  <a:pt x="322" y="524"/>
                </a:lnTo>
                <a:lnTo>
                  <a:pt x="322" y="524"/>
                </a:lnTo>
                <a:lnTo>
                  <a:pt x="322" y="524"/>
                </a:lnTo>
                <a:lnTo>
                  <a:pt x="322" y="527"/>
                </a:lnTo>
                <a:lnTo>
                  <a:pt x="322" y="527"/>
                </a:lnTo>
                <a:lnTo>
                  <a:pt x="320" y="527"/>
                </a:lnTo>
                <a:lnTo>
                  <a:pt x="320" y="527"/>
                </a:lnTo>
                <a:lnTo>
                  <a:pt x="320" y="527"/>
                </a:lnTo>
                <a:lnTo>
                  <a:pt x="320" y="522"/>
                </a:lnTo>
                <a:lnTo>
                  <a:pt x="320" y="522"/>
                </a:lnTo>
                <a:lnTo>
                  <a:pt x="320" y="522"/>
                </a:lnTo>
                <a:lnTo>
                  <a:pt x="317" y="519"/>
                </a:lnTo>
                <a:lnTo>
                  <a:pt x="317" y="519"/>
                </a:lnTo>
                <a:lnTo>
                  <a:pt x="315" y="519"/>
                </a:lnTo>
                <a:lnTo>
                  <a:pt x="315" y="519"/>
                </a:lnTo>
                <a:lnTo>
                  <a:pt x="312" y="519"/>
                </a:lnTo>
                <a:lnTo>
                  <a:pt x="312" y="519"/>
                </a:lnTo>
                <a:lnTo>
                  <a:pt x="310" y="519"/>
                </a:lnTo>
                <a:lnTo>
                  <a:pt x="310" y="519"/>
                </a:lnTo>
                <a:lnTo>
                  <a:pt x="305" y="522"/>
                </a:lnTo>
                <a:lnTo>
                  <a:pt x="305" y="522"/>
                </a:lnTo>
                <a:lnTo>
                  <a:pt x="303" y="522"/>
                </a:lnTo>
                <a:lnTo>
                  <a:pt x="303" y="522"/>
                </a:lnTo>
                <a:lnTo>
                  <a:pt x="300" y="524"/>
                </a:lnTo>
                <a:lnTo>
                  <a:pt x="300" y="524"/>
                </a:lnTo>
                <a:lnTo>
                  <a:pt x="298" y="527"/>
                </a:lnTo>
                <a:lnTo>
                  <a:pt x="298" y="527"/>
                </a:lnTo>
                <a:lnTo>
                  <a:pt x="293" y="529"/>
                </a:lnTo>
                <a:lnTo>
                  <a:pt x="293" y="529"/>
                </a:lnTo>
                <a:lnTo>
                  <a:pt x="290" y="532"/>
                </a:lnTo>
                <a:lnTo>
                  <a:pt x="290" y="532"/>
                </a:lnTo>
                <a:lnTo>
                  <a:pt x="290" y="534"/>
                </a:lnTo>
                <a:lnTo>
                  <a:pt x="290" y="534"/>
                </a:lnTo>
                <a:lnTo>
                  <a:pt x="290" y="534"/>
                </a:lnTo>
                <a:lnTo>
                  <a:pt x="288" y="534"/>
                </a:lnTo>
                <a:lnTo>
                  <a:pt x="288" y="534"/>
                </a:lnTo>
                <a:lnTo>
                  <a:pt x="283" y="537"/>
                </a:lnTo>
                <a:lnTo>
                  <a:pt x="283" y="537"/>
                </a:lnTo>
                <a:lnTo>
                  <a:pt x="283" y="537"/>
                </a:lnTo>
                <a:lnTo>
                  <a:pt x="280" y="539"/>
                </a:lnTo>
                <a:lnTo>
                  <a:pt x="280" y="539"/>
                </a:lnTo>
                <a:lnTo>
                  <a:pt x="280" y="539"/>
                </a:lnTo>
                <a:lnTo>
                  <a:pt x="278" y="539"/>
                </a:lnTo>
                <a:lnTo>
                  <a:pt x="278" y="539"/>
                </a:lnTo>
                <a:lnTo>
                  <a:pt x="276" y="539"/>
                </a:lnTo>
                <a:lnTo>
                  <a:pt x="276" y="539"/>
                </a:lnTo>
                <a:lnTo>
                  <a:pt x="273" y="541"/>
                </a:lnTo>
                <a:lnTo>
                  <a:pt x="273" y="541"/>
                </a:lnTo>
                <a:lnTo>
                  <a:pt x="273" y="544"/>
                </a:lnTo>
                <a:lnTo>
                  <a:pt x="273" y="544"/>
                </a:lnTo>
                <a:lnTo>
                  <a:pt x="273" y="546"/>
                </a:lnTo>
                <a:lnTo>
                  <a:pt x="273" y="546"/>
                </a:lnTo>
                <a:lnTo>
                  <a:pt x="276" y="546"/>
                </a:lnTo>
                <a:lnTo>
                  <a:pt x="276" y="546"/>
                </a:lnTo>
                <a:lnTo>
                  <a:pt x="276" y="544"/>
                </a:lnTo>
                <a:lnTo>
                  <a:pt x="276" y="544"/>
                </a:lnTo>
                <a:lnTo>
                  <a:pt x="276" y="541"/>
                </a:lnTo>
                <a:lnTo>
                  <a:pt x="276" y="541"/>
                </a:lnTo>
                <a:lnTo>
                  <a:pt x="278" y="541"/>
                </a:lnTo>
                <a:lnTo>
                  <a:pt x="278" y="541"/>
                </a:lnTo>
                <a:lnTo>
                  <a:pt x="278" y="541"/>
                </a:lnTo>
                <a:lnTo>
                  <a:pt x="278" y="544"/>
                </a:lnTo>
                <a:lnTo>
                  <a:pt x="278" y="544"/>
                </a:lnTo>
                <a:lnTo>
                  <a:pt x="278" y="546"/>
                </a:lnTo>
                <a:lnTo>
                  <a:pt x="278" y="546"/>
                </a:lnTo>
                <a:lnTo>
                  <a:pt x="283" y="546"/>
                </a:lnTo>
                <a:lnTo>
                  <a:pt x="283" y="546"/>
                </a:lnTo>
                <a:lnTo>
                  <a:pt x="285" y="541"/>
                </a:lnTo>
                <a:lnTo>
                  <a:pt x="285" y="541"/>
                </a:lnTo>
                <a:lnTo>
                  <a:pt x="285" y="539"/>
                </a:lnTo>
                <a:lnTo>
                  <a:pt x="285" y="539"/>
                </a:lnTo>
                <a:lnTo>
                  <a:pt x="288" y="541"/>
                </a:lnTo>
                <a:lnTo>
                  <a:pt x="288" y="541"/>
                </a:lnTo>
                <a:lnTo>
                  <a:pt x="285" y="544"/>
                </a:lnTo>
                <a:lnTo>
                  <a:pt x="285" y="544"/>
                </a:lnTo>
                <a:lnTo>
                  <a:pt x="288" y="544"/>
                </a:lnTo>
                <a:lnTo>
                  <a:pt x="288" y="544"/>
                </a:lnTo>
                <a:lnTo>
                  <a:pt x="290" y="544"/>
                </a:lnTo>
                <a:lnTo>
                  <a:pt x="290" y="544"/>
                </a:lnTo>
                <a:lnTo>
                  <a:pt x="290" y="541"/>
                </a:lnTo>
                <a:lnTo>
                  <a:pt x="290" y="541"/>
                </a:lnTo>
                <a:lnTo>
                  <a:pt x="293" y="544"/>
                </a:lnTo>
                <a:lnTo>
                  <a:pt x="293" y="544"/>
                </a:lnTo>
                <a:lnTo>
                  <a:pt x="293" y="544"/>
                </a:lnTo>
                <a:lnTo>
                  <a:pt x="293" y="541"/>
                </a:lnTo>
                <a:lnTo>
                  <a:pt x="293" y="541"/>
                </a:lnTo>
                <a:lnTo>
                  <a:pt x="295" y="541"/>
                </a:lnTo>
                <a:lnTo>
                  <a:pt x="295" y="541"/>
                </a:lnTo>
                <a:lnTo>
                  <a:pt x="298" y="541"/>
                </a:lnTo>
                <a:lnTo>
                  <a:pt x="298" y="541"/>
                </a:lnTo>
                <a:lnTo>
                  <a:pt x="300" y="539"/>
                </a:lnTo>
                <a:lnTo>
                  <a:pt x="300" y="539"/>
                </a:lnTo>
                <a:lnTo>
                  <a:pt x="303" y="537"/>
                </a:lnTo>
                <a:lnTo>
                  <a:pt x="303" y="537"/>
                </a:lnTo>
                <a:lnTo>
                  <a:pt x="303" y="534"/>
                </a:lnTo>
                <a:lnTo>
                  <a:pt x="303" y="534"/>
                </a:lnTo>
                <a:lnTo>
                  <a:pt x="305" y="532"/>
                </a:lnTo>
                <a:lnTo>
                  <a:pt x="305" y="532"/>
                </a:lnTo>
                <a:lnTo>
                  <a:pt x="308" y="529"/>
                </a:lnTo>
                <a:lnTo>
                  <a:pt x="308" y="529"/>
                </a:lnTo>
                <a:lnTo>
                  <a:pt x="308" y="529"/>
                </a:lnTo>
                <a:lnTo>
                  <a:pt x="312" y="532"/>
                </a:lnTo>
                <a:lnTo>
                  <a:pt x="312" y="532"/>
                </a:lnTo>
                <a:lnTo>
                  <a:pt x="310" y="532"/>
                </a:lnTo>
                <a:lnTo>
                  <a:pt x="310" y="532"/>
                </a:lnTo>
                <a:lnTo>
                  <a:pt x="308" y="532"/>
                </a:lnTo>
                <a:lnTo>
                  <a:pt x="308" y="532"/>
                </a:lnTo>
                <a:lnTo>
                  <a:pt x="308" y="534"/>
                </a:lnTo>
                <a:lnTo>
                  <a:pt x="308" y="534"/>
                </a:lnTo>
                <a:lnTo>
                  <a:pt x="308" y="539"/>
                </a:lnTo>
                <a:lnTo>
                  <a:pt x="308" y="539"/>
                </a:lnTo>
                <a:lnTo>
                  <a:pt x="308" y="539"/>
                </a:lnTo>
                <a:lnTo>
                  <a:pt x="312" y="537"/>
                </a:lnTo>
                <a:lnTo>
                  <a:pt x="312" y="537"/>
                </a:lnTo>
                <a:lnTo>
                  <a:pt x="312" y="534"/>
                </a:lnTo>
                <a:lnTo>
                  <a:pt x="312" y="534"/>
                </a:lnTo>
                <a:lnTo>
                  <a:pt x="315" y="532"/>
                </a:lnTo>
                <a:lnTo>
                  <a:pt x="315" y="532"/>
                </a:lnTo>
                <a:lnTo>
                  <a:pt x="315" y="534"/>
                </a:lnTo>
                <a:lnTo>
                  <a:pt x="315" y="534"/>
                </a:lnTo>
                <a:lnTo>
                  <a:pt x="317" y="532"/>
                </a:lnTo>
                <a:lnTo>
                  <a:pt x="317" y="532"/>
                </a:lnTo>
                <a:lnTo>
                  <a:pt x="317" y="532"/>
                </a:lnTo>
                <a:lnTo>
                  <a:pt x="317" y="534"/>
                </a:lnTo>
                <a:lnTo>
                  <a:pt x="317" y="534"/>
                </a:lnTo>
                <a:lnTo>
                  <a:pt x="317" y="537"/>
                </a:lnTo>
                <a:lnTo>
                  <a:pt x="317" y="537"/>
                </a:lnTo>
                <a:lnTo>
                  <a:pt x="317" y="537"/>
                </a:lnTo>
                <a:lnTo>
                  <a:pt x="320" y="534"/>
                </a:lnTo>
                <a:lnTo>
                  <a:pt x="320" y="534"/>
                </a:lnTo>
                <a:lnTo>
                  <a:pt x="322" y="534"/>
                </a:lnTo>
                <a:lnTo>
                  <a:pt x="322" y="534"/>
                </a:lnTo>
                <a:lnTo>
                  <a:pt x="325" y="532"/>
                </a:lnTo>
                <a:lnTo>
                  <a:pt x="325" y="532"/>
                </a:lnTo>
                <a:lnTo>
                  <a:pt x="327" y="532"/>
                </a:lnTo>
                <a:lnTo>
                  <a:pt x="327" y="532"/>
                </a:lnTo>
                <a:lnTo>
                  <a:pt x="332" y="527"/>
                </a:lnTo>
                <a:lnTo>
                  <a:pt x="332" y="527"/>
                </a:lnTo>
                <a:lnTo>
                  <a:pt x="335" y="527"/>
                </a:lnTo>
                <a:lnTo>
                  <a:pt x="335" y="527"/>
                </a:lnTo>
                <a:lnTo>
                  <a:pt x="335" y="527"/>
                </a:lnTo>
                <a:lnTo>
                  <a:pt x="335" y="529"/>
                </a:lnTo>
                <a:lnTo>
                  <a:pt x="335" y="529"/>
                </a:lnTo>
                <a:lnTo>
                  <a:pt x="335" y="532"/>
                </a:lnTo>
                <a:lnTo>
                  <a:pt x="335" y="532"/>
                </a:lnTo>
                <a:lnTo>
                  <a:pt x="332" y="534"/>
                </a:lnTo>
                <a:lnTo>
                  <a:pt x="332" y="534"/>
                </a:lnTo>
                <a:lnTo>
                  <a:pt x="332" y="537"/>
                </a:lnTo>
                <a:lnTo>
                  <a:pt x="332" y="537"/>
                </a:lnTo>
                <a:lnTo>
                  <a:pt x="332" y="537"/>
                </a:lnTo>
                <a:lnTo>
                  <a:pt x="337" y="532"/>
                </a:lnTo>
                <a:lnTo>
                  <a:pt x="337" y="532"/>
                </a:lnTo>
                <a:lnTo>
                  <a:pt x="337" y="527"/>
                </a:lnTo>
                <a:lnTo>
                  <a:pt x="337" y="527"/>
                </a:lnTo>
                <a:lnTo>
                  <a:pt x="337" y="527"/>
                </a:lnTo>
                <a:lnTo>
                  <a:pt x="339" y="527"/>
                </a:lnTo>
                <a:lnTo>
                  <a:pt x="339" y="527"/>
                </a:lnTo>
                <a:lnTo>
                  <a:pt x="342" y="527"/>
                </a:lnTo>
                <a:lnTo>
                  <a:pt x="342" y="527"/>
                </a:lnTo>
                <a:lnTo>
                  <a:pt x="344" y="527"/>
                </a:lnTo>
                <a:lnTo>
                  <a:pt x="344" y="527"/>
                </a:lnTo>
                <a:lnTo>
                  <a:pt x="347" y="527"/>
                </a:lnTo>
                <a:lnTo>
                  <a:pt x="347" y="527"/>
                </a:lnTo>
                <a:lnTo>
                  <a:pt x="349" y="524"/>
                </a:lnTo>
                <a:lnTo>
                  <a:pt x="349" y="524"/>
                </a:lnTo>
                <a:lnTo>
                  <a:pt x="352" y="524"/>
                </a:lnTo>
                <a:lnTo>
                  <a:pt x="352" y="524"/>
                </a:lnTo>
                <a:lnTo>
                  <a:pt x="352" y="524"/>
                </a:lnTo>
                <a:lnTo>
                  <a:pt x="354" y="522"/>
                </a:lnTo>
                <a:lnTo>
                  <a:pt x="354" y="522"/>
                </a:lnTo>
                <a:lnTo>
                  <a:pt x="354" y="519"/>
                </a:lnTo>
                <a:lnTo>
                  <a:pt x="354" y="519"/>
                </a:lnTo>
                <a:lnTo>
                  <a:pt x="354" y="519"/>
                </a:lnTo>
                <a:lnTo>
                  <a:pt x="354" y="522"/>
                </a:lnTo>
                <a:lnTo>
                  <a:pt x="354" y="522"/>
                </a:lnTo>
                <a:lnTo>
                  <a:pt x="354" y="524"/>
                </a:lnTo>
                <a:lnTo>
                  <a:pt x="354" y="524"/>
                </a:lnTo>
                <a:lnTo>
                  <a:pt x="357" y="524"/>
                </a:lnTo>
                <a:lnTo>
                  <a:pt x="357" y="524"/>
                </a:lnTo>
                <a:lnTo>
                  <a:pt x="359" y="522"/>
                </a:lnTo>
                <a:lnTo>
                  <a:pt x="359" y="522"/>
                </a:lnTo>
                <a:lnTo>
                  <a:pt x="357" y="522"/>
                </a:lnTo>
                <a:lnTo>
                  <a:pt x="357" y="522"/>
                </a:lnTo>
                <a:lnTo>
                  <a:pt x="359" y="519"/>
                </a:lnTo>
                <a:lnTo>
                  <a:pt x="359" y="519"/>
                </a:lnTo>
                <a:lnTo>
                  <a:pt x="359" y="517"/>
                </a:lnTo>
                <a:lnTo>
                  <a:pt x="359" y="517"/>
                </a:lnTo>
                <a:lnTo>
                  <a:pt x="354" y="517"/>
                </a:lnTo>
                <a:lnTo>
                  <a:pt x="354" y="517"/>
                </a:lnTo>
                <a:lnTo>
                  <a:pt x="354" y="517"/>
                </a:lnTo>
                <a:lnTo>
                  <a:pt x="359" y="517"/>
                </a:lnTo>
                <a:lnTo>
                  <a:pt x="359" y="517"/>
                </a:lnTo>
                <a:lnTo>
                  <a:pt x="364" y="514"/>
                </a:lnTo>
                <a:lnTo>
                  <a:pt x="364" y="514"/>
                </a:lnTo>
                <a:lnTo>
                  <a:pt x="369" y="514"/>
                </a:lnTo>
                <a:lnTo>
                  <a:pt x="369" y="514"/>
                </a:lnTo>
                <a:lnTo>
                  <a:pt x="371" y="512"/>
                </a:lnTo>
                <a:lnTo>
                  <a:pt x="371" y="512"/>
                </a:lnTo>
                <a:lnTo>
                  <a:pt x="369" y="510"/>
                </a:lnTo>
                <a:lnTo>
                  <a:pt x="369" y="510"/>
                </a:lnTo>
                <a:lnTo>
                  <a:pt x="369" y="510"/>
                </a:lnTo>
                <a:lnTo>
                  <a:pt x="371" y="510"/>
                </a:lnTo>
                <a:lnTo>
                  <a:pt x="371" y="510"/>
                </a:lnTo>
                <a:lnTo>
                  <a:pt x="371" y="510"/>
                </a:lnTo>
                <a:lnTo>
                  <a:pt x="374" y="507"/>
                </a:lnTo>
                <a:lnTo>
                  <a:pt x="374" y="507"/>
                </a:lnTo>
                <a:lnTo>
                  <a:pt x="376" y="507"/>
                </a:lnTo>
                <a:lnTo>
                  <a:pt x="376" y="507"/>
                </a:lnTo>
                <a:lnTo>
                  <a:pt x="376" y="510"/>
                </a:lnTo>
                <a:lnTo>
                  <a:pt x="376" y="510"/>
                </a:lnTo>
                <a:lnTo>
                  <a:pt x="379" y="510"/>
                </a:lnTo>
                <a:lnTo>
                  <a:pt x="379" y="510"/>
                </a:lnTo>
                <a:lnTo>
                  <a:pt x="379" y="507"/>
                </a:lnTo>
                <a:lnTo>
                  <a:pt x="379" y="507"/>
                </a:lnTo>
                <a:lnTo>
                  <a:pt x="379" y="507"/>
                </a:lnTo>
                <a:lnTo>
                  <a:pt x="381" y="505"/>
                </a:lnTo>
                <a:lnTo>
                  <a:pt x="381" y="505"/>
                </a:lnTo>
                <a:lnTo>
                  <a:pt x="381" y="502"/>
                </a:lnTo>
                <a:lnTo>
                  <a:pt x="381" y="502"/>
                </a:lnTo>
                <a:lnTo>
                  <a:pt x="381" y="502"/>
                </a:lnTo>
                <a:lnTo>
                  <a:pt x="384" y="502"/>
                </a:lnTo>
                <a:lnTo>
                  <a:pt x="384" y="502"/>
                </a:lnTo>
                <a:lnTo>
                  <a:pt x="384" y="505"/>
                </a:lnTo>
                <a:lnTo>
                  <a:pt x="384" y="505"/>
                </a:lnTo>
                <a:lnTo>
                  <a:pt x="386" y="505"/>
                </a:lnTo>
                <a:lnTo>
                  <a:pt x="386" y="505"/>
                </a:lnTo>
                <a:lnTo>
                  <a:pt x="389" y="502"/>
                </a:lnTo>
                <a:lnTo>
                  <a:pt x="389" y="502"/>
                </a:lnTo>
                <a:lnTo>
                  <a:pt x="391" y="500"/>
                </a:lnTo>
                <a:lnTo>
                  <a:pt x="391" y="500"/>
                </a:lnTo>
                <a:lnTo>
                  <a:pt x="394" y="502"/>
                </a:lnTo>
                <a:lnTo>
                  <a:pt x="394" y="502"/>
                </a:lnTo>
                <a:lnTo>
                  <a:pt x="394" y="497"/>
                </a:lnTo>
                <a:lnTo>
                  <a:pt x="394" y="497"/>
                </a:lnTo>
                <a:lnTo>
                  <a:pt x="396" y="497"/>
                </a:lnTo>
                <a:lnTo>
                  <a:pt x="396" y="497"/>
                </a:lnTo>
                <a:lnTo>
                  <a:pt x="396" y="500"/>
                </a:lnTo>
                <a:lnTo>
                  <a:pt x="396" y="500"/>
                </a:lnTo>
                <a:lnTo>
                  <a:pt x="399" y="500"/>
                </a:lnTo>
                <a:lnTo>
                  <a:pt x="399" y="500"/>
                </a:lnTo>
                <a:lnTo>
                  <a:pt x="403" y="495"/>
                </a:lnTo>
                <a:lnTo>
                  <a:pt x="403" y="495"/>
                </a:lnTo>
                <a:lnTo>
                  <a:pt x="403" y="492"/>
                </a:lnTo>
                <a:lnTo>
                  <a:pt x="403" y="492"/>
                </a:lnTo>
                <a:lnTo>
                  <a:pt x="401" y="492"/>
                </a:lnTo>
                <a:lnTo>
                  <a:pt x="401" y="492"/>
                </a:lnTo>
                <a:lnTo>
                  <a:pt x="399" y="492"/>
                </a:lnTo>
                <a:lnTo>
                  <a:pt x="399" y="492"/>
                </a:lnTo>
                <a:lnTo>
                  <a:pt x="399" y="492"/>
                </a:lnTo>
                <a:lnTo>
                  <a:pt x="403" y="490"/>
                </a:lnTo>
                <a:lnTo>
                  <a:pt x="403" y="490"/>
                </a:lnTo>
                <a:lnTo>
                  <a:pt x="406" y="487"/>
                </a:lnTo>
                <a:lnTo>
                  <a:pt x="406" y="487"/>
                </a:lnTo>
                <a:lnTo>
                  <a:pt x="408" y="485"/>
                </a:lnTo>
                <a:lnTo>
                  <a:pt x="408" y="485"/>
                </a:lnTo>
                <a:lnTo>
                  <a:pt x="408" y="485"/>
                </a:lnTo>
                <a:lnTo>
                  <a:pt x="411" y="487"/>
                </a:lnTo>
                <a:lnTo>
                  <a:pt x="411" y="487"/>
                </a:lnTo>
                <a:lnTo>
                  <a:pt x="413" y="482"/>
                </a:lnTo>
                <a:lnTo>
                  <a:pt x="413" y="482"/>
                </a:lnTo>
                <a:lnTo>
                  <a:pt x="416" y="482"/>
                </a:lnTo>
                <a:lnTo>
                  <a:pt x="416" y="482"/>
                </a:lnTo>
                <a:lnTo>
                  <a:pt x="418" y="480"/>
                </a:lnTo>
                <a:lnTo>
                  <a:pt x="418" y="480"/>
                </a:lnTo>
                <a:lnTo>
                  <a:pt x="418" y="480"/>
                </a:lnTo>
                <a:lnTo>
                  <a:pt x="421" y="478"/>
                </a:lnTo>
                <a:lnTo>
                  <a:pt x="421" y="478"/>
                </a:lnTo>
                <a:lnTo>
                  <a:pt x="423" y="478"/>
                </a:lnTo>
                <a:lnTo>
                  <a:pt x="423" y="478"/>
                </a:lnTo>
                <a:lnTo>
                  <a:pt x="423" y="480"/>
                </a:lnTo>
                <a:lnTo>
                  <a:pt x="423" y="480"/>
                </a:lnTo>
                <a:lnTo>
                  <a:pt x="426" y="480"/>
                </a:lnTo>
                <a:lnTo>
                  <a:pt x="426" y="480"/>
                </a:lnTo>
                <a:lnTo>
                  <a:pt x="426" y="478"/>
                </a:lnTo>
                <a:lnTo>
                  <a:pt x="426" y="478"/>
                </a:lnTo>
                <a:lnTo>
                  <a:pt x="428" y="478"/>
                </a:lnTo>
                <a:lnTo>
                  <a:pt x="428" y="478"/>
                </a:lnTo>
                <a:lnTo>
                  <a:pt x="428" y="478"/>
                </a:lnTo>
                <a:lnTo>
                  <a:pt x="428" y="475"/>
                </a:lnTo>
                <a:lnTo>
                  <a:pt x="428" y="475"/>
                </a:lnTo>
                <a:lnTo>
                  <a:pt x="431" y="475"/>
                </a:lnTo>
                <a:lnTo>
                  <a:pt x="431" y="475"/>
                </a:lnTo>
                <a:lnTo>
                  <a:pt x="433" y="473"/>
                </a:lnTo>
                <a:lnTo>
                  <a:pt x="433" y="473"/>
                </a:lnTo>
                <a:lnTo>
                  <a:pt x="433" y="473"/>
                </a:lnTo>
                <a:lnTo>
                  <a:pt x="438" y="475"/>
                </a:lnTo>
                <a:lnTo>
                  <a:pt x="438" y="475"/>
                </a:lnTo>
                <a:lnTo>
                  <a:pt x="438" y="470"/>
                </a:lnTo>
                <a:lnTo>
                  <a:pt x="438" y="470"/>
                </a:lnTo>
                <a:lnTo>
                  <a:pt x="440" y="470"/>
                </a:lnTo>
                <a:lnTo>
                  <a:pt x="440" y="470"/>
                </a:lnTo>
                <a:lnTo>
                  <a:pt x="440" y="473"/>
                </a:lnTo>
                <a:lnTo>
                  <a:pt x="440" y="473"/>
                </a:lnTo>
                <a:lnTo>
                  <a:pt x="440" y="473"/>
                </a:lnTo>
                <a:lnTo>
                  <a:pt x="443" y="470"/>
                </a:lnTo>
                <a:lnTo>
                  <a:pt x="443" y="470"/>
                </a:lnTo>
                <a:lnTo>
                  <a:pt x="445" y="473"/>
                </a:lnTo>
                <a:lnTo>
                  <a:pt x="445" y="473"/>
                </a:lnTo>
                <a:lnTo>
                  <a:pt x="445" y="473"/>
                </a:lnTo>
                <a:lnTo>
                  <a:pt x="448" y="468"/>
                </a:lnTo>
                <a:lnTo>
                  <a:pt x="448" y="468"/>
                </a:lnTo>
                <a:lnTo>
                  <a:pt x="445" y="468"/>
                </a:lnTo>
                <a:lnTo>
                  <a:pt x="445" y="468"/>
                </a:lnTo>
                <a:lnTo>
                  <a:pt x="443" y="468"/>
                </a:lnTo>
                <a:lnTo>
                  <a:pt x="443" y="468"/>
                </a:lnTo>
                <a:lnTo>
                  <a:pt x="445" y="465"/>
                </a:lnTo>
                <a:lnTo>
                  <a:pt x="445" y="465"/>
                </a:lnTo>
                <a:lnTo>
                  <a:pt x="448" y="463"/>
                </a:lnTo>
                <a:lnTo>
                  <a:pt x="448" y="463"/>
                </a:lnTo>
                <a:lnTo>
                  <a:pt x="450" y="463"/>
                </a:lnTo>
                <a:lnTo>
                  <a:pt x="450" y="463"/>
                </a:lnTo>
                <a:lnTo>
                  <a:pt x="450" y="465"/>
                </a:lnTo>
                <a:lnTo>
                  <a:pt x="450" y="465"/>
                </a:lnTo>
                <a:lnTo>
                  <a:pt x="450" y="463"/>
                </a:lnTo>
                <a:lnTo>
                  <a:pt x="450" y="463"/>
                </a:lnTo>
                <a:lnTo>
                  <a:pt x="450" y="463"/>
                </a:lnTo>
                <a:lnTo>
                  <a:pt x="448" y="460"/>
                </a:lnTo>
                <a:lnTo>
                  <a:pt x="448" y="460"/>
                </a:lnTo>
                <a:lnTo>
                  <a:pt x="450" y="460"/>
                </a:lnTo>
                <a:lnTo>
                  <a:pt x="450" y="460"/>
                </a:lnTo>
                <a:lnTo>
                  <a:pt x="453" y="460"/>
                </a:lnTo>
                <a:lnTo>
                  <a:pt x="453" y="460"/>
                </a:lnTo>
                <a:lnTo>
                  <a:pt x="455" y="458"/>
                </a:lnTo>
                <a:lnTo>
                  <a:pt x="455" y="458"/>
                </a:lnTo>
                <a:lnTo>
                  <a:pt x="460" y="458"/>
                </a:lnTo>
                <a:lnTo>
                  <a:pt x="460" y="458"/>
                </a:lnTo>
                <a:lnTo>
                  <a:pt x="462" y="455"/>
                </a:lnTo>
                <a:lnTo>
                  <a:pt x="462" y="455"/>
                </a:lnTo>
                <a:lnTo>
                  <a:pt x="465" y="455"/>
                </a:lnTo>
                <a:lnTo>
                  <a:pt x="465" y="455"/>
                </a:lnTo>
                <a:lnTo>
                  <a:pt x="467" y="450"/>
                </a:lnTo>
                <a:lnTo>
                  <a:pt x="467" y="450"/>
                </a:lnTo>
                <a:lnTo>
                  <a:pt x="467" y="446"/>
                </a:lnTo>
                <a:lnTo>
                  <a:pt x="467" y="446"/>
                </a:lnTo>
                <a:lnTo>
                  <a:pt x="467" y="446"/>
                </a:lnTo>
                <a:lnTo>
                  <a:pt x="467" y="446"/>
                </a:lnTo>
                <a:lnTo>
                  <a:pt x="465" y="443"/>
                </a:lnTo>
                <a:lnTo>
                  <a:pt x="465" y="443"/>
                </a:lnTo>
                <a:lnTo>
                  <a:pt x="462" y="441"/>
                </a:lnTo>
                <a:lnTo>
                  <a:pt x="462" y="441"/>
                </a:lnTo>
                <a:lnTo>
                  <a:pt x="460" y="441"/>
                </a:lnTo>
                <a:lnTo>
                  <a:pt x="460" y="441"/>
                </a:lnTo>
                <a:lnTo>
                  <a:pt x="460" y="438"/>
                </a:lnTo>
                <a:lnTo>
                  <a:pt x="460" y="438"/>
                </a:lnTo>
                <a:lnTo>
                  <a:pt x="460" y="436"/>
                </a:lnTo>
                <a:lnTo>
                  <a:pt x="460" y="436"/>
                </a:lnTo>
                <a:lnTo>
                  <a:pt x="465" y="433"/>
                </a:lnTo>
                <a:lnTo>
                  <a:pt x="465" y="433"/>
                </a:lnTo>
                <a:lnTo>
                  <a:pt x="465" y="433"/>
                </a:lnTo>
                <a:lnTo>
                  <a:pt x="467" y="431"/>
                </a:lnTo>
                <a:lnTo>
                  <a:pt x="467" y="431"/>
                </a:lnTo>
                <a:lnTo>
                  <a:pt x="467" y="431"/>
                </a:lnTo>
                <a:lnTo>
                  <a:pt x="467" y="431"/>
                </a:lnTo>
                <a:lnTo>
                  <a:pt x="467" y="428"/>
                </a:lnTo>
                <a:lnTo>
                  <a:pt x="467" y="428"/>
                </a:lnTo>
                <a:lnTo>
                  <a:pt x="472" y="428"/>
                </a:lnTo>
                <a:lnTo>
                  <a:pt x="472" y="428"/>
                </a:lnTo>
                <a:lnTo>
                  <a:pt x="475" y="426"/>
                </a:lnTo>
                <a:lnTo>
                  <a:pt x="475" y="426"/>
                </a:lnTo>
                <a:lnTo>
                  <a:pt x="477" y="428"/>
                </a:lnTo>
                <a:lnTo>
                  <a:pt x="477" y="428"/>
                </a:lnTo>
                <a:lnTo>
                  <a:pt x="482" y="426"/>
                </a:lnTo>
                <a:lnTo>
                  <a:pt x="482" y="426"/>
                </a:lnTo>
                <a:lnTo>
                  <a:pt x="482" y="428"/>
                </a:lnTo>
                <a:lnTo>
                  <a:pt x="482" y="428"/>
                </a:lnTo>
                <a:lnTo>
                  <a:pt x="482" y="431"/>
                </a:lnTo>
                <a:lnTo>
                  <a:pt x="482" y="431"/>
                </a:lnTo>
                <a:lnTo>
                  <a:pt x="485" y="431"/>
                </a:lnTo>
                <a:lnTo>
                  <a:pt x="485" y="431"/>
                </a:lnTo>
                <a:lnTo>
                  <a:pt x="487" y="426"/>
                </a:lnTo>
                <a:lnTo>
                  <a:pt x="487" y="426"/>
                </a:lnTo>
                <a:lnTo>
                  <a:pt x="487" y="426"/>
                </a:lnTo>
                <a:lnTo>
                  <a:pt x="485" y="426"/>
                </a:lnTo>
                <a:lnTo>
                  <a:pt x="485" y="426"/>
                </a:lnTo>
                <a:lnTo>
                  <a:pt x="485" y="423"/>
                </a:lnTo>
                <a:lnTo>
                  <a:pt x="485" y="423"/>
                </a:lnTo>
                <a:lnTo>
                  <a:pt x="487" y="423"/>
                </a:lnTo>
                <a:lnTo>
                  <a:pt x="487" y="423"/>
                </a:lnTo>
                <a:lnTo>
                  <a:pt x="490" y="423"/>
                </a:lnTo>
                <a:lnTo>
                  <a:pt x="490" y="423"/>
                </a:lnTo>
                <a:lnTo>
                  <a:pt x="494" y="423"/>
                </a:lnTo>
                <a:lnTo>
                  <a:pt x="494" y="423"/>
                </a:lnTo>
                <a:lnTo>
                  <a:pt x="494" y="419"/>
                </a:lnTo>
                <a:lnTo>
                  <a:pt x="494" y="419"/>
                </a:lnTo>
                <a:lnTo>
                  <a:pt x="494" y="414"/>
                </a:lnTo>
                <a:lnTo>
                  <a:pt x="494" y="414"/>
                </a:lnTo>
                <a:lnTo>
                  <a:pt x="490" y="411"/>
                </a:lnTo>
                <a:lnTo>
                  <a:pt x="490" y="411"/>
                </a:lnTo>
                <a:lnTo>
                  <a:pt x="487" y="411"/>
                </a:lnTo>
                <a:lnTo>
                  <a:pt x="487" y="411"/>
                </a:lnTo>
                <a:lnTo>
                  <a:pt x="487" y="414"/>
                </a:lnTo>
                <a:lnTo>
                  <a:pt x="487" y="414"/>
                </a:lnTo>
                <a:lnTo>
                  <a:pt x="487" y="414"/>
                </a:lnTo>
                <a:lnTo>
                  <a:pt x="490" y="411"/>
                </a:lnTo>
                <a:lnTo>
                  <a:pt x="490" y="411"/>
                </a:lnTo>
                <a:lnTo>
                  <a:pt x="492" y="411"/>
                </a:lnTo>
                <a:lnTo>
                  <a:pt x="492" y="411"/>
                </a:lnTo>
                <a:lnTo>
                  <a:pt x="494" y="414"/>
                </a:lnTo>
                <a:lnTo>
                  <a:pt x="494" y="414"/>
                </a:lnTo>
                <a:lnTo>
                  <a:pt x="499" y="411"/>
                </a:lnTo>
                <a:lnTo>
                  <a:pt x="499" y="411"/>
                </a:lnTo>
                <a:lnTo>
                  <a:pt x="502" y="409"/>
                </a:lnTo>
                <a:lnTo>
                  <a:pt x="502" y="409"/>
                </a:lnTo>
                <a:lnTo>
                  <a:pt x="502" y="409"/>
                </a:lnTo>
                <a:lnTo>
                  <a:pt x="509" y="404"/>
                </a:lnTo>
                <a:lnTo>
                  <a:pt x="509" y="404"/>
                </a:lnTo>
                <a:lnTo>
                  <a:pt x="512" y="401"/>
                </a:lnTo>
                <a:lnTo>
                  <a:pt x="512" y="401"/>
                </a:lnTo>
                <a:lnTo>
                  <a:pt x="517" y="401"/>
                </a:lnTo>
                <a:lnTo>
                  <a:pt x="517" y="401"/>
                </a:lnTo>
                <a:lnTo>
                  <a:pt x="517" y="399"/>
                </a:lnTo>
                <a:lnTo>
                  <a:pt x="517" y="399"/>
                </a:lnTo>
                <a:lnTo>
                  <a:pt x="517" y="396"/>
                </a:lnTo>
                <a:lnTo>
                  <a:pt x="517" y="396"/>
                </a:lnTo>
                <a:lnTo>
                  <a:pt x="524" y="391"/>
                </a:lnTo>
                <a:lnTo>
                  <a:pt x="524" y="391"/>
                </a:lnTo>
                <a:lnTo>
                  <a:pt x="529" y="391"/>
                </a:lnTo>
                <a:lnTo>
                  <a:pt x="529" y="391"/>
                </a:lnTo>
                <a:lnTo>
                  <a:pt x="536" y="387"/>
                </a:lnTo>
                <a:lnTo>
                  <a:pt x="536" y="387"/>
                </a:lnTo>
                <a:lnTo>
                  <a:pt x="541" y="387"/>
                </a:lnTo>
                <a:lnTo>
                  <a:pt x="541" y="387"/>
                </a:lnTo>
                <a:lnTo>
                  <a:pt x="546" y="379"/>
                </a:lnTo>
                <a:lnTo>
                  <a:pt x="546" y="379"/>
                </a:lnTo>
                <a:lnTo>
                  <a:pt x="544" y="384"/>
                </a:lnTo>
                <a:lnTo>
                  <a:pt x="544" y="384"/>
                </a:lnTo>
                <a:lnTo>
                  <a:pt x="544" y="387"/>
                </a:lnTo>
                <a:lnTo>
                  <a:pt x="544" y="387"/>
                </a:lnTo>
                <a:lnTo>
                  <a:pt x="546" y="387"/>
                </a:lnTo>
                <a:lnTo>
                  <a:pt x="546" y="387"/>
                </a:lnTo>
                <a:lnTo>
                  <a:pt x="549" y="389"/>
                </a:lnTo>
                <a:lnTo>
                  <a:pt x="549" y="389"/>
                </a:lnTo>
                <a:lnTo>
                  <a:pt x="549" y="389"/>
                </a:lnTo>
                <a:lnTo>
                  <a:pt x="554" y="384"/>
                </a:lnTo>
                <a:lnTo>
                  <a:pt x="554" y="384"/>
                </a:lnTo>
                <a:lnTo>
                  <a:pt x="556" y="384"/>
                </a:lnTo>
                <a:lnTo>
                  <a:pt x="556" y="384"/>
                </a:lnTo>
                <a:lnTo>
                  <a:pt x="561" y="382"/>
                </a:lnTo>
                <a:lnTo>
                  <a:pt x="561" y="382"/>
                </a:lnTo>
                <a:lnTo>
                  <a:pt x="563" y="379"/>
                </a:lnTo>
                <a:lnTo>
                  <a:pt x="563" y="379"/>
                </a:lnTo>
                <a:lnTo>
                  <a:pt x="563" y="384"/>
                </a:lnTo>
                <a:lnTo>
                  <a:pt x="563" y="384"/>
                </a:lnTo>
                <a:lnTo>
                  <a:pt x="558" y="387"/>
                </a:lnTo>
                <a:lnTo>
                  <a:pt x="558" y="387"/>
                </a:lnTo>
                <a:lnTo>
                  <a:pt x="554" y="387"/>
                </a:lnTo>
                <a:lnTo>
                  <a:pt x="554" y="387"/>
                </a:lnTo>
                <a:lnTo>
                  <a:pt x="546" y="394"/>
                </a:lnTo>
                <a:lnTo>
                  <a:pt x="546" y="394"/>
                </a:lnTo>
                <a:lnTo>
                  <a:pt x="546" y="396"/>
                </a:lnTo>
                <a:lnTo>
                  <a:pt x="546" y="396"/>
                </a:lnTo>
                <a:lnTo>
                  <a:pt x="551" y="401"/>
                </a:lnTo>
                <a:lnTo>
                  <a:pt x="551" y="401"/>
                </a:lnTo>
                <a:lnTo>
                  <a:pt x="551" y="404"/>
                </a:lnTo>
                <a:lnTo>
                  <a:pt x="551" y="404"/>
                </a:lnTo>
                <a:lnTo>
                  <a:pt x="549" y="401"/>
                </a:lnTo>
                <a:lnTo>
                  <a:pt x="549" y="401"/>
                </a:lnTo>
                <a:lnTo>
                  <a:pt x="546" y="401"/>
                </a:lnTo>
                <a:lnTo>
                  <a:pt x="546" y="401"/>
                </a:lnTo>
                <a:lnTo>
                  <a:pt x="544" y="401"/>
                </a:lnTo>
                <a:lnTo>
                  <a:pt x="544" y="401"/>
                </a:lnTo>
                <a:lnTo>
                  <a:pt x="541" y="401"/>
                </a:lnTo>
                <a:lnTo>
                  <a:pt x="541" y="401"/>
                </a:lnTo>
                <a:lnTo>
                  <a:pt x="539" y="399"/>
                </a:lnTo>
                <a:lnTo>
                  <a:pt x="539" y="399"/>
                </a:lnTo>
                <a:lnTo>
                  <a:pt x="539" y="396"/>
                </a:lnTo>
                <a:lnTo>
                  <a:pt x="539" y="396"/>
                </a:lnTo>
                <a:lnTo>
                  <a:pt x="534" y="399"/>
                </a:lnTo>
                <a:lnTo>
                  <a:pt x="534" y="399"/>
                </a:lnTo>
                <a:lnTo>
                  <a:pt x="531" y="399"/>
                </a:lnTo>
                <a:lnTo>
                  <a:pt x="531" y="399"/>
                </a:lnTo>
                <a:lnTo>
                  <a:pt x="526" y="401"/>
                </a:lnTo>
                <a:lnTo>
                  <a:pt x="526" y="401"/>
                </a:lnTo>
                <a:lnTo>
                  <a:pt x="522" y="401"/>
                </a:lnTo>
                <a:lnTo>
                  <a:pt x="522" y="401"/>
                </a:lnTo>
                <a:lnTo>
                  <a:pt x="519" y="404"/>
                </a:lnTo>
                <a:lnTo>
                  <a:pt x="519" y="404"/>
                </a:lnTo>
                <a:lnTo>
                  <a:pt x="519" y="409"/>
                </a:lnTo>
                <a:lnTo>
                  <a:pt x="519" y="409"/>
                </a:lnTo>
                <a:lnTo>
                  <a:pt x="519" y="409"/>
                </a:lnTo>
                <a:lnTo>
                  <a:pt x="517" y="414"/>
                </a:lnTo>
                <a:lnTo>
                  <a:pt x="517" y="414"/>
                </a:lnTo>
                <a:lnTo>
                  <a:pt x="514" y="416"/>
                </a:lnTo>
                <a:lnTo>
                  <a:pt x="514" y="416"/>
                </a:lnTo>
                <a:lnTo>
                  <a:pt x="512" y="421"/>
                </a:lnTo>
                <a:lnTo>
                  <a:pt x="512" y="421"/>
                </a:lnTo>
                <a:lnTo>
                  <a:pt x="502" y="428"/>
                </a:lnTo>
                <a:lnTo>
                  <a:pt x="502" y="428"/>
                </a:lnTo>
                <a:lnTo>
                  <a:pt x="499" y="431"/>
                </a:lnTo>
                <a:lnTo>
                  <a:pt x="499" y="431"/>
                </a:lnTo>
                <a:lnTo>
                  <a:pt x="499" y="433"/>
                </a:lnTo>
                <a:lnTo>
                  <a:pt x="499" y="433"/>
                </a:lnTo>
                <a:lnTo>
                  <a:pt x="504" y="438"/>
                </a:lnTo>
                <a:lnTo>
                  <a:pt x="504" y="438"/>
                </a:lnTo>
                <a:lnTo>
                  <a:pt x="504" y="436"/>
                </a:lnTo>
                <a:lnTo>
                  <a:pt x="504" y="436"/>
                </a:lnTo>
                <a:lnTo>
                  <a:pt x="507" y="436"/>
                </a:lnTo>
                <a:lnTo>
                  <a:pt x="507" y="436"/>
                </a:lnTo>
                <a:lnTo>
                  <a:pt x="509" y="433"/>
                </a:lnTo>
                <a:lnTo>
                  <a:pt x="509" y="433"/>
                </a:lnTo>
                <a:lnTo>
                  <a:pt x="512" y="433"/>
                </a:lnTo>
                <a:lnTo>
                  <a:pt x="512" y="433"/>
                </a:lnTo>
                <a:lnTo>
                  <a:pt x="512" y="436"/>
                </a:lnTo>
                <a:lnTo>
                  <a:pt x="512" y="436"/>
                </a:lnTo>
                <a:lnTo>
                  <a:pt x="507" y="438"/>
                </a:lnTo>
                <a:lnTo>
                  <a:pt x="507" y="438"/>
                </a:lnTo>
                <a:lnTo>
                  <a:pt x="504" y="441"/>
                </a:lnTo>
                <a:lnTo>
                  <a:pt x="504" y="441"/>
                </a:lnTo>
                <a:lnTo>
                  <a:pt x="502" y="443"/>
                </a:lnTo>
                <a:lnTo>
                  <a:pt x="502" y="443"/>
                </a:lnTo>
                <a:lnTo>
                  <a:pt x="499" y="441"/>
                </a:lnTo>
                <a:lnTo>
                  <a:pt x="499" y="441"/>
                </a:lnTo>
                <a:lnTo>
                  <a:pt x="497" y="441"/>
                </a:lnTo>
                <a:lnTo>
                  <a:pt x="497" y="441"/>
                </a:lnTo>
                <a:lnTo>
                  <a:pt x="494" y="443"/>
                </a:lnTo>
                <a:lnTo>
                  <a:pt x="494" y="443"/>
                </a:lnTo>
                <a:lnTo>
                  <a:pt x="494" y="446"/>
                </a:lnTo>
                <a:lnTo>
                  <a:pt x="494" y="446"/>
                </a:lnTo>
                <a:lnTo>
                  <a:pt x="492" y="443"/>
                </a:lnTo>
                <a:lnTo>
                  <a:pt x="492" y="443"/>
                </a:lnTo>
                <a:lnTo>
                  <a:pt x="490" y="446"/>
                </a:lnTo>
                <a:lnTo>
                  <a:pt x="490" y="446"/>
                </a:lnTo>
                <a:lnTo>
                  <a:pt x="492" y="448"/>
                </a:lnTo>
                <a:lnTo>
                  <a:pt x="492" y="448"/>
                </a:lnTo>
                <a:lnTo>
                  <a:pt x="494" y="453"/>
                </a:lnTo>
                <a:lnTo>
                  <a:pt x="494" y="453"/>
                </a:lnTo>
                <a:lnTo>
                  <a:pt x="497" y="453"/>
                </a:lnTo>
                <a:lnTo>
                  <a:pt x="497" y="453"/>
                </a:lnTo>
                <a:lnTo>
                  <a:pt x="497" y="450"/>
                </a:lnTo>
                <a:lnTo>
                  <a:pt x="497" y="450"/>
                </a:lnTo>
                <a:lnTo>
                  <a:pt x="499" y="453"/>
                </a:lnTo>
                <a:lnTo>
                  <a:pt x="499" y="453"/>
                </a:lnTo>
                <a:lnTo>
                  <a:pt x="499" y="448"/>
                </a:lnTo>
                <a:lnTo>
                  <a:pt x="499" y="448"/>
                </a:lnTo>
                <a:lnTo>
                  <a:pt x="502" y="448"/>
                </a:lnTo>
                <a:lnTo>
                  <a:pt x="502" y="448"/>
                </a:lnTo>
                <a:lnTo>
                  <a:pt x="502" y="450"/>
                </a:lnTo>
                <a:lnTo>
                  <a:pt x="502" y="450"/>
                </a:lnTo>
                <a:lnTo>
                  <a:pt x="504" y="450"/>
                </a:lnTo>
                <a:lnTo>
                  <a:pt x="504" y="450"/>
                </a:lnTo>
                <a:lnTo>
                  <a:pt x="504" y="448"/>
                </a:lnTo>
                <a:lnTo>
                  <a:pt x="504" y="448"/>
                </a:lnTo>
                <a:lnTo>
                  <a:pt x="507" y="448"/>
                </a:lnTo>
                <a:lnTo>
                  <a:pt x="507" y="448"/>
                </a:lnTo>
                <a:lnTo>
                  <a:pt x="512" y="446"/>
                </a:lnTo>
                <a:lnTo>
                  <a:pt x="512" y="446"/>
                </a:lnTo>
                <a:lnTo>
                  <a:pt x="512" y="441"/>
                </a:lnTo>
                <a:lnTo>
                  <a:pt x="512" y="441"/>
                </a:lnTo>
                <a:lnTo>
                  <a:pt x="514" y="441"/>
                </a:lnTo>
                <a:lnTo>
                  <a:pt x="514" y="441"/>
                </a:lnTo>
                <a:lnTo>
                  <a:pt x="514" y="441"/>
                </a:lnTo>
                <a:lnTo>
                  <a:pt x="512" y="443"/>
                </a:lnTo>
                <a:lnTo>
                  <a:pt x="512" y="443"/>
                </a:lnTo>
                <a:lnTo>
                  <a:pt x="514" y="446"/>
                </a:lnTo>
                <a:lnTo>
                  <a:pt x="514" y="446"/>
                </a:lnTo>
                <a:lnTo>
                  <a:pt x="517" y="446"/>
                </a:lnTo>
                <a:lnTo>
                  <a:pt x="517" y="446"/>
                </a:lnTo>
                <a:lnTo>
                  <a:pt x="522" y="441"/>
                </a:lnTo>
                <a:lnTo>
                  <a:pt x="522" y="441"/>
                </a:lnTo>
                <a:lnTo>
                  <a:pt x="524" y="441"/>
                </a:lnTo>
                <a:lnTo>
                  <a:pt x="524" y="441"/>
                </a:lnTo>
                <a:lnTo>
                  <a:pt x="526" y="443"/>
                </a:lnTo>
                <a:lnTo>
                  <a:pt x="526" y="443"/>
                </a:lnTo>
                <a:lnTo>
                  <a:pt x="526" y="441"/>
                </a:lnTo>
                <a:lnTo>
                  <a:pt x="526" y="441"/>
                </a:lnTo>
                <a:lnTo>
                  <a:pt x="529" y="436"/>
                </a:lnTo>
                <a:lnTo>
                  <a:pt x="529" y="436"/>
                </a:lnTo>
                <a:lnTo>
                  <a:pt x="531" y="433"/>
                </a:lnTo>
                <a:lnTo>
                  <a:pt x="531" y="433"/>
                </a:lnTo>
                <a:lnTo>
                  <a:pt x="534" y="433"/>
                </a:lnTo>
                <a:lnTo>
                  <a:pt x="534" y="433"/>
                </a:lnTo>
                <a:lnTo>
                  <a:pt x="531" y="438"/>
                </a:lnTo>
                <a:lnTo>
                  <a:pt x="531" y="438"/>
                </a:lnTo>
                <a:lnTo>
                  <a:pt x="531" y="441"/>
                </a:lnTo>
                <a:lnTo>
                  <a:pt x="531" y="441"/>
                </a:lnTo>
                <a:lnTo>
                  <a:pt x="531" y="438"/>
                </a:lnTo>
                <a:lnTo>
                  <a:pt x="531" y="438"/>
                </a:lnTo>
                <a:lnTo>
                  <a:pt x="536" y="433"/>
                </a:lnTo>
                <a:lnTo>
                  <a:pt x="536" y="433"/>
                </a:lnTo>
                <a:lnTo>
                  <a:pt x="536" y="428"/>
                </a:lnTo>
                <a:lnTo>
                  <a:pt x="536" y="428"/>
                </a:lnTo>
                <a:lnTo>
                  <a:pt x="539" y="428"/>
                </a:lnTo>
                <a:lnTo>
                  <a:pt x="539" y="428"/>
                </a:lnTo>
                <a:lnTo>
                  <a:pt x="539" y="431"/>
                </a:lnTo>
                <a:lnTo>
                  <a:pt x="539" y="431"/>
                </a:lnTo>
                <a:lnTo>
                  <a:pt x="536" y="433"/>
                </a:lnTo>
                <a:lnTo>
                  <a:pt x="536" y="433"/>
                </a:lnTo>
                <a:lnTo>
                  <a:pt x="539" y="436"/>
                </a:lnTo>
                <a:lnTo>
                  <a:pt x="539" y="436"/>
                </a:lnTo>
                <a:lnTo>
                  <a:pt x="541" y="431"/>
                </a:lnTo>
                <a:lnTo>
                  <a:pt x="541" y="431"/>
                </a:lnTo>
                <a:lnTo>
                  <a:pt x="544" y="433"/>
                </a:lnTo>
                <a:lnTo>
                  <a:pt x="544" y="433"/>
                </a:lnTo>
                <a:lnTo>
                  <a:pt x="544" y="436"/>
                </a:lnTo>
                <a:lnTo>
                  <a:pt x="544" y="436"/>
                </a:lnTo>
                <a:lnTo>
                  <a:pt x="546" y="436"/>
                </a:lnTo>
                <a:lnTo>
                  <a:pt x="546" y="436"/>
                </a:lnTo>
                <a:lnTo>
                  <a:pt x="546" y="436"/>
                </a:lnTo>
                <a:lnTo>
                  <a:pt x="549" y="436"/>
                </a:lnTo>
                <a:lnTo>
                  <a:pt x="549" y="436"/>
                </a:lnTo>
                <a:lnTo>
                  <a:pt x="551" y="431"/>
                </a:lnTo>
                <a:lnTo>
                  <a:pt x="551" y="431"/>
                </a:lnTo>
                <a:lnTo>
                  <a:pt x="556" y="431"/>
                </a:lnTo>
                <a:lnTo>
                  <a:pt x="556" y="431"/>
                </a:lnTo>
                <a:lnTo>
                  <a:pt x="558" y="428"/>
                </a:lnTo>
                <a:lnTo>
                  <a:pt x="558" y="428"/>
                </a:lnTo>
                <a:lnTo>
                  <a:pt x="556" y="428"/>
                </a:lnTo>
                <a:lnTo>
                  <a:pt x="556" y="428"/>
                </a:lnTo>
                <a:lnTo>
                  <a:pt x="556" y="426"/>
                </a:lnTo>
                <a:lnTo>
                  <a:pt x="556" y="426"/>
                </a:lnTo>
                <a:lnTo>
                  <a:pt x="563" y="423"/>
                </a:lnTo>
                <a:lnTo>
                  <a:pt x="563" y="423"/>
                </a:lnTo>
                <a:lnTo>
                  <a:pt x="563" y="421"/>
                </a:lnTo>
                <a:lnTo>
                  <a:pt x="563" y="421"/>
                </a:lnTo>
                <a:lnTo>
                  <a:pt x="563" y="419"/>
                </a:lnTo>
                <a:lnTo>
                  <a:pt x="563" y="419"/>
                </a:lnTo>
                <a:lnTo>
                  <a:pt x="561" y="419"/>
                </a:lnTo>
                <a:lnTo>
                  <a:pt x="561" y="419"/>
                </a:lnTo>
                <a:lnTo>
                  <a:pt x="558" y="416"/>
                </a:lnTo>
                <a:lnTo>
                  <a:pt x="558" y="416"/>
                </a:lnTo>
                <a:lnTo>
                  <a:pt x="556" y="416"/>
                </a:lnTo>
                <a:lnTo>
                  <a:pt x="556" y="416"/>
                </a:lnTo>
                <a:lnTo>
                  <a:pt x="556" y="414"/>
                </a:lnTo>
                <a:lnTo>
                  <a:pt x="556" y="414"/>
                </a:lnTo>
                <a:lnTo>
                  <a:pt x="558" y="414"/>
                </a:lnTo>
                <a:lnTo>
                  <a:pt x="558" y="414"/>
                </a:lnTo>
                <a:lnTo>
                  <a:pt x="561" y="416"/>
                </a:lnTo>
                <a:lnTo>
                  <a:pt x="561" y="416"/>
                </a:lnTo>
                <a:lnTo>
                  <a:pt x="563" y="414"/>
                </a:lnTo>
                <a:lnTo>
                  <a:pt x="563" y="414"/>
                </a:lnTo>
                <a:lnTo>
                  <a:pt x="563" y="411"/>
                </a:lnTo>
                <a:lnTo>
                  <a:pt x="563" y="411"/>
                </a:lnTo>
                <a:lnTo>
                  <a:pt x="561" y="411"/>
                </a:lnTo>
                <a:lnTo>
                  <a:pt x="561" y="411"/>
                </a:lnTo>
                <a:lnTo>
                  <a:pt x="556" y="409"/>
                </a:lnTo>
                <a:lnTo>
                  <a:pt x="556" y="409"/>
                </a:lnTo>
                <a:lnTo>
                  <a:pt x="556" y="406"/>
                </a:lnTo>
                <a:lnTo>
                  <a:pt x="556" y="406"/>
                </a:lnTo>
                <a:lnTo>
                  <a:pt x="561" y="406"/>
                </a:lnTo>
                <a:lnTo>
                  <a:pt x="561" y="406"/>
                </a:lnTo>
                <a:lnTo>
                  <a:pt x="563" y="406"/>
                </a:lnTo>
                <a:lnTo>
                  <a:pt x="563" y="406"/>
                </a:lnTo>
                <a:lnTo>
                  <a:pt x="563" y="406"/>
                </a:lnTo>
                <a:lnTo>
                  <a:pt x="563" y="406"/>
                </a:lnTo>
                <a:lnTo>
                  <a:pt x="563" y="401"/>
                </a:lnTo>
                <a:lnTo>
                  <a:pt x="563" y="401"/>
                </a:lnTo>
                <a:lnTo>
                  <a:pt x="568" y="399"/>
                </a:lnTo>
                <a:lnTo>
                  <a:pt x="568" y="399"/>
                </a:lnTo>
                <a:lnTo>
                  <a:pt x="571" y="401"/>
                </a:lnTo>
                <a:lnTo>
                  <a:pt x="571" y="401"/>
                </a:lnTo>
                <a:lnTo>
                  <a:pt x="573" y="401"/>
                </a:lnTo>
                <a:lnTo>
                  <a:pt x="573" y="401"/>
                </a:lnTo>
                <a:lnTo>
                  <a:pt x="578" y="401"/>
                </a:lnTo>
                <a:lnTo>
                  <a:pt x="578" y="401"/>
                </a:lnTo>
                <a:lnTo>
                  <a:pt x="571" y="404"/>
                </a:lnTo>
                <a:lnTo>
                  <a:pt x="571" y="404"/>
                </a:lnTo>
                <a:lnTo>
                  <a:pt x="571" y="406"/>
                </a:lnTo>
                <a:lnTo>
                  <a:pt x="571" y="406"/>
                </a:lnTo>
                <a:lnTo>
                  <a:pt x="573" y="414"/>
                </a:lnTo>
                <a:lnTo>
                  <a:pt x="573" y="414"/>
                </a:lnTo>
                <a:lnTo>
                  <a:pt x="573" y="411"/>
                </a:lnTo>
                <a:lnTo>
                  <a:pt x="573" y="411"/>
                </a:lnTo>
                <a:lnTo>
                  <a:pt x="576" y="406"/>
                </a:lnTo>
                <a:lnTo>
                  <a:pt x="576" y="406"/>
                </a:lnTo>
                <a:lnTo>
                  <a:pt x="578" y="404"/>
                </a:lnTo>
                <a:lnTo>
                  <a:pt x="578" y="404"/>
                </a:lnTo>
                <a:lnTo>
                  <a:pt x="581" y="404"/>
                </a:lnTo>
                <a:lnTo>
                  <a:pt x="581" y="404"/>
                </a:lnTo>
                <a:lnTo>
                  <a:pt x="578" y="406"/>
                </a:lnTo>
                <a:lnTo>
                  <a:pt x="578" y="406"/>
                </a:lnTo>
                <a:lnTo>
                  <a:pt x="578" y="409"/>
                </a:lnTo>
                <a:lnTo>
                  <a:pt x="578" y="409"/>
                </a:lnTo>
                <a:lnTo>
                  <a:pt x="578" y="411"/>
                </a:lnTo>
                <a:lnTo>
                  <a:pt x="578" y="411"/>
                </a:lnTo>
                <a:lnTo>
                  <a:pt x="581" y="409"/>
                </a:lnTo>
                <a:lnTo>
                  <a:pt x="581" y="409"/>
                </a:lnTo>
                <a:lnTo>
                  <a:pt x="583" y="406"/>
                </a:lnTo>
                <a:lnTo>
                  <a:pt x="583" y="406"/>
                </a:lnTo>
                <a:lnTo>
                  <a:pt x="585" y="409"/>
                </a:lnTo>
                <a:lnTo>
                  <a:pt x="585" y="409"/>
                </a:lnTo>
                <a:lnTo>
                  <a:pt x="588" y="406"/>
                </a:lnTo>
                <a:lnTo>
                  <a:pt x="588" y="406"/>
                </a:lnTo>
                <a:lnTo>
                  <a:pt x="588" y="406"/>
                </a:lnTo>
                <a:lnTo>
                  <a:pt x="593" y="404"/>
                </a:lnTo>
                <a:lnTo>
                  <a:pt x="593" y="404"/>
                </a:lnTo>
                <a:lnTo>
                  <a:pt x="595" y="404"/>
                </a:lnTo>
                <a:lnTo>
                  <a:pt x="595" y="404"/>
                </a:lnTo>
                <a:lnTo>
                  <a:pt x="598" y="404"/>
                </a:lnTo>
                <a:lnTo>
                  <a:pt x="598" y="404"/>
                </a:lnTo>
                <a:lnTo>
                  <a:pt x="598" y="406"/>
                </a:lnTo>
                <a:lnTo>
                  <a:pt x="598" y="406"/>
                </a:lnTo>
                <a:lnTo>
                  <a:pt x="593" y="406"/>
                </a:lnTo>
                <a:lnTo>
                  <a:pt x="593" y="406"/>
                </a:lnTo>
                <a:lnTo>
                  <a:pt x="590" y="409"/>
                </a:lnTo>
                <a:lnTo>
                  <a:pt x="590" y="409"/>
                </a:lnTo>
                <a:lnTo>
                  <a:pt x="588" y="409"/>
                </a:lnTo>
                <a:lnTo>
                  <a:pt x="588" y="409"/>
                </a:lnTo>
                <a:lnTo>
                  <a:pt x="588" y="411"/>
                </a:lnTo>
                <a:lnTo>
                  <a:pt x="588" y="411"/>
                </a:lnTo>
                <a:lnTo>
                  <a:pt x="588" y="414"/>
                </a:lnTo>
                <a:lnTo>
                  <a:pt x="588" y="414"/>
                </a:lnTo>
                <a:lnTo>
                  <a:pt x="595" y="414"/>
                </a:lnTo>
                <a:lnTo>
                  <a:pt x="595" y="414"/>
                </a:lnTo>
                <a:lnTo>
                  <a:pt x="595" y="416"/>
                </a:lnTo>
                <a:lnTo>
                  <a:pt x="595" y="416"/>
                </a:lnTo>
                <a:lnTo>
                  <a:pt x="595" y="416"/>
                </a:lnTo>
                <a:lnTo>
                  <a:pt x="593" y="414"/>
                </a:lnTo>
                <a:lnTo>
                  <a:pt x="593" y="414"/>
                </a:lnTo>
                <a:lnTo>
                  <a:pt x="588" y="414"/>
                </a:lnTo>
                <a:lnTo>
                  <a:pt x="588" y="414"/>
                </a:lnTo>
                <a:lnTo>
                  <a:pt x="585" y="416"/>
                </a:lnTo>
                <a:lnTo>
                  <a:pt x="585" y="416"/>
                </a:lnTo>
                <a:lnTo>
                  <a:pt x="585" y="419"/>
                </a:lnTo>
                <a:lnTo>
                  <a:pt x="585" y="419"/>
                </a:lnTo>
                <a:lnTo>
                  <a:pt x="588" y="419"/>
                </a:lnTo>
                <a:lnTo>
                  <a:pt x="588" y="419"/>
                </a:lnTo>
                <a:lnTo>
                  <a:pt x="590" y="416"/>
                </a:lnTo>
                <a:lnTo>
                  <a:pt x="590" y="416"/>
                </a:lnTo>
                <a:lnTo>
                  <a:pt x="593" y="419"/>
                </a:lnTo>
                <a:lnTo>
                  <a:pt x="593" y="419"/>
                </a:lnTo>
                <a:lnTo>
                  <a:pt x="590" y="419"/>
                </a:lnTo>
                <a:lnTo>
                  <a:pt x="590" y="419"/>
                </a:lnTo>
                <a:lnTo>
                  <a:pt x="588" y="419"/>
                </a:lnTo>
                <a:lnTo>
                  <a:pt x="588" y="419"/>
                </a:lnTo>
                <a:lnTo>
                  <a:pt x="588" y="421"/>
                </a:lnTo>
                <a:lnTo>
                  <a:pt x="588" y="421"/>
                </a:lnTo>
                <a:lnTo>
                  <a:pt x="593" y="423"/>
                </a:lnTo>
                <a:lnTo>
                  <a:pt x="593" y="423"/>
                </a:lnTo>
                <a:lnTo>
                  <a:pt x="593" y="426"/>
                </a:lnTo>
                <a:lnTo>
                  <a:pt x="593" y="426"/>
                </a:lnTo>
                <a:lnTo>
                  <a:pt x="593" y="426"/>
                </a:lnTo>
                <a:lnTo>
                  <a:pt x="590" y="426"/>
                </a:lnTo>
                <a:lnTo>
                  <a:pt x="590" y="426"/>
                </a:lnTo>
                <a:lnTo>
                  <a:pt x="590" y="428"/>
                </a:lnTo>
                <a:lnTo>
                  <a:pt x="590" y="428"/>
                </a:lnTo>
                <a:lnTo>
                  <a:pt x="593" y="428"/>
                </a:lnTo>
                <a:lnTo>
                  <a:pt x="593" y="428"/>
                </a:lnTo>
                <a:lnTo>
                  <a:pt x="595" y="426"/>
                </a:lnTo>
                <a:lnTo>
                  <a:pt x="595" y="426"/>
                </a:lnTo>
                <a:lnTo>
                  <a:pt x="598" y="428"/>
                </a:lnTo>
                <a:lnTo>
                  <a:pt x="598" y="428"/>
                </a:lnTo>
                <a:lnTo>
                  <a:pt x="600" y="431"/>
                </a:lnTo>
                <a:lnTo>
                  <a:pt x="600" y="431"/>
                </a:lnTo>
                <a:lnTo>
                  <a:pt x="605" y="428"/>
                </a:lnTo>
                <a:lnTo>
                  <a:pt x="605" y="428"/>
                </a:lnTo>
                <a:lnTo>
                  <a:pt x="608" y="431"/>
                </a:lnTo>
                <a:lnTo>
                  <a:pt x="608" y="431"/>
                </a:lnTo>
                <a:lnTo>
                  <a:pt x="608" y="433"/>
                </a:lnTo>
                <a:lnTo>
                  <a:pt x="608" y="433"/>
                </a:lnTo>
                <a:lnTo>
                  <a:pt x="605" y="433"/>
                </a:lnTo>
                <a:lnTo>
                  <a:pt x="605" y="433"/>
                </a:lnTo>
                <a:lnTo>
                  <a:pt x="605" y="436"/>
                </a:lnTo>
                <a:lnTo>
                  <a:pt x="605" y="436"/>
                </a:lnTo>
                <a:lnTo>
                  <a:pt x="608" y="436"/>
                </a:lnTo>
                <a:lnTo>
                  <a:pt x="608" y="436"/>
                </a:lnTo>
                <a:lnTo>
                  <a:pt x="608" y="438"/>
                </a:lnTo>
                <a:lnTo>
                  <a:pt x="608" y="438"/>
                </a:lnTo>
                <a:lnTo>
                  <a:pt x="610" y="438"/>
                </a:lnTo>
                <a:lnTo>
                  <a:pt x="610" y="438"/>
                </a:lnTo>
                <a:lnTo>
                  <a:pt x="613" y="436"/>
                </a:lnTo>
                <a:lnTo>
                  <a:pt x="613" y="436"/>
                </a:lnTo>
                <a:lnTo>
                  <a:pt x="610" y="433"/>
                </a:lnTo>
                <a:lnTo>
                  <a:pt x="610" y="433"/>
                </a:lnTo>
                <a:lnTo>
                  <a:pt x="613" y="433"/>
                </a:lnTo>
                <a:lnTo>
                  <a:pt x="613" y="433"/>
                </a:lnTo>
                <a:lnTo>
                  <a:pt x="615" y="433"/>
                </a:lnTo>
                <a:lnTo>
                  <a:pt x="615" y="433"/>
                </a:lnTo>
                <a:lnTo>
                  <a:pt x="613" y="436"/>
                </a:lnTo>
                <a:lnTo>
                  <a:pt x="613" y="436"/>
                </a:lnTo>
                <a:lnTo>
                  <a:pt x="613" y="438"/>
                </a:lnTo>
                <a:lnTo>
                  <a:pt x="613" y="438"/>
                </a:lnTo>
                <a:lnTo>
                  <a:pt x="610" y="441"/>
                </a:lnTo>
                <a:lnTo>
                  <a:pt x="610" y="441"/>
                </a:lnTo>
                <a:lnTo>
                  <a:pt x="613" y="446"/>
                </a:lnTo>
                <a:lnTo>
                  <a:pt x="613" y="446"/>
                </a:lnTo>
                <a:lnTo>
                  <a:pt x="610" y="446"/>
                </a:lnTo>
                <a:lnTo>
                  <a:pt x="610" y="446"/>
                </a:lnTo>
                <a:lnTo>
                  <a:pt x="610" y="446"/>
                </a:lnTo>
                <a:lnTo>
                  <a:pt x="608" y="446"/>
                </a:lnTo>
                <a:lnTo>
                  <a:pt x="608" y="446"/>
                </a:lnTo>
                <a:lnTo>
                  <a:pt x="608" y="448"/>
                </a:lnTo>
                <a:lnTo>
                  <a:pt x="608" y="448"/>
                </a:lnTo>
                <a:lnTo>
                  <a:pt x="615" y="448"/>
                </a:lnTo>
                <a:lnTo>
                  <a:pt x="615" y="448"/>
                </a:lnTo>
                <a:lnTo>
                  <a:pt x="617" y="448"/>
                </a:lnTo>
                <a:lnTo>
                  <a:pt x="617" y="448"/>
                </a:lnTo>
                <a:lnTo>
                  <a:pt x="620" y="448"/>
                </a:lnTo>
                <a:lnTo>
                  <a:pt x="620" y="448"/>
                </a:lnTo>
                <a:lnTo>
                  <a:pt x="622" y="448"/>
                </a:lnTo>
                <a:lnTo>
                  <a:pt x="622" y="448"/>
                </a:lnTo>
                <a:lnTo>
                  <a:pt x="627" y="448"/>
                </a:lnTo>
                <a:lnTo>
                  <a:pt x="627" y="448"/>
                </a:lnTo>
                <a:lnTo>
                  <a:pt x="630" y="448"/>
                </a:lnTo>
                <a:lnTo>
                  <a:pt x="630" y="448"/>
                </a:lnTo>
                <a:lnTo>
                  <a:pt x="632" y="448"/>
                </a:lnTo>
                <a:lnTo>
                  <a:pt x="632" y="448"/>
                </a:lnTo>
                <a:lnTo>
                  <a:pt x="632" y="450"/>
                </a:lnTo>
                <a:lnTo>
                  <a:pt x="632" y="450"/>
                </a:lnTo>
                <a:lnTo>
                  <a:pt x="635" y="450"/>
                </a:lnTo>
                <a:lnTo>
                  <a:pt x="635" y="450"/>
                </a:lnTo>
                <a:lnTo>
                  <a:pt x="637" y="453"/>
                </a:lnTo>
                <a:lnTo>
                  <a:pt x="637" y="453"/>
                </a:lnTo>
                <a:lnTo>
                  <a:pt x="637" y="455"/>
                </a:lnTo>
                <a:lnTo>
                  <a:pt x="637" y="455"/>
                </a:lnTo>
                <a:lnTo>
                  <a:pt x="640" y="455"/>
                </a:lnTo>
                <a:lnTo>
                  <a:pt x="640" y="455"/>
                </a:lnTo>
                <a:lnTo>
                  <a:pt x="642" y="455"/>
                </a:lnTo>
                <a:lnTo>
                  <a:pt x="642" y="455"/>
                </a:lnTo>
                <a:lnTo>
                  <a:pt x="647" y="455"/>
                </a:lnTo>
                <a:lnTo>
                  <a:pt x="647" y="455"/>
                </a:lnTo>
                <a:lnTo>
                  <a:pt x="647" y="453"/>
                </a:lnTo>
                <a:lnTo>
                  <a:pt x="647" y="453"/>
                </a:lnTo>
                <a:lnTo>
                  <a:pt x="649" y="453"/>
                </a:lnTo>
                <a:lnTo>
                  <a:pt x="649" y="453"/>
                </a:lnTo>
                <a:lnTo>
                  <a:pt x="647" y="455"/>
                </a:lnTo>
                <a:lnTo>
                  <a:pt x="647" y="455"/>
                </a:lnTo>
                <a:lnTo>
                  <a:pt x="647" y="458"/>
                </a:lnTo>
                <a:lnTo>
                  <a:pt x="647" y="458"/>
                </a:lnTo>
                <a:lnTo>
                  <a:pt x="642" y="458"/>
                </a:lnTo>
                <a:lnTo>
                  <a:pt x="642" y="458"/>
                </a:lnTo>
                <a:lnTo>
                  <a:pt x="645" y="460"/>
                </a:lnTo>
                <a:lnTo>
                  <a:pt x="645" y="460"/>
                </a:lnTo>
                <a:lnTo>
                  <a:pt x="647" y="463"/>
                </a:lnTo>
                <a:lnTo>
                  <a:pt x="647" y="463"/>
                </a:lnTo>
                <a:lnTo>
                  <a:pt x="649" y="465"/>
                </a:lnTo>
                <a:lnTo>
                  <a:pt x="649" y="465"/>
                </a:lnTo>
                <a:lnTo>
                  <a:pt x="652" y="465"/>
                </a:lnTo>
                <a:lnTo>
                  <a:pt x="652" y="465"/>
                </a:lnTo>
                <a:lnTo>
                  <a:pt x="654" y="468"/>
                </a:lnTo>
                <a:lnTo>
                  <a:pt x="654" y="468"/>
                </a:lnTo>
                <a:lnTo>
                  <a:pt x="662" y="465"/>
                </a:lnTo>
                <a:lnTo>
                  <a:pt x="662" y="465"/>
                </a:lnTo>
                <a:lnTo>
                  <a:pt x="664" y="465"/>
                </a:lnTo>
                <a:lnTo>
                  <a:pt x="664" y="465"/>
                </a:lnTo>
                <a:lnTo>
                  <a:pt x="664" y="468"/>
                </a:lnTo>
                <a:lnTo>
                  <a:pt x="664" y="468"/>
                </a:lnTo>
                <a:lnTo>
                  <a:pt x="667" y="465"/>
                </a:lnTo>
                <a:lnTo>
                  <a:pt x="667" y="465"/>
                </a:lnTo>
                <a:lnTo>
                  <a:pt x="669" y="463"/>
                </a:lnTo>
                <a:lnTo>
                  <a:pt x="669" y="463"/>
                </a:lnTo>
                <a:lnTo>
                  <a:pt x="672" y="463"/>
                </a:lnTo>
                <a:lnTo>
                  <a:pt x="672" y="463"/>
                </a:lnTo>
                <a:lnTo>
                  <a:pt x="669" y="463"/>
                </a:lnTo>
                <a:lnTo>
                  <a:pt x="669" y="463"/>
                </a:lnTo>
                <a:lnTo>
                  <a:pt x="667" y="465"/>
                </a:lnTo>
                <a:lnTo>
                  <a:pt x="667" y="465"/>
                </a:lnTo>
                <a:lnTo>
                  <a:pt x="667" y="470"/>
                </a:lnTo>
                <a:lnTo>
                  <a:pt x="667" y="470"/>
                </a:lnTo>
                <a:lnTo>
                  <a:pt x="667" y="475"/>
                </a:lnTo>
                <a:lnTo>
                  <a:pt x="667" y="475"/>
                </a:lnTo>
                <a:lnTo>
                  <a:pt x="664" y="475"/>
                </a:lnTo>
                <a:lnTo>
                  <a:pt x="664" y="475"/>
                </a:lnTo>
                <a:lnTo>
                  <a:pt x="659" y="473"/>
                </a:lnTo>
                <a:lnTo>
                  <a:pt x="659" y="473"/>
                </a:lnTo>
                <a:lnTo>
                  <a:pt x="659" y="473"/>
                </a:lnTo>
                <a:lnTo>
                  <a:pt x="662" y="478"/>
                </a:lnTo>
                <a:lnTo>
                  <a:pt x="662" y="478"/>
                </a:lnTo>
                <a:lnTo>
                  <a:pt x="662" y="480"/>
                </a:lnTo>
                <a:lnTo>
                  <a:pt x="662" y="480"/>
                </a:lnTo>
                <a:lnTo>
                  <a:pt x="664" y="482"/>
                </a:lnTo>
                <a:lnTo>
                  <a:pt x="664" y="482"/>
                </a:lnTo>
                <a:lnTo>
                  <a:pt x="667" y="480"/>
                </a:lnTo>
                <a:lnTo>
                  <a:pt x="667" y="480"/>
                </a:lnTo>
                <a:lnTo>
                  <a:pt x="669" y="482"/>
                </a:lnTo>
                <a:lnTo>
                  <a:pt x="669" y="482"/>
                </a:lnTo>
                <a:lnTo>
                  <a:pt x="667" y="485"/>
                </a:lnTo>
                <a:lnTo>
                  <a:pt x="667" y="485"/>
                </a:lnTo>
                <a:lnTo>
                  <a:pt x="667" y="485"/>
                </a:lnTo>
                <a:lnTo>
                  <a:pt x="667" y="485"/>
                </a:lnTo>
                <a:lnTo>
                  <a:pt x="669" y="490"/>
                </a:lnTo>
                <a:lnTo>
                  <a:pt x="669" y="490"/>
                </a:lnTo>
                <a:lnTo>
                  <a:pt x="672" y="487"/>
                </a:lnTo>
                <a:lnTo>
                  <a:pt x="672" y="487"/>
                </a:lnTo>
                <a:lnTo>
                  <a:pt x="674" y="490"/>
                </a:lnTo>
                <a:lnTo>
                  <a:pt x="674" y="490"/>
                </a:lnTo>
                <a:lnTo>
                  <a:pt x="677" y="485"/>
                </a:lnTo>
                <a:lnTo>
                  <a:pt x="677" y="485"/>
                </a:lnTo>
                <a:lnTo>
                  <a:pt x="679" y="480"/>
                </a:lnTo>
                <a:lnTo>
                  <a:pt x="679" y="480"/>
                </a:lnTo>
                <a:lnTo>
                  <a:pt x="679" y="485"/>
                </a:lnTo>
                <a:lnTo>
                  <a:pt x="679" y="485"/>
                </a:lnTo>
                <a:lnTo>
                  <a:pt x="679" y="487"/>
                </a:lnTo>
                <a:lnTo>
                  <a:pt x="679" y="487"/>
                </a:lnTo>
                <a:lnTo>
                  <a:pt x="677" y="490"/>
                </a:lnTo>
                <a:lnTo>
                  <a:pt x="677" y="490"/>
                </a:lnTo>
                <a:lnTo>
                  <a:pt x="677" y="490"/>
                </a:lnTo>
                <a:lnTo>
                  <a:pt x="674" y="492"/>
                </a:lnTo>
                <a:lnTo>
                  <a:pt x="674" y="492"/>
                </a:lnTo>
                <a:lnTo>
                  <a:pt x="674" y="495"/>
                </a:lnTo>
                <a:lnTo>
                  <a:pt x="674" y="495"/>
                </a:lnTo>
                <a:lnTo>
                  <a:pt x="677" y="497"/>
                </a:lnTo>
                <a:lnTo>
                  <a:pt x="677" y="497"/>
                </a:lnTo>
                <a:lnTo>
                  <a:pt x="677" y="497"/>
                </a:lnTo>
                <a:lnTo>
                  <a:pt x="677" y="505"/>
                </a:lnTo>
                <a:lnTo>
                  <a:pt x="677" y="505"/>
                </a:lnTo>
                <a:lnTo>
                  <a:pt x="677" y="507"/>
                </a:lnTo>
                <a:lnTo>
                  <a:pt x="677" y="507"/>
                </a:lnTo>
                <a:lnTo>
                  <a:pt x="679" y="507"/>
                </a:lnTo>
                <a:lnTo>
                  <a:pt x="679" y="507"/>
                </a:lnTo>
                <a:lnTo>
                  <a:pt x="679" y="510"/>
                </a:lnTo>
                <a:lnTo>
                  <a:pt x="679" y="510"/>
                </a:lnTo>
                <a:lnTo>
                  <a:pt x="679" y="512"/>
                </a:lnTo>
                <a:lnTo>
                  <a:pt x="679" y="512"/>
                </a:lnTo>
                <a:lnTo>
                  <a:pt x="684" y="517"/>
                </a:lnTo>
                <a:lnTo>
                  <a:pt x="684" y="517"/>
                </a:lnTo>
                <a:lnTo>
                  <a:pt x="686" y="519"/>
                </a:lnTo>
                <a:lnTo>
                  <a:pt x="686" y="519"/>
                </a:lnTo>
                <a:lnTo>
                  <a:pt x="686" y="519"/>
                </a:lnTo>
                <a:lnTo>
                  <a:pt x="686" y="519"/>
                </a:lnTo>
                <a:lnTo>
                  <a:pt x="689" y="522"/>
                </a:lnTo>
                <a:lnTo>
                  <a:pt x="689" y="522"/>
                </a:lnTo>
                <a:lnTo>
                  <a:pt x="691" y="519"/>
                </a:lnTo>
                <a:lnTo>
                  <a:pt x="691" y="519"/>
                </a:lnTo>
                <a:lnTo>
                  <a:pt x="691" y="519"/>
                </a:lnTo>
                <a:lnTo>
                  <a:pt x="691" y="517"/>
                </a:lnTo>
                <a:lnTo>
                  <a:pt x="691" y="517"/>
                </a:lnTo>
                <a:lnTo>
                  <a:pt x="691" y="519"/>
                </a:lnTo>
                <a:lnTo>
                  <a:pt x="691" y="519"/>
                </a:lnTo>
                <a:lnTo>
                  <a:pt x="694" y="519"/>
                </a:lnTo>
                <a:lnTo>
                  <a:pt x="694" y="519"/>
                </a:lnTo>
                <a:lnTo>
                  <a:pt x="696" y="517"/>
                </a:lnTo>
                <a:lnTo>
                  <a:pt x="696" y="517"/>
                </a:lnTo>
                <a:lnTo>
                  <a:pt x="694" y="512"/>
                </a:lnTo>
                <a:lnTo>
                  <a:pt x="694" y="512"/>
                </a:lnTo>
                <a:lnTo>
                  <a:pt x="691" y="512"/>
                </a:lnTo>
                <a:lnTo>
                  <a:pt x="691" y="512"/>
                </a:lnTo>
                <a:lnTo>
                  <a:pt x="691" y="512"/>
                </a:lnTo>
                <a:lnTo>
                  <a:pt x="689" y="512"/>
                </a:lnTo>
                <a:lnTo>
                  <a:pt x="689" y="512"/>
                </a:lnTo>
                <a:lnTo>
                  <a:pt x="691" y="510"/>
                </a:lnTo>
                <a:lnTo>
                  <a:pt x="691" y="510"/>
                </a:lnTo>
                <a:lnTo>
                  <a:pt x="691" y="507"/>
                </a:lnTo>
                <a:lnTo>
                  <a:pt x="691" y="507"/>
                </a:lnTo>
                <a:lnTo>
                  <a:pt x="691" y="505"/>
                </a:lnTo>
                <a:lnTo>
                  <a:pt x="691" y="505"/>
                </a:lnTo>
                <a:lnTo>
                  <a:pt x="689" y="505"/>
                </a:lnTo>
                <a:lnTo>
                  <a:pt x="689" y="505"/>
                </a:lnTo>
                <a:lnTo>
                  <a:pt x="689" y="502"/>
                </a:lnTo>
                <a:lnTo>
                  <a:pt x="689" y="502"/>
                </a:lnTo>
                <a:lnTo>
                  <a:pt x="689" y="502"/>
                </a:lnTo>
                <a:lnTo>
                  <a:pt x="689" y="497"/>
                </a:lnTo>
                <a:lnTo>
                  <a:pt x="689" y="497"/>
                </a:lnTo>
                <a:lnTo>
                  <a:pt x="691" y="497"/>
                </a:lnTo>
                <a:lnTo>
                  <a:pt x="691" y="497"/>
                </a:lnTo>
                <a:lnTo>
                  <a:pt x="691" y="502"/>
                </a:lnTo>
                <a:lnTo>
                  <a:pt x="691" y="502"/>
                </a:lnTo>
                <a:lnTo>
                  <a:pt x="694" y="502"/>
                </a:lnTo>
                <a:lnTo>
                  <a:pt x="694" y="502"/>
                </a:lnTo>
                <a:lnTo>
                  <a:pt x="694" y="500"/>
                </a:lnTo>
                <a:lnTo>
                  <a:pt x="694" y="500"/>
                </a:lnTo>
                <a:lnTo>
                  <a:pt x="696" y="502"/>
                </a:lnTo>
                <a:lnTo>
                  <a:pt x="696" y="502"/>
                </a:lnTo>
                <a:lnTo>
                  <a:pt x="696" y="505"/>
                </a:lnTo>
                <a:lnTo>
                  <a:pt x="696" y="505"/>
                </a:lnTo>
                <a:lnTo>
                  <a:pt x="696" y="507"/>
                </a:lnTo>
                <a:lnTo>
                  <a:pt x="696" y="507"/>
                </a:lnTo>
                <a:lnTo>
                  <a:pt x="696" y="510"/>
                </a:lnTo>
                <a:lnTo>
                  <a:pt x="696" y="510"/>
                </a:lnTo>
                <a:lnTo>
                  <a:pt x="699" y="510"/>
                </a:lnTo>
                <a:lnTo>
                  <a:pt x="699" y="510"/>
                </a:lnTo>
                <a:lnTo>
                  <a:pt x="701" y="507"/>
                </a:lnTo>
                <a:lnTo>
                  <a:pt x="701" y="507"/>
                </a:lnTo>
                <a:lnTo>
                  <a:pt x="701" y="507"/>
                </a:lnTo>
                <a:lnTo>
                  <a:pt x="701" y="510"/>
                </a:lnTo>
                <a:lnTo>
                  <a:pt x="701" y="510"/>
                </a:lnTo>
                <a:lnTo>
                  <a:pt x="699" y="512"/>
                </a:lnTo>
                <a:lnTo>
                  <a:pt x="699" y="512"/>
                </a:lnTo>
                <a:lnTo>
                  <a:pt x="699" y="514"/>
                </a:lnTo>
                <a:lnTo>
                  <a:pt x="699" y="514"/>
                </a:lnTo>
                <a:lnTo>
                  <a:pt x="699" y="517"/>
                </a:lnTo>
                <a:lnTo>
                  <a:pt x="699" y="517"/>
                </a:lnTo>
                <a:lnTo>
                  <a:pt x="699" y="519"/>
                </a:lnTo>
                <a:lnTo>
                  <a:pt x="699" y="519"/>
                </a:lnTo>
                <a:lnTo>
                  <a:pt x="699" y="522"/>
                </a:lnTo>
                <a:lnTo>
                  <a:pt x="699" y="522"/>
                </a:lnTo>
                <a:lnTo>
                  <a:pt x="704" y="522"/>
                </a:lnTo>
                <a:lnTo>
                  <a:pt x="704" y="522"/>
                </a:lnTo>
                <a:lnTo>
                  <a:pt x="704" y="522"/>
                </a:lnTo>
                <a:lnTo>
                  <a:pt x="706" y="519"/>
                </a:lnTo>
                <a:lnTo>
                  <a:pt x="706" y="519"/>
                </a:lnTo>
                <a:lnTo>
                  <a:pt x="706" y="522"/>
                </a:lnTo>
                <a:lnTo>
                  <a:pt x="706" y="522"/>
                </a:lnTo>
                <a:lnTo>
                  <a:pt x="704" y="522"/>
                </a:lnTo>
                <a:lnTo>
                  <a:pt x="704" y="522"/>
                </a:lnTo>
                <a:lnTo>
                  <a:pt x="706" y="527"/>
                </a:lnTo>
                <a:lnTo>
                  <a:pt x="706" y="527"/>
                </a:lnTo>
                <a:lnTo>
                  <a:pt x="706" y="527"/>
                </a:lnTo>
                <a:lnTo>
                  <a:pt x="711" y="522"/>
                </a:lnTo>
                <a:lnTo>
                  <a:pt x="711" y="522"/>
                </a:lnTo>
                <a:lnTo>
                  <a:pt x="711" y="519"/>
                </a:lnTo>
                <a:lnTo>
                  <a:pt x="711" y="519"/>
                </a:lnTo>
                <a:lnTo>
                  <a:pt x="711" y="517"/>
                </a:lnTo>
                <a:lnTo>
                  <a:pt x="711" y="517"/>
                </a:lnTo>
                <a:lnTo>
                  <a:pt x="711" y="510"/>
                </a:lnTo>
                <a:lnTo>
                  <a:pt x="711" y="510"/>
                </a:lnTo>
                <a:lnTo>
                  <a:pt x="713" y="502"/>
                </a:lnTo>
                <a:lnTo>
                  <a:pt x="713" y="502"/>
                </a:lnTo>
                <a:lnTo>
                  <a:pt x="713" y="495"/>
                </a:lnTo>
                <a:lnTo>
                  <a:pt x="713" y="495"/>
                </a:lnTo>
                <a:lnTo>
                  <a:pt x="713" y="492"/>
                </a:lnTo>
                <a:lnTo>
                  <a:pt x="713" y="492"/>
                </a:lnTo>
                <a:lnTo>
                  <a:pt x="713" y="490"/>
                </a:lnTo>
                <a:lnTo>
                  <a:pt x="713" y="490"/>
                </a:lnTo>
                <a:lnTo>
                  <a:pt x="713" y="487"/>
                </a:lnTo>
                <a:lnTo>
                  <a:pt x="713" y="487"/>
                </a:lnTo>
                <a:lnTo>
                  <a:pt x="713" y="490"/>
                </a:lnTo>
                <a:lnTo>
                  <a:pt x="713" y="490"/>
                </a:lnTo>
                <a:lnTo>
                  <a:pt x="716" y="492"/>
                </a:lnTo>
                <a:lnTo>
                  <a:pt x="716" y="492"/>
                </a:lnTo>
                <a:lnTo>
                  <a:pt x="716" y="492"/>
                </a:lnTo>
                <a:lnTo>
                  <a:pt x="718" y="490"/>
                </a:lnTo>
                <a:lnTo>
                  <a:pt x="718" y="490"/>
                </a:lnTo>
                <a:lnTo>
                  <a:pt x="721" y="487"/>
                </a:lnTo>
                <a:lnTo>
                  <a:pt x="721" y="487"/>
                </a:lnTo>
                <a:lnTo>
                  <a:pt x="718" y="492"/>
                </a:lnTo>
                <a:lnTo>
                  <a:pt x="718" y="492"/>
                </a:lnTo>
                <a:lnTo>
                  <a:pt x="718" y="497"/>
                </a:lnTo>
                <a:lnTo>
                  <a:pt x="718" y="497"/>
                </a:lnTo>
                <a:lnTo>
                  <a:pt x="718" y="502"/>
                </a:lnTo>
                <a:lnTo>
                  <a:pt x="718" y="502"/>
                </a:lnTo>
                <a:lnTo>
                  <a:pt x="716" y="507"/>
                </a:lnTo>
                <a:lnTo>
                  <a:pt x="716" y="507"/>
                </a:lnTo>
                <a:lnTo>
                  <a:pt x="716" y="510"/>
                </a:lnTo>
                <a:lnTo>
                  <a:pt x="716" y="510"/>
                </a:lnTo>
                <a:lnTo>
                  <a:pt x="716" y="512"/>
                </a:lnTo>
                <a:lnTo>
                  <a:pt x="716" y="512"/>
                </a:lnTo>
                <a:lnTo>
                  <a:pt x="716" y="514"/>
                </a:lnTo>
                <a:lnTo>
                  <a:pt x="716" y="514"/>
                </a:lnTo>
                <a:lnTo>
                  <a:pt x="713" y="519"/>
                </a:lnTo>
                <a:lnTo>
                  <a:pt x="713" y="519"/>
                </a:lnTo>
                <a:lnTo>
                  <a:pt x="716" y="522"/>
                </a:lnTo>
                <a:lnTo>
                  <a:pt x="716" y="522"/>
                </a:lnTo>
                <a:lnTo>
                  <a:pt x="716" y="524"/>
                </a:lnTo>
                <a:lnTo>
                  <a:pt x="716" y="524"/>
                </a:lnTo>
                <a:lnTo>
                  <a:pt x="718" y="527"/>
                </a:lnTo>
                <a:lnTo>
                  <a:pt x="718" y="527"/>
                </a:lnTo>
                <a:lnTo>
                  <a:pt x="718" y="532"/>
                </a:lnTo>
                <a:lnTo>
                  <a:pt x="718" y="532"/>
                </a:lnTo>
                <a:lnTo>
                  <a:pt x="721" y="532"/>
                </a:lnTo>
                <a:lnTo>
                  <a:pt x="721" y="532"/>
                </a:lnTo>
                <a:lnTo>
                  <a:pt x="721" y="534"/>
                </a:lnTo>
                <a:lnTo>
                  <a:pt x="721" y="534"/>
                </a:lnTo>
                <a:lnTo>
                  <a:pt x="723" y="537"/>
                </a:lnTo>
                <a:lnTo>
                  <a:pt x="723" y="537"/>
                </a:lnTo>
                <a:lnTo>
                  <a:pt x="726" y="534"/>
                </a:lnTo>
                <a:lnTo>
                  <a:pt x="726" y="534"/>
                </a:lnTo>
                <a:lnTo>
                  <a:pt x="726" y="537"/>
                </a:lnTo>
                <a:lnTo>
                  <a:pt x="726" y="537"/>
                </a:lnTo>
                <a:lnTo>
                  <a:pt x="728" y="534"/>
                </a:lnTo>
                <a:lnTo>
                  <a:pt x="728" y="534"/>
                </a:lnTo>
                <a:lnTo>
                  <a:pt x="733" y="534"/>
                </a:lnTo>
                <a:lnTo>
                  <a:pt x="733" y="534"/>
                </a:lnTo>
                <a:lnTo>
                  <a:pt x="733" y="534"/>
                </a:lnTo>
                <a:lnTo>
                  <a:pt x="728" y="537"/>
                </a:lnTo>
                <a:lnTo>
                  <a:pt x="728" y="537"/>
                </a:lnTo>
                <a:lnTo>
                  <a:pt x="726" y="539"/>
                </a:lnTo>
                <a:lnTo>
                  <a:pt x="726" y="539"/>
                </a:lnTo>
                <a:lnTo>
                  <a:pt x="726" y="539"/>
                </a:lnTo>
                <a:lnTo>
                  <a:pt x="728" y="541"/>
                </a:lnTo>
                <a:lnTo>
                  <a:pt x="728" y="541"/>
                </a:lnTo>
                <a:lnTo>
                  <a:pt x="728" y="541"/>
                </a:lnTo>
                <a:lnTo>
                  <a:pt x="726" y="544"/>
                </a:lnTo>
                <a:lnTo>
                  <a:pt x="726" y="544"/>
                </a:lnTo>
                <a:lnTo>
                  <a:pt x="726" y="544"/>
                </a:lnTo>
                <a:lnTo>
                  <a:pt x="728" y="549"/>
                </a:lnTo>
                <a:lnTo>
                  <a:pt x="728" y="549"/>
                </a:lnTo>
                <a:lnTo>
                  <a:pt x="728" y="551"/>
                </a:lnTo>
                <a:lnTo>
                  <a:pt x="728" y="551"/>
                </a:lnTo>
                <a:lnTo>
                  <a:pt x="726" y="551"/>
                </a:lnTo>
                <a:lnTo>
                  <a:pt x="726" y="551"/>
                </a:lnTo>
                <a:lnTo>
                  <a:pt x="723" y="549"/>
                </a:lnTo>
                <a:lnTo>
                  <a:pt x="723" y="549"/>
                </a:lnTo>
                <a:lnTo>
                  <a:pt x="723" y="546"/>
                </a:lnTo>
                <a:lnTo>
                  <a:pt x="723" y="546"/>
                </a:lnTo>
                <a:lnTo>
                  <a:pt x="721" y="549"/>
                </a:lnTo>
                <a:lnTo>
                  <a:pt x="721" y="549"/>
                </a:lnTo>
                <a:lnTo>
                  <a:pt x="723" y="551"/>
                </a:lnTo>
                <a:lnTo>
                  <a:pt x="723" y="551"/>
                </a:lnTo>
                <a:lnTo>
                  <a:pt x="721" y="554"/>
                </a:lnTo>
                <a:lnTo>
                  <a:pt x="721" y="554"/>
                </a:lnTo>
                <a:lnTo>
                  <a:pt x="721" y="556"/>
                </a:lnTo>
                <a:lnTo>
                  <a:pt x="721" y="556"/>
                </a:lnTo>
                <a:lnTo>
                  <a:pt x="723" y="556"/>
                </a:lnTo>
                <a:lnTo>
                  <a:pt x="723" y="556"/>
                </a:lnTo>
                <a:lnTo>
                  <a:pt x="721" y="559"/>
                </a:lnTo>
                <a:lnTo>
                  <a:pt x="721" y="559"/>
                </a:lnTo>
                <a:lnTo>
                  <a:pt x="718" y="559"/>
                </a:lnTo>
                <a:lnTo>
                  <a:pt x="718" y="559"/>
                </a:lnTo>
                <a:lnTo>
                  <a:pt x="718" y="561"/>
                </a:lnTo>
                <a:lnTo>
                  <a:pt x="718" y="561"/>
                </a:lnTo>
                <a:lnTo>
                  <a:pt x="718" y="564"/>
                </a:lnTo>
                <a:lnTo>
                  <a:pt x="718" y="564"/>
                </a:lnTo>
                <a:lnTo>
                  <a:pt x="721" y="564"/>
                </a:lnTo>
                <a:lnTo>
                  <a:pt x="721" y="564"/>
                </a:lnTo>
                <a:lnTo>
                  <a:pt x="721" y="564"/>
                </a:lnTo>
                <a:lnTo>
                  <a:pt x="723" y="566"/>
                </a:lnTo>
                <a:lnTo>
                  <a:pt x="723" y="566"/>
                </a:lnTo>
                <a:lnTo>
                  <a:pt x="726" y="566"/>
                </a:lnTo>
                <a:lnTo>
                  <a:pt x="726" y="566"/>
                </a:lnTo>
                <a:lnTo>
                  <a:pt x="726" y="566"/>
                </a:lnTo>
                <a:lnTo>
                  <a:pt x="728" y="569"/>
                </a:lnTo>
                <a:lnTo>
                  <a:pt x="728" y="569"/>
                </a:lnTo>
                <a:lnTo>
                  <a:pt x="728" y="569"/>
                </a:lnTo>
                <a:lnTo>
                  <a:pt x="726" y="569"/>
                </a:lnTo>
                <a:lnTo>
                  <a:pt x="726" y="569"/>
                </a:lnTo>
                <a:lnTo>
                  <a:pt x="723" y="569"/>
                </a:lnTo>
                <a:lnTo>
                  <a:pt x="723" y="569"/>
                </a:lnTo>
                <a:lnTo>
                  <a:pt x="726" y="571"/>
                </a:lnTo>
                <a:lnTo>
                  <a:pt x="726" y="571"/>
                </a:lnTo>
                <a:lnTo>
                  <a:pt x="728" y="573"/>
                </a:lnTo>
                <a:lnTo>
                  <a:pt x="728" y="573"/>
                </a:lnTo>
                <a:lnTo>
                  <a:pt x="728" y="576"/>
                </a:lnTo>
                <a:lnTo>
                  <a:pt x="728" y="576"/>
                </a:lnTo>
                <a:lnTo>
                  <a:pt x="731" y="578"/>
                </a:lnTo>
                <a:lnTo>
                  <a:pt x="731" y="578"/>
                </a:lnTo>
                <a:lnTo>
                  <a:pt x="733" y="578"/>
                </a:lnTo>
                <a:lnTo>
                  <a:pt x="733" y="578"/>
                </a:lnTo>
                <a:lnTo>
                  <a:pt x="731" y="578"/>
                </a:lnTo>
                <a:lnTo>
                  <a:pt x="731" y="578"/>
                </a:lnTo>
                <a:lnTo>
                  <a:pt x="728" y="578"/>
                </a:lnTo>
                <a:lnTo>
                  <a:pt x="728" y="578"/>
                </a:lnTo>
                <a:lnTo>
                  <a:pt x="726" y="581"/>
                </a:lnTo>
                <a:lnTo>
                  <a:pt x="726" y="581"/>
                </a:lnTo>
                <a:lnTo>
                  <a:pt x="728" y="583"/>
                </a:lnTo>
                <a:lnTo>
                  <a:pt x="728" y="583"/>
                </a:lnTo>
                <a:lnTo>
                  <a:pt x="731" y="588"/>
                </a:lnTo>
                <a:lnTo>
                  <a:pt x="731" y="588"/>
                </a:lnTo>
                <a:lnTo>
                  <a:pt x="733" y="591"/>
                </a:lnTo>
                <a:lnTo>
                  <a:pt x="733" y="591"/>
                </a:lnTo>
                <a:lnTo>
                  <a:pt x="736" y="591"/>
                </a:lnTo>
                <a:lnTo>
                  <a:pt x="736" y="591"/>
                </a:lnTo>
                <a:lnTo>
                  <a:pt x="738" y="591"/>
                </a:lnTo>
                <a:lnTo>
                  <a:pt x="738" y="591"/>
                </a:lnTo>
                <a:lnTo>
                  <a:pt x="733" y="593"/>
                </a:lnTo>
                <a:lnTo>
                  <a:pt x="733" y="593"/>
                </a:lnTo>
                <a:lnTo>
                  <a:pt x="731" y="593"/>
                </a:lnTo>
                <a:lnTo>
                  <a:pt x="731" y="593"/>
                </a:lnTo>
                <a:lnTo>
                  <a:pt x="728" y="593"/>
                </a:lnTo>
                <a:lnTo>
                  <a:pt x="728" y="593"/>
                </a:lnTo>
                <a:lnTo>
                  <a:pt x="726" y="596"/>
                </a:lnTo>
                <a:lnTo>
                  <a:pt x="726" y="596"/>
                </a:lnTo>
                <a:lnTo>
                  <a:pt x="721" y="603"/>
                </a:lnTo>
                <a:lnTo>
                  <a:pt x="721" y="603"/>
                </a:lnTo>
                <a:lnTo>
                  <a:pt x="718" y="605"/>
                </a:lnTo>
                <a:lnTo>
                  <a:pt x="718" y="605"/>
                </a:lnTo>
                <a:lnTo>
                  <a:pt x="718" y="608"/>
                </a:lnTo>
                <a:lnTo>
                  <a:pt x="718" y="608"/>
                </a:lnTo>
                <a:lnTo>
                  <a:pt x="721" y="610"/>
                </a:lnTo>
                <a:lnTo>
                  <a:pt x="721" y="610"/>
                </a:lnTo>
                <a:lnTo>
                  <a:pt x="723" y="608"/>
                </a:lnTo>
                <a:lnTo>
                  <a:pt x="723" y="608"/>
                </a:lnTo>
                <a:lnTo>
                  <a:pt x="726" y="603"/>
                </a:lnTo>
                <a:lnTo>
                  <a:pt x="726" y="603"/>
                </a:lnTo>
                <a:lnTo>
                  <a:pt x="726" y="603"/>
                </a:lnTo>
                <a:lnTo>
                  <a:pt x="728" y="601"/>
                </a:lnTo>
                <a:lnTo>
                  <a:pt x="728" y="601"/>
                </a:lnTo>
                <a:lnTo>
                  <a:pt x="731" y="598"/>
                </a:lnTo>
                <a:lnTo>
                  <a:pt x="731" y="598"/>
                </a:lnTo>
                <a:lnTo>
                  <a:pt x="731" y="598"/>
                </a:lnTo>
                <a:lnTo>
                  <a:pt x="733" y="598"/>
                </a:lnTo>
                <a:lnTo>
                  <a:pt x="733" y="598"/>
                </a:lnTo>
                <a:lnTo>
                  <a:pt x="738" y="598"/>
                </a:lnTo>
                <a:lnTo>
                  <a:pt x="738" y="598"/>
                </a:lnTo>
                <a:lnTo>
                  <a:pt x="736" y="601"/>
                </a:lnTo>
                <a:lnTo>
                  <a:pt x="736" y="601"/>
                </a:lnTo>
                <a:lnTo>
                  <a:pt x="736" y="603"/>
                </a:lnTo>
                <a:lnTo>
                  <a:pt x="736" y="603"/>
                </a:lnTo>
                <a:lnTo>
                  <a:pt x="740" y="603"/>
                </a:lnTo>
                <a:lnTo>
                  <a:pt x="740" y="603"/>
                </a:lnTo>
                <a:lnTo>
                  <a:pt x="740" y="603"/>
                </a:lnTo>
                <a:lnTo>
                  <a:pt x="736" y="605"/>
                </a:lnTo>
                <a:lnTo>
                  <a:pt x="736" y="605"/>
                </a:lnTo>
                <a:lnTo>
                  <a:pt x="736" y="608"/>
                </a:lnTo>
                <a:lnTo>
                  <a:pt x="736" y="608"/>
                </a:lnTo>
                <a:lnTo>
                  <a:pt x="738" y="610"/>
                </a:lnTo>
                <a:lnTo>
                  <a:pt x="738" y="610"/>
                </a:lnTo>
                <a:lnTo>
                  <a:pt x="736" y="615"/>
                </a:lnTo>
                <a:lnTo>
                  <a:pt x="736" y="615"/>
                </a:lnTo>
                <a:lnTo>
                  <a:pt x="733" y="618"/>
                </a:lnTo>
                <a:lnTo>
                  <a:pt x="733" y="618"/>
                </a:lnTo>
                <a:lnTo>
                  <a:pt x="736" y="618"/>
                </a:lnTo>
                <a:lnTo>
                  <a:pt x="736" y="618"/>
                </a:lnTo>
                <a:lnTo>
                  <a:pt x="736" y="620"/>
                </a:lnTo>
                <a:lnTo>
                  <a:pt x="736" y="620"/>
                </a:lnTo>
                <a:lnTo>
                  <a:pt x="733" y="620"/>
                </a:lnTo>
                <a:lnTo>
                  <a:pt x="733" y="620"/>
                </a:lnTo>
                <a:lnTo>
                  <a:pt x="731" y="620"/>
                </a:lnTo>
                <a:lnTo>
                  <a:pt x="731" y="620"/>
                </a:lnTo>
                <a:lnTo>
                  <a:pt x="728" y="623"/>
                </a:lnTo>
                <a:lnTo>
                  <a:pt x="728" y="623"/>
                </a:lnTo>
                <a:lnTo>
                  <a:pt x="728" y="623"/>
                </a:lnTo>
                <a:lnTo>
                  <a:pt x="731" y="623"/>
                </a:lnTo>
                <a:lnTo>
                  <a:pt x="731" y="623"/>
                </a:lnTo>
                <a:lnTo>
                  <a:pt x="733" y="623"/>
                </a:lnTo>
                <a:lnTo>
                  <a:pt x="733" y="623"/>
                </a:lnTo>
                <a:lnTo>
                  <a:pt x="736" y="623"/>
                </a:lnTo>
                <a:lnTo>
                  <a:pt x="736" y="623"/>
                </a:lnTo>
                <a:lnTo>
                  <a:pt x="736" y="625"/>
                </a:lnTo>
                <a:lnTo>
                  <a:pt x="736" y="625"/>
                </a:lnTo>
                <a:lnTo>
                  <a:pt x="733" y="625"/>
                </a:lnTo>
                <a:lnTo>
                  <a:pt x="733" y="625"/>
                </a:lnTo>
                <a:lnTo>
                  <a:pt x="731" y="625"/>
                </a:lnTo>
                <a:lnTo>
                  <a:pt x="731" y="625"/>
                </a:lnTo>
                <a:lnTo>
                  <a:pt x="728" y="625"/>
                </a:lnTo>
                <a:lnTo>
                  <a:pt x="728" y="625"/>
                </a:lnTo>
                <a:lnTo>
                  <a:pt x="728" y="628"/>
                </a:lnTo>
                <a:lnTo>
                  <a:pt x="728" y="628"/>
                </a:lnTo>
                <a:lnTo>
                  <a:pt x="726" y="630"/>
                </a:lnTo>
                <a:lnTo>
                  <a:pt x="726" y="630"/>
                </a:lnTo>
                <a:lnTo>
                  <a:pt x="728" y="635"/>
                </a:lnTo>
                <a:lnTo>
                  <a:pt x="728" y="635"/>
                </a:lnTo>
                <a:lnTo>
                  <a:pt x="731" y="632"/>
                </a:lnTo>
                <a:lnTo>
                  <a:pt x="731" y="632"/>
                </a:lnTo>
                <a:lnTo>
                  <a:pt x="731" y="630"/>
                </a:lnTo>
                <a:lnTo>
                  <a:pt x="731" y="630"/>
                </a:lnTo>
                <a:lnTo>
                  <a:pt x="733" y="630"/>
                </a:lnTo>
                <a:lnTo>
                  <a:pt x="733" y="630"/>
                </a:lnTo>
                <a:lnTo>
                  <a:pt x="736" y="630"/>
                </a:lnTo>
                <a:lnTo>
                  <a:pt x="736" y="630"/>
                </a:lnTo>
                <a:lnTo>
                  <a:pt x="740" y="625"/>
                </a:lnTo>
                <a:lnTo>
                  <a:pt x="740" y="625"/>
                </a:lnTo>
                <a:lnTo>
                  <a:pt x="743" y="620"/>
                </a:lnTo>
                <a:lnTo>
                  <a:pt x="743" y="620"/>
                </a:lnTo>
                <a:lnTo>
                  <a:pt x="743" y="615"/>
                </a:lnTo>
                <a:lnTo>
                  <a:pt x="743" y="615"/>
                </a:lnTo>
                <a:lnTo>
                  <a:pt x="748" y="608"/>
                </a:lnTo>
                <a:lnTo>
                  <a:pt x="748" y="608"/>
                </a:lnTo>
                <a:lnTo>
                  <a:pt x="748" y="605"/>
                </a:lnTo>
                <a:lnTo>
                  <a:pt x="748" y="605"/>
                </a:lnTo>
                <a:lnTo>
                  <a:pt x="748" y="605"/>
                </a:lnTo>
                <a:close/>
                <a:moveTo>
                  <a:pt x="704" y="623"/>
                </a:moveTo>
                <a:lnTo>
                  <a:pt x="704" y="623"/>
                </a:lnTo>
                <a:lnTo>
                  <a:pt x="701" y="623"/>
                </a:lnTo>
                <a:lnTo>
                  <a:pt x="701" y="623"/>
                </a:lnTo>
                <a:lnTo>
                  <a:pt x="704" y="620"/>
                </a:lnTo>
                <a:lnTo>
                  <a:pt x="704" y="620"/>
                </a:lnTo>
                <a:lnTo>
                  <a:pt x="704" y="623"/>
                </a:lnTo>
                <a:lnTo>
                  <a:pt x="704" y="623"/>
                </a:lnTo>
                <a:lnTo>
                  <a:pt x="704" y="623"/>
                </a:lnTo>
                <a:close/>
                <a:moveTo>
                  <a:pt x="721" y="628"/>
                </a:moveTo>
                <a:lnTo>
                  <a:pt x="721" y="628"/>
                </a:lnTo>
                <a:lnTo>
                  <a:pt x="723" y="628"/>
                </a:lnTo>
                <a:lnTo>
                  <a:pt x="723" y="628"/>
                </a:lnTo>
                <a:lnTo>
                  <a:pt x="726" y="628"/>
                </a:lnTo>
                <a:lnTo>
                  <a:pt x="726" y="628"/>
                </a:lnTo>
                <a:lnTo>
                  <a:pt x="723" y="630"/>
                </a:lnTo>
                <a:lnTo>
                  <a:pt x="723" y="630"/>
                </a:lnTo>
                <a:lnTo>
                  <a:pt x="721" y="628"/>
                </a:lnTo>
                <a:lnTo>
                  <a:pt x="721" y="628"/>
                </a:lnTo>
                <a:close/>
                <a:moveTo>
                  <a:pt x="721" y="620"/>
                </a:moveTo>
                <a:lnTo>
                  <a:pt x="721" y="620"/>
                </a:lnTo>
                <a:lnTo>
                  <a:pt x="723" y="620"/>
                </a:lnTo>
                <a:lnTo>
                  <a:pt x="723" y="620"/>
                </a:lnTo>
                <a:lnTo>
                  <a:pt x="726" y="623"/>
                </a:lnTo>
                <a:lnTo>
                  <a:pt x="726" y="623"/>
                </a:lnTo>
                <a:lnTo>
                  <a:pt x="723" y="625"/>
                </a:lnTo>
                <a:lnTo>
                  <a:pt x="723" y="625"/>
                </a:lnTo>
                <a:lnTo>
                  <a:pt x="721" y="625"/>
                </a:lnTo>
                <a:lnTo>
                  <a:pt x="721" y="625"/>
                </a:lnTo>
                <a:lnTo>
                  <a:pt x="721" y="623"/>
                </a:lnTo>
                <a:lnTo>
                  <a:pt x="721" y="623"/>
                </a:lnTo>
                <a:lnTo>
                  <a:pt x="721" y="620"/>
                </a:lnTo>
                <a:lnTo>
                  <a:pt x="721" y="620"/>
                </a:lnTo>
                <a:close/>
                <a:moveTo>
                  <a:pt x="721" y="613"/>
                </a:moveTo>
                <a:lnTo>
                  <a:pt x="721" y="613"/>
                </a:lnTo>
                <a:lnTo>
                  <a:pt x="723" y="618"/>
                </a:lnTo>
                <a:lnTo>
                  <a:pt x="723" y="618"/>
                </a:lnTo>
                <a:lnTo>
                  <a:pt x="721" y="620"/>
                </a:lnTo>
                <a:lnTo>
                  <a:pt x="721" y="620"/>
                </a:lnTo>
                <a:lnTo>
                  <a:pt x="721" y="618"/>
                </a:lnTo>
                <a:lnTo>
                  <a:pt x="721" y="618"/>
                </a:lnTo>
                <a:lnTo>
                  <a:pt x="718" y="615"/>
                </a:lnTo>
                <a:lnTo>
                  <a:pt x="718" y="615"/>
                </a:lnTo>
                <a:lnTo>
                  <a:pt x="721" y="613"/>
                </a:lnTo>
                <a:lnTo>
                  <a:pt x="721" y="613"/>
                </a:lnTo>
                <a:close/>
                <a:moveTo>
                  <a:pt x="723" y="613"/>
                </a:moveTo>
                <a:lnTo>
                  <a:pt x="723" y="613"/>
                </a:lnTo>
                <a:lnTo>
                  <a:pt x="726" y="610"/>
                </a:lnTo>
                <a:lnTo>
                  <a:pt x="726" y="610"/>
                </a:lnTo>
                <a:lnTo>
                  <a:pt x="726" y="608"/>
                </a:lnTo>
                <a:lnTo>
                  <a:pt x="726" y="608"/>
                </a:lnTo>
                <a:lnTo>
                  <a:pt x="728" y="605"/>
                </a:lnTo>
                <a:lnTo>
                  <a:pt x="728" y="605"/>
                </a:lnTo>
                <a:lnTo>
                  <a:pt x="731" y="603"/>
                </a:lnTo>
                <a:lnTo>
                  <a:pt x="731" y="603"/>
                </a:lnTo>
                <a:lnTo>
                  <a:pt x="731" y="603"/>
                </a:lnTo>
                <a:lnTo>
                  <a:pt x="733" y="603"/>
                </a:lnTo>
                <a:lnTo>
                  <a:pt x="733" y="603"/>
                </a:lnTo>
                <a:lnTo>
                  <a:pt x="736" y="605"/>
                </a:lnTo>
                <a:lnTo>
                  <a:pt x="736" y="605"/>
                </a:lnTo>
                <a:lnTo>
                  <a:pt x="733" y="608"/>
                </a:lnTo>
                <a:lnTo>
                  <a:pt x="733" y="608"/>
                </a:lnTo>
                <a:lnTo>
                  <a:pt x="736" y="610"/>
                </a:lnTo>
                <a:lnTo>
                  <a:pt x="736" y="610"/>
                </a:lnTo>
                <a:lnTo>
                  <a:pt x="731" y="618"/>
                </a:lnTo>
                <a:lnTo>
                  <a:pt x="731" y="618"/>
                </a:lnTo>
                <a:lnTo>
                  <a:pt x="726" y="620"/>
                </a:lnTo>
                <a:lnTo>
                  <a:pt x="726" y="620"/>
                </a:lnTo>
                <a:lnTo>
                  <a:pt x="726" y="620"/>
                </a:lnTo>
                <a:lnTo>
                  <a:pt x="726" y="615"/>
                </a:lnTo>
                <a:lnTo>
                  <a:pt x="726" y="615"/>
                </a:lnTo>
                <a:lnTo>
                  <a:pt x="731" y="613"/>
                </a:lnTo>
                <a:lnTo>
                  <a:pt x="731" y="613"/>
                </a:lnTo>
                <a:lnTo>
                  <a:pt x="731" y="613"/>
                </a:lnTo>
                <a:lnTo>
                  <a:pt x="723" y="615"/>
                </a:lnTo>
                <a:lnTo>
                  <a:pt x="723" y="615"/>
                </a:lnTo>
                <a:lnTo>
                  <a:pt x="723" y="613"/>
                </a:lnTo>
                <a:lnTo>
                  <a:pt x="723" y="613"/>
                </a:lnTo>
                <a:close/>
                <a:moveTo>
                  <a:pt x="696" y="623"/>
                </a:moveTo>
                <a:lnTo>
                  <a:pt x="696" y="623"/>
                </a:lnTo>
                <a:lnTo>
                  <a:pt x="696" y="623"/>
                </a:lnTo>
                <a:lnTo>
                  <a:pt x="699" y="623"/>
                </a:lnTo>
                <a:lnTo>
                  <a:pt x="699" y="623"/>
                </a:lnTo>
                <a:lnTo>
                  <a:pt x="699" y="625"/>
                </a:lnTo>
                <a:lnTo>
                  <a:pt x="699" y="625"/>
                </a:lnTo>
                <a:lnTo>
                  <a:pt x="701" y="630"/>
                </a:lnTo>
                <a:lnTo>
                  <a:pt x="701" y="630"/>
                </a:lnTo>
                <a:lnTo>
                  <a:pt x="699" y="632"/>
                </a:lnTo>
                <a:lnTo>
                  <a:pt x="699" y="632"/>
                </a:lnTo>
                <a:lnTo>
                  <a:pt x="699" y="632"/>
                </a:lnTo>
                <a:lnTo>
                  <a:pt x="696" y="628"/>
                </a:lnTo>
                <a:lnTo>
                  <a:pt x="696" y="628"/>
                </a:lnTo>
                <a:lnTo>
                  <a:pt x="696" y="625"/>
                </a:lnTo>
                <a:lnTo>
                  <a:pt x="696" y="625"/>
                </a:lnTo>
                <a:lnTo>
                  <a:pt x="696" y="623"/>
                </a:lnTo>
                <a:lnTo>
                  <a:pt x="696" y="623"/>
                </a:lnTo>
                <a:close/>
                <a:moveTo>
                  <a:pt x="696" y="618"/>
                </a:moveTo>
                <a:lnTo>
                  <a:pt x="696" y="618"/>
                </a:lnTo>
                <a:lnTo>
                  <a:pt x="699" y="618"/>
                </a:lnTo>
                <a:lnTo>
                  <a:pt x="699" y="618"/>
                </a:lnTo>
                <a:lnTo>
                  <a:pt x="699" y="618"/>
                </a:lnTo>
                <a:lnTo>
                  <a:pt x="701" y="620"/>
                </a:lnTo>
                <a:lnTo>
                  <a:pt x="701" y="620"/>
                </a:lnTo>
                <a:lnTo>
                  <a:pt x="699" y="620"/>
                </a:lnTo>
                <a:lnTo>
                  <a:pt x="699" y="620"/>
                </a:lnTo>
                <a:lnTo>
                  <a:pt x="696" y="618"/>
                </a:lnTo>
                <a:lnTo>
                  <a:pt x="696" y="618"/>
                </a:lnTo>
                <a:close/>
                <a:moveTo>
                  <a:pt x="696" y="615"/>
                </a:moveTo>
                <a:lnTo>
                  <a:pt x="696" y="615"/>
                </a:lnTo>
                <a:lnTo>
                  <a:pt x="696" y="613"/>
                </a:lnTo>
                <a:lnTo>
                  <a:pt x="696" y="613"/>
                </a:lnTo>
                <a:lnTo>
                  <a:pt x="696" y="615"/>
                </a:lnTo>
                <a:lnTo>
                  <a:pt x="696" y="615"/>
                </a:lnTo>
                <a:lnTo>
                  <a:pt x="696" y="615"/>
                </a:lnTo>
                <a:close/>
                <a:moveTo>
                  <a:pt x="694" y="610"/>
                </a:moveTo>
                <a:lnTo>
                  <a:pt x="694" y="610"/>
                </a:lnTo>
                <a:lnTo>
                  <a:pt x="696" y="610"/>
                </a:lnTo>
                <a:lnTo>
                  <a:pt x="696" y="610"/>
                </a:lnTo>
                <a:lnTo>
                  <a:pt x="691" y="615"/>
                </a:lnTo>
                <a:lnTo>
                  <a:pt x="691" y="615"/>
                </a:lnTo>
                <a:lnTo>
                  <a:pt x="694" y="610"/>
                </a:lnTo>
                <a:lnTo>
                  <a:pt x="694" y="610"/>
                </a:lnTo>
                <a:close/>
                <a:moveTo>
                  <a:pt x="691" y="596"/>
                </a:moveTo>
                <a:lnTo>
                  <a:pt x="691" y="596"/>
                </a:lnTo>
                <a:lnTo>
                  <a:pt x="691" y="593"/>
                </a:lnTo>
                <a:lnTo>
                  <a:pt x="691" y="593"/>
                </a:lnTo>
                <a:lnTo>
                  <a:pt x="694" y="596"/>
                </a:lnTo>
                <a:lnTo>
                  <a:pt x="694" y="596"/>
                </a:lnTo>
                <a:lnTo>
                  <a:pt x="691" y="596"/>
                </a:lnTo>
                <a:lnTo>
                  <a:pt x="691" y="596"/>
                </a:lnTo>
                <a:close/>
                <a:moveTo>
                  <a:pt x="699" y="601"/>
                </a:moveTo>
                <a:lnTo>
                  <a:pt x="699" y="601"/>
                </a:lnTo>
                <a:lnTo>
                  <a:pt x="701" y="598"/>
                </a:lnTo>
                <a:lnTo>
                  <a:pt x="701" y="598"/>
                </a:lnTo>
                <a:lnTo>
                  <a:pt x="701" y="601"/>
                </a:lnTo>
                <a:lnTo>
                  <a:pt x="701" y="601"/>
                </a:lnTo>
                <a:lnTo>
                  <a:pt x="701" y="603"/>
                </a:lnTo>
                <a:lnTo>
                  <a:pt x="701" y="603"/>
                </a:lnTo>
                <a:lnTo>
                  <a:pt x="699" y="601"/>
                </a:lnTo>
                <a:lnTo>
                  <a:pt x="699" y="601"/>
                </a:lnTo>
                <a:close/>
                <a:moveTo>
                  <a:pt x="701" y="596"/>
                </a:moveTo>
                <a:lnTo>
                  <a:pt x="701" y="596"/>
                </a:lnTo>
                <a:lnTo>
                  <a:pt x="701" y="591"/>
                </a:lnTo>
                <a:lnTo>
                  <a:pt x="701" y="591"/>
                </a:lnTo>
                <a:lnTo>
                  <a:pt x="706" y="591"/>
                </a:lnTo>
                <a:lnTo>
                  <a:pt x="706" y="591"/>
                </a:lnTo>
                <a:lnTo>
                  <a:pt x="706" y="593"/>
                </a:lnTo>
                <a:lnTo>
                  <a:pt x="706" y="593"/>
                </a:lnTo>
                <a:lnTo>
                  <a:pt x="706" y="593"/>
                </a:lnTo>
                <a:lnTo>
                  <a:pt x="704" y="593"/>
                </a:lnTo>
                <a:lnTo>
                  <a:pt x="704" y="593"/>
                </a:lnTo>
                <a:lnTo>
                  <a:pt x="701" y="596"/>
                </a:lnTo>
                <a:lnTo>
                  <a:pt x="701" y="596"/>
                </a:lnTo>
                <a:lnTo>
                  <a:pt x="701" y="596"/>
                </a:lnTo>
                <a:close/>
                <a:moveTo>
                  <a:pt x="706" y="598"/>
                </a:moveTo>
                <a:lnTo>
                  <a:pt x="706" y="598"/>
                </a:lnTo>
                <a:lnTo>
                  <a:pt x="708" y="593"/>
                </a:lnTo>
                <a:lnTo>
                  <a:pt x="708" y="593"/>
                </a:lnTo>
                <a:lnTo>
                  <a:pt x="708" y="591"/>
                </a:lnTo>
                <a:lnTo>
                  <a:pt x="708" y="591"/>
                </a:lnTo>
                <a:lnTo>
                  <a:pt x="706" y="588"/>
                </a:lnTo>
                <a:lnTo>
                  <a:pt x="706" y="588"/>
                </a:lnTo>
                <a:lnTo>
                  <a:pt x="706" y="586"/>
                </a:lnTo>
                <a:lnTo>
                  <a:pt x="706" y="586"/>
                </a:lnTo>
                <a:lnTo>
                  <a:pt x="711" y="586"/>
                </a:lnTo>
                <a:lnTo>
                  <a:pt x="711" y="586"/>
                </a:lnTo>
                <a:lnTo>
                  <a:pt x="711" y="591"/>
                </a:lnTo>
                <a:lnTo>
                  <a:pt x="711" y="591"/>
                </a:lnTo>
                <a:lnTo>
                  <a:pt x="711" y="593"/>
                </a:lnTo>
                <a:lnTo>
                  <a:pt x="711" y="593"/>
                </a:lnTo>
                <a:lnTo>
                  <a:pt x="708" y="596"/>
                </a:lnTo>
                <a:lnTo>
                  <a:pt x="708" y="596"/>
                </a:lnTo>
                <a:lnTo>
                  <a:pt x="711" y="596"/>
                </a:lnTo>
                <a:lnTo>
                  <a:pt x="711" y="596"/>
                </a:lnTo>
                <a:lnTo>
                  <a:pt x="711" y="596"/>
                </a:lnTo>
                <a:lnTo>
                  <a:pt x="716" y="598"/>
                </a:lnTo>
                <a:lnTo>
                  <a:pt x="716" y="598"/>
                </a:lnTo>
                <a:lnTo>
                  <a:pt x="716" y="603"/>
                </a:lnTo>
                <a:lnTo>
                  <a:pt x="716" y="603"/>
                </a:lnTo>
                <a:lnTo>
                  <a:pt x="713" y="603"/>
                </a:lnTo>
                <a:lnTo>
                  <a:pt x="713" y="603"/>
                </a:lnTo>
                <a:lnTo>
                  <a:pt x="716" y="605"/>
                </a:lnTo>
                <a:lnTo>
                  <a:pt x="716" y="605"/>
                </a:lnTo>
                <a:lnTo>
                  <a:pt x="716" y="608"/>
                </a:lnTo>
                <a:lnTo>
                  <a:pt x="716" y="608"/>
                </a:lnTo>
                <a:lnTo>
                  <a:pt x="713" y="608"/>
                </a:lnTo>
                <a:lnTo>
                  <a:pt x="713" y="608"/>
                </a:lnTo>
                <a:lnTo>
                  <a:pt x="713" y="608"/>
                </a:lnTo>
                <a:lnTo>
                  <a:pt x="711" y="610"/>
                </a:lnTo>
                <a:lnTo>
                  <a:pt x="711" y="610"/>
                </a:lnTo>
                <a:lnTo>
                  <a:pt x="716" y="613"/>
                </a:lnTo>
                <a:lnTo>
                  <a:pt x="716" y="613"/>
                </a:lnTo>
                <a:lnTo>
                  <a:pt x="716" y="615"/>
                </a:lnTo>
                <a:lnTo>
                  <a:pt x="716" y="615"/>
                </a:lnTo>
                <a:lnTo>
                  <a:pt x="713" y="618"/>
                </a:lnTo>
                <a:lnTo>
                  <a:pt x="713" y="618"/>
                </a:lnTo>
                <a:lnTo>
                  <a:pt x="713" y="618"/>
                </a:lnTo>
                <a:lnTo>
                  <a:pt x="716" y="618"/>
                </a:lnTo>
                <a:lnTo>
                  <a:pt x="716" y="618"/>
                </a:lnTo>
                <a:lnTo>
                  <a:pt x="716" y="618"/>
                </a:lnTo>
                <a:lnTo>
                  <a:pt x="716" y="620"/>
                </a:lnTo>
                <a:lnTo>
                  <a:pt x="716" y="620"/>
                </a:lnTo>
                <a:lnTo>
                  <a:pt x="713" y="623"/>
                </a:lnTo>
                <a:lnTo>
                  <a:pt x="713" y="623"/>
                </a:lnTo>
                <a:lnTo>
                  <a:pt x="711" y="623"/>
                </a:lnTo>
                <a:lnTo>
                  <a:pt x="711" y="623"/>
                </a:lnTo>
                <a:lnTo>
                  <a:pt x="711" y="625"/>
                </a:lnTo>
                <a:lnTo>
                  <a:pt x="711" y="625"/>
                </a:lnTo>
                <a:lnTo>
                  <a:pt x="711" y="625"/>
                </a:lnTo>
                <a:lnTo>
                  <a:pt x="713" y="628"/>
                </a:lnTo>
                <a:lnTo>
                  <a:pt x="713" y="628"/>
                </a:lnTo>
                <a:lnTo>
                  <a:pt x="711" y="628"/>
                </a:lnTo>
                <a:lnTo>
                  <a:pt x="711" y="628"/>
                </a:lnTo>
                <a:lnTo>
                  <a:pt x="713" y="630"/>
                </a:lnTo>
                <a:lnTo>
                  <a:pt x="713" y="630"/>
                </a:lnTo>
                <a:lnTo>
                  <a:pt x="711" y="632"/>
                </a:lnTo>
                <a:lnTo>
                  <a:pt x="711" y="632"/>
                </a:lnTo>
                <a:lnTo>
                  <a:pt x="708" y="632"/>
                </a:lnTo>
                <a:lnTo>
                  <a:pt x="708" y="632"/>
                </a:lnTo>
                <a:lnTo>
                  <a:pt x="706" y="630"/>
                </a:lnTo>
                <a:lnTo>
                  <a:pt x="706" y="630"/>
                </a:lnTo>
                <a:lnTo>
                  <a:pt x="708" y="628"/>
                </a:lnTo>
                <a:lnTo>
                  <a:pt x="708" y="628"/>
                </a:lnTo>
                <a:lnTo>
                  <a:pt x="706" y="625"/>
                </a:lnTo>
                <a:lnTo>
                  <a:pt x="706" y="625"/>
                </a:lnTo>
                <a:lnTo>
                  <a:pt x="706" y="625"/>
                </a:lnTo>
                <a:lnTo>
                  <a:pt x="708" y="623"/>
                </a:lnTo>
                <a:lnTo>
                  <a:pt x="708" y="623"/>
                </a:lnTo>
                <a:lnTo>
                  <a:pt x="706" y="620"/>
                </a:lnTo>
                <a:lnTo>
                  <a:pt x="706" y="620"/>
                </a:lnTo>
                <a:lnTo>
                  <a:pt x="706" y="618"/>
                </a:lnTo>
                <a:lnTo>
                  <a:pt x="706" y="618"/>
                </a:lnTo>
                <a:lnTo>
                  <a:pt x="708" y="618"/>
                </a:lnTo>
                <a:lnTo>
                  <a:pt x="708" y="618"/>
                </a:lnTo>
                <a:lnTo>
                  <a:pt x="708" y="615"/>
                </a:lnTo>
                <a:lnTo>
                  <a:pt x="708" y="615"/>
                </a:lnTo>
                <a:lnTo>
                  <a:pt x="706" y="615"/>
                </a:lnTo>
                <a:lnTo>
                  <a:pt x="706" y="615"/>
                </a:lnTo>
                <a:lnTo>
                  <a:pt x="704" y="618"/>
                </a:lnTo>
                <a:lnTo>
                  <a:pt x="704" y="618"/>
                </a:lnTo>
                <a:lnTo>
                  <a:pt x="704" y="615"/>
                </a:lnTo>
                <a:lnTo>
                  <a:pt x="704" y="615"/>
                </a:lnTo>
                <a:lnTo>
                  <a:pt x="701" y="615"/>
                </a:lnTo>
                <a:lnTo>
                  <a:pt x="701" y="615"/>
                </a:lnTo>
                <a:lnTo>
                  <a:pt x="701" y="615"/>
                </a:lnTo>
                <a:lnTo>
                  <a:pt x="701" y="613"/>
                </a:lnTo>
                <a:lnTo>
                  <a:pt x="701" y="613"/>
                </a:lnTo>
                <a:lnTo>
                  <a:pt x="704" y="613"/>
                </a:lnTo>
                <a:lnTo>
                  <a:pt x="704" y="613"/>
                </a:lnTo>
                <a:lnTo>
                  <a:pt x="704" y="610"/>
                </a:lnTo>
                <a:lnTo>
                  <a:pt x="704" y="610"/>
                </a:lnTo>
                <a:lnTo>
                  <a:pt x="704" y="610"/>
                </a:lnTo>
                <a:lnTo>
                  <a:pt x="706" y="608"/>
                </a:lnTo>
                <a:lnTo>
                  <a:pt x="706" y="608"/>
                </a:lnTo>
                <a:lnTo>
                  <a:pt x="706" y="605"/>
                </a:lnTo>
                <a:lnTo>
                  <a:pt x="706" y="605"/>
                </a:lnTo>
                <a:lnTo>
                  <a:pt x="706" y="605"/>
                </a:lnTo>
                <a:lnTo>
                  <a:pt x="704" y="605"/>
                </a:lnTo>
                <a:lnTo>
                  <a:pt x="704" y="605"/>
                </a:lnTo>
                <a:lnTo>
                  <a:pt x="704" y="605"/>
                </a:lnTo>
                <a:lnTo>
                  <a:pt x="704" y="603"/>
                </a:lnTo>
                <a:lnTo>
                  <a:pt x="704" y="603"/>
                </a:lnTo>
                <a:lnTo>
                  <a:pt x="706" y="603"/>
                </a:lnTo>
                <a:lnTo>
                  <a:pt x="706" y="603"/>
                </a:lnTo>
                <a:lnTo>
                  <a:pt x="706" y="601"/>
                </a:lnTo>
                <a:lnTo>
                  <a:pt x="706" y="601"/>
                </a:lnTo>
                <a:lnTo>
                  <a:pt x="706" y="598"/>
                </a:lnTo>
                <a:lnTo>
                  <a:pt x="706" y="598"/>
                </a:lnTo>
                <a:close/>
                <a:moveTo>
                  <a:pt x="726" y="596"/>
                </a:moveTo>
                <a:lnTo>
                  <a:pt x="726" y="596"/>
                </a:lnTo>
                <a:lnTo>
                  <a:pt x="723" y="593"/>
                </a:lnTo>
                <a:lnTo>
                  <a:pt x="723" y="593"/>
                </a:lnTo>
                <a:lnTo>
                  <a:pt x="726" y="591"/>
                </a:lnTo>
                <a:lnTo>
                  <a:pt x="726" y="591"/>
                </a:lnTo>
                <a:lnTo>
                  <a:pt x="726" y="588"/>
                </a:lnTo>
                <a:lnTo>
                  <a:pt x="726" y="588"/>
                </a:lnTo>
                <a:lnTo>
                  <a:pt x="728" y="588"/>
                </a:lnTo>
                <a:lnTo>
                  <a:pt x="728" y="588"/>
                </a:lnTo>
                <a:lnTo>
                  <a:pt x="728" y="593"/>
                </a:lnTo>
                <a:lnTo>
                  <a:pt x="728" y="593"/>
                </a:lnTo>
                <a:lnTo>
                  <a:pt x="726" y="596"/>
                </a:lnTo>
                <a:lnTo>
                  <a:pt x="726" y="596"/>
                </a:lnTo>
                <a:close/>
                <a:moveTo>
                  <a:pt x="718" y="598"/>
                </a:moveTo>
                <a:lnTo>
                  <a:pt x="718" y="598"/>
                </a:lnTo>
                <a:lnTo>
                  <a:pt x="721" y="593"/>
                </a:lnTo>
                <a:lnTo>
                  <a:pt x="721" y="593"/>
                </a:lnTo>
                <a:lnTo>
                  <a:pt x="723" y="593"/>
                </a:lnTo>
                <a:lnTo>
                  <a:pt x="723" y="593"/>
                </a:lnTo>
                <a:lnTo>
                  <a:pt x="723" y="598"/>
                </a:lnTo>
                <a:lnTo>
                  <a:pt x="723" y="598"/>
                </a:lnTo>
                <a:lnTo>
                  <a:pt x="721" y="598"/>
                </a:lnTo>
                <a:lnTo>
                  <a:pt x="721" y="598"/>
                </a:lnTo>
                <a:lnTo>
                  <a:pt x="718" y="598"/>
                </a:lnTo>
                <a:lnTo>
                  <a:pt x="718" y="598"/>
                </a:lnTo>
                <a:close/>
                <a:moveTo>
                  <a:pt x="718" y="596"/>
                </a:moveTo>
                <a:lnTo>
                  <a:pt x="718" y="596"/>
                </a:lnTo>
                <a:lnTo>
                  <a:pt x="718" y="593"/>
                </a:lnTo>
                <a:lnTo>
                  <a:pt x="718" y="593"/>
                </a:lnTo>
                <a:lnTo>
                  <a:pt x="723" y="588"/>
                </a:lnTo>
                <a:lnTo>
                  <a:pt x="723" y="588"/>
                </a:lnTo>
                <a:lnTo>
                  <a:pt x="723" y="591"/>
                </a:lnTo>
                <a:lnTo>
                  <a:pt x="723" y="591"/>
                </a:lnTo>
                <a:lnTo>
                  <a:pt x="721" y="593"/>
                </a:lnTo>
                <a:lnTo>
                  <a:pt x="721" y="593"/>
                </a:lnTo>
                <a:lnTo>
                  <a:pt x="718" y="596"/>
                </a:lnTo>
                <a:lnTo>
                  <a:pt x="718" y="596"/>
                </a:lnTo>
                <a:lnTo>
                  <a:pt x="718" y="596"/>
                </a:lnTo>
                <a:close/>
                <a:moveTo>
                  <a:pt x="713" y="588"/>
                </a:moveTo>
                <a:lnTo>
                  <a:pt x="713" y="588"/>
                </a:lnTo>
                <a:lnTo>
                  <a:pt x="716" y="586"/>
                </a:lnTo>
                <a:lnTo>
                  <a:pt x="716" y="586"/>
                </a:lnTo>
                <a:lnTo>
                  <a:pt x="721" y="586"/>
                </a:lnTo>
                <a:lnTo>
                  <a:pt x="721" y="586"/>
                </a:lnTo>
                <a:lnTo>
                  <a:pt x="721" y="588"/>
                </a:lnTo>
                <a:lnTo>
                  <a:pt x="721" y="588"/>
                </a:lnTo>
                <a:lnTo>
                  <a:pt x="718" y="591"/>
                </a:lnTo>
                <a:lnTo>
                  <a:pt x="718" y="591"/>
                </a:lnTo>
                <a:lnTo>
                  <a:pt x="716" y="591"/>
                </a:lnTo>
                <a:lnTo>
                  <a:pt x="716" y="591"/>
                </a:lnTo>
                <a:lnTo>
                  <a:pt x="713" y="588"/>
                </a:lnTo>
                <a:lnTo>
                  <a:pt x="713" y="588"/>
                </a:lnTo>
                <a:close/>
                <a:moveTo>
                  <a:pt x="718" y="581"/>
                </a:moveTo>
                <a:lnTo>
                  <a:pt x="718" y="581"/>
                </a:lnTo>
                <a:lnTo>
                  <a:pt x="721" y="576"/>
                </a:lnTo>
                <a:lnTo>
                  <a:pt x="721" y="576"/>
                </a:lnTo>
                <a:lnTo>
                  <a:pt x="723" y="573"/>
                </a:lnTo>
                <a:lnTo>
                  <a:pt x="723" y="573"/>
                </a:lnTo>
                <a:lnTo>
                  <a:pt x="726" y="578"/>
                </a:lnTo>
                <a:lnTo>
                  <a:pt x="726" y="578"/>
                </a:lnTo>
                <a:lnTo>
                  <a:pt x="723" y="581"/>
                </a:lnTo>
                <a:lnTo>
                  <a:pt x="723" y="581"/>
                </a:lnTo>
                <a:lnTo>
                  <a:pt x="718" y="583"/>
                </a:lnTo>
                <a:lnTo>
                  <a:pt x="718" y="583"/>
                </a:lnTo>
                <a:lnTo>
                  <a:pt x="718" y="581"/>
                </a:lnTo>
                <a:lnTo>
                  <a:pt x="718" y="581"/>
                </a:lnTo>
                <a:lnTo>
                  <a:pt x="718" y="581"/>
                </a:lnTo>
                <a:close/>
                <a:moveTo>
                  <a:pt x="708" y="583"/>
                </a:moveTo>
                <a:lnTo>
                  <a:pt x="708" y="583"/>
                </a:lnTo>
                <a:lnTo>
                  <a:pt x="708" y="581"/>
                </a:lnTo>
                <a:lnTo>
                  <a:pt x="708" y="581"/>
                </a:lnTo>
                <a:lnTo>
                  <a:pt x="711" y="573"/>
                </a:lnTo>
                <a:lnTo>
                  <a:pt x="711" y="573"/>
                </a:lnTo>
                <a:lnTo>
                  <a:pt x="711" y="571"/>
                </a:lnTo>
                <a:lnTo>
                  <a:pt x="711" y="571"/>
                </a:lnTo>
                <a:lnTo>
                  <a:pt x="708" y="569"/>
                </a:lnTo>
                <a:lnTo>
                  <a:pt x="708" y="569"/>
                </a:lnTo>
                <a:lnTo>
                  <a:pt x="708" y="566"/>
                </a:lnTo>
                <a:lnTo>
                  <a:pt x="708" y="566"/>
                </a:lnTo>
                <a:lnTo>
                  <a:pt x="708" y="566"/>
                </a:lnTo>
                <a:lnTo>
                  <a:pt x="708" y="564"/>
                </a:lnTo>
                <a:lnTo>
                  <a:pt x="708" y="564"/>
                </a:lnTo>
                <a:lnTo>
                  <a:pt x="713" y="564"/>
                </a:lnTo>
                <a:lnTo>
                  <a:pt x="713" y="564"/>
                </a:lnTo>
                <a:lnTo>
                  <a:pt x="716" y="566"/>
                </a:lnTo>
                <a:lnTo>
                  <a:pt x="716" y="566"/>
                </a:lnTo>
                <a:lnTo>
                  <a:pt x="718" y="566"/>
                </a:lnTo>
                <a:lnTo>
                  <a:pt x="718" y="566"/>
                </a:lnTo>
                <a:lnTo>
                  <a:pt x="721" y="569"/>
                </a:lnTo>
                <a:lnTo>
                  <a:pt x="721" y="569"/>
                </a:lnTo>
                <a:lnTo>
                  <a:pt x="721" y="573"/>
                </a:lnTo>
                <a:lnTo>
                  <a:pt x="721" y="573"/>
                </a:lnTo>
                <a:lnTo>
                  <a:pt x="718" y="578"/>
                </a:lnTo>
                <a:lnTo>
                  <a:pt x="718" y="578"/>
                </a:lnTo>
                <a:lnTo>
                  <a:pt x="716" y="578"/>
                </a:lnTo>
                <a:lnTo>
                  <a:pt x="716" y="578"/>
                </a:lnTo>
                <a:lnTo>
                  <a:pt x="716" y="573"/>
                </a:lnTo>
                <a:lnTo>
                  <a:pt x="716" y="573"/>
                </a:lnTo>
                <a:lnTo>
                  <a:pt x="716" y="573"/>
                </a:lnTo>
                <a:lnTo>
                  <a:pt x="716" y="578"/>
                </a:lnTo>
                <a:lnTo>
                  <a:pt x="716" y="578"/>
                </a:lnTo>
                <a:lnTo>
                  <a:pt x="713" y="578"/>
                </a:lnTo>
                <a:lnTo>
                  <a:pt x="713" y="578"/>
                </a:lnTo>
                <a:lnTo>
                  <a:pt x="716" y="581"/>
                </a:lnTo>
                <a:lnTo>
                  <a:pt x="716" y="581"/>
                </a:lnTo>
                <a:lnTo>
                  <a:pt x="713" y="583"/>
                </a:lnTo>
                <a:lnTo>
                  <a:pt x="713" y="583"/>
                </a:lnTo>
                <a:lnTo>
                  <a:pt x="711" y="581"/>
                </a:lnTo>
                <a:lnTo>
                  <a:pt x="711" y="581"/>
                </a:lnTo>
                <a:lnTo>
                  <a:pt x="711" y="583"/>
                </a:lnTo>
                <a:lnTo>
                  <a:pt x="711" y="583"/>
                </a:lnTo>
                <a:lnTo>
                  <a:pt x="708" y="583"/>
                </a:lnTo>
                <a:lnTo>
                  <a:pt x="708" y="583"/>
                </a:lnTo>
                <a:close/>
                <a:moveTo>
                  <a:pt x="701" y="578"/>
                </a:moveTo>
                <a:lnTo>
                  <a:pt x="701" y="578"/>
                </a:lnTo>
                <a:lnTo>
                  <a:pt x="699" y="578"/>
                </a:lnTo>
                <a:lnTo>
                  <a:pt x="699" y="578"/>
                </a:lnTo>
                <a:lnTo>
                  <a:pt x="701" y="573"/>
                </a:lnTo>
                <a:lnTo>
                  <a:pt x="701" y="573"/>
                </a:lnTo>
                <a:lnTo>
                  <a:pt x="699" y="573"/>
                </a:lnTo>
                <a:lnTo>
                  <a:pt x="699" y="573"/>
                </a:lnTo>
                <a:lnTo>
                  <a:pt x="699" y="571"/>
                </a:lnTo>
                <a:lnTo>
                  <a:pt x="699" y="571"/>
                </a:lnTo>
                <a:lnTo>
                  <a:pt x="701" y="569"/>
                </a:lnTo>
                <a:lnTo>
                  <a:pt x="701" y="569"/>
                </a:lnTo>
                <a:lnTo>
                  <a:pt x="704" y="569"/>
                </a:lnTo>
                <a:lnTo>
                  <a:pt x="704" y="569"/>
                </a:lnTo>
                <a:lnTo>
                  <a:pt x="704" y="566"/>
                </a:lnTo>
                <a:lnTo>
                  <a:pt x="704" y="566"/>
                </a:lnTo>
                <a:lnTo>
                  <a:pt x="704" y="566"/>
                </a:lnTo>
                <a:lnTo>
                  <a:pt x="706" y="569"/>
                </a:lnTo>
                <a:lnTo>
                  <a:pt x="706" y="569"/>
                </a:lnTo>
                <a:lnTo>
                  <a:pt x="706" y="571"/>
                </a:lnTo>
                <a:lnTo>
                  <a:pt x="706" y="571"/>
                </a:lnTo>
                <a:lnTo>
                  <a:pt x="706" y="573"/>
                </a:lnTo>
                <a:lnTo>
                  <a:pt x="706" y="573"/>
                </a:lnTo>
                <a:lnTo>
                  <a:pt x="708" y="573"/>
                </a:lnTo>
                <a:lnTo>
                  <a:pt x="708" y="573"/>
                </a:lnTo>
                <a:lnTo>
                  <a:pt x="708" y="573"/>
                </a:lnTo>
                <a:lnTo>
                  <a:pt x="706" y="581"/>
                </a:lnTo>
                <a:lnTo>
                  <a:pt x="706" y="581"/>
                </a:lnTo>
                <a:lnTo>
                  <a:pt x="701" y="586"/>
                </a:lnTo>
                <a:lnTo>
                  <a:pt x="701" y="586"/>
                </a:lnTo>
                <a:lnTo>
                  <a:pt x="701" y="588"/>
                </a:lnTo>
                <a:lnTo>
                  <a:pt x="701" y="588"/>
                </a:lnTo>
                <a:lnTo>
                  <a:pt x="701" y="591"/>
                </a:lnTo>
                <a:lnTo>
                  <a:pt x="701" y="591"/>
                </a:lnTo>
                <a:lnTo>
                  <a:pt x="696" y="591"/>
                </a:lnTo>
                <a:lnTo>
                  <a:pt x="696" y="591"/>
                </a:lnTo>
                <a:lnTo>
                  <a:pt x="699" y="588"/>
                </a:lnTo>
                <a:lnTo>
                  <a:pt x="699" y="588"/>
                </a:lnTo>
                <a:lnTo>
                  <a:pt x="696" y="586"/>
                </a:lnTo>
                <a:lnTo>
                  <a:pt x="696" y="586"/>
                </a:lnTo>
                <a:lnTo>
                  <a:pt x="696" y="591"/>
                </a:lnTo>
                <a:lnTo>
                  <a:pt x="696" y="591"/>
                </a:lnTo>
                <a:lnTo>
                  <a:pt x="694" y="591"/>
                </a:lnTo>
                <a:lnTo>
                  <a:pt x="694" y="591"/>
                </a:lnTo>
                <a:lnTo>
                  <a:pt x="694" y="588"/>
                </a:lnTo>
                <a:lnTo>
                  <a:pt x="694" y="588"/>
                </a:lnTo>
                <a:lnTo>
                  <a:pt x="696" y="586"/>
                </a:lnTo>
                <a:lnTo>
                  <a:pt x="696" y="586"/>
                </a:lnTo>
                <a:lnTo>
                  <a:pt x="696" y="583"/>
                </a:lnTo>
                <a:lnTo>
                  <a:pt x="696" y="583"/>
                </a:lnTo>
                <a:lnTo>
                  <a:pt x="696" y="581"/>
                </a:lnTo>
                <a:lnTo>
                  <a:pt x="696" y="581"/>
                </a:lnTo>
                <a:lnTo>
                  <a:pt x="699" y="583"/>
                </a:lnTo>
                <a:lnTo>
                  <a:pt x="699" y="583"/>
                </a:lnTo>
                <a:lnTo>
                  <a:pt x="701" y="581"/>
                </a:lnTo>
                <a:lnTo>
                  <a:pt x="701" y="581"/>
                </a:lnTo>
                <a:lnTo>
                  <a:pt x="701" y="578"/>
                </a:lnTo>
                <a:lnTo>
                  <a:pt x="701" y="578"/>
                </a:lnTo>
                <a:close/>
                <a:moveTo>
                  <a:pt x="699" y="551"/>
                </a:moveTo>
                <a:lnTo>
                  <a:pt x="699" y="551"/>
                </a:lnTo>
                <a:lnTo>
                  <a:pt x="701" y="554"/>
                </a:lnTo>
                <a:lnTo>
                  <a:pt x="701" y="554"/>
                </a:lnTo>
                <a:lnTo>
                  <a:pt x="699" y="554"/>
                </a:lnTo>
                <a:lnTo>
                  <a:pt x="699" y="554"/>
                </a:lnTo>
                <a:lnTo>
                  <a:pt x="699" y="551"/>
                </a:lnTo>
                <a:lnTo>
                  <a:pt x="699" y="551"/>
                </a:lnTo>
                <a:close/>
                <a:moveTo>
                  <a:pt x="691" y="554"/>
                </a:moveTo>
                <a:lnTo>
                  <a:pt x="691" y="554"/>
                </a:lnTo>
                <a:lnTo>
                  <a:pt x="694" y="551"/>
                </a:lnTo>
                <a:lnTo>
                  <a:pt x="694" y="551"/>
                </a:lnTo>
                <a:lnTo>
                  <a:pt x="696" y="551"/>
                </a:lnTo>
                <a:lnTo>
                  <a:pt x="696" y="551"/>
                </a:lnTo>
                <a:lnTo>
                  <a:pt x="696" y="551"/>
                </a:lnTo>
                <a:lnTo>
                  <a:pt x="699" y="556"/>
                </a:lnTo>
                <a:lnTo>
                  <a:pt x="699" y="556"/>
                </a:lnTo>
                <a:lnTo>
                  <a:pt x="699" y="561"/>
                </a:lnTo>
                <a:lnTo>
                  <a:pt x="699" y="561"/>
                </a:lnTo>
                <a:lnTo>
                  <a:pt x="696" y="566"/>
                </a:lnTo>
                <a:lnTo>
                  <a:pt x="696" y="566"/>
                </a:lnTo>
                <a:lnTo>
                  <a:pt x="696" y="566"/>
                </a:lnTo>
                <a:lnTo>
                  <a:pt x="696" y="573"/>
                </a:lnTo>
                <a:lnTo>
                  <a:pt x="696" y="573"/>
                </a:lnTo>
                <a:lnTo>
                  <a:pt x="694" y="573"/>
                </a:lnTo>
                <a:lnTo>
                  <a:pt x="694" y="573"/>
                </a:lnTo>
                <a:lnTo>
                  <a:pt x="691" y="578"/>
                </a:lnTo>
                <a:lnTo>
                  <a:pt x="691" y="578"/>
                </a:lnTo>
                <a:lnTo>
                  <a:pt x="691" y="583"/>
                </a:lnTo>
                <a:lnTo>
                  <a:pt x="691" y="583"/>
                </a:lnTo>
                <a:lnTo>
                  <a:pt x="691" y="586"/>
                </a:lnTo>
                <a:lnTo>
                  <a:pt x="691" y="586"/>
                </a:lnTo>
                <a:lnTo>
                  <a:pt x="689" y="586"/>
                </a:lnTo>
                <a:lnTo>
                  <a:pt x="689" y="586"/>
                </a:lnTo>
                <a:lnTo>
                  <a:pt x="689" y="583"/>
                </a:lnTo>
                <a:lnTo>
                  <a:pt x="689" y="583"/>
                </a:lnTo>
                <a:lnTo>
                  <a:pt x="689" y="581"/>
                </a:lnTo>
                <a:lnTo>
                  <a:pt x="689" y="581"/>
                </a:lnTo>
                <a:lnTo>
                  <a:pt x="689" y="581"/>
                </a:lnTo>
                <a:lnTo>
                  <a:pt x="686" y="576"/>
                </a:lnTo>
                <a:lnTo>
                  <a:pt x="686" y="576"/>
                </a:lnTo>
                <a:lnTo>
                  <a:pt x="689" y="573"/>
                </a:lnTo>
                <a:lnTo>
                  <a:pt x="689" y="573"/>
                </a:lnTo>
                <a:lnTo>
                  <a:pt x="691" y="573"/>
                </a:lnTo>
                <a:lnTo>
                  <a:pt x="691" y="573"/>
                </a:lnTo>
                <a:lnTo>
                  <a:pt x="691" y="571"/>
                </a:lnTo>
                <a:lnTo>
                  <a:pt x="691" y="571"/>
                </a:lnTo>
                <a:lnTo>
                  <a:pt x="691" y="571"/>
                </a:lnTo>
                <a:lnTo>
                  <a:pt x="691" y="571"/>
                </a:lnTo>
                <a:lnTo>
                  <a:pt x="689" y="571"/>
                </a:lnTo>
                <a:lnTo>
                  <a:pt x="689" y="571"/>
                </a:lnTo>
                <a:lnTo>
                  <a:pt x="689" y="569"/>
                </a:lnTo>
                <a:lnTo>
                  <a:pt x="689" y="569"/>
                </a:lnTo>
                <a:lnTo>
                  <a:pt x="689" y="569"/>
                </a:lnTo>
                <a:lnTo>
                  <a:pt x="691" y="566"/>
                </a:lnTo>
                <a:lnTo>
                  <a:pt x="691" y="566"/>
                </a:lnTo>
                <a:lnTo>
                  <a:pt x="686" y="566"/>
                </a:lnTo>
                <a:lnTo>
                  <a:pt x="686" y="566"/>
                </a:lnTo>
                <a:lnTo>
                  <a:pt x="686" y="564"/>
                </a:lnTo>
                <a:lnTo>
                  <a:pt x="686" y="564"/>
                </a:lnTo>
                <a:lnTo>
                  <a:pt x="689" y="564"/>
                </a:lnTo>
                <a:lnTo>
                  <a:pt x="689" y="564"/>
                </a:lnTo>
                <a:lnTo>
                  <a:pt x="691" y="561"/>
                </a:lnTo>
                <a:lnTo>
                  <a:pt x="691" y="561"/>
                </a:lnTo>
                <a:lnTo>
                  <a:pt x="691" y="559"/>
                </a:lnTo>
                <a:lnTo>
                  <a:pt x="691" y="559"/>
                </a:lnTo>
                <a:lnTo>
                  <a:pt x="694" y="556"/>
                </a:lnTo>
                <a:lnTo>
                  <a:pt x="694" y="556"/>
                </a:lnTo>
                <a:lnTo>
                  <a:pt x="691" y="556"/>
                </a:lnTo>
                <a:lnTo>
                  <a:pt x="691" y="556"/>
                </a:lnTo>
                <a:lnTo>
                  <a:pt x="691" y="554"/>
                </a:lnTo>
                <a:lnTo>
                  <a:pt x="691" y="554"/>
                </a:lnTo>
                <a:close/>
                <a:moveTo>
                  <a:pt x="686" y="554"/>
                </a:moveTo>
                <a:lnTo>
                  <a:pt x="686" y="554"/>
                </a:lnTo>
                <a:lnTo>
                  <a:pt x="686" y="551"/>
                </a:lnTo>
                <a:lnTo>
                  <a:pt x="686" y="551"/>
                </a:lnTo>
                <a:lnTo>
                  <a:pt x="689" y="554"/>
                </a:lnTo>
                <a:lnTo>
                  <a:pt x="689" y="554"/>
                </a:lnTo>
                <a:lnTo>
                  <a:pt x="686" y="556"/>
                </a:lnTo>
                <a:lnTo>
                  <a:pt x="686" y="556"/>
                </a:lnTo>
                <a:lnTo>
                  <a:pt x="686" y="561"/>
                </a:lnTo>
                <a:lnTo>
                  <a:pt x="686" y="561"/>
                </a:lnTo>
                <a:lnTo>
                  <a:pt x="684" y="561"/>
                </a:lnTo>
                <a:lnTo>
                  <a:pt x="684" y="561"/>
                </a:lnTo>
                <a:lnTo>
                  <a:pt x="684" y="559"/>
                </a:lnTo>
                <a:lnTo>
                  <a:pt x="684" y="559"/>
                </a:lnTo>
                <a:lnTo>
                  <a:pt x="686" y="556"/>
                </a:lnTo>
                <a:lnTo>
                  <a:pt x="686" y="556"/>
                </a:lnTo>
                <a:lnTo>
                  <a:pt x="684" y="556"/>
                </a:lnTo>
                <a:lnTo>
                  <a:pt x="684" y="556"/>
                </a:lnTo>
                <a:lnTo>
                  <a:pt x="686" y="554"/>
                </a:lnTo>
                <a:lnTo>
                  <a:pt x="686" y="554"/>
                </a:lnTo>
                <a:close/>
                <a:moveTo>
                  <a:pt x="701" y="561"/>
                </a:moveTo>
                <a:lnTo>
                  <a:pt x="701" y="561"/>
                </a:lnTo>
                <a:lnTo>
                  <a:pt x="701" y="559"/>
                </a:lnTo>
                <a:lnTo>
                  <a:pt x="701" y="559"/>
                </a:lnTo>
                <a:lnTo>
                  <a:pt x="701" y="554"/>
                </a:lnTo>
                <a:lnTo>
                  <a:pt x="701" y="554"/>
                </a:lnTo>
                <a:lnTo>
                  <a:pt x="704" y="554"/>
                </a:lnTo>
                <a:lnTo>
                  <a:pt x="704" y="554"/>
                </a:lnTo>
                <a:lnTo>
                  <a:pt x="708" y="554"/>
                </a:lnTo>
                <a:lnTo>
                  <a:pt x="708" y="554"/>
                </a:lnTo>
                <a:lnTo>
                  <a:pt x="706" y="551"/>
                </a:lnTo>
                <a:lnTo>
                  <a:pt x="706" y="551"/>
                </a:lnTo>
                <a:lnTo>
                  <a:pt x="708" y="549"/>
                </a:lnTo>
                <a:lnTo>
                  <a:pt x="708" y="549"/>
                </a:lnTo>
                <a:lnTo>
                  <a:pt x="706" y="546"/>
                </a:lnTo>
                <a:lnTo>
                  <a:pt x="706" y="546"/>
                </a:lnTo>
                <a:lnTo>
                  <a:pt x="706" y="541"/>
                </a:lnTo>
                <a:lnTo>
                  <a:pt x="706" y="541"/>
                </a:lnTo>
                <a:lnTo>
                  <a:pt x="708" y="539"/>
                </a:lnTo>
                <a:lnTo>
                  <a:pt x="708" y="539"/>
                </a:lnTo>
                <a:lnTo>
                  <a:pt x="708" y="529"/>
                </a:lnTo>
                <a:lnTo>
                  <a:pt x="708" y="529"/>
                </a:lnTo>
                <a:lnTo>
                  <a:pt x="711" y="524"/>
                </a:lnTo>
                <a:lnTo>
                  <a:pt x="711" y="524"/>
                </a:lnTo>
                <a:lnTo>
                  <a:pt x="713" y="527"/>
                </a:lnTo>
                <a:lnTo>
                  <a:pt x="713" y="527"/>
                </a:lnTo>
                <a:lnTo>
                  <a:pt x="713" y="529"/>
                </a:lnTo>
                <a:lnTo>
                  <a:pt x="713" y="529"/>
                </a:lnTo>
                <a:lnTo>
                  <a:pt x="716" y="532"/>
                </a:lnTo>
                <a:lnTo>
                  <a:pt x="716" y="532"/>
                </a:lnTo>
                <a:lnTo>
                  <a:pt x="718" y="534"/>
                </a:lnTo>
                <a:lnTo>
                  <a:pt x="718" y="534"/>
                </a:lnTo>
                <a:lnTo>
                  <a:pt x="718" y="546"/>
                </a:lnTo>
                <a:lnTo>
                  <a:pt x="718" y="546"/>
                </a:lnTo>
                <a:lnTo>
                  <a:pt x="718" y="549"/>
                </a:lnTo>
                <a:lnTo>
                  <a:pt x="718" y="549"/>
                </a:lnTo>
                <a:lnTo>
                  <a:pt x="716" y="549"/>
                </a:lnTo>
                <a:lnTo>
                  <a:pt x="716" y="549"/>
                </a:lnTo>
                <a:lnTo>
                  <a:pt x="716" y="541"/>
                </a:lnTo>
                <a:lnTo>
                  <a:pt x="716" y="541"/>
                </a:lnTo>
                <a:lnTo>
                  <a:pt x="716" y="537"/>
                </a:lnTo>
                <a:lnTo>
                  <a:pt x="716" y="537"/>
                </a:lnTo>
                <a:lnTo>
                  <a:pt x="713" y="539"/>
                </a:lnTo>
                <a:lnTo>
                  <a:pt x="713" y="539"/>
                </a:lnTo>
                <a:lnTo>
                  <a:pt x="713" y="549"/>
                </a:lnTo>
                <a:lnTo>
                  <a:pt x="713" y="549"/>
                </a:lnTo>
                <a:lnTo>
                  <a:pt x="713" y="551"/>
                </a:lnTo>
                <a:lnTo>
                  <a:pt x="713" y="551"/>
                </a:lnTo>
                <a:lnTo>
                  <a:pt x="713" y="554"/>
                </a:lnTo>
                <a:lnTo>
                  <a:pt x="713" y="554"/>
                </a:lnTo>
                <a:lnTo>
                  <a:pt x="711" y="554"/>
                </a:lnTo>
                <a:lnTo>
                  <a:pt x="711" y="554"/>
                </a:lnTo>
                <a:lnTo>
                  <a:pt x="708" y="554"/>
                </a:lnTo>
                <a:lnTo>
                  <a:pt x="708" y="554"/>
                </a:lnTo>
                <a:lnTo>
                  <a:pt x="708" y="559"/>
                </a:lnTo>
                <a:lnTo>
                  <a:pt x="708" y="559"/>
                </a:lnTo>
                <a:lnTo>
                  <a:pt x="704" y="561"/>
                </a:lnTo>
                <a:lnTo>
                  <a:pt x="704" y="561"/>
                </a:lnTo>
                <a:lnTo>
                  <a:pt x="701" y="564"/>
                </a:lnTo>
                <a:lnTo>
                  <a:pt x="701" y="564"/>
                </a:lnTo>
                <a:lnTo>
                  <a:pt x="701" y="561"/>
                </a:lnTo>
                <a:lnTo>
                  <a:pt x="701" y="561"/>
                </a:lnTo>
                <a:close/>
                <a:moveTo>
                  <a:pt x="691" y="527"/>
                </a:moveTo>
                <a:lnTo>
                  <a:pt x="691" y="527"/>
                </a:lnTo>
                <a:lnTo>
                  <a:pt x="696" y="524"/>
                </a:lnTo>
                <a:lnTo>
                  <a:pt x="696" y="524"/>
                </a:lnTo>
                <a:lnTo>
                  <a:pt x="699" y="527"/>
                </a:lnTo>
                <a:lnTo>
                  <a:pt x="699" y="527"/>
                </a:lnTo>
                <a:lnTo>
                  <a:pt x="699" y="529"/>
                </a:lnTo>
                <a:lnTo>
                  <a:pt x="699" y="529"/>
                </a:lnTo>
                <a:lnTo>
                  <a:pt x="699" y="532"/>
                </a:lnTo>
                <a:lnTo>
                  <a:pt x="699" y="532"/>
                </a:lnTo>
                <a:lnTo>
                  <a:pt x="699" y="534"/>
                </a:lnTo>
                <a:lnTo>
                  <a:pt x="699" y="534"/>
                </a:lnTo>
                <a:lnTo>
                  <a:pt x="701" y="532"/>
                </a:lnTo>
                <a:lnTo>
                  <a:pt x="701" y="532"/>
                </a:lnTo>
                <a:lnTo>
                  <a:pt x="704" y="529"/>
                </a:lnTo>
                <a:lnTo>
                  <a:pt x="704" y="529"/>
                </a:lnTo>
                <a:lnTo>
                  <a:pt x="706" y="534"/>
                </a:lnTo>
                <a:lnTo>
                  <a:pt x="706" y="534"/>
                </a:lnTo>
                <a:lnTo>
                  <a:pt x="706" y="534"/>
                </a:lnTo>
                <a:lnTo>
                  <a:pt x="704" y="537"/>
                </a:lnTo>
                <a:lnTo>
                  <a:pt x="704" y="537"/>
                </a:lnTo>
                <a:lnTo>
                  <a:pt x="704" y="539"/>
                </a:lnTo>
                <a:lnTo>
                  <a:pt x="704" y="539"/>
                </a:lnTo>
                <a:lnTo>
                  <a:pt x="704" y="539"/>
                </a:lnTo>
                <a:lnTo>
                  <a:pt x="701" y="539"/>
                </a:lnTo>
                <a:lnTo>
                  <a:pt x="701" y="539"/>
                </a:lnTo>
                <a:lnTo>
                  <a:pt x="699" y="537"/>
                </a:lnTo>
                <a:lnTo>
                  <a:pt x="699" y="537"/>
                </a:lnTo>
                <a:lnTo>
                  <a:pt x="694" y="532"/>
                </a:lnTo>
                <a:lnTo>
                  <a:pt x="694" y="532"/>
                </a:lnTo>
                <a:lnTo>
                  <a:pt x="694" y="534"/>
                </a:lnTo>
                <a:lnTo>
                  <a:pt x="694" y="534"/>
                </a:lnTo>
                <a:lnTo>
                  <a:pt x="699" y="539"/>
                </a:lnTo>
                <a:lnTo>
                  <a:pt x="699" y="539"/>
                </a:lnTo>
                <a:lnTo>
                  <a:pt x="699" y="541"/>
                </a:lnTo>
                <a:lnTo>
                  <a:pt x="699" y="541"/>
                </a:lnTo>
                <a:lnTo>
                  <a:pt x="701" y="541"/>
                </a:lnTo>
                <a:lnTo>
                  <a:pt x="701" y="541"/>
                </a:lnTo>
                <a:lnTo>
                  <a:pt x="704" y="544"/>
                </a:lnTo>
                <a:lnTo>
                  <a:pt x="704" y="544"/>
                </a:lnTo>
                <a:lnTo>
                  <a:pt x="701" y="546"/>
                </a:lnTo>
                <a:lnTo>
                  <a:pt x="701" y="546"/>
                </a:lnTo>
                <a:lnTo>
                  <a:pt x="701" y="551"/>
                </a:lnTo>
                <a:lnTo>
                  <a:pt x="701" y="551"/>
                </a:lnTo>
                <a:lnTo>
                  <a:pt x="699" y="551"/>
                </a:lnTo>
                <a:lnTo>
                  <a:pt x="699" y="551"/>
                </a:lnTo>
                <a:lnTo>
                  <a:pt x="696" y="546"/>
                </a:lnTo>
                <a:lnTo>
                  <a:pt x="696" y="546"/>
                </a:lnTo>
                <a:lnTo>
                  <a:pt x="696" y="544"/>
                </a:lnTo>
                <a:lnTo>
                  <a:pt x="696" y="544"/>
                </a:lnTo>
                <a:lnTo>
                  <a:pt x="691" y="537"/>
                </a:lnTo>
                <a:lnTo>
                  <a:pt x="691" y="537"/>
                </a:lnTo>
                <a:lnTo>
                  <a:pt x="691" y="541"/>
                </a:lnTo>
                <a:lnTo>
                  <a:pt x="691" y="541"/>
                </a:lnTo>
                <a:lnTo>
                  <a:pt x="694" y="544"/>
                </a:lnTo>
                <a:lnTo>
                  <a:pt x="694" y="544"/>
                </a:lnTo>
                <a:lnTo>
                  <a:pt x="694" y="549"/>
                </a:lnTo>
                <a:lnTo>
                  <a:pt x="694" y="549"/>
                </a:lnTo>
                <a:lnTo>
                  <a:pt x="691" y="551"/>
                </a:lnTo>
                <a:lnTo>
                  <a:pt x="691" y="551"/>
                </a:lnTo>
                <a:lnTo>
                  <a:pt x="689" y="551"/>
                </a:lnTo>
                <a:lnTo>
                  <a:pt x="689" y="551"/>
                </a:lnTo>
                <a:lnTo>
                  <a:pt x="686" y="546"/>
                </a:lnTo>
                <a:lnTo>
                  <a:pt x="686" y="546"/>
                </a:lnTo>
                <a:lnTo>
                  <a:pt x="689" y="544"/>
                </a:lnTo>
                <a:lnTo>
                  <a:pt x="689" y="544"/>
                </a:lnTo>
                <a:lnTo>
                  <a:pt x="686" y="544"/>
                </a:lnTo>
                <a:lnTo>
                  <a:pt x="686" y="544"/>
                </a:lnTo>
                <a:lnTo>
                  <a:pt x="686" y="541"/>
                </a:lnTo>
                <a:lnTo>
                  <a:pt x="686" y="541"/>
                </a:lnTo>
                <a:lnTo>
                  <a:pt x="684" y="537"/>
                </a:lnTo>
                <a:lnTo>
                  <a:pt x="684" y="537"/>
                </a:lnTo>
                <a:lnTo>
                  <a:pt x="686" y="534"/>
                </a:lnTo>
                <a:lnTo>
                  <a:pt x="686" y="534"/>
                </a:lnTo>
                <a:lnTo>
                  <a:pt x="689" y="534"/>
                </a:lnTo>
                <a:lnTo>
                  <a:pt x="689" y="534"/>
                </a:lnTo>
                <a:lnTo>
                  <a:pt x="689" y="534"/>
                </a:lnTo>
                <a:lnTo>
                  <a:pt x="689" y="532"/>
                </a:lnTo>
                <a:lnTo>
                  <a:pt x="689" y="532"/>
                </a:lnTo>
                <a:lnTo>
                  <a:pt x="686" y="529"/>
                </a:lnTo>
                <a:lnTo>
                  <a:pt x="686" y="529"/>
                </a:lnTo>
                <a:lnTo>
                  <a:pt x="689" y="524"/>
                </a:lnTo>
                <a:lnTo>
                  <a:pt x="689" y="524"/>
                </a:lnTo>
                <a:lnTo>
                  <a:pt x="691" y="529"/>
                </a:lnTo>
                <a:lnTo>
                  <a:pt x="691" y="529"/>
                </a:lnTo>
                <a:lnTo>
                  <a:pt x="691" y="527"/>
                </a:lnTo>
                <a:lnTo>
                  <a:pt x="691" y="527"/>
                </a:lnTo>
                <a:lnTo>
                  <a:pt x="691" y="527"/>
                </a:lnTo>
                <a:close/>
                <a:moveTo>
                  <a:pt x="694" y="522"/>
                </a:moveTo>
                <a:lnTo>
                  <a:pt x="694" y="522"/>
                </a:lnTo>
                <a:lnTo>
                  <a:pt x="696" y="519"/>
                </a:lnTo>
                <a:lnTo>
                  <a:pt x="696" y="519"/>
                </a:lnTo>
                <a:lnTo>
                  <a:pt x="696" y="522"/>
                </a:lnTo>
                <a:lnTo>
                  <a:pt x="696" y="522"/>
                </a:lnTo>
                <a:lnTo>
                  <a:pt x="694" y="524"/>
                </a:lnTo>
                <a:lnTo>
                  <a:pt x="694" y="524"/>
                </a:lnTo>
                <a:lnTo>
                  <a:pt x="694" y="522"/>
                </a:lnTo>
                <a:lnTo>
                  <a:pt x="694" y="522"/>
                </a:lnTo>
                <a:close/>
                <a:moveTo>
                  <a:pt x="231" y="332"/>
                </a:moveTo>
                <a:lnTo>
                  <a:pt x="231" y="332"/>
                </a:lnTo>
                <a:lnTo>
                  <a:pt x="231" y="330"/>
                </a:lnTo>
                <a:lnTo>
                  <a:pt x="231" y="330"/>
                </a:lnTo>
                <a:lnTo>
                  <a:pt x="231" y="330"/>
                </a:lnTo>
                <a:lnTo>
                  <a:pt x="234" y="332"/>
                </a:lnTo>
                <a:lnTo>
                  <a:pt x="234" y="332"/>
                </a:lnTo>
                <a:lnTo>
                  <a:pt x="231" y="332"/>
                </a:lnTo>
                <a:lnTo>
                  <a:pt x="231" y="332"/>
                </a:lnTo>
                <a:close/>
                <a:moveTo>
                  <a:pt x="231" y="335"/>
                </a:moveTo>
                <a:lnTo>
                  <a:pt x="231" y="335"/>
                </a:lnTo>
                <a:lnTo>
                  <a:pt x="231" y="335"/>
                </a:lnTo>
                <a:lnTo>
                  <a:pt x="231" y="337"/>
                </a:lnTo>
                <a:lnTo>
                  <a:pt x="231" y="337"/>
                </a:lnTo>
                <a:lnTo>
                  <a:pt x="236" y="342"/>
                </a:lnTo>
                <a:lnTo>
                  <a:pt x="236" y="342"/>
                </a:lnTo>
                <a:lnTo>
                  <a:pt x="236" y="345"/>
                </a:lnTo>
                <a:lnTo>
                  <a:pt x="236" y="345"/>
                </a:lnTo>
                <a:lnTo>
                  <a:pt x="231" y="340"/>
                </a:lnTo>
                <a:lnTo>
                  <a:pt x="231" y="340"/>
                </a:lnTo>
                <a:lnTo>
                  <a:pt x="229" y="337"/>
                </a:lnTo>
                <a:lnTo>
                  <a:pt x="229" y="337"/>
                </a:lnTo>
                <a:lnTo>
                  <a:pt x="229" y="335"/>
                </a:lnTo>
                <a:lnTo>
                  <a:pt x="231" y="335"/>
                </a:lnTo>
                <a:lnTo>
                  <a:pt x="231" y="335"/>
                </a:lnTo>
                <a:close/>
                <a:moveTo>
                  <a:pt x="391" y="281"/>
                </a:moveTo>
                <a:lnTo>
                  <a:pt x="391" y="281"/>
                </a:lnTo>
                <a:lnTo>
                  <a:pt x="389" y="286"/>
                </a:lnTo>
                <a:lnTo>
                  <a:pt x="389" y="286"/>
                </a:lnTo>
                <a:lnTo>
                  <a:pt x="389" y="293"/>
                </a:lnTo>
                <a:lnTo>
                  <a:pt x="389" y="293"/>
                </a:lnTo>
                <a:lnTo>
                  <a:pt x="386" y="291"/>
                </a:lnTo>
                <a:lnTo>
                  <a:pt x="386" y="291"/>
                </a:lnTo>
                <a:lnTo>
                  <a:pt x="386" y="288"/>
                </a:lnTo>
                <a:lnTo>
                  <a:pt x="386" y="288"/>
                </a:lnTo>
                <a:lnTo>
                  <a:pt x="384" y="288"/>
                </a:lnTo>
                <a:lnTo>
                  <a:pt x="384" y="288"/>
                </a:lnTo>
                <a:lnTo>
                  <a:pt x="381" y="288"/>
                </a:lnTo>
                <a:lnTo>
                  <a:pt x="381" y="288"/>
                </a:lnTo>
                <a:lnTo>
                  <a:pt x="379" y="286"/>
                </a:lnTo>
                <a:lnTo>
                  <a:pt x="379" y="286"/>
                </a:lnTo>
                <a:lnTo>
                  <a:pt x="379" y="286"/>
                </a:lnTo>
                <a:lnTo>
                  <a:pt x="386" y="276"/>
                </a:lnTo>
                <a:lnTo>
                  <a:pt x="386" y="276"/>
                </a:lnTo>
                <a:lnTo>
                  <a:pt x="389" y="273"/>
                </a:lnTo>
                <a:lnTo>
                  <a:pt x="389" y="273"/>
                </a:lnTo>
                <a:lnTo>
                  <a:pt x="391" y="276"/>
                </a:lnTo>
                <a:lnTo>
                  <a:pt x="391" y="276"/>
                </a:lnTo>
                <a:lnTo>
                  <a:pt x="391" y="281"/>
                </a:lnTo>
                <a:lnTo>
                  <a:pt x="391" y="281"/>
                </a:lnTo>
                <a:close/>
                <a:moveTo>
                  <a:pt x="394" y="281"/>
                </a:moveTo>
                <a:lnTo>
                  <a:pt x="396" y="281"/>
                </a:lnTo>
                <a:lnTo>
                  <a:pt x="396" y="281"/>
                </a:lnTo>
                <a:lnTo>
                  <a:pt x="396" y="278"/>
                </a:lnTo>
                <a:lnTo>
                  <a:pt x="396" y="278"/>
                </a:lnTo>
                <a:lnTo>
                  <a:pt x="394" y="276"/>
                </a:lnTo>
                <a:lnTo>
                  <a:pt x="394" y="276"/>
                </a:lnTo>
                <a:lnTo>
                  <a:pt x="394" y="273"/>
                </a:lnTo>
                <a:lnTo>
                  <a:pt x="394" y="273"/>
                </a:lnTo>
                <a:lnTo>
                  <a:pt x="391" y="271"/>
                </a:lnTo>
                <a:lnTo>
                  <a:pt x="391" y="271"/>
                </a:lnTo>
                <a:lnTo>
                  <a:pt x="394" y="271"/>
                </a:lnTo>
                <a:lnTo>
                  <a:pt x="394" y="271"/>
                </a:lnTo>
                <a:lnTo>
                  <a:pt x="399" y="271"/>
                </a:lnTo>
                <a:lnTo>
                  <a:pt x="399" y="271"/>
                </a:lnTo>
                <a:lnTo>
                  <a:pt x="406" y="273"/>
                </a:lnTo>
                <a:lnTo>
                  <a:pt x="406" y="273"/>
                </a:lnTo>
                <a:lnTo>
                  <a:pt x="406" y="276"/>
                </a:lnTo>
                <a:lnTo>
                  <a:pt x="406" y="276"/>
                </a:lnTo>
                <a:lnTo>
                  <a:pt x="401" y="276"/>
                </a:lnTo>
                <a:lnTo>
                  <a:pt x="401" y="276"/>
                </a:lnTo>
                <a:lnTo>
                  <a:pt x="396" y="283"/>
                </a:lnTo>
                <a:lnTo>
                  <a:pt x="396" y="283"/>
                </a:lnTo>
                <a:lnTo>
                  <a:pt x="394" y="281"/>
                </a:lnTo>
                <a:lnTo>
                  <a:pt x="394" y="281"/>
                </a:lnTo>
                <a:close/>
                <a:moveTo>
                  <a:pt x="423" y="261"/>
                </a:moveTo>
                <a:lnTo>
                  <a:pt x="423" y="261"/>
                </a:lnTo>
                <a:lnTo>
                  <a:pt x="426" y="261"/>
                </a:lnTo>
                <a:lnTo>
                  <a:pt x="426" y="261"/>
                </a:lnTo>
                <a:lnTo>
                  <a:pt x="428" y="261"/>
                </a:lnTo>
                <a:lnTo>
                  <a:pt x="428" y="261"/>
                </a:lnTo>
                <a:lnTo>
                  <a:pt x="431" y="264"/>
                </a:lnTo>
                <a:lnTo>
                  <a:pt x="431" y="264"/>
                </a:lnTo>
                <a:lnTo>
                  <a:pt x="428" y="266"/>
                </a:lnTo>
                <a:lnTo>
                  <a:pt x="428" y="266"/>
                </a:lnTo>
                <a:lnTo>
                  <a:pt x="428" y="266"/>
                </a:lnTo>
                <a:lnTo>
                  <a:pt x="423" y="261"/>
                </a:lnTo>
                <a:lnTo>
                  <a:pt x="423" y="261"/>
                </a:lnTo>
                <a:close/>
                <a:moveTo>
                  <a:pt x="581" y="411"/>
                </a:moveTo>
                <a:lnTo>
                  <a:pt x="581" y="411"/>
                </a:lnTo>
                <a:lnTo>
                  <a:pt x="583" y="409"/>
                </a:lnTo>
                <a:lnTo>
                  <a:pt x="583" y="409"/>
                </a:lnTo>
                <a:lnTo>
                  <a:pt x="585" y="411"/>
                </a:lnTo>
                <a:lnTo>
                  <a:pt x="585" y="411"/>
                </a:lnTo>
                <a:lnTo>
                  <a:pt x="583" y="411"/>
                </a:lnTo>
                <a:lnTo>
                  <a:pt x="583" y="411"/>
                </a:lnTo>
                <a:lnTo>
                  <a:pt x="581" y="411"/>
                </a:lnTo>
                <a:lnTo>
                  <a:pt x="581" y="411"/>
                </a:lnTo>
                <a:close/>
                <a:moveTo>
                  <a:pt x="566" y="458"/>
                </a:moveTo>
                <a:lnTo>
                  <a:pt x="566" y="458"/>
                </a:lnTo>
                <a:lnTo>
                  <a:pt x="568" y="455"/>
                </a:lnTo>
                <a:lnTo>
                  <a:pt x="568" y="455"/>
                </a:lnTo>
                <a:lnTo>
                  <a:pt x="571" y="458"/>
                </a:lnTo>
                <a:lnTo>
                  <a:pt x="571" y="458"/>
                </a:lnTo>
                <a:lnTo>
                  <a:pt x="566" y="458"/>
                </a:lnTo>
                <a:lnTo>
                  <a:pt x="566" y="458"/>
                </a:lnTo>
                <a:close/>
                <a:moveTo>
                  <a:pt x="600" y="448"/>
                </a:moveTo>
                <a:lnTo>
                  <a:pt x="600" y="448"/>
                </a:lnTo>
                <a:lnTo>
                  <a:pt x="603" y="448"/>
                </a:lnTo>
                <a:lnTo>
                  <a:pt x="603" y="448"/>
                </a:lnTo>
                <a:lnTo>
                  <a:pt x="605" y="448"/>
                </a:lnTo>
                <a:lnTo>
                  <a:pt x="605" y="448"/>
                </a:lnTo>
                <a:lnTo>
                  <a:pt x="603" y="450"/>
                </a:lnTo>
                <a:lnTo>
                  <a:pt x="603" y="450"/>
                </a:lnTo>
                <a:lnTo>
                  <a:pt x="600" y="450"/>
                </a:lnTo>
                <a:lnTo>
                  <a:pt x="600" y="450"/>
                </a:lnTo>
                <a:lnTo>
                  <a:pt x="600" y="448"/>
                </a:lnTo>
                <a:lnTo>
                  <a:pt x="600" y="448"/>
                </a:lnTo>
                <a:close/>
                <a:moveTo>
                  <a:pt x="576" y="419"/>
                </a:moveTo>
                <a:lnTo>
                  <a:pt x="576" y="419"/>
                </a:lnTo>
                <a:lnTo>
                  <a:pt x="576" y="416"/>
                </a:lnTo>
                <a:lnTo>
                  <a:pt x="576" y="416"/>
                </a:lnTo>
                <a:lnTo>
                  <a:pt x="578" y="416"/>
                </a:lnTo>
                <a:lnTo>
                  <a:pt x="578" y="416"/>
                </a:lnTo>
                <a:lnTo>
                  <a:pt x="578" y="419"/>
                </a:lnTo>
                <a:lnTo>
                  <a:pt x="578" y="419"/>
                </a:lnTo>
                <a:lnTo>
                  <a:pt x="576" y="419"/>
                </a:lnTo>
                <a:lnTo>
                  <a:pt x="576" y="419"/>
                </a:lnTo>
                <a:close/>
                <a:moveTo>
                  <a:pt x="578" y="431"/>
                </a:moveTo>
                <a:lnTo>
                  <a:pt x="578" y="431"/>
                </a:lnTo>
                <a:lnTo>
                  <a:pt x="578" y="426"/>
                </a:lnTo>
                <a:lnTo>
                  <a:pt x="578" y="426"/>
                </a:lnTo>
                <a:lnTo>
                  <a:pt x="581" y="423"/>
                </a:lnTo>
                <a:lnTo>
                  <a:pt x="581" y="423"/>
                </a:lnTo>
                <a:lnTo>
                  <a:pt x="583" y="423"/>
                </a:lnTo>
                <a:lnTo>
                  <a:pt x="583" y="423"/>
                </a:lnTo>
                <a:lnTo>
                  <a:pt x="583" y="428"/>
                </a:lnTo>
                <a:lnTo>
                  <a:pt x="583" y="428"/>
                </a:lnTo>
                <a:lnTo>
                  <a:pt x="585" y="428"/>
                </a:lnTo>
                <a:lnTo>
                  <a:pt x="585" y="428"/>
                </a:lnTo>
                <a:lnTo>
                  <a:pt x="585" y="428"/>
                </a:lnTo>
                <a:lnTo>
                  <a:pt x="583" y="431"/>
                </a:lnTo>
                <a:lnTo>
                  <a:pt x="583" y="431"/>
                </a:lnTo>
                <a:lnTo>
                  <a:pt x="578" y="431"/>
                </a:lnTo>
                <a:lnTo>
                  <a:pt x="578" y="431"/>
                </a:lnTo>
                <a:close/>
                <a:moveTo>
                  <a:pt x="554" y="443"/>
                </a:moveTo>
                <a:lnTo>
                  <a:pt x="554" y="443"/>
                </a:lnTo>
                <a:lnTo>
                  <a:pt x="556" y="441"/>
                </a:lnTo>
                <a:lnTo>
                  <a:pt x="556" y="441"/>
                </a:lnTo>
                <a:lnTo>
                  <a:pt x="558" y="441"/>
                </a:lnTo>
                <a:lnTo>
                  <a:pt x="558" y="441"/>
                </a:lnTo>
                <a:lnTo>
                  <a:pt x="558" y="438"/>
                </a:lnTo>
                <a:lnTo>
                  <a:pt x="558" y="438"/>
                </a:lnTo>
                <a:lnTo>
                  <a:pt x="563" y="436"/>
                </a:lnTo>
                <a:lnTo>
                  <a:pt x="563" y="436"/>
                </a:lnTo>
                <a:lnTo>
                  <a:pt x="566" y="433"/>
                </a:lnTo>
                <a:lnTo>
                  <a:pt x="566" y="433"/>
                </a:lnTo>
                <a:lnTo>
                  <a:pt x="571" y="431"/>
                </a:lnTo>
                <a:lnTo>
                  <a:pt x="571" y="431"/>
                </a:lnTo>
                <a:lnTo>
                  <a:pt x="571" y="431"/>
                </a:lnTo>
                <a:lnTo>
                  <a:pt x="573" y="426"/>
                </a:lnTo>
                <a:lnTo>
                  <a:pt x="573" y="426"/>
                </a:lnTo>
                <a:lnTo>
                  <a:pt x="576" y="428"/>
                </a:lnTo>
                <a:lnTo>
                  <a:pt x="576" y="428"/>
                </a:lnTo>
                <a:lnTo>
                  <a:pt x="573" y="428"/>
                </a:lnTo>
                <a:lnTo>
                  <a:pt x="573" y="428"/>
                </a:lnTo>
                <a:lnTo>
                  <a:pt x="576" y="431"/>
                </a:lnTo>
                <a:lnTo>
                  <a:pt x="576" y="431"/>
                </a:lnTo>
                <a:lnTo>
                  <a:pt x="573" y="433"/>
                </a:lnTo>
                <a:lnTo>
                  <a:pt x="573" y="433"/>
                </a:lnTo>
                <a:lnTo>
                  <a:pt x="571" y="433"/>
                </a:lnTo>
                <a:lnTo>
                  <a:pt x="571" y="433"/>
                </a:lnTo>
                <a:lnTo>
                  <a:pt x="566" y="438"/>
                </a:lnTo>
                <a:lnTo>
                  <a:pt x="566" y="438"/>
                </a:lnTo>
                <a:lnTo>
                  <a:pt x="563" y="441"/>
                </a:lnTo>
                <a:lnTo>
                  <a:pt x="563" y="441"/>
                </a:lnTo>
                <a:lnTo>
                  <a:pt x="563" y="441"/>
                </a:lnTo>
                <a:lnTo>
                  <a:pt x="563" y="443"/>
                </a:lnTo>
                <a:lnTo>
                  <a:pt x="563" y="443"/>
                </a:lnTo>
                <a:lnTo>
                  <a:pt x="558" y="443"/>
                </a:lnTo>
                <a:lnTo>
                  <a:pt x="558" y="443"/>
                </a:lnTo>
                <a:lnTo>
                  <a:pt x="558" y="443"/>
                </a:lnTo>
                <a:lnTo>
                  <a:pt x="554" y="443"/>
                </a:lnTo>
                <a:lnTo>
                  <a:pt x="554" y="443"/>
                </a:lnTo>
                <a:lnTo>
                  <a:pt x="554" y="443"/>
                </a:lnTo>
                <a:close/>
                <a:moveTo>
                  <a:pt x="554" y="436"/>
                </a:moveTo>
                <a:lnTo>
                  <a:pt x="554" y="436"/>
                </a:lnTo>
                <a:lnTo>
                  <a:pt x="558" y="433"/>
                </a:lnTo>
                <a:lnTo>
                  <a:pt x="558" y="433"/>
                </a:lnTo>
                <a:lnTo>
                  <a:pt x="558" y="436"/>
                </a:lnTo>
                <a:lnTo>
                  <a:pt x="558" y="436"/>
                </a:lnTo>
                <a:lnTo>
                  <a:pt x="556" y="438"/>
                </a:lnTo>
                <a:lnTo>
                  <a:pt x="554" y="436"/>
                </a:lnTo>
                <a:lnTo>
                  <a:pt x="554" y="436"/>
                </a:lnTo>
                <a:close/>
                <a:moveTo>
                  <a:pt x="561" y="428"/>
                </a:moveTo>
                <a:lnTo>
                  <a:pt x="561" y="428"/>
                </a:lnTo>
                <a:lnTo>
                  <a:pt x="566" y="426"/>
                </a:lnTo>
                <a:lnTo>
                  <a:pt x="566" y="426"/>
                </a:lnTo>
                <a:lnTo>
                  <a:pt x="566" y="423"/>
                </a:lnTo>
                <a:lnTo>
                  <a:pt x="566" y="423"/>
                </a:lnTo>
                <a:lnTo>
                  <a:pt x="568" y="421"/>
                </a:lnTo>
                <a:lnTo>
                  <a:pt x="568" y="421"/>
                </a:lnTo>
                <a:lnTo>
                  <a:pt x="571" y="421"/>
                </a:lnTo>
                <a:lnTo>
                  <a:pt x="571" y="421"/>
                </a:lnTo>
                <a:lnTo>
                  <a:pt x="571" y="421"/>
                </a:lnTo>
                <a:lnTo>
                  <a:pt x="568" y="423"/>
                </a:lnTo>
                <a:lnTo>
                  <a:pt x="568" y="423"/>
                </a:lnTo>
                <a:lnTo>
                  <a:pt x="566" y="426"/>
                </a:lnTo>
                <a:lnTo>
                  <a:pt x="566" y="426"/>
                </a:lnTo>
                <a:lnTo>
                  <a:pt x="563" y="428"/>
                </a:lnTo>
                <a:lnTo>
                  <a:pt x="563" y="428"/>
                </a:lnTo>
                <a:lnTo>
                  <a:pt x="563" y="431"/>
                </a:lnTo>
                <a:lnTo>
                  <a:pt x="563" y="431"/>
                </a:lnTo>
                <a:lnTo>
                  <a:pt x="561" y="431"/>
                </a:lnTo>
                <a:lnTo>
                  <a:pt x="561" y="431"/>
                </a:lnTo>
                <a:lnTo>
                  <a:pt x="561" y="428"/>
                </a:lnTo>
                <a:lnTo>
                  <a:pt x="561" y="428"/>
                </a:lnTo>
                <a:close/>
                <a:moveTo>
                  <a:pt x="566" y="409"/>
                </a:moveTo>
                <a:lnTo>
                  <a:pt x="566" y="409"/>
                </a:lnTo>
                <a:lnTo>
                  <a:pt x="568" y="406"/>
                </a:lnTo>
                <a:lnTo>
                  <a:pt x="568" y="406"/>
                </a:lnTo>
                <a:lnTo>
                  <a:pt x="571" y="409"/>
                </a:lnTo>
                <a:lnTo>
                  <a:pt x="571" y="409"/>
                </a:lnTo>
                <a:lnTo>
                  <a:pt x="568" y="409"/>
                </a:lnTo>
                <a:lnTo>
                  <a:pt x="568" y="409"/>
                </a:lnTo>
                <a:lnTo>
                  <a:pt x="571" y="411"/>
                </a:lnTo>
                <a:lnTo>
                  <a:pt x="571" y="411"/>
                </a:lnTo>
                <a:lnTo>
                  <a:pt x="568" y="414"/>
                </a:lnTo>
                <a:lnTo>
                  <a:pt x="568" y="414"/>
                </a:lnTo>
                <a:lnTo>
                  <a:pt x="566" y="409"/>
                </a:lnTo>
                <a:lnTo>
                  <a:pt x="566" y="409"/>
                </a:lnTo>
                <a:close/>
                <a:moveTo>
                  <a:pt x="379" y="195"/>
                </a:moveTo>
                <a:lnTo>
                  <a:pt x="381" y="195"/>
                </a:lnTo>
                <a:lnTo>
                  <a:pt x="381" y="195"/>
                </a:lnTo>
                <a:lnTo>
                  <a:pt x="384" y="195"/>
                </a:lnTo>
                <a:lnTo>
                  <a:pt x="384" y="195"/>
                </a:lnTo>
                <a:lnTo>
                  <a:pt x="381" y="197"/>
                </a:lnTo>
                <a:lnTo>
                  <a:pt x="381" y="197"/>
                </a:lnTo>
                <a:lnTo>
                  <a:pt x="379" y="195"/>
                </a:lnTo>
                <a:lnTo>
                  <a:pt x="379" y="195"/>
                </a:lnTo>
                <a:close/>
                <a:moveTo>
                  <a:pt x="320" y="259"/>
                </a:moveTo>
                <a:lnTo>
                  <a:pt x="320" y="259"/>
                </a:lnTo>
                <a:lnTo>
                  <a:pt x="322" y="254"/>
                </a:lnTo>
                <a:lnTo>
                  <a:pt x="322" y="254"/>
                </a:lnTo>
                <a:lnTo>
                  <a:pt x="322" y="251"/>
                </a:lnTo>
                <a:lnTo>
                  <a:pt x="322" y="251"/>
                </a:lnTo>
                <a:lnTo>
                  <a:pt x="317" y="249"/>
                </a:lnTo>
                <a:lnTo>
                  <a:pt x="317" y="249"/>
                </a:lnTo>
                <a:lnTo>
                  <a:pt x="320" y="246"/>
                </a:lnTo>
                <a:lnTo>
                  <a:pt x="320" y="246"/>
                </a:lnTo>
                <a:lnTo>
                  <a:pt x="317" y="241"/>
                </a:lnTo>
                <a:lnTo>
                  <a:pt x="317" y="241"/>
                </a:lnTo>
                <a:lnTo>
                  <a:pt x="315" y="239"/>
                </a:lnTo>
                <a:lnTo>
                  <a:pt x="315" y="239"/>
                </a:lnTo>
                <a:lnTo>
                  <a:pt x="310" y="237"/>
                </a:lnTo>
                <a:lnTo>
                  <a:pt x="310" y="237"/>
                </a:lnTo>
                <a:lnTo>
                  <a:pt x="308" y="241"/>
                </a:lnTo>
                <a:lnTo>
                  <a:pt x="308" y="241"/>
                </a:lnTo>
                <a:lnTo>
                  <a:pt x="305" y="241"/>
                </a:lnTo>
                <a:lnTo>
                  <a:pt x="305" y="241"/>
                </a:lnTo>
                <a:lnTo>
                  <a:pt x="303" y="237"/>
                </a:lnTo>
                <a:lnTo>
                  <a:pt x="303" y="237"/>
                </a:lnTo>
                <a:lnTo>
                  <a:pt x="303" y="232"/>
                </a:lnTo>
                <a:lnTo>
                  <a:pt x="303" y="232"/>
                </a:lnTo>
                <a:lnTo>
                  <a:pt x="310" y="227"/>
                </a:lnTo>
                <a:lnTo>
                  <a:pt x="310" y="227"/>
                </a:lnTo>
                <a:lnTo>
                  <a:pt x="312" y="219"/>
                </a:lnTo>
                <a:lnTo>
                  <a:pt x="312" y="219"/>
                </a:lnTo>
                <a:lnTo>
                  <a:pt x="312" y="219"/>
                </a:lnTo>
                <a:lnTo>
                  <a:pt x="312" y="227"/>
                </a:lnTo>
                <a:lnTo>
                  <a:pt x="312" y="227"/>
                </a:lnTo>
                <a:lnTo>
                  <a:pt x="312" y="229"/>
                </a:lnTo>
                <a:lnTo>
                  <a:pt x="312" y="229"/>
                </a:lnTo>
                <a:lnTo>
                  <a:pt x="317" y="229"/>
                </a:lnTo>
                <a:lnTo>
                  <a:pt x="317" y="229"/>
                </a:lnTo>
                <a:lnTo>
                  <a:pt x="317" y="232"/>
                </a:lnTo>
                <a:lnTo>
                  <a:pt x="317" y="232"/>
                </a:lnTo>
                <a:lnTo>
                  <a:pt x="320" y="232"/>
                </a:lnTo>
                <a:lnTo>
                  <a:pt x="320" y="232"/>
                </a:lnTo>
                <a:lnTo>
                  <a:pt x="322" y="232"/>
                </a:lnTo>
                <a:lnTo>
                  <a:pt x="322" y="232"/>
                </a:lnTo>
                <a:lnTo>
                  <a:pt x="327" y="232"/>
                </a:lnTo>
                <a:lnTo>
                  <a:pt x="327" y="232"/>
                </a:lnTo>
                <a:lnTo>
                  <a:pt x="330" y="234"/>
                </a:lnTo>
                <a:lnTo>
                  <a:pt x="330" y="234"/>
                </a:lnTo>
                <a:lnTo>
                  <a:pt x="330" y="237"/>
                </a:lnTo>
                <a:lnTo>
                  <a:pt x="330" y="237"/>
                </a:lnTo>
                <a:lnTo>
                  <a:pt x="327" y="237"/>
                </a:lnTo>
                <a:lnTo>
                  <a:pt x="327" y="237"/>
                </a:lnTo>
                <a:lnTo>
                  <a:pt x="330" y="241"/>
                </a:lnTo>
                <a:lnTo>
                  <a:pt x="330" y="241"/>
                </a:lnTo>
                <a:lnTo>
                  <a:pt x="332" y="244"/>
                </a:lnTo>
                <a:lnTo>
                  <a:pt x="332" y="244"/>
                </a:lnTo>
                <a:lnTo>
                  <a:pt x="332" y="246"/>
                </a:lnTo>
                <a:lnTo>
                  <a:pt x="332" y="246"/>
                </a:lnTo>
                <a:lnTo>
                  <a:pt x="339" y="251"/>
                </a:lnTo>
                <a:lnTo>
                  <a:pt x="339" y="251"/>
                </a:lnTo>
                <a:lnTo>
                  <a:pt x="339" y="256"/>
                </a:lnTo>
                <a:lnTo>
                  <a:pt x="339" y="256"/>
                </a:lnTo>
                <a:lnTo>
                  <a:pt x="337" y="256"/>
                </a:lnTo>
                <a:lnTo>
                  <a:pt x="337" y="256"/>
                </a:lnTo>
                <a:lnTo>
                  <a:pt x="332" y="254"/>
                </a:lnTo>
                <a:lnTo>
                  <a:pt x="332" y="254"/>
                </a:lnTo>
                <a:lnTo>
                  <a:pt x="332" y="254"/>
                </a:lnTo>
                <a:lnTo>
                  <a:pt x="330" y="256"/>
                </a:lnTo>
                <a:lnTo>
                  <a:pt x="330" y="256"/>
                </a:lnTo>
                <a:lnTo>
                  <a:pt x="327" y="256"/>
                </a:lnTo>
                <a:lnTo>
                  <a:pt x="327" y="256"/>
                </a:lnTo>
                <a:lnTo>
                  <a:pt x="322" y="261"/>
                </a:lnTo>
                <a:lnTo>
                  <a:pt x="322" y="261"/>
                </a:lnTo>
                <a:lnTo>
                  <a:pt x="320" y="259"/>
                </a:lnTo>
                <a:lnTo>
                  <a:pt x="320" y="259"/>
                </a:lnTo>
                <a:close/>
                <a:moveTo>
                  <a:pt x="300" y="364"/>
                </a:moveTo>
                <a:lnTo>
                  <a:pt x="300" y="364"/>
                </a:lnTo>
                <a:lnTo>
                  <a:pt x="303" y="364"/>
                </a:lnTo>
                <a:lnTo>
                  <a:pt x="303" y="364"/>
                </a:lnTo>
                <a:lnTo>
                  <a:pt x="308" y="364"/>
                </a:lnTo>
                <a:lnTo>
                  <a:pt x="308" y="364"/>
                </a:lnTo>
                <a:lnTo>
                  <a:pt x="310" y="364"/>
                </a:lnTo>
                <a:lnTo>
                  <a:pt x="310" y="364"/>
                </a:lnTo>
                <a:lnTo>
                  <a:pt x="312" y="364"/>
                </a:lnTo>
                <a:lnTo>
                  <a:pt x="312" y="364"/>
                </a:lnTo>
                <a:lnTo>
                  <a:pt x="315" y="362"/>
                </a:lnTo>
                <a:lnTo>
                  <a:pt x="315" y="362"/>
                </a:lnTo>
                <a:lnTo>
                  <a:pt x="320" y="362"/>
                </a:lnTo>
                <a:lnTo>
                  <a:pt x="320" y="362"/>
                </a:lnTo>
                <a:lnTo>
                  <a:pt x="320" y="364"/>
                </a:lnTo>
                <a:lnTo>
                  <a:pt x="320" y="364"/>
                </a:lnTo>
                <a:lnTo>
                  <a:pt x="322" y="367"/>
                </a:lnTo>
                <a:lnTo>
                  <a:pt x="322" y="367"/>
                </a:lnTo>
                <a:lnTo>
                  <a:pt x="322" y="369"/>
                </a:lnTo>
                <a:lnTo>
                  <a:pt x="322" y="369"/>
                </a:lnTo>
                <a:lnTo>
                  <a:pt x="320" y="374"/>
                </a:lnTo>
                <a:lnTo>
                  <a:pt x="320" y="374"/>
                </a:lnTo>
                <a:lnTo>
                  <a:pt x="320" y="377"/>
                </a:lnTo>
                <a:lnTo>
                  <a:pt x="320" y="377"/>
                </a:lnTo>
                <a:lnTo>
                  <a:pt x="315" y="377"/>
                </a:lnTo>
                <a:lnTo>
                  <a:pt x="315" y="377"/>
                </a:lnTo>
                <a:lnTo>
                  <a:pt x="312" y="377"/>
                </a:lnTo>
                <a:lnTo>
                  <a:pt x="312" y="377"/>
                </a:lnTo>
                <a:lnTo>
                  <a:pt x="310" y="377"/>
                </a:lnTo>
                <a:lnTo>
                  <a:pt x="310" y="377"/>
                </a:lnTo>
                <a:lnTo>
                  <a:pt x="308" y="377"/>
                </a:lnTo>
                <a:lnTo>
                  <a:pt x="308" y="377"/>
                </a:lnTo>
                <a:lnTo>
                  <a:pt x="305" y="374"/>
                </a:lnTo>
                <a:lnTo>
                  <a:pt x="305" y="374"/>
                </a:lnTo>
                <a:lnTo>
                  <a:pt x="300" y="369"/>
                </a:lnTo>
                <a:lnTo>
                  <a:pt x="300" y="369"/>
                </a:lnTo>
                <a:lnTo>
                  <a:pt x="300" y="364"/>
                </a:lnTo>
                <a:lnTo>
                  <a:pt x="300" y="364"/>
                </a:lnTo>
                <a:close/>
                <a:moveTo>
                  <a:pt x="504" y="411"/>
                </a:moveTo>
                <a:lnTo>
                  <a:pt x="504" y="411"/>
                </a:lnTo>
                <a:lnTo>
                  <a:pt x="509" y="406"/>
                </a:lnTo>
                <a:lnTo>
                  <a:pt x="509" y="406"/>
                </a:lnTo>
                <a:lnTo>
                  <a:pt x="512" y="406"/>
                </a:lnTo>
                <a:lnTo>
                  <a:pt x="512" y="406"/>
                </a:lnTo>
                <a:lnTo>
                  <a:pt x="512" y="409"/>
                </a:lnTo>
                <a:lnTo>
                  <a:pt x="512" y="409"/>
                </a:lnTo>
                <a:lnTo>
                  <a:pt x="507" y="411"/>
                </a:lnTo>
                <a:lnTo>
                  <a:pt x="507" y="411"/>
                </a:lnTo>
                <a:lnTo>
                  <a:pt x="504" y="411"/>
                </a:lnTo>
                <a:lnTo>
                  <a:pt x="504" y="411"/>
                </a:lnTo>
                <a:close/>
                <a:moveTo>
                  <a:pt x="472" y="433"/>
                </a:moveTo>
                <a:lnTo>
                  <a:pt x="472" y="433"/>
                </a:lnTo>
                <a:lnTo>
                  <a:pt x="475" y="433"/>
                </a:lnTo>
                <a:lnTo>
                  <a:pt x="475" y="433"/>
                </a:lnTo>
                <a:lnTo>
                  <a:pt x="477" y="433"/>
                </a:lnTo>
                <a:lnTo>
                  <a:pt x="477" y="433"/>
                </a:lnTo>
                <a:lnTo>
                  <a:pt x="475" y="436"/>
                </a:lnTo>
                <a:lnTo>
                  <a:pt x="475" y="436"/>
                </a:lnTo>
                <a:lnTo>
                  <a:pt x="472" y="433"/>
                </a:lnTo>
                <a:lnTo>
                  <a:pt x="472" y="433"/>
                </a:lnTo>
                <a:close/>
                <a:moveTo>
                  <a:pt x="472" y="460"/>
                </a:moveTo>
                <a:lnTo>
                  <a:pt x="472" y="460"/>
                </a:lnTo>
                <a:lnTo>
                  <a:pt x="472" y="458"/>
                </a:lnTo>
                <a:lnTo>
                  <a:pt x="472" y="458"/>
                </a:lnTo>
                <a:lnTo>
                  <a:pt x="475" y="460"/>
                </a:lnTo>
                <a:lnTo>
                  <a:pt x="475" y="460"/>
                </a:lnTo>
                <a:lnTo>
                  <a:pt x="475" y="463"/>
                </a:lnTo>
                <a:lnTo>
                  <a:pt x="475" y="463"/>
                </a:lnTo>
                <a:lnTo>
                  <a:pt x="472" y="463"/>
                </a:lnTo>
                <a:lnTo>
                  <a:pt x="472" y="463"/>
                </a:lnTo>
                <a:lnTo>
                  <a:pt x="470" y="463"/>
                </a:lnTo>
                <a:lnTo>
                  <a:pt x="470" y="463"/>
                </a:lnTo>
                <a:lnTo>
                  <a:pt x="472" y="460"/>
                </a:lnTo>
                <a:lnTo>
                  <a:pt x="472" y="460"/>
                </a:lnTo>
                <a:close/>
                <a:moveTo>
                  <a:pt x="460" y="475"/>
                </a:moveTo>
                <a:lnTo>
                  <a:pt x="460" y="475"/>
                </a:lnTo>
                <a:lnTo>
                  <a:pt x="458" y="473"/>
                </a:lnTo>
                <a:lnTo>
                  <a:pt x="458" y="473"/>
                </a:lnTo>
                <a:lnTo>
                  <a:pt x="460" y="473"/>
                </a:lnTo>
                <a:lnTo>
                  <a:pt x="460" y="473"/>
                </a:lnTo>
                <a:lnTo>
                  <a:pt x="462" y="473"/>
                </a:lnTo>
                <a:lnTo>
                  <a:pt x="462" y="473"/>
                </a:lnTo>
                <a:lnTo>
                  <a:pt x="462" y="470"/>
                </a:lnTo>
                <a:lnTo>
                  <a:pt x="462" y="470"/>
                </a:lnTo>
                <a:lnTo>
                  <a:pt x="465" y="473"/>
                </a:lnTo>
                <a:lnTo>
                  <a:pt x="465" y="473"/>
                </a:lnTo>
                <a:lnTo>
                  <a:pt x="467" y="470"/>
                </a:lnTo>
                <a:lnTo>
                  <a:pt x="467" y="470"/>
                </a:lnTo>
                <a:lnTo>
                  <a:pt x="465" y="468"/>
                </a:lnTo>
                <a:lnTo>
                  <a:pt x="465" y="468"/>
                </a:lnTo>
                <a:lnTo>
                  <a:pt x="467" y="465"/>
                </a:lnTo>
                <a:lnTo>
                  <a:pt x="467" y="465"/>
                </a:lnTo>
                <a:lnTo>
                  <a:pt x="470" y="465"/>
                </a:lnTo>
                <a:lnTo>
                  <a:pt x="470" y="465"/>
                </a:lnTo>
                <a:lnTo>
                  <a:pt x="472" y="465"/>
                </a:lnTo>
                <a:lnTo>
                  <a:pt x="472" y="465"/>
                </a:lnTo>
                <a:lnTo>
                  <a:pt x="470" y="468"/>
                </a:lnTo>
                <a:lnTo>
                  <a:pt x="470" y="468"/>
                </a:lnTo>
                <a:lnTo>
                  <a:pt x="472" y="468"/>
                </a:lnTo>
                <a:lnTo>
                  <a:pt x="472" y="468"/>
                </a:lnTo>
                <a:lnTo>
                  <a:pt x="472" y="468"/>
                </a:lnTo>
                <a:lnTo>
                  <a:pt x="475" y="468"/>
                </a:lnTo>
                <a:lnTo>
                  <a:pt x="475" y="468"/>
                </a:lnTo>
                <a:lnTo>
                  <a:pt x="477" y="470"/>
                </a:lnTo>
                <a:lnTo>
                  <a:pt x="477" y="470"/>
                </a:lnTo>
                <a:lnTo>
                  <a:pt x="475" y="470"/>
                </a:lnTo>
                <a:lnTo>
                  <a:pt x="475" y="470"/>
                </a:lnTo>
                <a:lnTo>
                  <a:pt x="475" y="473"/>
                </a:lnTo>
                <a:lnTo>
                  <a:pt x="475" y="473"/>
                </a:lnTo>
                <a:lnTo>
                  <a:pt x="475" y="473"/>
                </a:lnTo>
                <a:lnTo>
                  <a:pt x="477" y="475"/>
                </a:lnTo>
                <a:lnTo>
                  <a:pt x="477" y="475"/>
                </a:lnTo>
                <a:lnTo>
                  <a:pt x="475" y="475"/>
                </a:lnTo>
                <a:lnTo>
                  <a:pt x="475" y="475"/>
                </a:lnTo>
                <a:lnTo>
                  <a:pt x="472" y="475"/>
                </a:lnTo>
                <a:lnTo>
                  <a:pt x="472" y="475"/>
                </a:lnTo>
                <a:lnTo>
                  <a:pt x="470" y="478"/>
                </a:lnTo>
                <a:lnTo>
                  <a:pt x="470" y="478"/>
                </a:lnTo>
                <a:lnTo>
                  <a:pt x="467" y="478"/>
                </a:lnTo>
                <a:lnTo>
                  <a:pt x="467" y="478"/>
                </a:lnTo>
                <a:lnTo>
                  <a:pt x="467" y="475"/>
                </a:lnTo>
                <a:lnTo>
                  <a:pt x="467" y="475"/>
                </a:lnTo>
                <a:lnTo>
                  <a:pt x="465" y="478"/>
                </a:lnTo>
                <a:lnTo>
                  <a:pt x="465" y="478"/>
                </a:lnTo>
                <a:lnTo>
                  <a:pt x="462" y="478"/>
                </a:lnTo>
                <a:lnTo>
                  <a:pt x="462" y="478"/>
                </a:lnTo>
                <a:lnTo>
                  <a:pt x="460" y="475"/>
                </a:lnTo>
                <a:lnTo>
                  <a:pt x="460" y="475"/>
                </a:lnTo>
                <a:close/>
                <a:moveTo>
                  <a:pt x="428" y="507"/>
                </a:moveTo>
                <a:lnTo>
                  <a:pt x="428" y="507"/>
                </a:lnTo>
                <a:lnTo>
                  <a:pt x="426" y="507"/>
                </a:lnTo>
                <a:lnTo>
                  <a:pt x="426" y="507"/>
                </a:lnTo>
                <a:lnTo>
                  <a:pt x="426" y="510"/>
                </a:lnTo>
                <a:lnTo>
                  <a:pt x="426" y="510"/>
                </a:lnTo>
                <a:lnTo>
                  <a:pt x="423" y="507"/>
                </a:lnTo>
                <a:lnTo>
                  <a:pt x="423" y="507"/>
                </a:lnTo>
                <a:lnTo>
                  <a:pt x="423" y="505"/>
                </a:lnTo>
                <a:lnTo>
                  <a:pt x="423" y="505"/>
                </a:lnTo>
                <a:lnTo>
                  <a:pt x="423" y="502"/>
                </a:lnTo>
                <a:lnTo>
                  <a:pt x="423" y="502"/>
                </a:lnTo>
                <a:lnTo>
                  <a:pt x="426" y="500"/>
                </a:lnTo>
                <a:lnTo>
                  <a:pt x="426" y="500"/>
                </a:lnTo>
                <a:lnTo>
                  <a:pt x="426" y="495"/>
                </a:lnTo>
                <a:lnTo>
                  <a:pt x="426" y="495"/>
                </a:lnTo>
                <a:lnTo>
                  <a:pt x="423" y="495"/>
                </a:lnTo>
                <a:lnTo>
                  <a:pt x="423" y="495"/>
                </a:lnTo>
                <a:lnTo>
                  <a:pt x="423" y="492"/>
                </a:lnTo>
                <a:lnTo>
                  <a:pt x="423" y="492"/>
                </a:lnTo>
                <a:lnTo>
                  <a:pt x="428" y="490"/>
                </a:lnTo>
                <a:lnTo>
                  <a:pt x="428" y="490"/>
                </a:lnTo>
                <a:lnTo>
                  <a:pt x="435" y="485"/>
                </a:lnTo>
                <a:lnTo>
                  <a:pt x="435" y="485"/>
                </a:lnTo>
                <a:lnTo>
                  <a:pt x="438" y="485"/>
                </a:lnTo>
                <a:lnTo>
                  <a:pt x="438" y="485"/>
                </a:lnTo>
                <a:lnTo>
                  <a:pt x="440" y="485"/>
                </a:lnTo>
                <a:lnTo>
                  <a:pt x="440" y="485"/>
                </a:lnTo>
                <a:lnTo>
                  <a:pt x="440" y="492"/>
                </a:lnTo>
                <a:lnTo>
                  <a:pt x="440" y="492"/>
                </a:lnTo>
                <a:lnTo>
                  <a:pt x="440" y="492"/>
                </a:lnTo>
                <a:lnTo>
                  <a:pt x="443" y="490"/>
                </a:lnTo>
                <a:lnTo>
                  <a:pt x="443" y="490"/>
                </a:lnTo>
                <a:lnTo>
                  <a:pt x="443" y="487"/>
                </a:lnTo>
                <a:lnTo>
                  <a:pt x="443" y="487"/>
                </a:lnTo>
                <a:lnTo>
                  <a:pt x="443" y="485"/>
                </a:lnTo>
                <a:lnTo>
                  <a:pt x="443" y="485"/>
                </a:lnTo>
                <a:lnTo>
                  <a:pt x="445" y="487"/>
                </a:lnTo>
                <a:lnTo>
                  <a:pt x="445" y="487"/>
                </a:lnTo>
                <a:lnTo>
                  <a:pt x="448" y="485"/>
                </a:lnTo>
                <a:lnTo>
                  <a:pt x="448" y="485"/>
                </a:lnTo>
                <a:lnTo>
                  <a:pt x="443" y="482"/>
                </a:lnTo>
                <a:lnTo>
                  <a:pt x="443" y="482"/>
                </a:lnTo>
                <a:lnTo>
                  <a:pt x="443" y="482"/>
                </a:lnTo>
                <a:lnTo>
                  <a:pt x="445" y="478"/>
                </a:lnTo>
                <a:lnTo>
                  <a:pt x="445" y="478"/>
                </a:lnTo>
                <a:lnTo>
                  <a:pt x="448" y="478"/>
                </a:lnTo>
                <a:lnTo>
                  <a:pt x="448" y="478"/>
                </a:lnTo>
                <a:lnTo>
                  <a:pt x="450" y="480"/>
                </a:lnTo>
                <a:lnTo>
                  <a:pt x="450" y="480"/>
                </a:lnTo>
                <a:lnTo>
                  <a:pt x="450" y="482"/>
                </a:lnTo>
                <a:lnTo>
                  <a:pt x="450" y="482"/>
                </a:lnTo>
                <a:lnTo>
                  <a:pt x="448" y="485"/>
                </a:lnTo>
                <a:lnTo>
                  <a:pt x="448" y="485"/>
                </a:lnTo>
                <a:lnTo>
                  <a:pt x="448" y="487"/>
                </a:lnTo>
                <a:lnTo>
                  <a:pt x="448" y="487"/>
                </a:lnTo>
                <a:lnTo>
                  <a:pt x="450" y="485"/>
                </a:lnTo>
                <a:lnTo>
                  <a:pt x="450" y="485"/>
                </a:lnTo>
                <a:lnTo>
                  <a:pt x="453" y="482"/>
                </a:lnTo>
                <a:lnTo>
                  <a:pt x="453" y="482"/>
                </a:lnTo>
                <a:lnTo>
                  <a:pt x="453" y="482"/>
                </a:lnTo>
                <a:lnTo>
                  <a:pt x="455" y="485"/>
                </a:lnTo>
                <a:lnTo>
                  <a:pt x="455" y="485"/>
                </a:lnTo>
                <a:lnTo>
                  <a:pt x="455" y="480"/>
                </a:lnTo>
                <a:lnTo>
                  <a:pt x="455" y="480"/>
                </a:lnTo>
                <a:lnTo>
                  <a:pt x="455" y="480"/>
                </a:lnTo>
                <a:lnTo>
                  <a:pt x="455" y="478"/>
                </a:lnTo>
                <a:lnTo>
                  <a:pt x="455" y="478"/>
                </a:lnTo>
                <a:lnTo>
                  <a:pt x="458" y="480"/>
                </a:lnTo>
                <a:lnTo>
                  <a:pt x="458" y="480"/>
                </a:lnTo>
                <a:lnTo>
                  <a:pt x="458" y="482"/>
                </a:lnTo>
                <a:lnTo>
                  <a:pt x="458" y="482"/>
                </a:lnTo>
                <a:lnTo>
                  <a:pt x="458" y="482"/>
                </a:lnTo>
                <a:lnTo>
                  <a:pt x="458" y="485"/>
                </a:lnTo>
                <a:lnTo>
                  <a:pt x="458" y="485"/>
                </a:lnTo>
                <a:lnTo>
                  <a:pt x="460" y="485"/>
                </a:lnTo>
                <a:lnTo>
                  <a:pt x="460" y="485"/>
                </a:lnTo>
                <a:lnTo>
                  <a:pt x="462" y="482"/>
                </a:lnTo>
                <a:lnTo>
                  <a:pt x="462" y="482"/>
                </a:lnTo>
                <a:lnTo>
                  <a:pt x="465" y="480"/>
                </a:lnTo>
                <a:lnTo>
                  <a:pt x="465" y="480"/>
                </a:lnTo>
                <a:lnTo>
                  <a:pt x="467" y="482"/>
                </a:lnTo>
                <a:lnTo>
                  <a:pt x="467" y="482"/>
                </a:lnTo>
                <a:lnTo>
                  <a:pt x="467" y="485"/>
                </a:lnTo>
                <a:lnTo>
                  <a:pt x="467" y="485"/>
                </a:lnTo>
                <a:lnTo>
                  <a:pt x="465" y="485"/>
                </a:lnTo>
                <a:lnTo>
                  <a:pt x="465" y="485"/>
                </a:lnTo>
                <a:lnTo>
                  <a:pt x="462" y="485"/>
                </a:lnTo>
                <a:lnTo>
                  <a:pt x="462" y="485"/>
                </a:lnTo>
                <a:lnTo>
                  <a:pt x="462" y="487"/>
                </a:lnTo>
                <a:lnTo>
                  <a:pt x="462" y="487"/>
                </a:lnTo>
                <a:lnTo>
                  <a:pt x="465" y="487"/>
                </a:lnTo>
                <a:lnTo>
                  <a:pt x="465" y="487"/>
                </a:lnTo>
                <a:lnTo>
                  <a:pt x="465" y="490"/>
                </a:lnTo>
                <a:lnTo>
                  <a:pt x="465" y="490"/>
                </a:lnTo>
                <a:lnTo>
                  <a:pt x="462" y="495"/>
                </a:lnTo>
                <a:lnTo>
                  <a:pt x="462" y="495"/>
                </a:lnTo>
                <a:lnTo>
                  <a:pt x="460" y="492"/>
                </a:lnTo>
                <a:lnTo>
                  <a:pt x="460" y="492"/>
                </a:lnTo>
                <a:lnTo>
                  <a:pt x="460" y="492"/>
                </a:lnTo>
                <a:lnTo>
                  <a:pt x="458" y="492"/>
                </a:lnTo>
                <a:lnTo>
                  <a:pt x="458" y="492"/>
                </a:lnTo>
                <a:lnTo>
                  <a:pt x="455" y="492"/>
                </a:lnTo>
                <a:lnTo>
                  <a:pt x="455" y="492"/>
                </a:lnTo>
                <a:lnTo>
                  <a:pt x="453" y="492"/>
                </a:lnTo>
                <a:lnTo>
                  <a:pt x="453" y="492"/>
                </a:lnTo>
                <a:lnTo>
                  <a:pt x="453" y="492"/>
                </a:lnTo>
                <a:lnTo>
                  <a:pt x="455" y="495"/>
                </a:lnTo>
                <a:lnTo>
                  <a:pt x="455" y="495"/>
                </a:lnTo>
                <a:lnTo>
                  <a:pt x="455" y="497"/>
                </a:lnTo>
                <a:lnTo>
                  <a:pt x="455" y="497"/>
                </a:lnTo>
                <a:lnTo>
                  <a:pt x="455" y="500"/>
                </a:lnTo>
                <a:lnTo>
                  <a:pt x="455" y="500"/>
                </a:lnTo>
                <a:lnTo>
                  <a:pt x="453" y="500"/>
                </a:lnTo>
                <a:lnTo>
                  <a:pt x="453" y="500"/>
                </a:lnTo>
                <a:lnTo>
                  <a:pt x="450" y="497"/>
                </a:lnTo>
                <a:lnTo>
                  <a:pt x="450" y="497"/>
                </a:lnTo>
                <a:lnTo>
                  <a:pt x="445" y="497"/>
                </a:lnTo>
                <a:lnTo>
                  <a:pt x="445" y="497"/>
                </a:lnTo>
                <a:lnTo>
                  <a:pt x="445" y="497"/>
                </a:lnTo>
                <a:lnTo>
                  <a:pt x="448" y="500"/>
                </a:lnTo>
                <a:lnTo>
                  <a:pt x="448" y="500"/>
                </a:lnTo>
                <a:lnTo>
                  <a:pt x="448" y="500"/>
                </a:lnTo>
                <a:lnTo>
                  <a:pt x="445" y="502"/>
                </a:lnTo>
                <a:lnTo>
                  <a:pt x="445" y="502"/>
                </a:lnTo>
                <a:lnTo>
                  <a:pt x="443" y="502"/>
                </a:lnTo>
                <a:lnTo>
                  <a:pt x="443" y="502"/>
                </a:lnTo>
                <a:lnTo>
                  <a:pt x="440" y="502"/>
                </a:lnTo>
                <a:lnTo>
                  <a:pt x="440" y="502"/>
                </a:lnTo>
                <a:lnTo>
                  <a:pt x="440" y="502"/>
                </a:lnTo>
                <a:lnTo>
                  <a:pt x="438" y="505"/>
                </a:lnTo>
                <a:lnTo>
                  <a:pt x="438" y="505"/>
                </a:lnTo>
                <a:lnTo>
                  <a:pt x="435" y="505"/>
                </a:lnTo>
                <a:lnTo>
                  <a:pt x="435" y="505"/>
                </a:lnTo>
                <a:lnTo>
                  <a:pt x="435" y="507"/>
                </a:lnTo>
                <a:lnTo>
                  <a:pt x="435" y="507"/>
                </a:lnTo>
                <a:lnTo>
                  <a:pt x="435" y="507"/>
                </a:lnTo>
                <a:lnTo>
                  <a:pt x="433" y="510"/>
                </a:lnTo>
                <a:lnTo>
                  <a:pt x="433" y="510"/>
                </a:lnTo>
                <a:lnTo>
                  <a:pt x="433" y="512"/>
                </a:lnTo>
                <a:lnTo>
                  <a:pt x="433" y="512"/>
                </a:lnTo>
                <a:lnTo>
                  <a:pt x="431" y="514"/>
                </a:lnTo>
                <a:lnTo>
                  <a:pt x="431" y="514"/>
                </a:lnTo>
                <a:lnTo>
                  <a:pt x="428" y="514"/>
                </a:lnTo>
                <a:lnTo>
                  <a:pt x="428" y="514"/>
                </a:lnTo>
                <a:lnTo>
                  <a:pt x="426" y="514"/>
                </a:lnTo>
                <a:lnTo>
                  <a:pt x="426" y="514"/>
                </a:lnTo>
                <a:lnTo>
                  <a:pt x="426" y="512"/>
                </a:lnTo>
                <a:lnTo>
                  <a:pt x="426" y="512"/>
                </a:lnTo>
                <a:lnTo>
                  <a:pt x="433" y="510"/>
                </a:lnTo>
                <a:lnTo>
                  <a:pt x="433" y="510"/>
                </a:lnTo>
                <a:lnTo>
                  <a:pt x="433" y="507"/>
                </a:lnTo>
                <a:lnTo>
                  <a:pt x="433" y="507"/>
                </a:lnTo>
                <a:lnTo>
                  <a:pt x="433" y="505"/>
                </a:lnTo>
                <a:lnTo>
                  <a:pt x="433" y="505"/>
                </a:lnTo>
                <a:lnTo>
                  <a:pt x="433" y="505"/>
                </a:lnTo>
                <a:lnTo>
                  <a:pt x="431" y="507"/>
                </a:lnTo>
                <a:lnTo>
                  <a:pt x="431" y="507"/>
                </a:lnTo>
                <a:lnTo>
                  <a:pt x="428" y="505"/>
                </a:lnTo>
                <a:lnTo>
                  <a:pt x="428" y="505"/>
                </a:lnTo>
                <a:lnTo>
                  <a:pt x="431" y="505"/>
                </a:lnTo>
                <a:lnTo>
                  <a:pt x="431" y="505"/>
                </a:lnTo>
                <a:lnTo>
                  <a:pt x="426" y="505"/>
                </a:lnTo>
                <a:lnTo>
                  <a:pt x="426" y="505"/>
                </a:lnTo>
                <a:lnTo>
                  <a:pt x="426" y="505"/>
                </a:lnTo>
                <a:lnTo>
                  <a:pt x="426" y="505"/>
                </a:lnTo>
                <a:lnTo>
                  <a:pt x="428" y="507"/>
                </a:lnTo>
                <a:lnTo>
                  <a:pt x="428" y="507"/>
                </a:lnTo>
                <a:close/>
                <a:moveTo>
                  <a:pt x="421" y="519"/>
                </a:moveTo>
                <a:lnTo>
                  <a:pt x="421" y="519"/>
                </a:lnTo>
                <a:lnTo>
                  <a:pt x="423" y="517"/>
                </a:lnTo>
                <a:lnTo>
                  <a:pt x="423" y="517"/>
                </a:lnTo>
                <a:lnTo>
                  <a:pt x="423" y="519"/>
                </a:lnTo>
                <a:lnTo>
                  <a:pt x="423" y="519"/>
                </a:lnTo>
                <a:lnTo>
                  <a:pt x="421" y="519"/>
                </a:lnTo>
                <a:lnTo>
                  <a:pt x="421" y="519"/>
                </a:lnTo>
                <a:close/>
                <a:moveTo>
                  <a:pt x="413" y="522"/>
                </a:moveTo>
                <a:lnTo>
                  <a:pt x="413" y="522"/>
                </a:lnTo>
                <a:lnTo>
                  <a:pt x="416" y="517"/>
                </a:lnTo>
                <a:lnTo>
                  <a:pt x="416" y="517"/>
                </a:lnTo>
                <a:lnTo>
                  <a:pt x="421" y="514"/>
                </a:lnTo>
                <a:lnTo>
                  <a:pt x="421" y="514"/>
                </a:lnTo>
                <a:lnTo>
                  <a:pt x="416" y="522"/>
                </a:lnTo>
                <a:lnTo>
                  <a:pt x="416" y="522"/>
                </a:lnTo>
                <a:lnTo>
                  <a:pt x="413" y="522"/>
                </a:lnTo>
                <a:lnTo>
                  <a:pt x="413" y="522"/>
                </a:lnTo>
                <a:close/>
                <a:moveTo>
                  <a:pt x="391" y="539"/>
                </a:moveTo>
                <a:lnTo>
                  <a:pt x="391" y="539"/>
                </a:lnTo>
                <a:lnTo>
                  <a:pt x="391" y="539"/>
                </a:lnTo>
                <a:lnTo>
                  <a:pt x="391" y="537"/>
                </a:lnTo>
                <a:lnTo>
                  <a:pt x="391" y="537"/>
                </a:lnTo>
                <a:lnTo>
                  <a:pt x="394" y="537"/>
                </a:lnTo>
                <a:lnTo>
                  <a:pt x="394" y="537"/>
                </a:lnTo>
                <a:lnTo>
                  <a:pt x="394" y="539"/>
                </a:lnTo>
                <a:lnTo>
                  <a:pt x="394" y="539"/>
                </a:lnTo>
                <a:lnTo>
                  <a:pt x="391" y="539"/>
                </a:lnTo>
                <a:lnTo>
                  <a:pt x="391" y="539"/>
                </a:lnTo>
                <a:close/>
                <a:moveTo>
                  <a:pt x="379" y="512"/>
                </a:moveTo>
                <a:lnTo>
                  <a:pt x="379" y="512"/>
                </a:lnTo>
                <a:lnTo>
                  <a:pt x="384" y="512"/>
                </a:lnTo>
                <a:lnTo>
                  <a:pt x="384" y="512"/>
                </a:lnTo>
                <a:lnTo>
                  <a:pt x="384" y="514"/>
                </a:lnTo>
                <a:lnTo>
                  <a:pt x="384" y="514"/>
                </a:lnTo>
                <a:lnTo>
                  <a:pt x="381" y="514"/>
                </a:lnTo>
                <a:lnTo>
                  <a:pt x="381" y="514"/>
                </a:lnTo>
                <a:lnTo>
                  <a:pt x="379" y="512"/>
                </a:lnTo>
                <a:lnTo>
                  <a:pt x="379" y="512"/>
                </a:lnTo>
                <a:close/>
                <a:moveTo>
                  <a:pt x="320" y="539"/>
                </a:moveTo>
                <a:lnTo>
                  <a:pt x="322" y="539"/>
                </a:lnTo>
                <a:lnTo>
                  <a:pt x="322" y="539"/>
                </a:lnTo>
                <a:lnTo>
                  <a:pt x="322" y="539"/>
                </a:lnTo>
                <a:lnTo>
                  <a:pt x="320" y="539"/>
                </a:lnTo>
                <a:lnTo>
                  <a:pt x="320" y="539"/>
                </a:lnTo>
                <a:close/>
                <a:moveTo>
                  <a:pt x="317" y="539"/>
                </a:moveTo>
                <a:lnTo>
                  <a:pt x="317" y="539"/>
                </a:lnTo>
                <a:lnTo>
                  <a:pt x="317" y="541"/>
                </a:lnTo>
                <a:lnTo>
                  <a:pt x="317" y="541"/>
                </a:lnTo>
                <a:lnTo>
                  <a:pt x="317" y="541"/>
                </a:lnTo>
                <a:lnTo>
                  <a:pt x="317" y="539"/>
                </a:lnTo>
                <a:lnTo>
                  <a:pt x="317" y="539"/>
                </a:lnTo>
                <a:close/>
                <a:moveTo>
                  <a:pt x="330" y="551"/>
                </a:moveTo>
                <a:lnTo>
                  <a:pt x="330" y="551"/>
                </a:lnTo>
                <a:lnTo>
                  <a:pt x="330" y="554"/>
                </a:lnTo>
                <a:lnTo>
                  <a:pt x="330" y="554"/>
                </a:lnTo>
                <a:lnTo>
                  <a:pt x="330" y="554"/>
                </a:lnTo>
                <a:lnTo>
                  <a:pt x="330" y="554"/>
                </a:lnTo>
                <a:lnTo>
                  <a:pt x="330" y="551"/>
                </a:lnTo>
                <a:lnTo>
                  <a:pt x="330" y="551"/>
                </a:lnTo>
                <a:close/>
                <a:moveTo>
                  <a:pt x="327" y="551"/>
                </a:moveTo>
                <a:lnTo>
                  <a:pt x="327" y="551"/>
                </a:lnTo>
                <a:lnTo>
                  <a:pt x="330" y="546"/>
                </a:lnTo>
                <a:lnTo>
                  <a:pt x="330" y="546"/>
                </a:lnTo>
                <a:lnTo>
                  <a:pt x="330" y="549"/>
                </a:lnTo>
                <a:lnTo>
                  <a:pt x="327" y="551"/>
                </a:lnTo>
                <a:lnTo>
                  <a:pt x="327" y="551"/>
                </a:lnTo>
                <a:close/>
                <a:moveTo>
                  <a:pt x="315" y="554"/>
                </a:moveTo>
                <a:lnTo>
                  <a:pt x="315" y="554"/>
                </a:lnTo>
                <a:lnTo>
                  <a:pt x="317" y="549"/>
                </a:lnTo>
                <a:lnTo>
                  <a:pt x="317" y="549"/>
                </a:lnTo>
                <a:lnTo>
                  <a:pt x="320" y="546"/>
                </a:lnTo>
                <a:lnTo>
                  <a:pt x="320" y="546"/>
                </a:lnTo>
                <a:lnTo>
                  <a:pt x="320" y="546"/>
                </a:lnTo>
                <a:lnTo>
                  <a:pt x="325" y="546"/>
                </a:lnTo>
                <a:lnTo>
                  <a:pt x="325" y="546"/>
                </a:lnTo>
                <a:lnTo>
                  <a:pt x="322" y="549"/>
                </a:lnTo>
                <a:lnTo>
                  <a:pt x="322" y="549"/>
                </a:lnTo>
                <a:lnTo>
                  <a:pt x="322" y="549"/>
                </a:lnTo>
                <a:lnTo>
                  <a:pt x="317" y="551"/>
                </a:lnTo>
                <a:lnTo>
                  <a:pt x="317" y="551"/>
                </a:lnTo>
                <a:lnTo>
                  <a:pt x="315" y="554"/>
                </a:lnTo>
                <a:lnTo>
                  <a:pt x="315" y="554"/>
                </a:lnTo>
                <a:close/>
                <a:moveTo>
                  <a:pt x="310" y="544"/>
                </a:moveTo>
                <a:lnTo>
                  <a:pt x="310" y="544"/>
                </a:lnTo>
                <a:lnTo>
                  <a:pt x="310" y="544"/>
                </a:lnTo>
                <a:lnTo>
                  <a:pt x="310" y="539"/>
                </a:lnTo>
                <a:lnTo>
                  <a:pt x="310" y="539"/>
                </a:lnTo>
                <a:lnTo>
                  <a:pt x="312" y="539"/>
                </a:lnTo>
                <a:lnTo>
                  <a:pt x="312" y="539"/>
                </a:lnTo>
                <a:lnTo>
                  <a:pt x="315" y="541"/>
                </a:lnTo>
                <a:lnTo>
                  <a:pt x="315" y="541"/>
                </a:lnTo>
                <a:lnTo>
                  <a:pt x="312" y="544"/>
                </a:lnTo>
                <a:lnTo>
                  <a:pt x="312" y="544"/>
                </a:lnTo>
                <a:lnTo>
                  <a:pt x="312" y="544"/>
                </a:lnTo>
                <a:lnTo>
                  <a:pt x="310" y="544"/>
                </a:lnTo>
                <a:lnTo>
                  <a:pt x="310" y="544"/>
                </a:lnTo>
                <a:close/>
                <a:moveTo>
                  <a:pt x="295" y="544"/>
                </a:moveTo>
                <a:lnTo>
                  <a:pt x="295" y="544"/>
                </a:lnTo>
                <a:lnTo>
                  <a:pt x="298" y="541"/>
                </a:lnTo>
                <a:lnTo>
                  <a:pt x="298" y="541"/>
                </a:lnTo>
                <a:lnTo>
                  <a:pt x="298" y="544"/>
                </a:lnTo>
                <a:lnTo>
                  <a:pt x="298" y="544"/>
                </a:lnTo>
                <a:lnTo>
                  <a:pt x="298" y="546"/>
                </a:lnTo>
                <a:lnTo>
                  <a:pt x="298" y="546"/>
                </a:lnTo>
                <a:lnTo>
                  <a:pt x="295" y="544"/>
                </a:lnTo>
                <a:lnTo>
                  <a:pt x="295" y="544"/>
                </a:lnTo>
                <a:close/>
                <a:moveTo>
                  <a:pt x="285" y="551"/>
                </a:moveTo>
                <a:lnTo>
                  <a:pt x="285" y="551"/>
                </a:lnTo>
                <a:lnTo>
                  <a:pt x="285" y="549"/>
                </a:lnTo>
                <a:lnTo>
                  <a:pt x="285" y="549"/>
                </a:lnTo>
                <a:lnTo>
                  <a:pt x="288" y="546"/>
                </a:lnTo>
                <a:lnTo>
                  <a:pt x="288" y="546"/>
                </a:lnTo>
                <a:lnTo>
                  <a:pt x="288" y="549"/>
                </a:lnTo>
                <a:lnTo>
                  <a:pt x="288" y="549"/>
                </a:lnTo>
                <a:lnTo>
                  <a:pt x="285" y="551"/>
                </a:lnTo>
                <a:lnTo>
                  <a:pt x="285" y="551"/>
                </a:lnTo>
                <a:close/>
                <a:moveTo>
                  <a:pt x="276" y="559"/>
                </a:moveTo>
                <a:lnTo>
                  <a:pt x="276" y="559"/>
                </a:lnTo>
                <a:lnTo>
                  <a:pt x="278" y="561"/>
                </a:lnTo>
                <a:lnTo>
                  <a:pt x="278" y="561"/>
                </a:lnTo>
                <a:lnTo>
                  <a:pt x="276" y="561"/>
                </a:lnTo>
                <a:lnTo>
                  <a:pt x="276" y="561"/>
                </a:lnTo>
                <a:lnTo>
                  <a:pt x="273" y="559"/>
                </a:lnTo>
                <a:lnTo>
                  <a:pt x="273" y="559"/>
                </a:lnTo>
                <a:lnTo>
                  <a:pt x="276" y="559"/>
                </a:lnTo>
                <a:lnTo>
                  <a:pt x="276" y="559"/>
                </a:lnTo>
                <a:close/>
                <a:moveTo>
                  <a:pt x="2" y="610"/>
                </a:moveTo>
                <a:lnTo>
                  <a:pt x="2" y="610"/>
                </a:lnTo>
                <a:lnTo>
                  <a:pt x="0" y="613"/>
                </a:lnTo>
                <a:lnTo>
                  <a:pt x="0" y="613"/>
                </a:lnTo>
                <a:lnTo>
                  <a:pt x="2" y="613"/>
                </a:lnTo>
                <a:lnTo>
                  <a:pt x="2" y="613"/>
                </a:lnTo>
                <a:lnTo>
                  <a:pt x="2" y="610"/>
                </a:lnTo>
                <a:lnTo>
                  <a:pt x="2" y="610"/>
                </a:lnTo>
                <a:close/>
                <a:moveTo>
                  <a:pt x="5" y="603"/>
                </a:moveTo>
                <a:lnTo>
                  <a:pt x="5" y="603"/>
                </a:lnTo>
                <a:lnTo>
                  <a:pt x="2" y="605"/>
                </a:lnTo>
                <a:lnTo>
                  <a:pt x="2" y="605"/>
                </a:lnTo>
                <a:lnTo>
                  <a:pt x="5" y="608"/>
                </a:lnTo>
                <a:lnTo>
                  <a:pt x="5" y="608"/>
                </a:lnTo>
                <a:lnTo>
                  <a:pt x="7" y="605"/>
                </a:lnTo>
                <a:lnTo>
                  <a:pt x="7" y="605"/>
                </a:lnTo>
                <a:lnTo>
                  <a:pt x="5" y="603"/>
                </a:lnTo>
                <a:lnTo>
                  <a:pt x="5" y="603"/>
                </a:lnTo>
                <a:close/>
                <a:moveTo>
                  <a:pt x="7" y="598"/>
                </a:moveTo>
                <a:lnTo>
                  <a:pt x="7" y="598"/>
                </a:lnTo>
                <a:lnTo>
                  <a:pt x="10" y="598"/>
                </a:lnTo>
                <a:lnTo>
                  <a:pt x="10" y="598"/>
                </a:lnTo>
                <a:lnTo>
                  <a:pt x="10" y="596"/>
                </a:lnTo>
                <a:lnTo>
                  <a:pt x="10" y="596"/>
                </a:lnTo>
                <a:lnTo>
                  <a:pt x="7" y="598"/>
                </a:lnTo>
                <a:lnTo>
                  <a:pt x="7" y="598"/>
                </a:lnTo>
                <a:close/>
                <a:moveTo>
                  <a:pt x="27" y="601"/>
                </a:moveTo>
                <a:lnTo>
                  <a:pt x="27" y="601"/>
                </a:lnTo>
                <a:lnTo>
                  <a:pt x="25" y="596"/>
                </a:lnTo>
                <a:lnTo>
                  <a:pt x="25" y="596"/>
                </a:lnTo>
                <a:lnTo>
                  <a:pt x="22" y="596"/>
                </a:lnTo>
                <a:lnTo>
                  <a:pt x="22" y="596"/>
                </a:lnTo>
                <a:lnTo>
                  <a:pt x="20" y="598"/>
                </a:lnTo>
                <a:lnTo>
                  <a:pt x="20" y="598"/>
                </a:lnTo>
                <a:lnTo>
                  <a:pt x="20" y="598"/>
                </a:lnTo>
                <a:lnTo>
                  <a:pt x="22" y="601"/>
                </a:lnTo>
                <a:lnTo>
                  <a:pt x="22" y="601"/>
                </a:lnTo>
                <a:lnTo>
                  <a:pt x="20" y="601"/>
                </a:lnTo>
                <a:lnTo>
                  <a:pt x="20" y="601"/>
                </a:lnTo>
                <a:lnTo>
                  <a:pt x="22" y="603"/>
                </a:lnTo>
                <a:lnTo>
                  <a:pt x="22" y="603"/>
                </a:lnTo>
                <a:lnTo>
                  <a:pt x="25" y="603"/>
                </a:lnTo>
                <a:lnTo>
                  <a:pt x="25" y="603"/>
                </a:lnTo>
                <a:lnTo>
                  <a:pt x="25" y="601"/>
                </a:lnTo>
                <a:lnTo>
                  <a:pt x="25" y="601"/>
                </a:lnTo>
                <a:lnTo>
                  <a:pt x="27" y="601"/>
                </a:lnTo>
                <a:lnTo>
                  <a:pt x="27" y="601"/>
                </a:lnTo>
                <a:close/>
                <a:moveTo>
                  <a:pt x="30" y="605"/>
                </a:moveTo>
                <a:lnTo>
                  <a:pt x="30" y="605"/>
                </a:lnTo>
                <a:lnTo>
                  <a:pt x="32" y="605"/>
                </a:lnTo>
                <a:lnTo>
                  <a:pt x="32" y="605"/>
                </a:lnTo>
                <a:lnTo>
                  <a:pt x="34" y="603"/>
                </a:lnTo>
                <a:lnTo>
                  <a:pt x="34" y="603"/>
                </a:lnTo>
                <a:lnTo>
                  <a:pt x="34" y="601"/>
                </a:lnTo>
                <a:lnTo>
                  <a:pt x="34" y="601"/>
                </a:lnTo>
                <a:lnTo>
                  <a:pt x="37" y="598"/>
                </a:lnTo>
                <a:lnTo>
                  <a:pt x="37" y="598"/>
                </a:lnTo>
                <a:lnTo>
                  <a:pt x="34" y="598"/>
                </a:lnTo>
                <a:lnTo>
                  <a:pt x="34" y="598"/>
                </a:lnTo>
                <a:lnTo>
                  <a:pt x="32" y="601"/>
                </a:lnTo>
                <a:lnTo>
                  <a:pt x="32" y="601"/>
                </a:lnTo>
                <a:lnTo>
                  <a:pt x="32" y="603"/>
                </a:lnTo>
                <a:lnTo>
                  <a:pt x="32" y="603"/>
                </a:lnTo>
                <a:lnTo>
                  <a:pt x="30" y="605"/>
                </a:lnTo>
                <a:lnTo>
                  <a:pt x="30" y="605"/>
                </a:lnTo>
                <a:close/>
                <a:moveTo>
                  <a:pt x="44" y="603"/>
                </a:moveTo>
                <a:lnTo>
                  <a:pt x="44" y="603"/>
                </a:lnTo>
                <a:lnTo>
                  <a:pt x="44" y="598"/>
                </a:lnTo>
                <a:lnTo>
                  <a:pt x="44" y="598"/>
                </a:lnTo>
                <a:lnTo>
                  <a:pt x="42" y="598"/>
                </a:lnTo>
                <a:lnTo>
                  <a:pt x="42" y="598"/>
                </a:lnTo>
                <a:lnTo>
                  <a:pt x="42" y="603"/>
                </a:lnTo>
                <a:lnTo>
                  <a:pt x="42" y="603"/>
                </a:lnTo>
                <a:lnTo>
                  <a:pt x="39" y="603"/>
                </a:lnTo>
                <a:lnTo>
                  <a:pt x="39" y="603"/>
                </a:lnTo>
                <a:lnTo>
                  <a:pt x="39" y="605"/>
                </a:lnTo>
                <a:lnTo>
                  <a:pt x="39" y="605"/>
                </a:lnTo>
                <a:lnTo>
                  <a:pt x="42" y="605"/>
                </a:lnTo>
                <a:lnTo>
                  <a:pt x="42" y="605"/>
                </a:lnTo>
                <a:lnTo>
                  <a:pt x="44" y="603"/>
                </a:lnTo>
                <a:lnTo>
                  <a:pt x="44" y="603"/>
                </a:lnTo>
                <a:close/>
                <a:moveTo>
                  <a:pt x="81" y="603"/>
                </a:moveTo>
                <a:lnTo>
                  <a:pt x="81" y="603"/>
                </a:lnTo>
                <a:lnTo>
                  <a:pt x="81" y="601"/>
                </a:lnTo>
                <a:lnTo>
                  <a:pt x="81" y="601"/>
                </a:lnTo>
                <a:lnTo>
                  <a:pt x="84" y="598"/>
                </a:lnTo>
                <a:lnTo>
                  <a:pt x="84" y="598"/>
                </a:lnTo>
                <a:lnTo>
                  <a:pt x="84" y="596"/>
                </a:lnTo>
                <a:lnTo>
                  <a:pt x="84" y="596"/>
                </a:lnTo>
                <a:lnTo>
                  <a:pt x="81" y="593"/>
                </a:lnTo>
                <a:lnTo>
                  <a:pt x="81" y="593"/>
                </a:lnTo>
                <a:lnTo>
                  <a:pt x="79" y="596"/>
                </a:lnTo>
                <a:lnTo>
                  <a:pt x="79" y="596"/>
                </a:lnTo>
                <a:lnTo>
                  <a:pt x="79" y="598"/>
                </a:lnTo>
                <a:lnTo>
                  <a:pt x="79" y="598"/>
                </a:lnTo>
                <a:lnTo>
                  <a:pt x="76" y="598"/>
                </a:lnTo>
                <a:lnTo>
                  <a:pt x="76" y="598"/>
                </a:lnTo>
                <a:lnTo>
                  <a:pt x="76" y="598"/>
                </a:lnTo>
                <a:lnTo>
                  <a:pt x="74" y="601"/>
                </a:lnTo>
                <a:lnTo>
                  <a:pt x="74" y="601"/>
                </a:lnTo>
                <a:lnTo>
                  <a:pt x="71" y="601"/>
                </a:lnTo>
                <a:lnTo>
                  <a:pt x="71" y="601"/>
                </a:lnTo>
                <a:lnTo>
                  <a:pt x="69" y="601"/>
                </a:lnTo>
                <a:lnTo>
                  <a:pt x="69" y="601"/>
                </a:lnTo>
                <a:lnTo>
                  <a:pt x="69" y="601"/>
                </a:lnTo>
                <a:lnTo>
                  <a:pt x="69" y="603"/>
                </a:lnTo>
                <a:lnTo>
                  <a:pt x="69" y="603"/>
                </a:lnTo>
                <a:lnTo>
                  <a:pt x="71" y="603"/>
                </a:lnTo>
                <a:lnTo>
                  <a:pt x="71" y="603"/>
                </a:lnTo>
                <a:lnTo>
                  <a:pt x="74" y="603"/>
                </a:lnTo>
                <a:lnTo>
                  <a:pt x="74" y="603"/>
                </a:lnTo>
                <a:lnTo>
                  <a:pt x="79" y="601"/>
                </a:lnTo>
                <a:lnTo>
                  <a:pt x="79" y="601"/>
                </a:lnTo>
                <a:lnTo>
                  <a:pt x="81" y="603"/>
                </a:lnTo>
                <a:lnTo>
                  <a:pt x="81" y="603"/>
                </a:lnTo>
                <a:close/>
                <a:moveTo>
                  <a:pt x="89" y="603"/>
                </a:moveTo>
                <a:lnTo>
                  <a:pt x="89" y="603"/>
                </a:lnTo>
                <a:lnTo>
                  <a:pt x="96" y="605"/>
                </a:lnTo>
                <a:lnTo>
                  <a:pt x="96" y="605"/>
                </a:lnTo>
                <a:lnTo>
                  <a:pt x="96" y="603"/>
                </a:lnTo>
                <a:lnTo>
                  <a:pt x="96" y="603"/>
                </a:lnTo>
                <a:lnTo>
                  <a:pt x="98" y="605"/>
                </a:lnTo>
                <a:lnTo>
                  <a:pt x="98" y="605"/>
                </a:lnTo>
                <a:lnTo>
                  <a:pt x="96" y="608"/>
                </a:lnTo>
                <a:lnTo>
                  <a:pt x="96" y="608"/>
                </a:lnTo>
                <a:lnTo>
                  <a:pt x="89" y="605"/>
                </a:lnTo>
                <a:lnTo>
                  <a:pt x="89" y="605"/>
                </a:lnTo>
                <a:lnTo>
                  <a:pt x="86" y="605"/>
                </a:lnTo>
                <a:lnTo>
                  <a:pt x="86" y="605"/>
                </a:lnTo>
                <a:lnTo>
                  <a:pt x="84" y="603"/>
                </a:lnTo>
                <a:lnTo>
                  <a:pt x="89" y="603"/>
                </a:lnTo>
                <a:lnTo>
                  <a:pt x="89" y="603"/>
                </a:lnTo>
                <a:close/>
                <a:moveTo>
                  <a:pt x="113" y="601"/>
                </a:moveTo>
                <a:lnTo>
                  <a:pt x="113" y="601"/>
                </a:lnTo>
                <a:lnTo>
                  <a:pt x="111" y="598"/>
                </a:lnTo>
                <a:lnTo>
                  <a:pt x="111" y="598"/>
                </a:lnTo>
                <a:lnTo>
                  <a:pt x="106" y="598"/>
                </a:lnTo>
                <a:lnTo>
                  <a:pt x="106" y="598"/>
                </a:lnTo>
                <a:lnTo>
                  <a:pt x="106" y="601"/>
                </a:lnTo>
                <a:lnTo>
                  <a:pt x="106" y="601"/>
                </a:lnTo>
                <a:lnTo>
                  <a:pt x="111" y="601"/>
                </a:lnTo>
                <a:lnTo>
                  <a:pt x="111" y="601"/>
                </a:lnTo>
                <a:lnTo>
                  <a:pt x="113" y="601"/>
                </a:lnTo>
                <a:lnTo>
                  <a:pt x="113" y="601"/>
                </a:lnTo>
                <a:close/>
                <a:moveTo>
                  <a:pt x="130" y="598"/>
                </a:moveTo>
                <a:lnTo>
                  <a:pt x="130" y="598"/>
                </a:lnTo>
                <a:lnTo>
                  <a:pt x="128" y="593"/>
                </a:lnTo>
                <a:lnTo>
                  <a:pt x="128" y="593"/>
                </a:lnTo>
                <a:lnTo>
                  <a:pt x="128" y="598"/>
                </a:lnTo>
                <a:lnTo>
                  <a:pt x="128" y="598"/>
                </a:lnTo>
                <a:lnTo>
                  <a:pt x="130" y="598"/>
                </a:lnTo>
                <a:lnTo>
                  <a:pt x="130" y="598"/>
                </a:lnTo>
                <a:close/>
                <a:moveTo>
                  <a:pt x="143" y="593"/>
                </a:moveTo>
                <a:lnTo>
                  <a:pt x="143" y="593"/>
                </a:lnTo>
                <a:lnTo>
                  <a:pt x="138" y="591"/>
                </a:lnTo>
                <a:lnTo>
                  <a:pt x="138" y="591"/>
                </a:lnTo>
                <a:lnTo>
                  <a:pt x="135" y="593"/>
                </a:lnTo>
                <a:lnTo>
                  <a:pt x="135" y="593"/>
                </a:lnTo>
                <a:lnTo>
                  <a:pt x="135" y="596"/>
                </a:lnTo>
                <a:lnTo>
                  <a:pt x="135" y="596"/>
                </a:lnTo>
                <a:lnTo>
                  <a:pt x="140" y="593"/>
                </a:lnTo>
                <a:lnTo>
                  <a:pt x="140" y="593"/>
                </a:lnTo>
                <a:lnTo>
                  <a:pt x="143" y="593"/>
                </a:lnTo>
                <a:lnTo>
                  <a:pt x="143" y="593"/>
                </a:lnTo>
                <a:close/>
                <a:moveTo>
                  <a:pt x="150" y="593"/>
                </a:moveTo>
                <a:lnTo>
                  <a:pt x="150" y="593"/>
                </a:lnTo>
                <a:lnTo>
                  <a:pt x="148" y="591"/>
                </a:lnTo>
                <a:lnTo>
                  <a:pt x="148" y="591"/>
                </a:lnTo>
                <a:lnTo>
                  <a:pt x="145" y="593"/>
                </a:lnTo>
                <a:lnTo>
                  <a:pt x="145" y="593"/>
                </a:lnTo>
                <a:lnTo>
                  <a:pt x="148" y="593"/>
                </a:lnTo>
                <a:lnTo>
                  <a:pt x="148" y="593"/>
                </a:lnTo>
                <a:lnTo>
                  <a:pt x="150" y="593"/>
                </a:lnTo>
                <a:lnTo>
                  <a:pt x="150" y="593"/>
                </a:lnTo>
                <a:close/>
                <a:moveTo>
                  <a:pt x="150" y="588"/>
                </a:moveTo>
                <a:lnTo>
                  <a:pt x="150" y="588"/>
                </a:lnTo>
                <a:lnTo>
                  <a:pt x="150" y="586"/>
                </a:lnTo>
                <a:lnTo>
                  <a:pt x="150" y="586"/>
                </a:lnTo>
                <a:lnTo>
                  <a:pt x="148" y="588"/>
                </a:lnTo>
                <a:lnTo>
                  <a:pt x="148" y="588"/>
                </a:lnTo>
                <a:lnTo>
                  <a:pt x="150" y="588"/>
                </a:lnTo>
                <a:lnTo>
                  <a:pt x="150" y="588"/>
                </a:lnTo>
                <a:close/>
                <a:moveTo>
                  <a:pt x="150" y="591"/>
                </a:moveTo>
                <a:lnTo>
                  <a:pt x="150" y="591"/>
                </a:lnTo>
                <a:lnTo>
                  <a:pt x="153" y="591"/>
                </a:lnTo>
                <a:lnTo>
                  <a:pt x="153" y="591"/>
                </a:lnTo>
                <a:lnTo>
                  <a:pt x="155" y="591"/>
                </a:lnTo>
                <a:lnTo>
                  <a:pt x="155" y="591"/>
                </a:lnTo>
                <a:lnTo>
                  <a:pt x="155" y="588"/>
                </a:lnTo>
                <a:lnTo>
                  <a:pt x="155" y="588"/>
                </a:lnTo>
                <a:lnTo>
                  <a:pt x="150" y="591"/>
                </a:lnTo>
                <a:lnTo>
                  <a:pt x="150" y="591"/>
                </a:lnTo>
                <a:close/>
                <a:moveTo>
                  <a:pt x="187" y="573"/>
                </a:moveTo>
                <a:lnTo>
                  <a:pt x="187" y="573"/>
                </a:lnTo>
                <a:lnTo>
                  <a:pt x="187" y="576"/>
                </a:lnTo>
                <a:lnTo>
                  <a:pt x="187" y="576"/>
                </a:lnTo>
                <a:lnTo>
                  <a:pt x="189" y="576"/>
                </a:lnTo>
                <a:lnTo>
                  <a:pt x="189" y="576"/>
                </a:lnTo>
                <a:lnTo>
                  <a:pt x="187" y="578"/>
                </a:lnTo>
                <a:lnTo>
                  <a:pt x="187" y="578"/>
                </a:lnTo>
                <a:lnTo>
                  <a:pt x="185" y="581"/>
                </a:lnTo>
                <a:lnTo>
                  <a:pt x="185" y="581"/>
                </a:lnTo>
                <a:lnTo>
                  <a:pt x="182" y="583"/>
                </a:lnTo>
                <a:lnTo>
                  <a:pt x="182" y="583"/>
                </a:lnTo>
                <a:lnTo>
                  <a:pt x="177" y="588"/>
                </a:lnTo>
                <a:lnTo>
                  <a:pt x="177" y="588"/>
                </a:lnTo>
                <a:lnTo>
                  <a:pt x="172" y="588"/>
                </a:lnTo>
                <a:lnTo>
                  <a:pt x="172" y="588"/>
                </a:lnTo>
                <a:lnTo>
                  <a:pt x="170" y="593"/>
                </a:lnTo>
                <a:lnTo>
                  <a:pt x="170" y="593"/>
                </a:lnTo>
                <a:lnTo>
                  <a:pt x="162" y="593"/>
                </a:lnTo>
                <a:lnTo>
                  <a:pt x="162" y="593"/>
                </a:lnTo>
                <a:lnTo>
                  <a:pt x="165" y="591"/>
                </a:lnTo>
                <a:lnTo>
                  <a:pt x="165" y="591"/>
                </a:lnTo>
                <a:lnTo>
                  <a:pt x="167" y="591"/>
                </a:lnTo>
                <a:lnTo>
                  <a:pt x="167" y="591"/>
                </a:lnTo>
                <a:lnTo>
                  <a:pt x="170" y="586"/>
                </a:lnTo>
                <a:lnTo>
                  <a:pt x="170" y="586"/>
                </a:lnTo>
                <a:lnTo>
                  <a:pt x="172" y="586"/>
                </a:lnTo>
                <a:lnTo>
                  <a:pt x="172" y="586"/>
                </a:lnTo>
                <a:lnTo>
                  <a:pt x="172" y="583"/>
                </a:lnTo>
                <a:lnTo>
                  <a:pt x="172" y="583"/>
                </a:lnTo>
                <a:lnTo>
                  <a:pt x="175" y="581"/>
                </a:lnTo>
                <a:lnTo>
                  <a:pt x="175" y="581"/>
                </a:lnTo>
                <a:lnTo>
                  <a:pt x="180" y="581"/>
                </a:lnTo>
                <a:lnTo>
                  <a:pt x="180" y="581"/>
                </a:lnTo>
                <a:lnTo>
                  <a:pt x="180" y="576"/>
                </a:lnTo>
                <a:lnTo>
                  <a:pt x="180" y="576"/>
                </a:lnTo>
                <a:lnTo>
                  <a:pt x="180" y="576"/>
                </a:lnTo>
                <a:lnTo>
                  <a:pt x="185" y="576"/>
                </a:lnTo>
                <a:lnTo>
                  <a:pt x="187" y="573"/>
                </a:lnTo>
                <a:lnTo>
                  <a:pt x="187" y="573"/>
                </a:lnTo>
                <a:close/>
                <a:moveTo>
                  <a:pt x="212" y="564"/>
                </a:moveTo>
                <a:lnTo>
                  <a:pt x="212" y="564"/>
                </a:lnTo>
                <a:lnTo>
                  <a:pt x="209" y="564"/>
                </a:lnTo>
                <a:lnTo>
                  <a:pt x="209" y="564"/>
                </a:lnTo>
                <a:lnTo>
                  <a:pt x="207" y="566"/>
                </a:lnTo>
                <a:lnTo>
                  <a:pt x="207" y="566"/>
                </a:lnTo>
                <a:lnTo>
                  <a:pt x="207" y="569"/>
                </a:lnTo>
                <a:lnTo>
                  <a:pt x="207" y="569"/>
                </a:lnTo>
                <a:lnTo>
                  <a:pt x="209" y="571"/>
                </a:lnTo>
                <a:lnTo>
                  <a:pt x="209" y="571"/>
                </a:lnTo>
                <a:lnTo>
                  <a:pt x="209" y="571"/>
                </a:lnTo>
                <a:lnTo>
                  <a:pt x="204" y="571"/>
                </a:lnTo>
                <a:lnTo>
                  <a:pt x="204" y="571"/>
                </a:lnTo>
                <a:lnTo>
                  <a:pt x="202" y="571"/>
                </a:lnTo>
                <a:lnTo>
                  <a:pt x="202" y="571"/>
                </a:lnTo>
                <a:lnTo>
                  <a:pt x="202" y="573"/>
                </a:lnTo>
                <a:lnTo>
                  <a:pt x="202" y="573"/>
                </a:lnTo>
                <a:lnTo>
                  <a:pt x="202" y="573"/>
                </a:lnTo>
                <a:lnTo>
                  <a:pt x="199" y="578"/>
                </a:lnTo>
                <a:lnTo>
                  <a:pt x="199" y="578"/>
                </a:lnTo>
                <a:lnTo>
                  <a:pt x="197" y="578"/>
                </a:lnTo>
                <a:lnTo>
                  <a:pt x="197" y="578"/>
                </a:lnTo>
                <a:lnTo>
                  <a:pt x="192" y="581"/>
                </a:lnTo>
                <a:lnTo>
                  <a:pt x="192" y="581"/>
                </a:lnTo>
                <a:lnTo>
                  <a:pt x="189" y="581"/>
                </a:lnTo>
                <a:lnTo>
                  <a:pt x="189" y="581"/>
                </a:lnTo>
                <a:lnTo>
                  <a:pt x="189" y="581"/>
                </a:lnTo>
                <a:lnTo>
                  <a:pt x="189" y="583"/>
                </a:lnTo>
                <a:lnTo>
                  <a:pt x="189" y="583"/>
                </a:lnTo>
                <a:lnTo>
                  <a:pt x="194" y="583"/>
                </a:lnTo>
                <a:lnTo>
                  <a:pt x="194" y="583"/>
                </a:lnTo>
                <a:lnTo>
                  <a:pt x="199" y="581"/>
                </a:lnTo>
                <a:lnTo>
                  <a:pt x="199" y="581"/>
                </a:lnTo>
                <a:lnTo>
                  <a:pt x="202" y="578"/>
                </a:lnTo>
                <a:lnTo>
                  <a:pt x="202" y="578"/>
                </a:lnTo>
                <a:lnTo>
                  <a:pt x="204" y="581"/>
                </a:lnTo>
                <a:lnTo>
                  <a:pt x="204" y="581"/>
                </a:lnTo>
                <a:lnTo>
                  <a:pt x="204" y="581"/>
                </a:lnTo>
                <a:lnTo>
                  <a:pt x="207" y="578"/>
                </a:lnTo>
                <a:lnTo>
                  <a:pt x="207" y="578"/>
                </a:lnTo>
                <a:lnTo>
                  <a:pt x="207" y="576"/>
                </a:lnTo>
                <a:lnTo>
                  <a:pt x="207" y="576"/>
                </a:lnTo>
                <a:lnTo>
                  <a:pt x="209" y="576"/>
                </a:lnTo>
                <a:lnTo>
                  <a:pt x="209" y="576"/>
                </a:lnTo>
                <a:lnTo>
                  <a:pt x="209" y="578"/>
                </a:lnTo>
                <a:lnTo>
                  <a:pt x="209" y="578"/>
                </a:lnTo>
                <a:lnTo>
                  <a:pt x="212" y="578"/>
                </a:lnTo>
                <a:lnTo>
                  <a:pt x="212" y="578"/>
                </a:lnTo>
                <a:lnTo>
                  <a:pt x="214" y="573"/>
                </a:lnTo>
                <a:lnTo>
                  <a:pt x="214" y="573"/>
                </a:lnTo>
                <a:lnTo>
                  <a:pt x="216" y="573"/>
                </a:lnTo>
                <a:lnTo>
                  <a:pt x="216" y="573"/>
                </a:lnTo>
                <a:lnTo>
                  <a:pt x="216" y="571"/>
                </a:lnTo>
                <a:lnTo>
                  <a:pt x="216" y="571"/>
                </a:lnTo>
                <a:lnTo>
                  <a:pt x="214" y="571"/>
                </a:lnTo>
                <a:lnTo>
                  <a:pt x="214" y="571"/>
                </a:lnTo>
                <a:lnTo>
                  <a:pt x="219" y="569"/>
                </a:lnTo>
                <a:lnTo>
                  <a:pt x="219" y="569"/>
                </a:lnTo>
                <a:lnTo>
                  <a:pt x="216" y="566"/>
                </a:lnTo>
                <a:lnTo>
                  <a:pt x="216" y="566"/>
                </a:lnTo>
                <a:lnTo>
                  <a:pt x="214" y="564"/>
                </a:lnTo>
                <a:lnTo>
                  <a:pt x="214" y="564"/>
                </a:lnTo>
                <a:lnTo>
                  <a:pt x="212" y="564"/>
                </a:lnTo>
                <a:lnTo>
                  <a:pt x="212" y="564"/>
                </a:lnTo>
                <a:close/>
                <a:moveTo>
                  <a:pt x="221" y="566"/>
                </a:moveTo>
                <a:lnTo>
                  <a:pt x="221" y="566"/>
                </a:lnTo>
                <a:lnTo>
                  <a:pt x="221" y="566"/>
                </a:lnTo>
                <a:lnTo>
                  <a:pt x="219" y="564"/>
                </a:lnTo>
                <a:lnTo>
                  <a:pt x="219" y="564"/>
                </a:lnTo>
                <a:lnTo>
                  <a:pt x="219" y="566"/>
                </a:lnTo>
                <a:lnTo>
                  <a:pt x="219" y="566"/>
                </a:lnTo>
                <a:lnTo>
                  <a:pt x="221" y="566"/>
                </a:lnTo>
                <a:lnTo>
                  <a:pt x="221" y="566"/>
                </a:lnTo>
                <a:close/>
                <a:moveTo>
                  <a:pt x="239" y="564"/>
                </a:moveTo>
                <a:lnTo>
                  <a:pt x="239" y="564"/>
                </a:lnTo>
                <a:lnTo>
                  <a:pt x="239" y="564"/>
                </a:lnTo>
                <a:lnTo>
                  <a:pt x="241" y="564"/>
                </a:lnTo>
                <a:lnTo>
                  <a:pt x="241" y="564"/>
                </a:lnTo>
                <a:lnTo>
                  <a:pt x="241" y="566"/>
                </a:lnTo>
                <a:lnTo>
                  <a:pt x="241" y="566"/>
                </a:lnTo>
                <a:lnTo>
                  <a:pt x="239" y="566"/>
                </a:lnTo>
                <a:lnTo>
                  <a:pt x="239" y="566"/>
                </a:lnTo>
                <a:lnTo>
                  <a:pt x="239" y="564"/>
                </a:lnTo>
                <a:lnTo>
                  <a:pt x="239" y="564"/>
                </a:lnTo>
                <a:close/>
                <a:moveTo>
                  <a:pt x="234" y="566"/>
                </a:moveTo>
                <a:lnTo>
                  <a:pt x="234" y="566"/>
                </a:lnTo>
                <a:lnTo>
                  <a:pt x="234" y="564"/>
                </a:lnTo>
                <a:lnTo>
                  <a:pt x="234" y="564"/>
                </a:lnTo>
                <a:lnTo>
                  <a:pt x="236" y="566"/>
                </a:lnTo>
                <a:lnTo>
                  <a:pt x="236" y="566"/>
                </a:lnTo>
                <a:lnTo>
                  <a:pt x="234" y="566"/>
                </a:lnTo>
                <a:lnTo>
                  <a:pt x="234" y="566"/>
                </a:lnTo>
                <a:close/>
                <a:moveTo>
                  <a:pt x="231" y="564"/>
                </a:moveTo>
                <a:lnTo>
                  <a:pt x="231" y="564"/>
                </a:lnTo>
                <a:lnTo>
                  <a:pt x="231" y="561"/>
                </a:lnTo>
                <a:lnTo>
                  <a:pt x="231" y="561"/>
                </a:lnTo>
                <a:lnTo>
                  <a:pt x="231" y="559"/>
                </a:lnTo>
                <a:lnTo>
                  <a:pt x="231" y="559"/>
                </a:lnTo>
                <a:lnTo>
                  <a:pt x="234" y="559"/>
                </a:lnTo>
                <a:lnTo>
                  <a:pt x="234" y="559"/>
                </a:lnTo>
                <a:lnTo>
                  <a:pt x="234" y="561"/>
                </a:lnTo>
                <a:lnTo>
                  <a:pt x="234" y="561"/>
                </a:lnTo>
                <a:lnTo>
                  <a:pt x="231" y="564"/>
                </a:lnTo>
                <a:lnTo>
                  <a:pt x="231" y="564"/>
                </a:lnTo>
                <a:close/>
                <a:moveTo>
                  <a:pt x="226" y="559"/>
                </a:moveTo>
                <a:lnTo>
                  <a:pt x="226" y="559"/>
                </a:lnTo>
                <a:lnTo>
                  <a:pt x="224" y="561"/>
                </a:lnTo>
                <a:lnTo>
                  <a:pt x="224" y="561"/>
                </a:lnTo>
                <a:lnTo>
                  <a:pt x="224" y="564"/>
                </a:lnTo>
                <a:lnTo>
                  <a:pt x="224" y="564"/>
                </a:lnTo>
                <a:lnTo>
                  <a:pt x="226" y="566"/>
                </a:lnTo>
                <a:lnTo>
                  <a:pt x="226" y="566"/>
                </a:lnTo>
                <a:lnTo>
                  <a:pt x="229" y="564"/>
                </a:lnTo>
                <a:lnTo>
                  <a:pt x="229" y="564"/>
                </a:lnTo>
                <a:lnTo>
                  <a:pt x="229" y="561"/>
                </a:lnTo>
                <a:lnTo>
                  <a:pt x="229" y="561"/>
                </a:lnTo>
                <a:lnTo>
                  <a:pt x="226" y="561"/>
                </a:lnTo>
                <a:lnTo>
                  <a:pt x="226" y="561"/>
                </a:lnTo>
                <a:lnTo>
                  <a:pt x="226" y="559"/>
                </a:lnTo>
                <a:lnTo>
                  <a:pt x="226" y="559"/>
                </a:lnTo>
                <a:close/>
                <a:moveTo>
                  <a:pt x="369" y="433"/>
                </a:moveTo>
                <a:lnTo>
                  <a:pt x="369" y="433"/>
                </a:lnTo>
                <a:lnTo>
                  <a:pt x="367" y="433"/>
                </a:lnTo>
                <a:lnTo>
                  <a:pt x="367" y="433"/>
                </a:lnTo>
                <a:lnTo>
                  <a:pt x="371" y="431"/>
                </a:lnTo>
                <a:lnTo>
                  <a:pt x="371" y="431"/>
                </a:lnTo>
                <a:lnTo>
                  <a:pt x="369" y="433"/>
                </a:lnTo>
                <a:lnTo>
                  <a:pt x="369" y="433"/>
                </a:lnTo>
                <a:lnTo>
                  <a:pt x="369" y="433"/>
                </a:lnTo>
                <a:close/>
                <a:moveTo>
                  <a:pt x="362" y="436"/>
                </a:moveTo>
                <a:lnTo>
                  <a:pt x="362" y="436"/>
                </a:lnTo>
                <a:lnTo>
                  <a:pt x="362" y="436"/>
                </a:lnTo>
                <a:lnTo>
                  <a:pt x="362" y="433"/>
                </a:lnTo>
                <a:lnTo>
                  <a:pt x="362" y="433"/>
                </a:lnTo>
                <a:lnTo>
                  <a:pt x="364" y="431"/>
                </a:lnTo>
                <a:lnTo>
                  <a:pt x="364" y="431"/>
                </a:lnTo>
                <a:lnTo>
                  <a:pt x="367" y="428"/>
                </a:lnTo>
                <a:lnTo>
                  <a:pt x="367" y="428"/>
                </a:lnTo>
                <a:lnTo>
                  <a:pt x="367" y="431"/>
                </a:lnTo>
                <a:lnTo>
                  <a:pt x="367" y="431"/>
                </a:lnTo>
                <a:lnTo>
                  <a:pt x="364" y="433"/>
                </a:lnTo>
                <a:lnTo>
                  <a:pt x="364" y="433"/>
                </a:lnTo>
                <a:lnTo>
                  <a:pt x="362" y="436"/>
                </a:lnTo>
                <a:lnTo>
                  <a:pt x="362" y="436"/>
                </a:lnTo>
                <a:close/>
                <a:moveTo>
                  <a:pt x="244" y="554"/>
                </a:moveTo>
                <a:lnTo>
                  <a:pt x="244" y="554"/>
                </a:lnTo>
                <a:lnTo>
                  <a:pt x="246" y="549"/>
                </a:lnTo>
                <a:lnTo>
                  <a:pt x="246" y="549"/>
                </a:lnTo>
                <a:lnTo>
                  <a:pt x="246" y="549"/>
                </a:lnTo>
                <a:lnTo>
                  <a:pt x="248" y="549"/>
                </a:lnTo>
                <a:lnTo>
                  <a:pt x="248" y="549"/>
                </a:lnTo>
                <a:lnTo>
                  <a:pt x="251" y="546"/>
                </a:lnTo>
                <a:lnTo>
                  <a:pt x="251" y="546"/>
                </a:lnTo>
                <a:lnTo>
                  <a:pt x="251" y="546"/>
                </a:lnTo>
                <a:lnTo>
                  <a:pt x="253" y="541"/>
                </a:lnTo>
                <a:lnTo>
                  <a:pt x="253" y="541"/>
                </a:lnTo>
                <a:lnTo>
                  <a:pt x="256" y="541"/>
                </a:lnTo>
                <a:lnTo>
                  <a:pt x="256" y="541"/>
                </a:lnTo>
                <a:lnTo>
                  <a:pt x="258" y="544"/>
                </a:lnTo>
                <a:lnTo>
                  <a:pt x="258" y="544"/>
                </a:lnTo>
                <a:lnTo>
                  <a:pt x="258" y="541"/>
                </a:lnTo>
                <a:lnTo>
                  <a:pt x="258" y="541"/>
                </a:lnTo>
                <a:lnTo>
                  <a:pt x="263" y="544"/>
                </a:lnTo>
                <a:lnTo>
                  <a:pt x="263" y="544"/>
                </a:lnTo>
                <a:lnTo>
                  <a:pt x="266" y="541"/>
                </a:lnTo>
                <a:lnTo>
                  <a:pt x="266" y="541"/>
                </a:lnTo>
                <a:lnTo>
                  <a:pt x="266" y="541"/>
                </a:lnTo>
                <a:lnTo>
                  <a:pt x="271" y="541"/>
                </a:lnTo>
                <a:lnTo>
                  <a:pt x="271" y="541"/>
                </a:lnTo>
                <a:lnTo>
                  <a:pt x="271" y="544"/>
                </a:lnTo>
                <a:lnTo>
                  <a:pt x="271" y="544"/>
                </a:lnTo>
                <a:lnTo>
                  <a:pt x="271" y="546"/>
                </a:lnTo>
                <a:lnTo>
                  <a:pt x="271" y="546"/>
                </a:lnTo>
                <a:lnTo>
                  <a:pt x="276" y="549"/>
                </a:lnTo>
                <a:lnTo>
                  <a:pt x="276" y="549"/>
                </a:lnTo>
                <a:lnTo>
                  <a:pt x="276" y="551"/>
                </a:lnTo>
                <a:lnTo>
                  <a:pt x="276" y="551"/>
                </a:lnTo>
                <a:lnTo>
                  <a:pt x="271" y="551"/>
                </a:lnTo>
                <a:lnTo>
                  <a:pt x="271" y="551"/>
                </a:lnTo>
                <a:lnTo>
                  <a:pt x="268" y="554"/>
                </a:lnTo>
                <a:lnTo>
                  <a:pt x="268" y="554"/>
                </a:lnTo>
                <a:lnTo>
                  <a:pt x="263" y="554"/>
                </a:lnTo>
                <a:lnTo>
                  <a:pt x="263" y="554"/>
                </a:lnTo>
                <a:lnTo>
                  <a:pt x="261" y="551"/>
                </a:lnTo>
                <a:lnTo>
                  <a:pt x="261" y="551"/>
                </a:lnTo>
                <a:lnTo>
                  <a:pt x="253" y="551"/>
                </a:lnTo>
                <a:lnTo>
                  <a:pt x="253" y="551"/>
                </a:lnTo>
                <a:lnTo>
                  <a:pt x="251" y="556"/>
                </a:lnTo>
                <a:lnTo>
                  <a:pt x="251" y="556"/>
                </a:lnTo>
                <a:lnTo>
                  <a:pt x="251" y="556"/>
                </a:lnTo>
                <a:lnTo>
                  <a:pt x="248" y="556"/>
                </a:lnTo>
                <a:lnTo>
                  <a:pt x="248" y="556"/>
                </a:lnTo>
                <a:lnTo>
                  <a:pt x="246" y="556"/>
                </a:lnTo>
                <a:lnTo>
                  <a:pt x="244" y="554"/>
                </a:lnTo>
                <a:close/>
              </a:path>
            </a:pathLst>
          </a:custGeom>
          <a:blipFill>
            <a:blip r:embed="rId11"/>
            <a:stretch>
              <a:fillRect/>
            </a:stretch>
          </a:blipFill>
          <a:ln w="9525">
            <a:solidFill>
              <a:schemeClr val="bg1"/>
            </a:solidFill>
            <a:round/>
            <a:headEnd/>
            <a:tailEnd/>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4" name="Freeform 173"/>
          <p:cNvSpPr>
            <a:spLocks/>
          </p:cNvSpPr>
          <p:nvPr/>
        </p:nvSpPr>
        <p:spPr bwMode="auto">
          <a:xfrm>
            <a:off x="2731638" y="3976276"/>
            <a:ext cx="8155" cy="3072"/>
          </a:xfrm>
          <a:custGeom>
            <a:avLst/>
            <a:gdLst/>
            <a:ahLst/>
            <a:cxnLst>
              <a:cxn ang="0">
                <a:pos x="5" y="0"/>
              </a:cxn>
              <a:cxn ang="0">
                <a:pos x="3" y="0"/>
              </a:cxn>
              <a:cxn ang="0">
                <a:pos x="0" y="2"/>
              </a:cxn>
              <a:cxn ang="0">
                <a:pos x="3" y="2"/>
              </a:cxn>
              <a:cxn ang="0">
                <a:pos x="5" y="0"/>
              </a:cxn>
              <a:cxn ang="0">
                <a:pos x="5" y="0"/>
              </a:cxn>
            </a:cxnLst>
            <a:rect l="0" t="0" r="r" b="b"/>
            <a:pathLst>
              <a:path w="5" h="2">
                <a:moveTo>
                  <a:pt x="5" y="0"/>
                </a:moveTo>
                <a:lnTo>
                  <a:pt x="3" y="0"/>
                </a:lnTo>
                <a:lnTo>
                  <a:pt x="0" y="2"/>
                </a:lnTo>
                <a:lnTo>
                  <a:pt x="3" y="2"/>
                </a:lnTo>
                <a:lnTo>
                  <a:pt x="5" y="0"/>
                </a:lnTo>
                <a:lnTo>
                  <a:pt x="5"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5" name="Freeform 174"/>
          <p:cNvSpPr>
            <a:spLocks/>
          </p:cNvSpPr>
          <p:nvPr/>
        </p:nvSpPr>
        <p:spPr bwMode="auto">
          <a:xfrm>
            <a:off x="2808294" y="3997780"/>
            <a:ext cx="55452" cy="23041"/>
          </a:xfrm>
          <a:custGeom>
            <a:avLst/>
            <a:gdLst/>
            <a:ahLst/>
            <a:cxnLst>
              <a:cxn ang="0">
                <a:pos x="5" y="0"/>
              </a:cxn>
              <a:cxn ang="0">
                <a:pos x="7" y="0"/>
              </a:cxn>
              <a:cxn ang="0">
                <a:pos x="12" y="0"/>
              </a:cxn>
              <a:cxn ang="0">
                <a:pos x="25" y="0"/>
              </a:cxn>
              <a:cxn ang="0">
                <a:pos x="27" y="5"/>
              </a:cxn>
              <a:cxn ang="0">
                <a:pos x="32" y="5"/>
              </a:cxn>
              <a:cxn ang="0">
                <a:pos x="34" y="8"/>
              </a:cxn>
              <a:cxn ang="0">
                <a:pos x="34" y="10"/>
              </a:cxn>
              <a:cxn ang="0">
                <a:pos x="30" y="10"/>
              </a:cxn>
              <a:cxn ang="0">
                <a:pos x="27" y="10"/>
              </a:cxn>
              <a:cxn ang="0">
                <a:pos x="25" y="13"/>
              </a:cxn>
              <a:cxn ang="0">
                <a:pos x="25" y="13"/>
              </a:cxn>
              <a:cxn ang="0">
                <a:pos x="22" y="10"/>
              </a:cxn>
              <a:cxn ang="0">
                <a:pos x="20" y="10"/>
              </a:cxn>
              <a:cxn ang="0">
                <a:pos x="20" y="15"/>
              </a:cxn>
              <a:cxn ang="0">
                <a:pos x="17" y="13"/>
              </a:cxn>
              <a:cxn ang="0">
                <a:pos x="15" y="13"/>
              </a:cxn>
              <a:cxn ang="0">
                <a:pos x="10" y="13"/>
              </a:cxn>
              <a:cxn ang="0">
                <a:pos x="7" y="10"/>
              </a:cxn>
              <a:cxn ang="0">
                <a:pos x="7" y="5"/>
              </a:cxn>
              <a:cxn ang="0">
                <a:pos x="5" y="5"/>
              </a:cxn>
              <a:cxn ang="0">
                <a:pos x="2" y="5"/>
              </a:cxn>
              <a:cxn ang="0">
                <a:pos x="0" y="3"/>
              </a:cxn>
              <a:cxn ang="0">
                <a:pos x="2" y="0"/>
              </a:cxn>
              <a:cxn ang="0">
                <a:pos x="5" y="0"/>
              </a:cxn>
              <a:cxn ang="0">
                <a:pos x="5" y="0"/>
              </a:cxn>
            </a:cxnLst>
            <a:rect l="0" t="0" r="r" b="b"/>
            <a:pathLst>
              <a:path w="34" h="15">
                <a:moveTo>
                  <a:pt x="5" y="0"/>
                </a:moveTo>
                <a:lnTo>
                  <a:pt x="7" y="0"/>
                </a:lnTo>
                <a:lnTo>
                  <a:pt x="12" y="0"/>
                </a:lnTo>
                <a:lnTo>
                  <a:pt x="25" y="0"/>
                </a:lnTo>
                <a:lnTo>
                  <a:pt x="27" y="5"/>
                </a:lnTo>
                <a:lnTo>
                  <a:pt x="32" y="5"/>
                </a:lnTo>
                <a:lnTo>
                  <a:pt x="34" y="8"/>
                </a:lnTo>
                <a:lnTo>
                  <a:pt x="34" y="10"/>
                </a:lnTo>
                <a:lnTo>
                  <a:pt x="30" y="10"/>
                </a:lnTo>
                <a:lnTo>
                  <a:pt x="27" y="10"/>
                </a:lnTo>
                <a:lnTo>
                  <a:pt x="25" y="13"/>
                </a:lnTo>
                <a:lnTo>
                  <a:pt x="25" y="13"/>
                </a:lnTo>
                <a:lnTo>
                  <a:pt x="22" y="10"/>
                </a:lnTo>
                <a:lnTo>
                  <a:pt x="20" y="10"/>
                </a:lnTo>
                <a:lnTo>
                  <a:pt x="20" y="15"/>
                </a:lnTo>
                <a:lnTo>
                  <a:pt x="17" y="13"/>
                </a:lnTo>
                <a:lnTo>
                  <a:pt x="15" y="13"/>
                </a:lnTo>
                <a:lnTo>
                  <a:pt x="10" y="13"/>
                </a:lnTo>
                <a:lnTo>
                  <a:pt x="7" y="10"/>
                </a:lnTo>
                <a:lnTo>
                  <a:pt x="7" y="5"/>
                </a:lnTo>
                <a:lnTo>
                  <a:pt x="5" y="5"/>
                </a:lnTo>
                <a:lnTo>
                  <a:pt x="2" y="5"/>
                </a:lnTo>
                <a:lnTo>
                  <a:pt x="0" y="3"/>
                </a:lnTo>
                <a:lnTo>
                  <a:pt x="2" y="0"/>
                </a:lnTo>
                <a:lnTo>
                  <a:pt x="5" y="0"/>
                </a:lnTo>
                <a:lnTo>
                  <a:pt x="5"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6" name="Freeform 175"/>
          <p:cNvSpPr>
            <a:spLocks noEditPoints="1"/>
          </p:cNvSpPr>
          <p:nvPr/>
        </p:nvSpPr>
        <p:spPr bwMode="auto">
          <a:xfrm>
            <a:off x="2909413" y="3956308"/>
            <a:ext cx="66869" cy="53762"/>
          </a:xfrm>
          <a:custGeom>
            <a:avLst/>
            <a:gdLst/>
            <a:ahLst/>
            <a:cxnLst>
              <a:cxn ang="0">
                <a:pos x="36" y="35"/>
              </a:cxn>
              <a:cxn ang="0">
                <a:pos x="36" y="32"/>
              </a:cxn>
              <a:cxn ang="0">
                <a:pos x="39" y="27"/>
              </a:cxn>
              <a:cxn ang="0">
                <a:pos x="39" y="25"/>
              </a:cxn>
              <a:cxn ang="0">
                <a:pos x="39" y="23"/>
              </a:cxn>
              <a:cxn ang="0">
                <a:pos x="39" y="20"/>
              </a:cxn>
              <a:cxn ang="0">
                <a:pos x="41" y="18"/>
              </a:cxn>
              <a:cxn ang="0">
                <a:pos x="41" y="15"/>
              </a:cxn>
              <a:cxn ang="0">
                <a:pos x="41" y="13"/>
              </a:cxn>
              <a:cxn ang="0">
                <a:pos x="41" y="10"/>
              </a:cxn>
              <a:cxn ang="0">
                <a:pos x="41" y="8"/>
              </a:cxn>
              <a:cxn ang="0">
                <a:pos x="41" y="8"/>
              </a:cxn>
              <a:cxn ang="0">
                <a:pos x="39" y="8"/>
              </a:cxn>
              <a:cxn ang="0">
                <a:pos x="36" y="8"/>
              </a:cxn>
              <a:cxn ang="0">
                <a:pos x="34" y="5"/>
              </a:cxn>
              <a:cxn ang="0">
                <a:pos x="27" y="5"/>
              </a:cxn>
              <a:cxn ang="0">
                <a:pos x="24" y="5"/>
              </a:cxn>
              <a:cxn ang="0">
                <a:pos x="22" y="5"/>
              </a:cxn>
              <a:cxn ang="0">
                <a:pos x="17" y="5"/>
              </a:cxn>
              <a:cxn ang="0">
                <a:pos x="19" y="8"/>
              </a:cxn>
              <a:cxn ang="0">
                <a:pos x="27" y="10"/>
              </a:cxn>
              <a:cxn ang="0">
                <a:pos x="27" y="13"/>
              </a:cxn>
              <a:cxn ang="0">
                <a:pos x="27" y="15"/>
              </a:cxn>
              <a:cxn ang="0">
                <a:pos x="27" y="18"/>
              </a:cxn>
              <a:cxn ang="0">
                <a:pos x="27" y="20"/>
              </a:cxn>
              <a:cxn ang="0">
                <a:pos x="32" y="23"/>
              </a:cxn>
              <a:cxn ang="0">
                <a:pos x="34" y="25"/>
              </a:cxn>
              <a:cxn ang="0">
                <a:pos x="34" y="27"/>
              </a:cxn>
              <a:cxn ang="0">
                <a:pos x="27" y="27"/>
              </a:cxn>
              <a:cxn ang="0">
                <a:pos x="22" y="27"/>
              </a:cxn>
              <a:cxn ang="0">
                <a:pos x="19" y="27"/>
              </a:cxn>
              <a:cxn ang="0">
                <a:pos x="17" y="25"/>
              </a:cxn>
              <a:cxn ang="0">
                <a:pos x="12" y="27"/>
              </a:cxn>
              <a:cxn ang="0">
                <a:pos x="12" y="25"/>
              </a:cxn>
              <a:cxn ang="0">
                <a:pos x="12" y="25"/>
              </a:cxn>
              <a:cxn ang="0">
                <a:pos x="7" y="27"/>
              </a:cxn>
              <a:cxn ang="0">
                <a:pos x="4" y="25"/>
              </a:cxn>
              <a:cxn ang="0">
                <a:pos x="0" y="25"/>
              </a:cxn>
              <a:cxn ang="0">
                <a:pos x="0" y="27"/>
              </a:cxn>
              <a:cxn ang="0">
                <a:pos x="0" y="30"/>
              </a:cxn>
              <a:cxn ang="0">
                <a:pos x="4" y="30"/>
              </a:cxn>
              <a:cxn ang="0">
                <a:pos x="7" y="35"/>
              </a:cxn>
              <a:cxn ang="0">
                <a:pos x="9" y="35"/>
              </a:cxn>
              <a:cxn ang="0">
                <a:pos x="9" y="32"/>
              </a:cxn>
              <a:cxn ang="0">
                <a:pos x="12" y="32"/>
              </a:cxn>
              <a:cxn ang="0">
                <a:pos x="17" y="32"/>
              </a:cxn>
              <a:cxn ang="0">
                <a:pos x="22" y="32"/>
              </a:cxn>
              <a:cxn ang="0">
                <a:pos x="29" y="32"/>
              </a:cxn>
              <a:cxn ang="0">
                <a:pos x="32" y="32"/>
              </a:cxn>
              <a:cxn ang="0">
                <a:pos x="34" y="32"/>
              </a:cxn>
              <a:cxn ang="0">
                <a:pos x="36" y="35"/>
              </a:cxn>
              <a:cxn ang="0">
                <a:pos x="24" y="0"/>
              </a:cxn>
              <a:cxn ang="0">
                <a:pos x="27" y="0"/>
              </a:cxn>
              <a:cxn ang="0">
                <a:pos x="32" y="3"/>
              </a:cxn>
              <a:cxn ang="0">
                <a:pos x="27" y="3"/>
              </a:cxn>
              <a:cxn ang="0">
                <a:pos x="24" y="0"/>
              </a:cxn>
              <a:cxn ang="0">
                <a:pos x="17" y="20"/>
              </a:cxn>
              <a:cxn ang="0">
                <a:pos x="22" y="18"/>
              </a:cxn>
              <a:cxn ang="0">
                <a:pos x="24" y="20"/>
              </a:cxn>
              <a:cxn ang="0">
                <a:pos x="24" y="23"/>
              </a:cxn>
              <a:cxn ang="0">
                <a:pos x="17" y="20"/>
              </a:cxn>
            </a:cxnLst>
            <a:rect l="0" t="0" r="r" b="b"/>
            <a:pathLst>
              <a:path w="41" h="35">
                <a:moveTo>
                  <a:pt x="36" y="35"/>
                </a:moveTo>
                <a:lnTo>
                  <a:pt x="36" y="35"/>
                </a:lnTo>
                <a:lnTo>
                  <a:pt x="36" y="32"/>
                </a:lnTo>
                <a:lnTo>
                  <a:pt x="36" y="32"/>
                </a:lnTo>
                <a:lnTo>
                  <a:pt x="39" y="27"/>
                </a:lnTo>
                <a:lnTo>
                  <a:pt x="39" y="27"/>
                </a:lnTo>
                <a:lnTo>
                  <a:pt x="39" y="25"/>
                </a:lnTo>
                <a:lnTo>
                  <a:pt x="39" y="25"/>
                </a:lnTo>
                <a:lnTo>
                  <a:pt x="39" y="23"/>
                </a:lnTo>
                <a:lnTo>
                  <a:pt x="39" y="23"/>
                </a:lnTo>
                <a:lnTo>
                  <a:pt x="39" y="20"/>
                </a:lnTo>
                <a:lnTo>
                  <a:pt x="39" y="20"/>
                </a:lnTo>
                <a:lnTo>
                  <a:pt x="39" y="20"/>
                </a:lnTo>
                <a:lnTo>
                  <a:pt x="41" y="18"/>
                </a:lnTo>
                <a:lnTo>
                  <a:pt x="41" y="18"/>
                </a:lnTo>
                <a:lnTo>
                  <a:pt x="41" y="15"/>
                </a:lnTo>
                <a:lnTo>
                  <a:pt x="41" y="15"/>
                </a:lnTo>
                <a:lnTo>
                  <a:pt x="41" y="13"/>
                </a:lnTo>
                <a:lnTo>
                  <a:pt x="41" y="13"/>
                </a:lnTo>
                <a:lnTo>
                  <a:pt x="41" y="10"/>
                </a:lnTo>
                <a:lnTo>
                  <a:pt x="41" y="10"/>
                </a:lnTo>
                <a:lnTo>
                  <a:pt x="41" y="8"/>
                </a:lnTo>
                <a:lnTo>
                  <a:pt x="41" y="8"/>
                </a:lnTo>
                <a:lnTo>
                  <a:pt x="41" y="8"/>
                </a:lnTo>
                <a:lnTo>
                  <a:pt x="39" y="8"/>
                </a:lnTo>
                <a:lnTo>
                  <a:pt x="39" y="8"/>
                </a:lnTo>
                <a:lnTo>
                  <a:pt x="36" y="8"/>
                </a:lnTo>
                <a:lnTo>
                  <a:pt x="36" y="8"/>
                </a:lnTo>
                <a:lnTo>
                  <a:pt x="34" y="5"/>
                </a:lnTo>
                <a:lnTo>
                  <a:pt x="34" y="5"/>
                </a:lnTo>
                <a:lnTo>
                  <a:pt x="27" y="5"/>
                </a:lnTo>
                <a:lnTo>
                  <a:pt x="27" y="5"/>
                </a:lnTo>
                <a:lnTo>
                  <a:pt x="24" y="5"/>
                </a:lnTo>
                <a:lnTo>
                  <a:pt x="24" y="5"/>
                </a:lnTo>
                <a:lnTo>
                  <a:pt x="22" y="5"/>
                </a:lnTo>
                <a:lnTo>
                  <a:pt x="22" y="5"/>
                </a:lnTo>
                <a:lnTo>
                  <a:pt x="17" y="5"/>
                </a:lnTo>
                <a:lnTo>
                  <a:pt x="17" y="5"/>
                </a:lnTo>
                <a:lnTo>
                  <a:pt x="19" y="8"/>
                </a:lnTo>
                <a:lnTo>
                  <a:pt x="19" y="8"/>
                </a:lnTo>
                <a:lnTo>
                  <a:pt x="27" y="10"/>
                </a:lnTo>
                <a:lnTo>
                  <a:pt x="27" y="10"/>
                </a:lnTo>
                <a:lnTo>
                  <a:pt x="27" y="13"/>
                </a:lnTo>
                <a:lnTo>
                  <a:pt x="27" y="13"/>
                </a:lnTo>
                <a:lnTo>
                  <a:pt x="27" y="15"/>
                </a:lnTo>
                <a:lnTo>
                  <a:pt x="27" y="15"/>
                </a:lnTo>
                <a:lnTo>
                  <a:pt x="27" y="18"/>
                </a:lnTo>
                <a:lnTo>
                  <a:pt x="27" y="18"/>
                </a:lnTo>
                <a:lnTo>
                  <a:pt x="27" y="20"/>
                </a:lnTo>
                <a:lnTo>
                  <a:pt x="27" y="20"/>
                </a:lnTo>
                <a:lnTo>
                  <a:pt x="32" y="23"/>
                </a:lnTo>
                <a:lnTo>
                  <a:pt x="32" y="23"/>
                </a:lnTo>
                <a:lnTo>
                  <a:pt x="34" y="25"/>
                </a:lnTo>
                <a:lnTo>
                  <a:pt x="34" y="25"/>
                </a:lnTo>
                <a:lnTo>
                  <a:pt x="34" y="27"/>
                </a:lnTo>
                <a:lnTo>
                  <a:pt x="34" y="27"/>
                </a:lnTo>
                <a:lnTo>
                  <a:pt x="27" y="27"/>
                </a:lnTo>
                <a:lnTo>
                  <a:pt x="27" y="27"/>
                </a:lnTo>
                <a:lnTo>
                  <a:pt x="27" y="27"/>
                </a:lnTo>
                <a:lnTo>
                  <a:pt x="22" y="27"/>
                </a:lnTo>
                <a:lnTo>
                  <a:pt x="22" y="27"/>
                </a:lnTo>
                <a:lnTo>
                  <a:pt x="19" y="27"/>
                </a:lnTo>
                <a:lnTo>
                  <a:pt x="19" y="27"/>
                </a:lnTo>
                <a:lnTo>
                  <a:pt x="17" y="25"/>
                </a:lnTo>
                <a:lnTo>
                  <a:pt x="17" y="25"/>
                </a:lnTo>
                <a:lnTo>
                  <a:pt x="12" y="27"/>
                </a:lnTo>
                <a:lnTo>
                  <a:pt x="12" y="27"/>
                </a:lnTo>
                <a:lnTo>
                  <a:pt x="12" y="25"/>
                </a:lnTo>
                <a:lnTo>
                  <a:pt x="12" y="25"/>
                </a:lnTo>
                <a:lnTo>
                  <a:pt x="12" y="25"/>
                </a:lnTo>
                <a:lnTo>
                  <a:pt x="7" y="27"/>
                </a:lnTo>
                <a:lnTo>
                  <a:pt x="7" y="27"/>
                </a:lnTo>
                <a:lnTo>
                  <a:pt x="4" y="25"/>
                </a:lnTo>
                <a:lnTo>
                  <a:pt x="4" y="25"/>
                </a:lnTo>
                <a:lnTo>
                  <a:pt x="0" y="25"/>
                </a:lnTo>
                <a:lnTo>
                  <a:pt x="0" y="25"/>
                </a:lnTo>
                <a:lnTo>
                  <a:pt x="0" y="27"/>
                </a:lnTo>
                <a:lnTo>
                  <a:pt x="0" y="27"/>
                </a:lnTo>
                <a:lnTo>
                  <a:pt x="0" y="30"/>
                </a:lnTo>
                <a:lnTo>
                  <a:pt x="0" y="30"/>
                </a:lnTo>
                <a:lnTo>
                  <a:pt x="4" y="30"/>
                </a:lnTo>
                <a:lnTo>
                  <a:pt x="4" y="30"/>
                </a:lnTo>
                <a:lnTo>
                  <a:pt x="7" y="35"/>
                </a:lnTo>
                <a:lnTo>
                  <a:pt x="7" y="35"/>
                </a:lnTo>
                <a:lnTo>
                  <a:pt x="9" y="35"/>
                </a:lnTo>
                <a:lnTo>
                  <a:pt x="9" y="35"/>
                </a:lnTo>
                <a:lnTo>
                  <a:pt x="9" y="32"/>
                </a:lnTo>
                <a:lnTo>
                  <a:pt x="9" y="32"/>
                </a:lnTo>
                <a:lnTo>
                  <a:pt x="12" y="32"/>
                </a:lnTo>
                <a:lnTo>
                  <a:pt x="12" y="32"/>
                </a:lnTo>
                <a:lnTo>
                  <a:pt x="17" y="32"/>
                </a:lnTo>
                <a:lnTo>
                  <a:pt x="17" y="32"/>
                </a:lnTo>
                <a:lnTo>
                  <a:pt x="22" y="32"/>
                </a:lnTo>
                <a:lnTo>
                  <a:pt x="22" y="32"/>
                </a:lnTo>
                <a:lnTo>
                  <a:pt x="29" y="32"/>
                </a:lnTo>
                <a:lnTo>
                  <a:pt x="29" y="32"/>
                </a:lnTo>
                <a:lnTo>
                  <a:pt x="32" y="32"/>
                </a:lnTo>
                <a:lnTo>
                  <a:pt x="32" y="32"/>
                </a:lnTo>
                <a:lnTo>
                  <a:pt x="34" y="32"/>
                </a:lnTo>
                <a:lnTo>
                  <a:pt x="34" y="32"/>
                </a:lnTo>
                <a:lnTo>
                  <a:pt x="36" y="35"/>
                </a:lnTo>
                <a:lnTo>
                  <a:pt x="36" y="35"/>
                </a:lnTo>
                <a:close/>
                <a:moveTo>
                  <a:pt x="24" y="0"/>
                </a:moveTo>
                <a:lnTo>
                  <a:pt x="24" y="0"/>
                </a:lnTo>
                <a:lnTo>
                  <a:pt x="27" y="0"/>
                </a:lnTo>
                <a:lnTo>
                  <a:pt x="27" y="0"/>
                </a:lnTo>
                <a:lnTo>
                  <a:pt x="32" y="3"/>
                </a:lnTo>
                <a:lnTo>
                  <a:pt x="32" y="3"/>
                </a:lnTo>
                <a:lnTo>
                  <a:pt x="27" y="3"/>
                </a:lnTo>
                <a:lnTo>
                  <a:pt x="27" y="3"/>
                </a:lnTo>
                <a:lnTo>
                  <a:pt x="24" y="0"/>
                </a:lnTo>
                <a:lnTo>
                  <a:pt x="24" y="0"/>
                </a:lnTo>
                <a:close/>
                <a:moveTo>
                  <a:pt x="17" y="20"/>
                </a:moveTo>
                <a:lnTo>
                  <a:pt x="17" y="20"/>
                </a:lnTo>
                <a:lnTo>
                  <a:pt x="22" y="18"/>
                </a:lnTo>
                <a:lnTo>
                  <a:pt x="22" y="18"/>
                </a:lnTo>
                <a:lnTo>
                  <a:pt x="24" y="20"/>
                </a:lnTo>
                <a:lnTo>
                  <a:pt x="24" y="20"/>
                </a:lnTo>
                <a:lnTo>
                  <a:pt x="24" y="23"/>
                </a:lnTo>
                <a:lnTo>
                  <a:pt x="24" y="23"/>
                </a:lnTo>
                <a:lnTo>
                  <a:pt x="19" y="23"/>
                </a:lnTo>
                <a:lnTo>
                  <a:pt x="17" y="2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7" name="Freeform 176"/>
          <p:cNvSpPr>
            <a:spLocks noEditPoints="1"/>
          </p:cNvSpPr>
          <p:nvPr/>
        </p:nvSpPr>
        <p:spPr bwMode="auto">
          <a:xfrm>
            <a:off x="2648460" y="3877969"/>
            <a:ext cx="267477" cy="90627"/>
          </a:xfrm>
          <a:custGeom>
            <a:avLst/>
            <a:gdLst/>
            <a:ahLst/>
            <a:cxnLst>
              <a:cxn ang="0">
                <a:pos x="34" y="22"/>
              </a:cxn>
              <a:cxn ang="0">
                <a:pos x="34" y="29"/>
              </a:cxn>
              <a:cxn ang="0">
                <a:pos x="32" y="27"/>
              </a:cxn>
              <a:cxn ang="0">
                <a:pos x="32" y="24"/>
              </a:cxn>
              <a:cxn ang="0">
                <a:pos x="32" y="22"/>
              </a:cxn>
              <a:cxn ang="0">
                <a:pos x="9" y="19"/>
              </a:cxn>
              <a:cxn ang="0">
                <a:pos x="0" y="19"/>
              </a:cxn>
              <a:cxn ang="0">
                <a:pos x="7" y="19"/>
              </a:cxn>
              <a:cxn ang="0">
                <a:pos x="12" y="22"/>
              </a:cxn>
              <a:cxn ang="0">
                <a:pos x="22" y="17"/>
              </a:cxn>
              <a:cxn ang="0">
                <a:pos x="27" y="17"/>
              </a:cxn>
              <a:cxn ang="0">
                <a:pos x="37" y="7"/>
              </a:cxn>
              <a:cxn ang="0">
                <a:pos x="51" y="10"/>
              </a:cxn>
              <a:cxn ang="0">
                <a:pos x="46" y="12"/>
              </a:cxn>
              <a:cxn ang="0">
                <a:pos x="56" y="17"/>
              </a:cxn>
              <a:cxn ang="0">
                <a:pos x="64" y="19"/>
              </a:cxn>
              <a:cxn ang="0">
                <a:pos x="71" y="17"/>
              </a:cxn>
              <a:cxn ang="0">
                <a:pos x="78" y="24"/>
              </a:cxn>
              <a:cxn ang="0">
                <a:pos x="86" y="27"/>
              </a:cxn>
              <a:cxn ang="0">
                <a:pos x="96" y="24"/>
              </a:cxn>
              <a:cxn ang="0">
                <a:pos x="105" y="42"/>
              </a:cxn>
              <a:cxn ang="0">
                <a:pos x="113" y="42"/>
              </a:cxn>
              <a:cxn ang="0">
                <a:pos x="123" y="44"/>
              </a:cxn>
              <a:cxn ang="0">
                <a:pos x="113" y="54"/>
              </a:cxn>
              <a:cxn ang="0">
                <a:pos x="120" y="56"/>
              </a:cxn>
              <a:cxn ang="0">
                <a:pos x="135" y="56"/>
              </a:cxn>
              <a:cxn ang="0">
                <a:pos x="150" y="54"/>
              </a:cxn>
              <a:cxn ang="0">
                <a:pos x="160" y="54"/>
              </a:cxn>
              <a:cxn ang="0">
                <a:pos x="164" y="46"/>
              </a:cxn>
              <a:cxn ang="0">
                <a:pos x="152" y="42"/>
              </a:cxn>
              <a:cxn ang="0">
                <a:pos x="142" y="39"/>
              </a:cxn>
              <a:cxn ang="0">
                <a:pos x="140" y="34"/>
              </a:cxn>
              <a:cxn ang="0">
                <a:pos x="130" y="32"/>
              </a:cxn>
              <a:cxn ang="0">
                <a:pos x="120" y="29"/>
              </a:cxn>
              <a:cxn ang="0">
                <a:pos x="118" y="24"/>
              </a:cxn>
              <a:cxn ang="0">
                <a:pos x="110" y="24"/>
              </a:cxn>
              <a:cxn ang="0">
                <a:pos x="98" y="14"/>
              </a:cxn>
              <a:cxn ang="0">
                <a:pos x="86" y="10"/>
              </a:cxn>
              <a:cxn ang="0">
                <a:pos x="78" y="5"/>
              </a:cxn>
              <a:cxn ang="0">
                <a:pos x="59" y="2"/>
              </a:cxn>
              <a:cxn ang="0">
                <a:pos x="41" y="0"/>
              </a:cxn>
              <a:cxn ang="0">
                <a:pos x="24" y="2"/>
              </a:cxn>
              <a:cxn ang="0">
                <a:pos x="12" y="10"/>
              </a:cxn>
              <a:cxn ang="0">
                <a:pos x="9" y="14"/>
              </a:cxn>
            </a:cxnLst>
            <a:rect l="0" t="0" r="r" b="b"/>
            <a:pathLst>
              <a:path w="164" h="59">
                <a:moveTo>
                  <a:pt x="32" y="22"/>
                </a:moveTo>
                <a:lnTo>
                  <a:pt x="32" y="19"/>
                </a:lnTo>
                <a:lnTo>
                  <a:pt x="34" y="22"/>
                </a:lnTo>
                <a:lnTo>
                  <a:pt x="39" y="24"/>
                </a:lnTo>
                <a:lnTo>
                  <a:pt x="37" y="27"/>
                </a:lnTo>
                <a:lnTo>
                  <a:pt x="34" y="29"/>
                </a:lnTo>
                <a:lnTo>
                  <a:pt x="29" y="27"/>
                </a:lnTo>
                <a:lnTo>
                  <a:pt x="29" y="24"/>
                </a:lnTo>
                <a:lnTo>
                  <a:pt x="32" y="27"/>
                </a:lnTo>
                <a:lnTo>
                  <a:pt x="32" y="27"/>
                </a:lnTo>
                <a:lnTo>
                  <a:pt x="34" y="24"/>
                </a:lnTo>
                <a:lnTo>
                  <a:pt x="32" y="24"/>
                </a:lnTo>
                <a:lnTo>
                  <a:pt x="32" y="22"/>
                </a:lnTo>
                <a:lnTo>
                  <a:pt x="32" y="22"/>
                </a:lnTo>
                <a:lnTo>
                  <a:pt x="32" y="22"/>
                </a:lnTo>
                <a:close/>
                <a:moveTo>
                  <a:pt x="9" y="14"/>
                </a:moveTo>
                <a:lnTo>
                  <a:pt x="12" y="17"/>
                </a:lnTo>
                <a:lnTo>
                  <a:pt x="9" y="19"/>
                </a:lnTo>
                <a:lnTo>
                  <a:pt x="7" y="17"/>
                </a:lnTo>
                <a:lnTo>
                  <a:pt x="2" y="22"/>
                </a:lnTo>
                <a:lnTo>
                  <a:pt x="0" y="19"/>
                </a:lnTo>
                <a:lnTo>
                  <a:pt x="0" y="22"/>
                </a:lnTo>
                <a:lnTo>
                  <a:pt x="2" y="24"/>
                </a:lnTo>
                <a:lnTo>
                  <a:pt x="7" y="19"/>
                </a:lnTo>
                <a:lnTo>
                  <a:pt x="7" y="19"/>
                </a:lnTo>
                <a:lnTo>
                  <a:pt x="7" y="22"/>
                </a:lnTo>
                <a:lnTo>
                  <a:pt x="12" y="22"/>
                </a:lnTo>
                <a:lnTo>
                  <a:pt x="14" y="19"/>
                </a:lnTo>
                <a:lnTo>
                  <a:pt x="17" y="17"/>
                </a:lnTo>
                <a:lnTo>
                  <a:pt x="22" y="17"/>
                </a:lnTo>
                <a:lnTo>
                  <a:pt x="22" y="14"/>
                </a:lnTo>
                <a:lnTo>
                  <a:pt x="24" y="17"/>
                </a:lnTo>
                <a:lnTo>
                  <a:pt x="27" y="17"/>
                </a:lnTo>
                <a:lnTo>
                  <a:pt x="32" y="10"/>
                </a:lnTo>
                <a:lnTo>
                  <a:pt x="34" y="10"/>
                </a:lnTo>
                <a:lnTo>
                  <a:pt x="37" y="7"/>
                </a:lnTo>
                <a:lnTo>
                  <a:pt x="41" y="10"/>
                </a:lnTo>
                <a:lnTo>
                  <a:pt x="44" y="10"/>
                </a:lnTo>
                <a:lnTo>
                  <a:pt x="51" y="10"/>
                </a:lnTo>
                <a:lnTo>
                  <a:pt x="54" y="12"/>
                </a:lnTo>
                <a:lnTo>
                  <a:pt x="51" y="12"/>
                </a:lnTo>
                <a:lnTo>
                  <a:pt x="46" y="12"/>
                </a:lnTo>
                <a:lnTo>
                  <a:pt x="44" y="14"/>
                </a:lnTo>
                <a:lnTo>
                  <a:pt x="46" y="17"/>
                </a:lnTo>
                <a:lnTo>
                  <a:pt x="56" y="17"/>
                </a:lnTo>
                <a:lnTo>
                  <a:pt x="59" y="17"/>
                </a:lnTo>
                <a:lnTo>
                  <a:pt x="61" y="17"/>
                </a:lnTo>
                <a:lnTo>
                  <a:pt x="64" y="19"/>
                </a:lnTo>
                <a:lnTo>
                  <a:pt x="69" y="19"/>
                </a:lnTo>
                <a:lnTo>
                  <a:pt x="71" y="19"/>
                </a:lnTo>
                <a:lnTo>
                  <a:pt x="71" y="17"/>
                </a:lnTo>
                <a:lnTo>
                  <a:pt x="73" y="19"/>
                </a:lnTo>
                <a:lnTo>
                  <a:pt x="73" y="19"/>
                </a:lnTo>
                <a:lnTo>
                  <a:pt x="78" y="24"/>
                </a:lnTo>
                <a:lnTo>
                  <a:pt x="83" y="24"/>
                </a:lnTo>
                <a:lnTo>
                  <a:pt x="83" y="24"/>
                </a:lnTo>
                <a:lnTo>
                  <a:pt x="86" y="27"/>
                </a:lnTo>
                <a:lnTo>
                  <a:pt x="91" y="27"/>
                </a:lnTo>
                <a:lnTo>
                  <a:pt x="93" y="27"/>
                </a:lnTo>
                <a:lnTo>
                  <a:pt x="96" y="24"/>
                </a:lnTo>
                <a:lnTo>
                  <a:pt x="98" y="27"/>
                </a:lnTo>
                <a:lnTo>
                  <a:pt x="100" y="34"/>
                </a:lnTo>
                <a:lnTo>
                  <a:pt x="105" y="42"/>
                </a:lnTo>
                <a:lnTo>
                  <a:pt x="108" y="42"/>
                </a:lnTo>
                <a:lnTo>
                  <a:pt x="110" y="39"/>
                </a:lnTo>
                <a:lnTo>
                  <a:pt x="113" y="42"/>
                </a:lnTo>
                <a:lnTo>
                  <a:pt x="118" y="42"/>
                </a:lnTo>
                <a:lnTo>
                  <a:pt x="120" y="44"/>
                </a:lnTo>
                <a:lnTo>
                  <a:pt x="123" y="44"/>
                </a:lnTo>
                <a:lnTo>
                  <a:pt x="120" y="49"/>
                </a:lnTo>
                <a:lnTo>
                  <a:pt x="118" y="49"/>
                </a:lnTo>
                <a:lnTo>
                  <a:pt x="113" y="54"/>
                </a:lnTo>
                <a:lnTo>
                  <a:pt x="113" y="56"/>
                </a:lnTo>
                <a:lnTo>
                  <a:pt x="118" y="56"/>
                </a:lnTo>
                <a:lnTo>
                  <a:pt x="120" y="56"/>
                </a:lnTo>
                <a:lnTo>
                  <a:pt x="123" y="56"/>
                </a:lnTo>
                <a:lnTo>
                  <a:pt x="130" y="54"/>
                </a:lnTo>
                <a:lnTo>
                  <a:pt x="135" y="56"/>
                </a:lnTo>
                <a:lnTo>
                  <a:pt x="140" y="59"/>
                </a:lnTo>
                <a:lnTo>
                  <a:pt x="150" y="56"/>
                </a:lnTo>
                <a:lnTo>
                  <a:pt x="150" y="54"/>
                </a:lnTo>
                <a:lnTo>
                  <a:pt x="152" y="54"/>
                </a:lnTo>
                <a:lnTo>
                  <a:pt x="155" y="51"/>
                </a:lnTo>
                <a:lnTo>
                  <a:pt x="160" y="54"/>
                </a:lnTo>
                <a:lnTo>
                  <a:pt x="162" y="51"/>
                </a:lnTo>
                <a:lnTo>
                  <a:pt x="164" y="49"/>
                </a:lnTo>
                <a:lnTo>
                  <a:pt x="164" y="46"/>
                </a:lnTo>
                <a:lnTo>
                  <a:pt x="160" y="46"/>
                </a:lnTo>
                <a:lnTo>
                  <a:pt x="160" y="44"/>
                </a:lnTo>
                <a:lnTo>
                  <a:pt x="152" y="42"/>
                </a:lnTo>
                <a:lnTo>
                  <a:pt x="145" y="42"/>
                </a:lnTo>
                <a:lnTo>
                  <a:pt x="142" y="39"/>
                </a:lnTo>
                <a:lnTo>
                  <a:pt x="142" y="39"/>
                </a:lnTo>
                <a:lnTo>
                  <a:pt x="145" y="34"/>
                </a:lnTo>
                <a:lnTo>
                  <a:pt x="142" y="34"/>
                </a:lnTo>
                <a:lnTo>
                  <a:pt x="140" y="34"/>
                </a:lnTo>
                <a:lnTo>
                  <a:pt x="137" y="34"/>
                </a:lnTo>
                <a:lnTo>
                  <a:pt x="132" y="29"/>
                </a:lnTo>
                <a:lnTo>
                  <a:pt x="130" y="32"/>
                </a:lnTo>
                <a:lnTo>
                  <a:pt x="128" y="29"/>
                </a:lnTo>
                <a:lnTo>
                  <a:pt x="123" y="27"/>
                </a:lnTo>
                <a:lnTo>
                  <a:pt x="120" y="29"/>
                </a:lnTo>
                <a:lnTo>
                  <a:pt x="120" y="27"/>
                </a:lnTo>
                <a:lnTo>
                  <a:pt x="120" y="24"/>
                </a:lnTo>
                <a:lnTo>
                  <a:pt x="118" y="24"/>
                </a:lnTo>
                <a:lnTo>
                  <a:pt x="118" y="27"/>
                </a:lnTo>
                <a:lnTo>
                  <a:pt x="115" y="24"/>
                </a:lnTo>
                <a:lnTo>
                  <a:pt x="110" y="24"/>
                </a:lnTo>
                <a:lnTo>
                  <a:pt x="105" y="19"/>
                </a:lnTo>
                <a:lnTo>
                  <a:pt x="103" y="17"/>
                </a:lnTo>
                <a:lnTo>
                  <a:pt x="98" y="14"/>
                </a:lnTo>
                <a:lnTo>
                  <a:pt x="91" y="14"/>
                </a:lnTo>
                <a:lnTo>
                  <a:pt x="88" y="12"/>
                </a:lnTo>
                <a:lnTo>
                  <a:pt x="86" y="10"/>
                </a:lnTo>
                <a:lnTo>
                  <a:pt x="83" y="5"/>
                </a:lnTo>
                <a:lnTo>
                  <a:pt x="78" y="7"/>
                </a:lnTo>
                <a:lnTo>
                  <a:pt x="78" y="5"/>
                </a:lnTo>
                <a:lnTo>
                  <a:pt x="66" y="2"/>
                </a:lnTo>
                <a:lnTo>
                  <a:pt x="64" y="5"/>
                </a:lnTo>
                <a:lnTo>
                  <a:pt x="59" y="2"/>
                </a:lnTo>
                <a:lnTo>
                  <a:pt x="56" y="0"/>
                </a:lnTo>
                <a:lnTo>
                  <a:pt x="49" y="0"/>
                </a:lnTo>
                <a:lnTo>
                  <a:pt x="41" y="0"/>
                </a:lnTo>
                <a:lnTo>
                  <a:pt x="39" y="2"/>
                </a:lnTo>
                <a:lnTo>
                  <a:pt x="29" y="2"/>
                </a:lnTo>
                <a:lnTo>
                  <a:pt x="24" y="2"/>
                </a:lnTo>
                <a:lnTo>
                  <a:pt x="22" y="5"/>
                </a:lnTo>
                <a:lnTo>
                  <a:pt x="14" y="7"/>
                </a:lnTo>
                <a:lnTo>
                  <a:pt x="12" y="10"/>
                </a:lnTo>
                <a:lnTo>
                  <a:pt x="9" y="12"/>
                </a:lnTo>
                <a:lnTo>
                  <a:pt x="9" y="14"/>
                </a:lnTo>
                <a:lnTo>
                  <a:pt x="9" y="1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8" name="Freeform 177"/>
          <p:cNvSpPr>
            <a:spLocks noEditPoints="1"/>
          </p:cNvSpPr>
          <p:nvPr/>
        </p:nvSpPr>
        <p:spPr bwMode="auto">
          <a:xfrm>
            <a:off x="2811556" y="3779662"/>
            <a:ext cx="145156" cy="158212"/>
          </a:xfrm>
          <a:custGeom>
            <a:avLst/>
            <a:gdLst/>
            <a:ahLst/>
            <a:cxnLst>
              <a:cxn ang="0">
                <a:pos x="84" y="91"/>
              </a:cxn>
              <a:cxn ang="0">
                <a:pos x="84" y="93"/>
              </a:cxn>
              <a:cxn ang="0">
                <a:pos x="84" y="98"/>
              </a:cxn>
              <a:cxn ang="0">
                <a:pos x="82" y="98"/>
              </a:cxn>
              <a:cxn ang="0">
                <a:pos x="72" y="103"/>
              </a:cxn>
              <a:cxn ang="0">
                <a:pos x="82" y="78"/>
              </a:cxn>
              <a:cxn ang="0">
                <a:pos x="89" y="81"/>
              </a:cxn>
              <a:cxn ang="0">
                <a:pos x="82" y="78"/>
              </a:cxn>
              <a:cxn ang="0">
                <a:pos x="74" y="71"/>
              </a:cxn>
              <a:cxn ang="0">
                <a:pos x="67" y="76"/>
              </a:cxn>
              <a:cxn ang="0">
                <a:pos x="67" y="78"/>
              </a:cxn>
              <a:cxn ang="0">
                <a:pos x="74" y="71"/>
              </a:cxn>
              <a:cxn ang="0">
                <a:pos x="64" y="69"/>
              </a:cxn>
              <a:cxn ang="0">
                <a:pos x="67" y="71"/>
              </a:cxn>
              <a:cxn ang="0">
                <a:pos x="64" y="69"/>
              </a:cxn>
              <a:cxn ang="0">
                <a:pos x="55" y="61"/>
              </a:cxn>
              <a:cxn ang="0">
                <a:pos x="57" y="69"/>
              </a:cxn>
              <a:cxn ang="0">
                <a:pos x="55" y="61"/>
              </a:cxn>
              <a:cxn ang="0">
                <a:pos x="52" y="56"/>
              </a:cxn>
              <a:cxn ang="0">
                <a:pos x="40" y="56"/>
              </a:cxn>
              <a:cxn ang="0">
                <a:pos x="42" y="54"/>
              </a:cxn>
              <a:cxn ang="0">
                <a:pos x="64" y="51"/>
              </a:cxn>
              <a:cxn ang="0">
                <a:pos x="64" y="47"/>
              </a:cxn>
              <a:cxn ang="0">
                <a:pos x="50" y="39"/>
              </a:cxn>
              <a:cxn ang="0">
                <a:pos x="52" y="49"/>
              </a:cxn>
              <a:cxn ang="0">
                <a:pos x="55" y="51"/>
              </a:cxn>
              <a:cxn ang="0">
                <a:pos x="52" y="42"/>
              </a:cxn>
              <a:cxn ang="0">
                <a:pos x="50" y="39"/>
              </a:cxn>
              <a:cxn ang="0">
                <a:pos x="42" y="32"/>
              </a:cxn>
              <a:cxn ang="0">
                <a:pos x="40" y="37"/>
              </a:cxn>
              <a:cxn ang="0">
                <a:pos x="40" y="29"/>
              </a:cxn>
              <a:cxn ang="0">
                <a:pos x="35" y="27"/>
              </a:cxn>
              <a:cxn ang="0">
                <a:pos x="25" y="0"/>
              </a:cxn>
              <a:cxn ang="0">
                <a:pos x="32" y="7"/>
              </a:cxn>
              <a:cxn ang="0">
                <a:pos x="30" y="15"/>
              </a:cxn>
              <a:cxn ang="0">
                <a:pos x="28" y="10"/>
              </a:cxn>
              <a:cxn ang="0">
                <a:pos x="25" y="0"/>
              </a:cxn>
              <a:cxn ang="0">
                <a:pos x="20" y="0"/>
              </a:cxn>
              <a:cxn ang="0">
                <a:pos x="8" y="5"/>
              </a:cxn>
              <a:cxn ang="0">
                <a:pos x="20" y="5"/>
              </a:cxn>
              <a:cxn ang="0">
                <a:pos x="8" y="7"/>
              </a:cxn>
              <a:cxn ang="0">
                <a:pos x="0" y="2"/>
              </a:cxn>
              <a:cxn ang="0">
                <a:pos x="25" y="29"/>
              </a:cxn>
              <a:cxn ang="0">
                <a:pos x="23" y="32"/>
              </a:cxn>
              <a:cxn ang="0">
                <a:pos x="20" y="32"/>
              </a:cxn>
              <a:cxn ang="0">
                <a:pos x="18" y="44"/>
              </a:cxn>
              <a:cxn ang="0">
                <a:pos x="15" y="47"/>
              </a:cxn>
              <a:cxn ang="0">
                <a:pos x="15" y="49"/>
              </a:cxn>
              <a:cxn ang="0">
                <a:pos x="13" y="47"/>
              </a:cxn>
              <a:cxn ang="0">
                <a:pos x="15" y="37"/>
              </a:cxn>
              <a:cxn ang="0">
                <a:pos x="10" y="34"/>
              </a:cxn>
              <a:cxn ang="0">
                <a:pos x="13" y="39"/>
              </a:cxn>
              <a:cxn ang="0">
                <a:pos x="13" y="44"/>
              </a:cxn>
              <a:cxn ang="0">
                <a:pos x="15" y="51"/>
              </a:cxn>
              <a:cxn ang="0">
                <a:pos x="20" y="51"/>
              </a:cxn>
              <a:cxn ang="0">
                <a:pos x="18" y="47"/>
              </a:cxn>
            </a:cxnLst>
            <a:rect l="0" t="0" r="r" b="b"/>
            <a:pathLst>
              <a:path w="89" h="103">
                <a:moveTo>
                  <a:pt x="84" y="93"/>
                </a:moveTo>
                <a:lnTo>
                  <a:pt x="84" y="93"/>
                </a:lnTo>
                <a:lnTo>
                  <a:pt x="84" y="91"/>
                </a:lnTo>
                <a:lnTo>
                  <a:pt x="84" y="93"/>
                </a:lnTo>
                <a:lnTo>
                  <a:pt x="84" y="93"/>
                </a:lnTo>
                <a:lnTo>
                  <a:pt x="84" y="93"/>
                </a:lnTo>
                <a:close/>
                <a:moveTo>
                  <a:pt x="72" y="103"/>
                </a:moveTo>
                <a:lnTo>
                  <a:pt x="82" y="103"/>
                </a:lnTo>
                <a:lnTo>
                  <a:pt x="84" y="98"/>
                </a:lnTo>
                <a:lnTo>
                  <a:pt x="84" y="96"/>
                </a:lnTo>
                <a:lnTo>
                  <a:pt x="82" y="96"/>
                </a:lnTo>
                <a:lnTo>
                  <a:pt x="82" y="98"/>
                </a:lnTo>
                <a:lnTo>
                  <a:pt x="77" y="96"/>
                </a:lnTo>
                <a:lnTo>
                  <a:pt x="74" y="98"/>
                </a:lnTo>
                <a:lnTo>
                  <a:pt x="72" y="103"/>
                </a:lnTo>
                <a:lnTo>
                  <a:pt x="72" y="103"/>
                </a:lnTo>
                <a:lnTo>
                  <a:pt x="72" y="103"/>
                </a:lnTo>
                <a:close/>
                <a:moveTo>
                  <a:pt x="82" y="78"/>
                </a:moveTo>
                <a:lnTo>
                  <a:pt x="84" y="76"/>
                </a:lnTo>
                <a:lnTo>
                  <a:pt x="89" y="78"/>
                </a:lnTo>
                <a:lnTo>
                  <a:pt x="89" y="81"/>
                </a:lnTo>
                <a:lnTo>
                  <a:pt x="87" y="78"/>
                </a:lnTo>
                <a:lnTo>
                  <a:pt x="84" y="78"/>
                </a:lnTo>
                <a:lnTo>
                  <a:pt x="82" y="78"/>
                </a:lnTo>
                <a:lnTo>
                  <a:pt x="82" y="78"/>
                </a:lnTo>
                <a:lnTo>
                  <a:pt x="82" y="78"/>
                </a:lnTo>
                <a:close/>
                <a:moveTo>
                  <a:pt x="74" y="71"/>
                </a:moveTo>
                <a:lnTo>
                  <a:pt x="69" y="71"/>
                </a:lnTo>
                <a:lnTo>
                  <a:pt x="69" y="74"/>
                </a:lnTo>
                <a:lnTo>
                  <a:pt x="67" y="76"/>
                </a:lnTo>
                <a:lnTo>
                  <a:pt x="67" y="78"/>
                </a:lnTo>
                <a:lnTo>
                  <a:pt x="64" y="78"/>
                </a:lnTo>
                <a:lnTo>
                  <a:pt x="67" y="78"/>
                </a:lnTo>
                <a:lnTo>
                  <a:pt x="74" y="76"/>
                </a:lnTo>
                <a:lnTo>
                  <a:pt x="74" y="71"/>
                </a:lnTo>
                <a:lnTo>
                  <a:pt x="74" y="71"/>
                </a:lnTo>
                <a:lnTo>
                  <a:pt x="74" y="71"/>
                </a:lnTo>
                <a:lnTo>
                  <a:pt x="74" y="71"/>
                </a:lnTo>
                <a:close/>
                <a:moveTo>
                  <a:pt x="64" y="69"/>
                </a:moveTo>
                <a:lnTo>
                  <a:pt x="67" y="69"/>
                </a:lnTo>
                <a:lnTo>
                  <a:pt x="69" y="71"/>
                </a:lnTo>
                <a:lnTo>
                  <a:pt x="67" y="71"/>
                </a:lnTo>
                <a:lnTo>
                  <a:pt x="64" y="69"/>
                </a:lnTo>
                <a:lnTo>
                  <a:pt x="64" y="69"/>
                </a:lnTo>
                <a:lnTo>
                  <a:pt x="64" y="69"/>
                </a:lnTo>
                <a:lnTo>
                  <a:pt x="64" y="69"/>
                </a:lnTo>
                <a:close/>
                <a:moveTo>
                  <a:pt x="52" y="56"/>
                </a:moveTo>
                <a:lnTo>
                  <a:pt x="55" y="61"/>
                </a:lnTo>
                <a:lnTo>
                  <a:pt x="57" y="64"/>
                </a:lnTo>
                <a:lnTo>
                  <a:pt x="60" y="69"/>
                </a:lnTo>
                <a:lnTo>
                  <a:pt x="57" y="69"/>
                </a:lnTo>
                <a:lnTo>
                  <a:pt x="55" y="66"/>
                </a:lnTo>
                <a:lnTo>
                  <a:pt x="52" y="61"/>
                </a:lnTo>
                <a:lnTo>
                  <a:pt x="55" y="61"/>
                </a:lnTo>
                <a:lnTo>
                  <a:pt x="52" y="56"/>
                </a:lnTo>
                <a:lnTo>
                  <a:pt x="52" y="56"/>
                </a:lnTo>
                <a:lnTo>
                  <a:pt x="52" y="56"/>
                </a:lnTo>
                <a:lnTo>
                  <a:pt x="52" y="56"/>
                </a:lnTo>
                <a:close/>
                <a:moveTo>
                  <a:pt x="42" y="54"/>
                </a:moveTo>
                <a:lnTo>
                  <a:pt x="40" y="56"/>
                </a:lnTo>
                <a:lnTo>
                  <a:pt x="42" y="56"/>
                </a:lnTo>
                <a:lnTo>
                  <a:pt x="42" y="54"/>
                </a:lnTo>
                <a:lnTo>
                  <a:pt x="42" y="54"/>
                </a:lnTo>
                <a:lnTo>
                  <a:pt x="42" y="54"/>
                </a:lnTo>
                <a:close/>
                <a:moveTo>
                  <a:pt x="64" y="47"/>
                </a:moveTo>
                <a:lnTo>
                  <a:pt x="64" y="51"/>
                </a:lnTo>
                <a:lnTo>
                  <a:pt x="64" y="51"/>
                </a:lnTo>
                <a:lnTo>
                  <a:pt x="67" y="49"/>
                </a:lnTo>
                <a:lnTo>
                  <a:pt x="64" y="47"/>
                </a:lnTo>
                <a:lnTo>
                  <a:pt x="64" y="47"/>
                </a:lnTo>
                <a:lnTo>
                  <a:pt x="64" y="47"/>
                </a:lnTo>
                <a:close/>
                <a:moveTo>
                  <a:pt x="50" y="39"/>
                </a:moveTo>
                <a:lnTo>
                  <a:pt x="47" y="42"/>
                </a:lnTo>
                <a:lnTo>
                  <a:pt x="50" y="44"/>
                </a:lnTo>
                <a:lnTo>
                  <a:pt x="52" y="49"/>
                </a:lnTo>
                <a:lnTo>
                  <a:pt x="50" y="49"/>
                </a:lnTo>
                <a:lnTo>
                  <a:pt x="52" y="51"/>
                </a:lnTo>
                <a:lnTo>
                  <a:pt x="55" y="51"/>
                </a:lnTo>
                <a:lnTo>
                  <a:pt x="55" y="49"/>
                </a:lnTo>
                <a:lnTo>
                  <a:pt x="52" y="44"/>
                </a:lnTo>
                <a:lnTo>
                  <a:pt x="52" y="42"/>
                </a:lnTo>
                <a:lnTo>
                  <a:pt x="50" y="39"/>
                </a:lnTo>
                <a:lnTo>
                  <a:pt x="50" y="39"/>
                </a:lnTo>
                <a:lnTo>
                  <a:pt x="50" y="39"/>
                </a:lnTo>
                <a:close/>
                <a:moveTo>
                  <a:pt x="35" y="27"/>
                </a:moveTo>
                <a:lnTo>
                  <a:pt x="40" y="29"/>
                </a:lnTo>
                <a:lnTo>
                  <a:pt x="42" y="32"/>
                </a:lnTo>
                <a:lnTo>
                  <a:pt x="42" y="37"/>
                </a:lnTo>
                <a:lnTo>
                  <a:pt x="40" y="37"/>
                </a:lnTo>
                <a:lnTo>
                  <a:pt x="40" y="37"/>
                </a:lnTo>
                <a:lnTo>
                  <a:pt x="40" y="34"/>
                </a:lnTo>
                <a:lnTo>
                  <a:pt x="42" y="32"/>
                </a:lnTo>
                <a:lnTo>
                  <a:pt x="40" y="29"/>
                </a:lnTo>
                <a:lnTo>
                  <a:pt x="35" y="29"/>
                </a:lnTo>
                <a:lnTo>
                  <a:pt x="35" y="27"/>
                </a:lnTo>
                <a:lnTo>
                  <a:pt x="35" y="27"/>
                </a:lnTo>
                <a:lnTo>
                  <a:pt x="35" y="27"/>
                </a:lnTo>
                <a:close/>
                <a:moveTo>
                  <a:pt x="20" y="0"/>
                </a:moveTo>
                <a:lnTo>
                  <a:pt x="25" y="0"/>
                </a:lnTo>
                <a:lnTo>
                  <a:pt x="30" y="2"/>
                </a:lnTo>
                <a:lnTo>
                  <a:pt x="30" y="5"/>
                </a:lnTo>
                <a:lnTo>
                  <a:pt x="32" y="7"/>
                </a:lnTo>
                <a:lnTo>
                  <a:pt x="32" y="12"/>
                </a:lnTo>
                <a:lnTo>
                  <a:pt x="30" y="12"/>
                </a:lnTo>
                <a:lnTo>
                  <a:pt x="30" y="15"/>
                </a:lnTo>
                <a:lnTo>
                  <a:pt x="28" y="17"/>
                </a:lnTo>
                <a:lnTo>
                  <a:pt x="28" y="12"/>
                </a:lnTo>
                <a:lnTo>
                  <a:pt x="28" y="10"/>
                </a:lnTo>
                <a:lnTo>
                  <a:pt x="28" y="7"/>
                </a:lnTo>
                <a:lnTo>
                  <a:pt x="25" y="5"/>
                </a:lnTo>
                <a:lnTo>
                  <a:pt x="25" y="0"/>
                </a:lnTo>
                <a:lnTo>
                  <a:pt x="20" y="0"/>
                </a:lnTo>
                <a:lnTo>
                  <a:pt x="20" y="0"/>
                </a:lnTo>
                <a:lnTo>
                  <a:pt x="20" y="0"/>
                </a:lnTo>
                <a:close/>
                <a:moveTo>
                  <a:pt x="0" y="2"/>
                </a:moveTo>
                <a:lnTo>
                  <a:pt x="5" y="2"/>
                </a:lnTo>
                <a:lnTo>
                  <a:pt x="8" y="5"/>
                </a:lnTo>
                <a:lnTo>
                  <a:pt x="13" y="0"/>
                </a:lnTo>
                <a:lnTo>
                  <a:pt x="15" y="0"/>
                </a:lnTo>
                <a:lnTo>
                  <a:pt x="20" y="5"/>
                </a:lnTo>
                <a:lnTo>
                  <a:pt x="18" y="5"/>
                </a:lnTo>
                <a:lnTo>
                  <a:pt x="15" y="2"/>
                </a:lnTo>
                <a:lnTo>
                  <a:pt x="8" y="7"/>
                </a:lnTo>
                <a:lnTo>
                  <a:pt x="5" y="7"/>
                </a:lnTo>
                <a:lnTo>
                  <a:pt x="0" y="2"/>
                </a:lnTo>
                <a:lnTo>
                  <a:pt x="0" y="2"/>
                </a:lnTo>
                <a:lnTo>
                  <a:pt x="0" y="2"/>
                </a:lnTo>
                <a:close/>
                <a:moveTo>
                  <a:pt x="20" y="32"/>
                </a:moveTo>
                <a:lnTo>
                  <a:pt x="25" y="29"/>
                </a:lnTo>
                <a:lnTo>
                  <a:pt x="28" y="29"/>
                </a:lnTo>
                <a:lnTo>
                  <a:pt x="28" y="32"/>
                </a:lnTo>
                <a:lnTo>
                  <a:pt x="23" y="32"/>
                </a:lnTo>
                <a:lnTo>
                  <a:pt x="20" y="32"/>
                </a:lnTo>
                <a:lnTo>
                  <a:pt x="20" y="32"/>
                </a:lnTo>
                <a:lnTo>
                  <a:pt x="20" y="32"/>
                </a:lnTo>
                <a:close/>
                <a:moveTo>
                  <a:pt x="15" y="47"/>
                </a:moveTo>
                <a:lnTo>
                  <a:pt x="15" y="44"/>
                </a:lnTo>
                <a:lnTo>
                  <a:pt x="18" y="44"/>
                </a:lnTo>
                <a:lnTo>
                  <a:pt x="15" y="47"/>
                </a:lnTo>
                <a:lnTo>
                  <a:pt x="15" y="47"/>
                </a:lnTo>
                <a:lnTo>
                  <a:pt x="15" y="47"/>
                </a:lnTo>
                <a:close/>
                <a:moveTo>
                  <a:pt x="13" y="47"/>
                </a:moveTo>
                <a:lnTo>
                  <a:pt x="15" y="47"/>
                </a:lnTo>
                <a:lnTo>
                  <a:pt x="15" y="49"/>
                </a:lnTo>
                <a:lnTo>
                  <a:pt x="13" y="47"/>
                </a:lnTo>
                <a:lnTo>
                  <a:pt x="13" y="47"/>
                </a:lnTo>
                <a:lnTo>
                  <a:pt x="13" y="47"/>
                </a:lnTo>
                <a:close/>
                <a:moveTo>
                  <a:pt x="13" y="44"/>
                </a:moveTo>
                <a:lnTo>
                  <a:pt x="18" y="42"/>
                </a:lnTo>
                <a:lnTo>
                  <a:pt x="15" y="37"/>
                </a:lnTo>
                <a:lnTo>
                  <a:pt x="15" y="32"/>
                </a:lnTo>
                <a:lnTo>
                  <a:pt x="13" y="32"/>
                </a:lnTo>
                <a:lnTo>
                  <a:pt x="10" y="34"/>
                </a:lnTo>
                <a:lnTo>
                  <a:pt x="8" y="39"/>
                </a:lnTo>
                <a:lnTo>
                  <a:pt x="10" y="42"/>
                </a:lnTo>
                <a:lnTo>
                  <a:pt x="13" y="39"/>
                </a:lnTo>
                <a:lnTo>
                  <a:pt x="13" y="44"/>
                </a:lnTo>
                <a:lnTo>
                  <a:pt x="13" y="44"/>
                </a:lnTo>
                <a:lnTo>
                  <a:pt x="13" y="44"/>
                </a:lnTo>
                <a:close/>
                <a:moveTo>
                  <a:pt x="18" y="47"/>
                </a:moveTo>
                <a:lnTo>
                  <a:pt x="15" y="49"/>
                </a:lnTo>
                <a:lnTo>
                  <a:pt x="15" y="51"/>
                </a:lnTo>
                <a:lnTo>
                  <a:pt x="15" y="56"/>
                </a:lnTo>
                <a:lnTo>
                  <a:pt x="18" y="56"/>
                </a:lnTo>
                <a:lnTo>
                  <a:pt x="20" y="51"/>
                </a:lnTo>
                <a:lnTo>
                  <a:pt x="20" y="51"/>
                </a:lnTo>
                <a:lnTo>
                  <a:pt x="20" y="49"/>
                </a:lnTo>
                <a:lnTo>
                  <a:pt x="18" y="47"/>
                </a:lnTo>
                <a:lnTo>
                  <a:pt x="18" y="4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79" name="Freeform 178"/>
          <p:cNvSpPr>
            <a:spLocks noEditPoints="1"/>
          </p:cNvSpPr>
          <p:nvPr/>
        </p:nvSpPr>
        <p:spPr bwMode="auto">
          <a:xfrm>
            <a:off x="1764483" y="3034685"/>
            <a:ext cx="1425457" cy="789525"/>
          </a:xfrm>
          <a:custGeom>
            <a:avLst/>
            <a:gdLst/>
            <a:ahLst/>
            <a:cxnLst>
              <a:cxn ang="0">
                <a:pos x="505" y="49"/>
              </a:cxn>
              <a:cxn ang="0">
                <a:pos x="551" y="67"/>
              </a:cxn>
              <a:cxn ang="0">
                <a:pos x="684" y="185"/>
              </a:cxn>
              <a:cxn ang="0">
                <a:pos x="810" y="138"/>
              </a:cxn>
              <a:cxn ang="0">
                <a:pos x="847" y="99"/>
              </a:cxn>
              <a:cxn ang="0">
                <a:pos x="861" y="143"/>
              </a:cxn>
              <a:cxn ang="0">
                <a:pos x="857" y="158"/>
              </a:cxn>
              <a:cxn ang="0">
                <a:pos x="827" y="168"/>
              </a:cxn>
              <a:cxn ang="0">
                <a:pos x="802" y="199"/>
              </a:cxn>
              <a:cxn ang="0">
                <a:pos x="800" y="214"/>
              </a:cxn>
              <a:cxn ang="0">
                <a:pos x="770" y="219"/>
              </a:cxn>
              <a:cxn ang="0">
                <a:pos x="748" y="249"/>
              </a:cxn>
              <a:cxn ang="0">
                <a:pos x="726" y="254"/>
              </a:cxn>
              <a:cxn ang="0">
                <a:pos x="719" y="290"/>
              </a:cxn>
              <a:cxn ang="0">
                <a:pos x="716" y="281"/>
              </a:cxn>
              <a:cxn ang="0">
                <a:pos x="714" y="254"/>
              </a:cxn>
              <a:cxn ang="0">
                <a:pos x="697" y="271"/>
              </a:cxn>
              <a:cxn ang="0">
                <a:pos x="704" y="290"/>
              </a:cxn>
              <a:cxn ang="0">
                <a:pos x="704" y="305"/>
              </a:cxn>
              <a:cxn ang="0">
                <a:pos x="699" y="320"/>
              </a:cxn>
              <a:cxn ang="0">
                <a:pos x="711" y="330"/>
              </a:cxn>
              <a:cxn ang="0">
                <a:pos x="694" y="342"/>
              </a:cxn>
              <a:cxn ang="0">
                <a:pos x="670" y="362"/>
              </a:cxn>
              <a:cxn ang="0">
                <a:pos x="635" y="384"/>
              </a:cxn>
              <a:cxn ang="0">
                <a:pos x="613" y="421"/>
              </a:cxn>
              <a:cxn ang="0">
                <a:pos x="625" y="487"/>
              </a:cxn>
              <a:cxn ang="0">
                <a:pos x="603" y="507"/>
              </a:cxn>
              <a:cxn ang="0">
                <a:pos x="593" y="485"/>
              </a:cxn>
              <a:cxn ang="0">
                <a:pos x="588" y="460"/>
              </a:cxn>
              <a:cxn ang="0">
                <a:pos x="566" y="428"/>
              </a:cxn>
              <a:cxn ang="0">
                <a:pos x="547" y="426"/>
              </a:cxn>
              <a:cxn ang="0">
                <a:pos x="532" y="421"/>
              </a:cxn>
              <a:cxn ang="0">
                <a:pos x="490" y="423"/>
              </a:cxn>
              <a:cxn ang="0">
                <a:pos x="492" y="445"/>
              </a:cxn>
              <a:cxn ang="0">
                <a:pos x="473" y="443"/>
              </a:cxn>
              <a:cxn ang="0">
                <a:pos x="451" y="433"/>
              </a:cxn>
              <a:cxn ang="0">
                <a:pos x="409" y="438"/>
              </a:cxn>
              <a:cxn ang="0">
                <a:pos x="396" y="448"/>
              </a:cxn>
              <a:cxn ang="0">
                <a:pos x="369" y="458"/>
              </a:cxn>
              <a:cxn ang="0">
                <a:pos x="357" y="500"/>
              </a:cxn>
              <a:cxn ang="0">
                <a:pos x="330" y="465"/>
              </a:cxn>
              <a:cxn ang="0">
                <a:pos x="310" y="428"/>
              </a:cxn>
              <a:cxn ang="0">
                <a:pos x="286" y="438"/>
              </a:cxn>
              <a:cxn ang="0">
                <a:pos x="261" y="431"/>
              </a:cxn>
              <a:cxn ang="0">
                <a:pos x="246" y="406"/>
              </a:cxn>
              <a:cxn ang="0">
                <a:pos x="114" y="367"/>
              </a:cxn>
              <a:cxn ang="0">
                <a:pos x="50" y="335"/>
              </a:cxn>
              <a:cxn ang="0">
                <a:pos x="27" y="308"/>
              </a:cxn>
              <a:cxn ang="0">
                <a:pos x="15" y="271"/>
              </a:cxn>
              <a:cxn ang="0">
                <a:pos x="20" y="251"/>
              </a:cxn>
              <a:cxn ang="0">
                <a:pos x="10" y="251"/>
              </a:cxn>
              <a:cxn ang="0">
                <a:pos x="0" y="197"/>
              </a:cxn>
              <a:cxn ang="0">
                <a:pos x="8" y="155"/>
              </a:cxn>
              <a:cxn ang="0">
                <a:pos x="37" y="79"/>
              </a:cxn>
              <a:cxn ang="0">
                <a:pos x="50" y="64"/>
              </a:cxn>
              <a:cxn ang="0">
                <a:pos x="42" y="45"/>
              </a:cxn>
              <a:cxn ang="0">
                <a:pos x="69" y="22"/>
              </a:cxn>
              <a:cxn ang="0">
                <a:pos x="67" y="40"/>
              </a:cxn>
              <a:cxn ang="0">
                <a:pos x="79" y="22"/>
              </a:cxn>
              <a:cxn ang="0">
                <a:pos x="807" y="217"/>
              </a:cxn>
              <a:cxn ang="0">
                <a:pos x="783" y="227"/>
              </a:cxn>
              <a:cxn ang="0">
                <a:pos x="753" y="231"/>
              </a:cxn>
              <a:cxn ang="0">
                <a:pos x="369" y="465"/>
              </a:cxn>
            </a:cxnLst>
            <a:rect l="0" t="0" r="r" b="b"/>
            <a:pathLst>
              <a:path w="874" h="514">
                <a:moveTo>
                  <a:pt x="77" y="0"/>
                </a:moveTo>
                <a:lnTo>
                  <a:pt x="77" y="0"/>
                </a:lnTo>
                <a:lnTo>
                  <a:pt x="478" y="40"/>
                </a:lnTo>
                <a:lnTo>
                  <a:pt x="478" y="40"/>
                </a:lnTo>
                <a:lnTo>
                  <a:pt x="480" y="40"/>
                </a:lnTo>
                <a:lnTo>
                  <a:pt x="480" y="40"/>
                </a:lnTo>
                <a:lnTo>
                  <a:pt x="483" y="40"/>
                </a:lnTo>
                <a:lnTo>
                  <a:pt x="483" y="40"/>
                </a:lnTo>
                <a:lnTo>
                  <a:pt x="488" y="42"/>
                </a:lnTo>
                <a:lnTo>
                  <a:pt x="488" y="42"/>
                </a:lnTo>
                <a:lnTo>
                  <a:pt x="488" y="45"/>
                </a:lnTo>
                <a:lnTo>
                  <a:pt x="488" y="45"/>
                </a:lnTo>
                <a:lnTo>
                  <a:pt x="490" y="45"/>
                </a:lnTo>
                <a:lnTo>
                  <a:pt x="490" y="45"/>
                </a:lnTo>
                <a:lnTo>
                  <a:pt x="490" y="47"/>
                </a:lnTo>
                <a:lnTo>
                  <a:pt x="490" y="47"/>
                </a:lnTo>
                <a:lnTo>
                  <a:pt x="492" y="47"/>
                </a:lnTo>
                <a:lnTo>
                  <a:pt x="492" y="47"/>
                </a:lnTo>
                <a:lnTo>
                  <a:pt x="492" y="47"/>
                </a:lnTo>
                <a:lnTo>
                  <a:pt x="497" y="49"/>
                </a:lnTo>
                <a:lnTo>
                  <a:pt x="497" y="49"/>
                </a:lnTo>
                <a:lnTo>
                  <a:pt x="497" y="52"/>
                </a:lnTo>
                <a:lnTo>
                  <a:pt x="497" y="52"/>
                </a:lnTo>
                <a:lnTo>
                  <a:pt x="500" y="49"/>
                </a:lnTo>
                <a:lnTo>
                  <a:pt x="500" y="49"/>
                </a:lnTo>
                <a:lnTo>
                  <a:pt x="502" y="49"/>
                </a:lnTo>
                <a:lnTo>
                  <a:pt x="502" y="49"/>
                </a:lnTo>
                <a:lnTo>
                  <a:pt x="505" y="49"/>
                </a:lnTo>
                <a:lnTo>
                  <a:pt x="505" y="49"/>
                </a:lnTo>
                <a:lnTo>
                  <a:pt x="507" y="49"/>
                </a:lnTo>
                <a:lnTo>
                  <a:pt x="507" y="49"/>
                </a:lnTo>
                <a:lnTo>
                  <a:pt x="512" y="52"/>
                </a:lnTo>
                <a:lnTo>
                  <a:pt x="512" y="52"/>
                </a:lnTo>
                <a:lnTo>
                  <a:pt x="515" y="52"/>
                </a:lnTo>
                <a:lnTo>
                  <a:pt x="515" y="52"/>
                </a:lnTo>
                <a:lnTo>
                  <a:pt x="515" y="57"/>
                </a:lnTo>
                <a:lnTo>
                  <a:pt x="515" y="57"/>
                </a:lnTo>
                <a:lnTo>
                  <a:pt x="519" y="59"/>
                </a:lnTo>
                <a:lnTo>
                  <a:pt x="519" y="59"/>
                </a:lnTo>
                <a:lnTo>
                  <a:pt x="524" y="59"/>
                </a:lnTo>
                <a:lnTo>
                  <a:pt x="524" y="59"/>
                </a:lnTo>
                <a:lnTo>
                  <a:pt x="524" y="62"/>
                </a:lnTo>
                <a:lnTo>
                  <a:pt x="524" y="62"/>
                </a:lnTo>
                <a:lnTo>
                  <a:pt x="527" y="62"/>
                </a:lnTo>
                <a:lnTo>
                  <a:pt x="527" y="62"/>
                </a:lnTo>
                <a:lnTo>
                  <a:pt x="532" y="62"/>
                </a:lnTo>
                <a:lnTo>
                  <a:pt x="532" y="62"/>
                </a:lnTo>
                <a:lnTo>
                  <a:pt x="534" y="62"/>
                </a:lnTo>
                <a:lnTo>
                  <a:pt x="534" y="62"/>
                </a:lnTo>
                <a:lnTo>
                  <a:pt x="537" y="62"/>
                </a:lnTo>
                <a:lnTo>
                  <a:pt x="537" y="62"/>
                </a:lnTo>
                <a:lnTo>
                  <a:pt x="539" y="64"/>
                </a:lnTo>
                <a:lnTo>
                  <a:pt x="539" y="64"/>
                </a:lnTo>
                <a:lnTo>
                  <a:pt x="547" y="64"/>
                </a:lnTo>
                <a:lnTo>
                  <a:pt x="547" y="64"/>
                </a:lnTo>
                <a:lnTo>
                  <a:pt x="547" y="67"/>
                </a:lnTo>
                <a:lnTo>
                  <a:pt x="547" y="67"/>
                </a:lnTo>
                <a:lnTo>
                  <a:pt x="551" y="67"/>
                </a:lnTo>
                <a:lnTo>
                  <a:pt x="551" y="67"/>
                </a:lnTo>
                <a:lnTo>
                  <a:pt x="554" y="69"/>
                </a:lnTo>
                <a:lnTo>
                  <a:pt x="554" y="69"/>
                </a:lnTo>
                <a:lnTo>
                  <a:pt x="615" y="99"/>
                </a:lnTo>
                <a:lnTo>
                  <a:pt x="615" y="99"/>
                </a:lnTo>
                <a:lnTo>
                  <a:pt x="618" y="104"/>
                </a:lnTo>
                <a:lnTo>
                  <a:pt x="618" y="104"/>
                </a:lnTo>
                <a:lnTo>
                  <a:pt x="628" y="111"/>
                </a:lnTo>
                <a:lnTo>
                  <a:pt x="628" y="111"/>
                </a:lnTo>
                <a:lnTo>
                  <a:pt x="638" y="158"/>
                </a:lnTo>
                <a:lnTo>
                  <a:pt x="638" y="158"/>
                </a:lnTo>
                <a:lnTo>
                  <a:pt x="638" y="180"/>
                </a:lnTo>
                <a:lnTo>
                  <a:pt x="638" y="180"/>
                </a:lnTo>
                <a:lnTo>
                  <a:pt x="635" y="182"/>
                </a:lnTo>
                <a:lnTo>
                  <a:pt x="635" y="182"/>
                </a:lnTo>
                <a:lnTo>
                  <a:pt x="633" y="185"/>
                </a:lnTo>
                <a:lnTo>
                  <a:pt x="633" y="185"/>
                </a:lnTo>
                <a:lnTo>
                  <a:pt x="630" y="190"/>
                </a:lnTo>
                <a:lnTo>
                  <a:pt x="630" y="190"/>
                </a:lnTo>
                <a:lnTo>
                  <a:pt x="625" y="192"/>
                </a:lnTo>
                <a:lnTo>
                  <a:pt x="625" y="192"/>
                </a:lnTo>
                <a:lnTo>
                  <a:pt x="623" y="195"/>
                </a:lnTo>
                <a:lnTo>
                  <a:pt x="623" y="195"/>
                </a:lnTo>
                <a:lnTo>
                  <a:pt x="625" y="199"/>
                </a:lnTo>
                <a:lnTo>
                  <a:pt x="625" y="199"/>
                </a:lnTo>
                <a:lnTo>
                  <a:pt x="677" y="187"/>
                </a:lnTo>
                <a:lnTo>
                  <a:pt x="677" y="187"/>
                </a:lnTo>
                <a:lnTo>
                  <a:pt x="684" y="185"/>
                </a:lnTo>
                <a:lnTo>
                  <a:pt x="684" y="185"/>
                </a:lnTo>
                <a:lnTo>
                  <a:pt x="687" y="177"/>
                </a:lnTo>
                <a:lnTo>
                  <a:pt x="687" y="177"/>
                </a:lnTo>
                <a:lnTo>
                  <a:pt x="716" y="168"/>
                </a:lnTo>
                <a:lnTo>
                  <a:pt x="716" y="168"/>
                </a:lnTo>
                <a:lnTo>
                  <a:pt x="729" y="158"/>
                </a:lnTo>
                <a:lnTo>
                  <a:pt x="729" y="158"/>
                </a:lnTo>
                <a:lnTo>
                  <a:pt x="731" y="155"/>
                </a:lnTo>
                <a:lnTo>
                  <a:pt x="731" y="155"/>
                </a:lnTo>
                <a:lnTo>
                  <a:pt x="736" y="155"/>
                </a:lnTo>
                <a:lnTo>
                  <a:pt x="736" y="155"/>
                </a:lnTo>
                <a:lnTo>
                  <a:pt x="741" y="148"/>
                </a:lnTo>
                <a:lnTo>
                  <a:pt x="741" y="148"/>
                </a:lnTo>
                <a:lnTo>
                  <a:pt x="746" y="145"/>
                </a:lnTo>
                <a:lnTo>
                  <a:pt x="746" y="145"/>
                </a:lnTo>
                <a:lnTo>
                  <a:pt x="748" y="145"/>
                </a:lnTo>
                <a:lnTo>
                  <a:pt x="748" y="145"/>
                </a:lnTo>
                <a:lnTo>
                  <a:pt x="751" y="143"/>
                </a:lnTo>
                <a:lnTo>
                  <a:pt x="751" y="143"/>
                </a:lnTo>
                <a:lnTo>
                  <a:pt x="758" y="140"/>
                </a:lnTo>
                <a:lnTo>
                  <a:pt x="758" y="140"/>
                </a:lnTo>
                <a:lnTo>
                  <a:pt x="802" y="143"/>
                </a:lnTo>
                <a:lnTo>
                  <a:pt x="802" y="143"/>
                </a:lnTo>
                <a:lnTo>
                  <a:pt x="805" y="138"/>
                </a:lnTo>
                <a:lnTo>
                  <a:pt x="805" y="138"/>
                </a:lnTo>
                <a:lnTo>
                  <a:pt x="807" y="138"/>
                </a:lnTo>
                <a:lnTo>
                  <a:pt x="807" y="138"/>
                </a:lnTo>
                <a:lnTo>
                  <a:pt x="807" y="138"/>
                </a:lnTo>
                <a:lnTo>
                  <a:pt x="810" y="138"/>
                </a:lnTo>
                <a:lnTo>
                  <a:pt x="810" y="138"/>
                </a:lnTo>
                <a:lnTo>
                  <a:pt x="812" y="138"/>
                </a:lnTo>
                <a:lnTo>
                  <a:pt x="812" y="138"/>
                </a:lnTo>
                <a:lnTo>
                  <a:pt x="815" y="136"/>
                </a:lnTo>
                <a:lnTo>
                  <a:pt x="815" y="136"/>
                </a:lnTo>
                <a:lnTo>
                  <a:pt x="815" y="136"/>
                </a:lnTo>
                <a:lnTo>
                  <a:pt x="820" y="128"/>
                </a:lnTo>
                <a:lnTo>
                  <a:pt x="820" y="128"/>
                </a:lnTo>
                <a:lnTo>
                  <a:pt x="822" y="128"/>
                </a:lnTo>
                <a:lnTo>
                  <a:pt x="822" y="128"/>
                </a:lnTo>
                <a:lnTo>
                  <a:pt x="827" y="123"/>
                </a:lnTo>
                <a:lnTo>
                  <a:pt x="827" y="123"/>
                </a:lnTo>
                <a:lnTo>
                  <a:pt x="827" y="121"/>
                </a:lnTo>
                <a:lnTo>
                  <a:pt x="827" y="121"/>
                </a:lnTo>
                <a:lnTo>
                  <a:pt x="829" y="116"/>
                </a:lnTo>
                <a:lnTo>
                  <a:pt x="829" y="116"/>
                </a:lnTo>
                <a:lnTo>
                  <a:pt x="832" y="113"/>
                </a:lnTo>
                <a:lnTo>
                  <a:pt x="832" y="113"/>
                </a:lnTo>
                <a:lnTo>
                  <a:pt x="832" y="111"/>
                </a:lnTo>
                <a:lnTo>
                  <a:pt x="832" y="111"/>
                </a:lnTo>
                <a:lnTo>
                  <a:pt x="834" y="108"/>
                </a:lnTo>
                <a:lnTo>
                  <a:pt x="834" y="108"/>
                </a:lnTo>
                <a:lnTo>
                  <a:pt x="839" y="101"/>
                </a:lnTo>
                <a:lnTo>
                  <a:pt x="839" y="101"/>
                </a:lnTo>
                <a:lnTo>
                  <a:pt x="842" y="99"/>
                </a:lnTo>
                <a:lnTo>
                  <a:pt x="842" y="99"/>
                </a:lnTo>
                <a:lnTo>
                  <a:pt x="844" y="96"/>
                </a:lnTo>
                <a:lnTo>
                  <a:pt x="844" y="96"/>
                </a:lnTo>
                <a:lnTo>
                  <a:pt x="844" y="96"/>
                </a:lnTo>
                <a:lnTo>
                  <a:pt x="847" y="99"/>
                </a:lnTo>
                <a:lnTo>
                  <a:pt x="847" y="99"/>
                </a:lnTo>
                <a:lnTo>
                  <a:pt x="849" y="101"/>
                </a:lnTo>
                <a:lnTo>
                  <a:pt x="849" y="101"/>
                </a:lnTo>
                <a:lnTo>
                  <a:pt x="852" y="99"/>
                </a:lnTo>
                <a:lnTo>
                  <a:pt x="852" y="99"/>
                </a:lnTo>
                <a:lnTo>
                  <a:pt x="857" y="101"/>
                </a:lnTo>
                <a:lnTo>
                  <a:pt x="857" y="101"/>
                </a:lnTo>
                <a:lnTo>
                  <a:pt x="857" y="99"/>
                </a:lnTo>
                <a:lnTo>
                  <a:pt x="857" y="99"/>
                </a:lnTo>
                <a:lnTo>
                  <a:pt x="864" y="106"/>
                </a:lnTo>
                <a:lnTo>
                  <a:pt x="864" y="106"/>
                </a:lnTo>
                <a:lnTo>
                  <a:pt x="864" y="111"/>
                </a:lnTo>
                <a:lnTo>
                  <a:pt x="864" y="111"/>
                </a:lnTo>
                <a:lnTo>
                  <a:pt x="861" y="131"/>
                </a:lnTo>
                <a:lnTo>
                  <a:pt x="861" y="131"/>
                </a:lnTo>
                <a:lnTo>
                  <a:pt x="859" y="131"/>
                </a:lnTo>
                <a:lnTo>
                  <a:pt x="859" y="131"/>
                </a:lnTo>
                <a:lnTo>
                  <a:pt x="861" y="133"/>
                </a:lnTo>
                <a:lnTo>
                  <a:pt x="861" y="133"/>
                </a:lnTo>
                <a:lnTo>
                  <a:pt x="861" y="133"/>
                </a:lnTo>
                <a:lnTo>
                  <a:pt x="864" y="136"/>
                </a:lnTo>
                <a:lnTo>
                  <a:pt x="864" y="136"/>
                </a:lnTo>
                <a:lnTo>
                  <a:pt x="864" y="138"/>
                </a:lnTo>
                <a:lnTo>
                  <a:pt x="864" y="138"/>
                </a:lnTo>
                <a:lnTo>
                  <a:pt x="864" y="140"/>
                </a:lnTo>
                <a:lnTo>
                  <a:pt x="864" y="140"/>
                </a:lnTo>
                <a:lnTo>
                  <a:pt x="864" y="140"/>
                </a:lnTo>
                <a:lnTo>
                  <a:pt x="861" y="143"/>
                </a:lnTo>
                <a:lnTo>
                  <a:pt x="861" y="143"/>
                </a:lnTo>
                <a:lnTo>
                  <a:pt x="864" y="143"/>
                </a:lnTo>
                <a:lnTo>
                  <a:pt x="864" y="143"/>
                </a:lnTo>
                <a:lnTo>
                  <a:pt x="864" y="143"/>
                </a:lnTo>
                <a:lnTo>
                  <a:pt x="864" y="143"/>
                </a:lnTo>
                <a:lnTo>
                  <a:pt x="869" y="148"/>
                </a:lnTo>
                <a:lnTo>
                  <a:pt x="869" y="148"/>
                </a:lnTo>
                <a:lnTo>
                  <a:pt x="869" y="150"/>
                </a:lnTo>
                <a:lnTo>
                  <a:pt x="869" y="150"/>
                </a:lnTo>
                <a:lnTo>
                  <a:pt x="871" y="153"/>
                </a:lnTo>
                <a:lnTo>
                  <a:pt x="871" y="153"/>
                </a:lnTo>
                <a:lnTo>
                  <a:pt x="871" y="150"/>
                </a:lnTo>
                <a:lnTo>
                  <a:pt x="871" y="150"/>
                </a:lnTo>
                <a:lnTo>
                  <a:pt x="874" y="153"/>
                </a:lnTo>
                <a:lnTo>
                  <a:pt x="874" y="153"/>
                </a:lnTo>
                <a:lnTo>
                  <a:pt x="874" y="155"/>
                </a:lnTo>
                <a:lnTo>
                  <a:pt x="874" y="155"/>
                </a:lnTo>
                <a:lnTo>
                  <a:pt x="869" y="155"/>
                </a:lnTo>
                <a:lnTo>
                  <a:pt x="869" y="155"/>
                </a:lnTo>
                <a:lnTo>
                  <a:pt x="869" y="153"/>
                </a:lnTo>
                <a:lnTo>
                  <a:pt x="869" y="153"/>
                </a:lnTo>
                <a:lnTo>
                  <a:pt x="864" y="155"/>
                </a:lnTo>
                <a:lnTo>
                  <a:pt x="864" y="155"/>
                </a:lnTo>
                <a:lnTo>
                  <a:pt x="861" y="155"/>
                </a:lnTo>
                <a:lnTo>
                  <a:pt x="861" y="155"/>
                </a:lnTo>
                <a:lnTo>
                  <a:pt x="859" y="158"/>
                </a:lnTo>
                <a:lnTo>
                  <a:pt x="859" y="158"/>
                </a:lnTo>
                <a:lnTo>
                  <a:pt x="859" y="158"/>
                </a:lnTo>
                <a:lnTo>
                  <a:pt x="857" y="158"/>
                </a:lnTo>
                <a:lnTo>
                  <a:pt x="857" y="158"/>
                </a:lnTo>
                <a:lnTo>
                  <a:pt x="854" y="160"/>
                </a:lnTo>
                <a:lnTo>
                  <a:pt x="854" y="160"/>
                </a:lnTo>
                <a:lnTo>
                  <a:pt x="852" y="160"/>
                </a:lnTo>
                <a:lnTo>
                  <a:pt x="852" y="160"/>
                </a:lnTo>
                <a:lnTo>
                  <a:pt x="849" y="158"/>
                </a:lnTo>
                <a:lnTo>
                  <a:pt x="849" y="158"/>
                </a:lnTo>
                <a:lnTo>
                  <a:pt x="847" y="158"/>
                </a:lnTo>
                <a:lnTo>
                  <a:pt x="847" y="158"/>
                </a:lnTo>
                <a:lnTo>
                  <a:pt x="844" y="160"/>
                </a:lnTo>
                <a:lnTo>
                  <a:pt x="844" y="160"/>
                </a:lnTo>
                <a:lnTo>
                  <a:pt x="842" y="160"/>
                </a:lnTo>
                <a:lnTo>
                  <a:pt x="842" y="160"/>
                </a:lnTo>
                <a:lnTo>
                  <a:pt x="839" y="158"/>
                </a:lnTo>
                <a:lnTo>
                  <a:pt x="839" y="158"/>
                </a:lnTo>
                <a:lnTo>
                  <a:pt x="842" y="155"/>
                </a:lnTo>
                <a:lnTo>
                  <a:pt x="842" y="155"/>
                </a:lnTo>
                <a:lnTo>
                  <a:pt x="837" y="160"/>
                </a:lnTo>
                <a:lnTo>
                  <a:pt x="837" y="160"/>
                </a:lnTo>
                <a:lnTo>
                  <a:pt x="834" y="165"/>
                </a:lnTo>
                <a:lnTo>
                  <a:pt x="834" y="165"/>
                </a:lnTo>
                <a:lnTo>
                  <a:pt x="832" y="165"/>
                </a:lnTo>
                <a:lnTo>
                  <a:pt x="832" y="165"/>
                </a:lnTo>
                <a:lnTo>
                  <a:pt x="832" y="165"/>
                </a:lnTo>
                <a:lnTo>
                  <a:pt x="829" y="168"/>
                </a:lnTo>
                <a:lnTo>
                  <a:pt x="829" y="168"/>
                </a:lnTo>
                <a:lnTo>
                  <a:pt x="829" y="168"/>
                </a:lnTo>
                <a:lnTo>
                  <a:pt x="827" y="165"/>
                </a:lnTo>
                <a:lnTo>
                  <a:pt x="827" y="165"/>
                </a:lnTo>
                <a:lnTo>
                  <a:pt x="827" y="168"/>
                </a:lnTo>
                <a:lnTo>
                  <a:pt x="827" y="168"/>
                </a:lnTo>
                <a:lnTo>
                  <a:pt x="825" y="170"/>
                </a:lnTo>
                <a:lnTo>
                  <a:pt x="825" y="170"/>
                </a:lnTo>
                <a:lnTo>
                  <a:pt x="822" y="170"/>
                </a:lnTo>
                <a:lnTo>
                  <a:pt x="822" y="170"/>
                </a:lnTo>
                <a:lnTo>
                  <a:pt x="822" y="168"/>
                </a:lnTo>
                <a:lnTo>
                  <a:pt x="822" y="168"/>
                </a:lnTo>
                <a:lnTo>
                  <a:pt x="820" y="170"/>
                </a:lnTo>
                <a:lnTo>
                  <a:pt x="820" y="170"/>
                </a:lnTo>
                <a:lnTo>
                  <a:pt x="820" y="170"/>
                </a:lnTo>
                <a:lnTo>
                  <a:pt x="817" y="175"/>
                </a:lnTo>
                <a:lnTo>
                  <a:pt x="817" y="175"/>
                </a:lnTo>
                <a:lnTo>
                  <a:pt x="812" y="177"/>
                </a:lnTo>
                <a:lnTo>
                  <a:pt x="812" y="177"/>
                </a:lnTo>
                <a:lnTo>
                  <a:pt x="810" y="185"/>
                </a:lnTo>
                <a:lnTo>
                  <a:pt x="810" y="185"/>
                </a:lnTo>
                <a:lnTo>
                  <a:pt x="807" y="187"/>
                </a:lnTo>
                <a:lnTo>
                  <a:pt x="807" y="187"/>
                </a:lnTo>
                <a:lnTo>
                  <a:pt x="807" y="190"/>
                </a:lnTo>
                <a:lnTo>
                  <a:pt x="807" y="190"/>
                </a:lnTo>
                <a:lnTo>
                  <a:pt x="805" y="190"/>
                </a:lnTo>
                <a:lnTo>
                  <a:pt x="805" y="190"/>
                </a:lnTo>
                <a:lnTo>
                  <a:pt x="805" y="192"/>
                </a:lnTo>
                <a:lnTo>
                  <a:pt x="805" y="192"/>
                </a:lnTo>
                <a:lnTo>
                  <a:pt x="807" y="192"/>
                </a:lnTo>
                <a:lnTo>
                  <a:pt x="807" y="192"/>
                </a:lnTo>
                <a:lnTo>
                  <a:pt x="807" y="195"/>
                </a:lnTo>
                <a:lnTo>
                  <a:pt x="807" y="195"/>
                </a:lnTo>
                <a:lnTo>
                  <a:pt x="802" y="199"/>
                </a:lnTo>
                <a:lnTo>
                  <a:pt x="802" y="199"/>
                </a:lnTo>
                <a:lnTo>
                  <a:pt x="802" y="199"/>
                </a:lnTo>
                <a:lnTo>
                  <a:pt x="805" y="202"/>
                </a:lnTo>
                <a:lnTo>
                  <a:pt x="805" y="202"/>
                </a:lnTo>
                <a:lnTo>
                  <a:pt x="807" y="207"/>
                </a:lnTo>
                <a:lnTo>
                  <a:pt x="807" y="207"/>
                </a:lnTo>
                <a:lnTo>
                  <a:pt x="807" y="209"/>
                </a:lnTo>
                <a:lnTo>
                  <a:pt x="807" y="209"/>
                </a:lnTo>
                <a:lnTo>
                  <a:pt x="812" y="209"/>
                </a:lnTo>
                <a:lnTo>
                  <a:pt x="812" y="209"/>
                </a:lnTo>
                <a:lnTo>
                  <a:pt x="812" y="207"/>
                </a:lnTo>
                <a:lnTo>
                  <a:pt x="812" y="207"/>
                </a:lnTo>
                <a:lnTo>
                  <a:pt x="812" y="204"/>
                </a:lnTo>
                <a:lnTo>
                  <a:pt x="812" y="204"/>
                </a:lnTo>
                <a:lnTo>
                  <a:pt x="815" y="204"/>
                </a:lnTo>
                <a:lnTo>
                  <a:pt x="815" y="204"/>
                </a:lnTo>
                <a:lnTo>
                  <a:pt x="815" y="209"/>
                </a:lnTo>
                <a:lnTo>
                  <a:pt x="815" y="209"/>
                </a:lnTo>
                <a:lnTo>
                  <a:pt x="815" y="212"/>
                </a:lnTo>
                <a:lnTo>
                  <a:pt x="815" y="212"/>
                </a:lnTo>
                <a:lnTo>
                  <a:pt x="807" y="214"/>
                </a:lnTo>
                <a:lnTo>
                  <a:pt x="807" y="214"/>
                </a:lnTo>
                <a:lnTo>
                  <a:pt x="805" y="214"/>
                </a:lnTo>
                <a:lnTo>
                  <a:pt x="805" y="214"/>
                </a:lnTo>
                <a:lnTo>
                  <a:pt x="805" y="212"/>
                </a:lnTo>
                <a:lnTo>
                  <a:pt x="805" y="212"/>
                </a:lnTo>
                <a:lnTo>
                  <a:pt x="802" y="209"/>
                </a:lnTo>
                <a:lnTo>
                  <a:pt x="802" y="209"/>
                </a:lnTo>
                <a:lnTo>
                  <a:pt x="800" y="214"/>
                </a:lnTo>
                <a:lnTo>
                  <a:pt x="800" y="214"/>
                </a:lnTo>
                <a:lnTo>
                  <a:pt x="797" y="219"/>
                </a:lnTo>
                <a:lnTo>
                  <a:pt x="797" y="219"/>
                </a:lnTo>
                <a:lnTo>
                  <a:pt x="795" y="217"/>
                </a:lnTo>
                <a:lnTo>
                  <a:pt x="795" y="217"/>
                </a:lnTo>
                <a:lnTo>
                  <a:pt x="795" y="217"/>
                </a:lnTo>
                <a:lnTo>
                  <a:pt x="795" y="212"/>
                </a:lnTo>
                <a:lnTo>
                  <a:pt x="795" y="212"/>
                </a:lnTo>
                <a:lnTo>
                  <a:pt x="793" y="209"/>
                </a:lnTo>
                <a:lnTo>
                  <a:pt x="793" y="209"/>
                </a:lnTo>
                <a:lnTo>
                  <a:pt x="793" y="212"/>
                </a:lnTo>
                <a:lnTo>
                  <a:pt x="793" y="212"/>
                </a:lnTo>
                <a:lnTo>
                  <a:pt x="793" y="217"/>
                </a:lnTo>
                <a:lnTo>
                  <a:pt x="793" y="217"/>
                </a:lnTo>
                <a:lnTo>
                  <a:pt x="795" y="219"/>
                </a:lnTo>
                <a:lnTo>
                  <a:pt x="795" y="219"/>
                </a:lnTo>
                <a:lnTo>
                  <a:pt x="793" y="219"/>
                </a:lnTo>
                <a:lnTo>
                  <a:pt x="793" y="219"/>
                </a:lnTo>
                <a:lnTo>
                  <a:pt x="785" y="219"/>
                </a:lnTo>
                <a:lnTo>
                  <a:pt x="785" y="219"/>
                </a:lnTo>
                <a:lnTo>
                  <a:pt x="783" y="219"/>
                </a:lnTo>
                <a:lnTo>
                  <a:pt x="783" y="219"/>
                </a:lnTo>
                <a:lnTo>
                  <a:pt x="778" y="219"/>
                </a:lnTo>
                <a:lnTo>
                  <a:pt x="778" y="219"/>
                </a:lnTo>
                <a:lnTo>
                  <a:pt x="773" y="219"/>
                </a:lnTo>
                <a:lnTo>
                  <a:pt x="773" y="219"/>
                </a:lnTo>
                <a:lnTo>
                  <a:pt x="770" y="219"/>
                </a:lnTo>
                <a:lnTo>
                  <a:pt x="770" y="219"/>
                </a:lnTo>
                <a:lnTo>
                  <a:pt x="770" y="219"/>
                </a:lnTo>
                <a:lnTo>
                  <a:pt x="765" y="222"/>
                </a:lnTo>
                <a:lnTo>
                  <a:pt x="765" y="222"/>
                </a:lnTo>
                <a:lnTo>
                  <a:pt x="761" y="222"/>
                </a:lnTo>
                <a:lnTo>
                  <a:pt x="761" y="222"/>
                </a:lnTo>
                <a:lnTo>
                  <a:pt x="756" y="224"/>
                </a:lnTo>
                <a:lnTo>
                  <a:pt x="756" y="224"/>
                </a:lnTo>
                <a:lnTo>
                  <a:pt x="753" y="227"/>
                </a:lnTo>
                <a:lnTo>
                  <a:pt x="753" y="227"/>
                </a:lnTo>
                <a:lnTo>
                  <a:pt x="751" y="229"/>
                </a:lnTo>
                <a:lnTo>
                  <a:pt x="751" y="229"/>
                </a:lnTo>
                <a:lnTo>
                  <a:pt x="751" y="231"/>
                </a:lnTo>
                <a:lnTo>
                  <a:pt x="751" y="231"/>
                </a:lnTo>
                <a:lnTo>
                  <a:pt x="748" y="231"/>
                </a:lnTo>
                <a:lnTo>
                  <a:pt x="748" y="231"/>
                </a:lnTo>
                <a:lnTo>
                  <a:pt x="748" y="234"/>
                </a:lnTo>
                <a:lnTo>
                  <a:pt x="748" y="234"/>
                </a:lnTo>
                <a:lnTo>
                  <a:pt x="751" y="236"/>
                </a:lnTo>
                <a:lnTo>
                  <a:pt x="751" y="236"/>
                </a:lnTo>
                <a:lnTo>
                  <a:pt x="751" y="239"/>
                </a:lnTo>
                <a:lnTo>
                  <a:pt x="751" y="239"/>
                </a:lnTo>
                <a:lnTo>
                  <a:pt x="748" y="241"/>
                </a:lnTo>
                <a:lnTo>
                  <a:pt x="748" y="241"/>
                </a:lnTo>
                <a:lnTo>
                  <a:pt x="748" y="241"/>
                </a:lnTo>
                <a:lnTo>
                  <a:pt x="748" y="244"/>
                </a:lnTo>
                <a:lnTo>
                  <a:pt x="748" y="244"/>
                </a:lnTo>
                <a:lnTo>
                  <a:pt x="748" y="246"/>
                </a:lnTo>
                <a:lnTo>
                  <a:pt x="748" y="246"/>
                </a:lnTo>
                <a:lnTo>
                  <a:pt x="748" y="249"/>
                </a:lnTo>
                <a:lnTo>
                  <a:pt x="748" y="249"/>
                </a:lnTo>
                <a:lnTo>
                  <a:pt x="746" y="251"/>
                </a:lnTo>
                <a:lnTo>
                  <a:pt x="746" y="251"/>
                </a:lnTo>
                <a:lnTo>
                  <a:pt x="746" y="251"/>
                </a:lnTo>
                <a:lnTo>
                  <a:pt x="743" y="254"/>
                </a:lnTo>
                <a:lnTo>
                  <a:pt x="743" y="254"/>
                </a:lnTo>
                <a:lnTo>
                  <a:pt x="741" y="259"/>
                </a:lnTo>
                <a:lnTo>
                  <a:pt x="741" y="259"/>
                </a:lnTo>
                <a:lnTo>
                  <a:pt x="741" y="259"/>
                </a:lnTo>
                <a:lnTo>
                  <a:pt x="738" y="261"/>
                </a:lnTo>
                <a:lnTo>
                  <a:pt x="738" y="261"/>
                </a:lnTo>
                <a:lnTo>
                  <a:pt x="738" y="259"/>
                </a:lnTo>
                <a:lnTo>
                  <a:pt x="738" y="259"/>
                </a:lnTo>
                <a:lnTo>
                  <a:pt x="736" y="261"/>
                </a:lnTo>
                <a:lnTo>
                  <a:pt x="736" y="261"/>
                </a:lnTo>
                <a:lnTo>
                  <a:pt x="734" y="266"/>
                </a:lnTo>
                <a:lnTo>
                  <a:pt x="734" y="266"/>
                </a:lnTo>
                <a:lnTo>
                  <a:pt x="734" y="263"/>
                </a:lnTo>
                <a:lnTo>
                  <a:pt x="734" y="263"/>
                </a:lnTo>
                <a:lnTo>
                  <a:pt x="731" y="266"/>
                </a:lnTo>
                <a:lnTo>
                  <a:pt x="731" y="266"/>
                </a:lnTo>
                <a:lnTo>
                  <a:pt x="734" y="261"/>
                </a:lnTo>
                <a:lnTo>
                  <a:pt x="734" y="261"/>
                </a:lnTo>
                <a:lnTo>
                  <a:pt x="734" y="261"/>
                </a:lnTo>
                <a:lnTo>
                  <a:pt x="731" y="261"/>
                </a:lnTo>
                <a:lnTo>
                  <a:pt x="731" y="261"/>
                </a:lnTo>
                <a:lnTo>
                  <a:pt x="726" y="256"/>
                </a:lnTo>
                <a:lnTo>
                  <a:pt x="726" y="256"/>
                </a:lnTo>
                <a:lnTo>
                  <a:pt x="726" y="254"/>
                </a:lnTo>
                <a:lnTo>
                  <a:pt x="726" y="254"/>
                </a:lnTo>
                <a:lnTo>
                  <a:pt x="726" y="254"/>
                </a:lnTo>
                <a:lnTo>
                  <a:pt x="731" y="246"/>
                </a:lnTo>
                <a:lnTo>
                  <a:pt x="731" y="246"/>
                </a:lnTo>
                <a:lnTo>
                  <a:pt x="729" y="249"/>
                </a:lnTo>
                <a:lnTo>
                  <a:pt x="729" y="249"/>
                </a:lnTo>
                <a:lnTo>
                  <a:pt x="726" y="251"/>
                </a:lnTo>
                <a:lnTo>
                  <a:pt x="726" y="251"/>
                </a:lnTo>
                <a:lnTo>
                  <a:pt x="724" y="254"/>
                </a:lnTo>
                <a:lnTo>
                  <a:pt x="724" y="254"/>
                </a:lnTo>
                <a:lnTo>
                  <a:pt x="724" y="259"/>
                </a:lnTo>
                <a:lnTo>
                  <a:pt x="724" y="259"/>
                </a:lnTo>
                <a:lnTo>
                  <a:pt x="726" y="259"/>
                </a:lnTo>
                <a:lnTo>
                  <a:pt x="726" y="259"/>
                </a:lnTo>
                <a:lnTo>
                  <a:pt x="726" y="263"/>
                </a:lnTo>
                <a:lnTo>
                  <a:pt x="726" y="263"/>
                </a:lnTo>
                <a:lnTo>
                  <a:pt x="726" y="266"/>
                </a:lnTo>
                <a:lnTo>
                  <a:pt x="726" y="266"/>
                </a:lnTo>
                <a:lnTo>
                  <a:pt x="729" y="271"/>
                </a:lnTo>
                <a:lnTo>
                  <a:pt x="729" y="271"/>
                </a:lnTo>
                <a:lnTo>
                  <a:pt x="729" y="273"/>
                </a:lnTo>
                <a:lnTo>
                  <a:pt x="729" y="273"/>
                </a:lnTo>
                <a:lnTo>
                  <a:pt x="726" y="281"/>
                </a:lnTo>
                <a:lnTo>
                  <a:pt x="726" y="281"/>
                </a:lnTo>
                <a:lnTo>
                  <a:pt x="724" y="281"/>
                </a:lnTo>
                <a:lnTo>
                  <a:pt x="724" y="281"/>
                </a:lnTo>
                <a:lnTo>
                  <a:pt x="721" y="288"/>
                </a:lnTo>
                <a:lnTo>
                  <a:pt x="721" y="288"/>
                </a:lnTo>
                <a:lnTo>
                  <a:pt x="719" y="290"/>
                </a:lnTo>
                <a:lnTo>
                  <a:pt x="719" y="290"/>
                </a:lnTo>
                <a:lnTo>
                  <a:pt x="719" y="293"/>
                </a:lnTo>
                <a:lnTo>
                  <a:pt x="719" y="293"/>
                </a:lnTo>
                <a:lnTo>
                  <a:pt x="719" y="293"/>
                </a:lnTo>
                <a:lnTo>
                  <a:pt x="719" y="293"/>
                </a:lnTo>
                <a:lnTo>
                  <a:pt x="716" y="290"/>
                </a:lnTo>
                <a:lnTo>
                  <a:pt x="716" y="290"/>
                </a:lnTo>
                <a:lnTo>
                  <a:pt x="714" y="298"/>
                </a:lnTo>
                <a:lnTo>
                  <a:pt x="714" y="298"/>
                </a:lnTo>
                <a:lnTo>
                  <a:pt x="714" y="298"/>
                </a:lnTo>
                <a:lnTo>
                  <a:pt x="714" y="300"/>
                </a:lnTo>
                <a:lnTo>
                  <a:pt x="714" y="300"/>
                </a:lnTo>
                <a:lnTo>
                  <a:pt x="714" y="298"/>
                </a:lnTo>
                <a:lnTo>
                  <a:pt x="714" y="298"/>
                </a:lnTo>
                <a:lnTo>
                  <a:pt x="714" y="293"/>
                </a:lnTo>
                <a:lnTo>
                  <a:pt x="714" y="293"/>
                </a:lnTo>
                <a:lnTo>
                  <a:pt x="716" y="290"/>
                </a:lnTo>
                <a:lnTo>
                  <a:pt x="716" y="290"/>
                </a:lnTo>
                <a:lnTo>
                  <a:pt x="714" y="288"/>
                </a:lnTo>
                <a:lnTo>
                  <a:pt x="714" y="288"/>
                </a:lnTo>
                <a:lnTo>
                  <a:pt x="716" y="286"/>
                </a:lnTo>
                <a:lnTo>
                  <a:pt x="716" y="286"/>
                </a:lnTo>
                <a:lnTo>
                  <a:pt x="716" y="286"/>
                </a:lnTo>
                <a:lnTo>
                  <a:pt x="719" y="283"/>
                </a:lnTo>
                <a:lnTo>
                  <a:pt x="719" y="283"/>
                </a:lnTo>
                <a:lnTo>
                  <a:pt x="716" y="283"/>
                </a:lnTo>
                <a:lnTo>
                  <a:pt x="716" y="283"/>
                </a:lnTo>
                <a:lnTo>
                  <a:pt x="714" y="281"/>
                </a:lnTo>
                <a:lnTo>
                  <a:pt x="714" y="281"/>
                </a:lnTo>
                <a:lnTo>
                  <a:pt x="716" y="281"/>
                </a:lnTo>
                <a:lnTo>
                  <a:pt x="716" y="281"/>
                </a:lnTo>
                <a:lnTo>
                  <a:pt x="716" y="281"/>
                </a:lnTo>
                <a:lnTo>
                  <a:pt x="714" y="281"/>
                </a:lnTo>
                <a:lnTo>
                  <a:pt x="714" y="281"/>
                </a:lnTo>
                <a:lnTo>
                  <a:pt x="714" y="278"/>
                </a:lnTo>
                <a:lnTo>
                  <a:pt x="714" y="278"/>
                </a:lnTo>
                <a:lnTo>
                  <a:pt x="711" y="281"/>
                </a:lnTo>
                <a:lnTo>
                  <a:pt x="711" y="281"/>
                </a:lnTo>
                <a:lnTo>
                  <a:pt x="709" y="276"/>
                </a:lnTo>
                <a:lnTo>
                  <a:pt x="709" y="276"/>
                </a:lnTo>
                <a:lnTo>
                  <a:pt x="709" y="273"/>
                </a:lnTo>
                <a:lnTo>
                  <a:pt x="709" y="273"/>
                </a:lnTo>
                <a:lnTo>
                  <a:pt x="711" y="271"/>
                </a:lnTo>
                <a:lnTo>
                  <a:pt x="711" y="271"/>
                </a:lnTo>
                <a:lnTo>
                  <a:pt x="714" y="266"/>
                </a:lnTo>
                <a:lnTo>
                  <a:pt x="714" y="266"/>
                </a:lnTo>
                <a:lnTo>
                  <a:pt x="711" y="261"/>
                </a:lnTo>
                <a:lnTo>
                  <a:pt x="711" y="261"/>
                </a:lnTo>
                <a:lnTo>
                  <a:pt x="711" y="259"/>
                </a:lnTo>
                <a:lnTo>
                  <a:pt x="711" y="259"/>
                </a:lnTo>
                <a:lnTo>
                  <a:pt x="714" y="256"/>
                </a:lnTo>
                <a:lnTo>
                  <a:pt x="714" y="256"/>
                </a:lnTo>
                <a:lnTo>
                  <a:pt x="714" y="256"/>
                </a:lnTo>
                <a:lnTo>
                  <a:pt x="714" y="254"/>
                </a:lnTo>
                <a:lnTo>
                  <a:pt x="714" y="254"/>
                </a:lnTo>
                <a:lnTo>
                  <a:pt x="714" y="251"/>
                </a:lnTo>
                <a:lnTo>
                  <a:pt x="714" y="251"/>
                </a:lnTo>
                <a:lnTo>
                  <a:pt x="714" y="254"/>
                </a:lnTo>
                <a:lnTo>
                  <a:pt x="714" y="254"/>
                </a:lnTo>
                <a:lnTo>
                  <a:pt x="714" y="256"/>
                </a:lnTo>
                <a:lnTo>
                  <a:pt x="714" y="256"/>
                </a:lnTo>
                <a:lnTo>
                  <a:pt x="709" y="259"/>
                </a:lnTo>
                <a:lnTo>
                  <a:pt x="709" y="259"/>
                </a:lnTo>
                <a:lnTo>
                  <a:pt x="709" y="259"/>
                </a:lnTo>
                <a:lnTo>
                  <a:pt x="706" y="259"/>
                </a:lnTo>
                <a:lnTo>
                  <a:pt x="706" y="259"/>
                </a:lnTo>
                <a:lnTo>
                  <a:pt x="709" y="261"/>
                </a:lnTo>
                <a:lnTo>
                  <a:pt x="709" y="261"/>
                </a:lnTo>
                <a:lnTo>
                  <a:pt x="706" y="263"/>
                </a:lnTo>
                <a:lnTo>
                  <a:pt x="706" y="263"/>
                </a:lnTo>
                <a:lnTo>
                  <a:pt x="706" y="268"/>
                </a:lnTo>
                <a:lnTo>
                  <a:pt x="706" y="268"/>
                </a:lnTo>
                <a:lnTo>
                  <a:pt x="706" y="271"/>
                </a:lnTo>
                <a:lnTo>
                  <a:pt x="706" y="271"/>
                </a:lnTo>
                <a:lnTo>
                  <a:pt x="706" y="271"/>
                </a:lnTo>
                <a:lnTo>
                  <a:pt x="706" y="276"/>
                </a:lnTo>
                <a:lnTo>
                  <a:pt x="706" y="276"/>
                </a:lnTo>
                <a:lnTo>
                  <a:pt x="706" y="281"/>
                </a:lnTo>
                <a:lnTo>
                  <a:pt x="706" y="281"/>
                </a:lnTo>
                <a:lnTo>
                  <a:pt x="706" y="281"/>
                </a:lnTo>
                <a:lnTo>
                  <a:pt x="702" y="276"/>
                </a:lnTo>
                <a:lnTo>
                  <a:pt x="702" y="276"/>
                </a:lnTo>
                <a:lnTo>
                  <a:pt x="699" y="276"/>
                </a:lnTo>
                <a:lnTo>
                  <a:pt x="699" y="276"/>
                </a:lnTo>
                <a:lnTo>
                  <a:pt x="697" y="273"/>
                </a:lnTo>
                <a:lnTo>
                  <a:pt x="697" y="273"/>
                </a:lnTo>
                <a:lnTo>
                  <a:pt x="697" y="273"/>
                </a:lnTo>
                <a:lnTo>
                  <a:pt x="697" y="271"/>
                </a:lnTo>
                <a:lnTo>
                  <a:pt x="697" y="271"/>
                </a:lnTo>
                <a:lnTo>
                  <a:pt x="697" y="268"/>
                </a:lnTo>
                <a:lnTo>
                  <a:pt x="697" y="268"/>
                </a:lnTo>
                <a:lnTo>
                  <a:pt x="694" y="271"/>
                </a:lnTo>
                <a:lnTo>
                  <a:pt x="694" y="271"/>
                </a:lnTo>
                <a:lnTo>
                  <a:pt x="694" y="273"/>
                </a:lnTo>
                <a:lnTo>
                  <a:pt x="694" y="273"/>
                </a:lnTo>
                <a:lnTo>
                  <a:pt x="697" y="276"/>
                </a:lnTo>
                <a:lnTo>
                  <a:pt x="697" y="276"/>
                </a:lnTo>
                <a:lnTo>
                  <a:pt x="699" y="278"/>
                </a:lnTo>
                <a:lnTo>
                  <a:pt x="699" y="278"/>
                </a:lnTo>
                <a:lnTo>
                  <a:pt x="702" y="278"/>
                </a:lnTo>
                <a:lnTo>
                  <a:pt x="702" y="278"/>
                </a:lnTo>
                <a:lnTo>
                  <a:pt x="706" y="283"/>
                </a:lnTo>
                <a:lnTo>
                  <a:pt x="706" y="283"/>
                </a:lnTo>
                <a:lnTo>
                  <a:pt x="709" y="286"/>
                </a:lnTo>
                <a:lnTo>
                  <a:pt x="709" y="286"/>
                </a:lnTo>
                <a:lnTo>
                  <a:pt x="709" y="288"/>
                </a:lnTo>
                <a:lnTo>
                  <a:pt x="709" y="288"/>
                </a:lnTo>
                <a:lnTo>
                  <a:pt x="706" y="290"/>
                </a:lnTo>
                <a:lnTo>
                  <a:pt x="706" y="290"/>
                </a:lnTo>
                <a:lnTo>
                  <a:pt x="704" y="290"/>
                </a:lnTo>
                <a:lnTo>
                  <a:pt x="704" y="290"/>
                </a:lnTo>
                <a:lnTo>
                  <a:pt x="704" y="288"/>
                </a:lnTo>
                <a:lnTo>
                  <a:pt x="704" y="288"/>
                </a:lnTo>
                <a:lnTo>
                  <a:pt x="702" y="286"/>
                </a:lnTo>
                <a:lnTo>
                  <a:pt x="702" y="286"/>
                </a:lnTo>
                <a:lnTo>
                  <a:pt x="704" y="290"/>
                </a:lnTo>
                <a:lnTo>
                  <a:pt x="704" y="290"/>
                </a:lnTo>
                <a:lnTo>
                  <a:pt x="706" y="293"/>
                </a:lnTo>
                <a:lnTo>
                  <a:pt x="706" y="293"/>
                </a:lnTo>
                <a:lnTo>
                  <a:pt x="709" y="295"/>
                </a:lnTo>
                <a:lnTo>
                  <a:pt x="709" y="295"/>
                </a:lnTo>
                <a:lnTo>
                  <a:pt x="706" y="295"/>
                </a:lnTo>
                <a:lnTo>
                  <a:pt x="706" y="295"/>
                </a:lnTo>
                <a:lnTo>
                  <a:pt x="706" y="298"/>
                </a:lnTo>
                <a:lnTo>
                  <a:pt x="706" y="298"/>
                </a:lnTo>
                <a:lnTo>
                  <a:pt x="704" y="295"/>
                </a:lnTo>
                <a:lnTo>
                  <a:pt x="704" y="295"/>
                </a:lnTo>
                <a:lnTo>
                  <a:pt x="709" y="300"/>
                </a:lnTo>
                <a:lnTo>
                  <a:pt x="709" y="300"/>
                </a:lnTo>
                <a:lnTo>
                  <a:pt x="706" y="303"/>
                </a:lnTo>
                <a:lnTo>
                  <a:pt x="706" y="303"/>
                </a:lnTo>
                <a:lnTo>
                  <a:pt x="704" y="300"/>
                </a:lnTo>
                <a:lnTo>
                  <a:pt x="704" y="300"/>
                </a:lnTo>
                <a:lnTo>
                  <a:pt x="704" y="298"/>
                </a:lnTo>
                <a:lnTo>
                  <a:pt x="704" y="298"/>
                </a:lnTo>
                <a:lnTo>
                  <a:pt x="699" y="298"/>
                </a:lnTo>
                <a:lnTo>
                  <a:pt x="699" y="298"/>
                </a:lnTo>
                <a:lnTo>
                  <a:pt x="697" y="298"/>
                </a:lnTo>
                <a:lnTo>
                  <a:pt x="697" y="298"/>
                </a:lnTo>
                <a:lnTo>
                  <a:pt x="699" y="300"/>
                </a:lnTo>
                <a:lnTo>
                  <a:pt x="699" y="300"/>
                </a:lnTo>
                <a:lnTo>
                  <a:pt x="702" y="300"/>
                </a:lnTo>
                <a:lnTo>
                  <a:pt x="702" y="300"/>
                </a:lnTo>
                <a:lnTo>
                  <a:pt x="704" y="300"/>
                </a:lnTo>
                <a:lnTo>
                  <a:pt x="704" y="300"/>
                </a:lnTo>
                <a:lnTo>
                  <a:pt x="704" y="305"/>
                </a:lnTo>
                <a:lnTo>
                  <a:pt x="704" y="305"/>
                </a:lnTo>
                <a:lnTo>
                  <a:pt x="706" y="305"/>
                </a:lnTo>
                <a:lnTo>
                  <a:pt x="706" y="305"/>
                </a:lnTo>
                <a:lnTo>
                  <a:pt x="709" y="305"/>
                </a:lnTo>
                <a:lnTo>
                  <a:pt x="709" y="305"/>
                </a:lnTo>
                <a:lnTo>
                  <a:pt x="711" y="305"/>
                </a:lnTo>
                <a:lnTo>
                  <a:pt x="711" y="305"/>
                </a:lnTo>
                <a:lnTo>
                  <a:pt x="711" y="308"/>
                </a:lnTo>
                <a:lnTo>
                  <a:pt x="711" y="308"/>
                </a:lnTo>
                <a:lnTo>
                  <a:pt x="711" y="310"/>
                </a:lnTo>
                <a:lnTo>
                  <a:pt x="711" y="310"/>
                </a:lnTo>
                <a:lnTo>
                  <a:pt x="709" y="310"/>
                </a:lnTo>
                <a:lnTo>
                  <a:pt x="709" y="310"/>
                </a:lnTo>
                <a:lnTo>
                  <a:pt x="709" y="313"/>
                </a:lnTo>
                <a:lnTo>
                  <a:pt x="709" y="313"/>
                </a:lnTo>
                <a:lnTo>
                  <a:pt x="709" y="313"/>
                </a:lnTo>
                <a:lnTo>
                  <a:pt x="711" y="318"/>
                </a:lnTo>
                <a:lnTo>
                  <a:pt x="711" y="318"/>
                </a:lnTo>
                <a:lnTo>
                  <a:pt x="709" y="318"/>
                </a:lnTo>
                <a:lnTo>
                  <a:pt x="709" y="318"/>
                </a:lnTo>
                <a:lnTo>
                  <a:pt x="706" y="318"/>
                </a:lnTo>
                <a:lnTo>
                  <a:pt x="706" y="318"/>
                </a:lnTo>
                <a:lnTo>
                  <a:pt x="706" y="320"/>
                </a:lnTo>
                <a:lnTo>
                  <a:pt x="706" y="320"/>
                </a:lnTo>
                <a:lnTo>
                  <a:pt x="702" y="320"/>
                </a:lnTo>
                <a:lnTo>
                  <a:pt x="702" y="320"/>
                </a:lnTo>
                <a:lnTo>
                  <a:pt x="702" y="322"/>
                </a:lnTo>
                <a:lnTo>
                  <a:pt x="702" y="322"/>
                </a:lnTo>
                <a:lnTo>
                  <a:pt x="699" y="320"/>
                </a:lnTo>
                <a:lnTo>
                  <a:pt x="699" y="320"/>
                </a:lnTo>
                <a:lnTo>
                  <a:pt x="697" y="318"/>
                </a:lnTo>
                <a:lnTo>
                  <a:pt x="697" y="318"/>
                </a:lnTo>
                <a:lnTo>
                  <a:pt x="697" y="318"/>
                </a:lnTo>
                <a:lnTo>
                  <a:pt x="697" y="322"/>
                </a:lnTo>
                <a:lnTo>
                  <a:pt x="697" y="322"/>
                </a:lnTo>
                <a:lnTo>
                  <a:pt x="697" y="325"/>
                </a:lnTo>
                <a:lnTo>
                  <a:pt x="697" y="325"/>
                </a:lnTo>
                <a:lnTo>
                  <a:pt x="699" y="325"/>
                </a:lnTo>
                <a:lnTo>
                  <a:pt x="699" y="325"/>
                </a:lnTo>
                <a:lnTo>
                  <a:pt x="704" y="322"/>
                </a:lnTo>
                <a:lnTo>
                  <a:pt x="704" y="322"/>
                </a:lnTo>
                <a:lnTo>
                  <a:pt x="706" y="322"/>
                </a:lnTo>
                <a:lnTo>
                  <a:pt x="706" y="322"/>
                </a:lnTo>
                <a:lnTo>
                  <a:pt x="706" y="327"/>
                </a:lnTo>
                <a:lnTo>
                  <a:pt x="706" y="327"/>
                </a:lnTo>
                <a:lnTo>
                  <a:pt x="709" y="330"/>
                </a:lnTo>
                <a:lnTo>
                  <a:pt x="709" y="330"/>
                </a:lnTo>
                <a:lnTo>
                  <a:pt x="709" y="327"/>
                </a:lnTo>
                <a:lnTo>
                  <a:pt x="709" y="327"/>
                </a:lnTo>
                <a:lnTo>
                  <a:pt x="709" y="325"/>
                </a:lnTo>
                <a:lnTo>
                  <a:pt x="709" y="325"/>
                </a:lnTo>
                <a:lnTo>
                  <a:pt x="711" y="322"/>
                </a:lnTo>
                <a:lnTo>
                  <a:pt x="711" y="322"/>
                </a:lnTo>
                <a:lnTo>
                  <a:pt x="711" y="325"/>
                </a:lnTo>
                <a:lnTo>
                  <a:pt x="711" y="325"/>
                </a:lnTo>
                <a:lnTo>
                  <a:pt x="711" y="330"/>
                </a:lnTo>
                <a:lnTo>
                  <a:pt x="711" y="330"/>
                </a:lnTo>
                <a:lnTo>
                  <a:pt x="711" y="330"/>
                </a:lnTo>
                <a:lnTo>
                  <a:pt x="706" y="332"/>
                </a:lnTo>
                <a:lnTo>
                  <a:pt x="706" y="332"/>
                </a:lnTo>
                <a:lnTo>
                  <a:pt x="706" y="335"/>
                </a:lnTo>
                <a:lnTo>
                  <a:pt x="706" y="335"/>
                </a:lnTo>
                <a:lnTo>
                  <a:pt x="704" y="335"/>
                </a:lnTo>
                <a:lnTo>
                  <a:pt x="704" y="335"/>
                </a:lnTo>
                <a:lnTo>
                  <a:pt x="702" y="335"/>
                </a:lnTo>
                <a:lnTo>
                  <a:pt x="702" y="335"/>
                </a:lnTo>
                <a:lnTo>
                  <a:pt x="702" y="335"/>
                </a:lnTo>
                <a:lnTo>
                  <a:pt x="699" y="332"/>
                </a:lnTo>
                <a:lnTo>
                  <a:pt x="699" y="332"/>
                </a:lnTo>
                <a:lnTo>
                  <a:pt x="699" y="332"/>
                </a:lnTo>
                <a:lnTo>
                  <a:pt x="697" y="335"/>
                </a:lnTo>
                <a:lnTo>
                  <a:pt x="697" y="335"/>
                </a:lnTo>
                <a:lnTo>
                  <a:pt x="694" y="332"/>
                </a:lnTo>
                <a:lnTo>
                  <a:pt x="694" y="332"/>
                </a:lnTo>
                <a:lnTo>
                  <a:pt x="692" y="332"/>
                </a:lnTo>
                <a:lnTo>
                  <a:pt x="692" y="332"/>
                </a:lnTo>
                <a:lnTo>
                  <a:pt x="694" y="335"/>
                </a:lnTo>
                <a:lnTo>
                  <a:pt x="694" y="335"/>
                </a:lnTo>
                <a:lnTo>
                  <a:pt x="699" y="335"/>
                </a:lnTo>
                <a:lnTo>
                  <a:pt x="699" y="335"/>
                </a:lnTo>
                <a:lnTo>
                  <a:pt x="699" y="337"/>
                </a:lnTo>
                <a:lnTo>
                  <a:pt x="699" y="337"/>
                </a:lnTo>
                <a:lnTo>
                  <a:pt x="697" y="340"/>
                </a:lnTo>
                <a:lnTo>
                  <a:pt x="697" y="340"/>
                </a:lnTo>
                <a:lnTo>
                  <a:pt x="699" y="340"/>
                </a:lnTo>
                <a:lnTo>
                  <a:pt x="699" y="340"/>
                </a:lnTo>
                <a:lnTo>
                  <a:pt x="694" y="342"/>
                </a:lnTo>
                <a:lnTo>
                  <a:pt x="694" y="342"/>
                </a:lnTo>
                <a:lnTo>
                  <a:pt x="692" y="340"/>
                </a:lnTo>
                <a:lnTo>
                  <a:pt x="692" y="340"/>
                </a:lnTo>
                <a:lnTo>
                  <a:pt x="694" y="342"/>
                </a:lnTo>
                <a:lnTo>
                  <a:pt x="694" y="342"/>
                </a:lnTo>
                <a:lnTo>
                  <a:pt x="697" y="342"/>
                </a:lnTo>
                <a:lnTo>
                  <a:pt x="697" y="342"/>
                </a:lnTo>
                <a:lnTo>
                  <a:pt x="699" y="340"/>
                </a:lnTo>
                <a:lnTo>
                  <a:pt x="699" y="340"/>
                </a:lnTo>
                <a:lnTo>
                  <a:pt x="702" y="342"/>
                </a:lnTo>
                <a:lnTo>
                  <a:pt x="702" y="342"/>
                </a:lnTo>
                <a:lnTo>
                  <a:pt x="702" y="342"/>
                </a:lnTo>
                <a:lnTo>
                  <a:pt x="699" y="345"/>
                </a:lnTo>
                <a:lnTo>
                  <a:pt x="699" y="345"/>
                </a:lnTo>
                <a:lnTo>
                  <a:pt x="697" y="345"/>
                </a:lnTo>
                <a:lnTo>
                  <a:pt x="697" y="345"/>
                </a:lnTo>
                <a:lnTo>
                  <a:pt x="697" y="345"/>
                </a:lnTo>
                <a:lnTo>
                  <a:pt x="694" y="345"/>
                </a:lnTo>
                <a:lnTo>
                  <a:pt x="694" y="345"/>
                </a:lnTo>
                <a:lnTo>
                  <a:pt x="694" y="345"/>
                </a:lnTo>
                <a:lnTo>
                  <a:pt x="689" y="347"/>
                </a:lnTo>
                <a:lnTo>
                  <a:pt x="689" y="347"/>
                </a:lnTo>
                <a:lnTo>
                  <a:pt x="682" y="350"/>
                </a:lnTo>
                <a:lnTo>
                  <a:pt x="682" y="350"/>
                </a:lnTo>
                <a:lnTo>
                  <a:pt x="674" y="357"/>
                </a:lnTo>
                <a:lnTo>
                  <a:pt x="674" y="357"/>
                </a:lnTo>
                <a:lnTo>
                  <a:pt x="672" y="362"/>
                </a:lnTo>
                <a:lnTo>
                  <a:pt x="672" y="362"/>
                </a:lnTo>
                <a:lnTo>
                  <a:pt x="670" y="362"/>
                </a:lnTo>
                <a:lnTo>
                  <a:pt x="670" y="362"/>
                </a:lnTo>
                <a:lnTo>
                  <a:pt x="670" y="359"/>
                </a:lnTo>
                <a:lnTo>
                  <a:pt x="670" y="359"/>
                </a:lnTo>
                <a:lnTo>
                  <a:pt x="665" y="362"/>
                </a:lnTo>
                <a:lnTo>
                  <a:pt x="665" y="362"/>
                </a:lnTo>
                <a:lnTo>
                  <a:pt x="662" y="364"/>
                </a:lnTo>
                <a:lnTo>
                  <a:pt x="662" y="364"/>
                </a:lnTo>
                <a:lnTo>
                  <a:pt x="655" y="372"/>
                </a:lnTo>
                <a:lnTo>
                  <a:pt x="655" y="372"/>
                </a:lnTo>
                <a:lnTo>
                  <a:pt x="655" y="374"/>
                </a:lnTo>
                <a:lnTo>
                  <a:pt x="655" y="374"/>
                </a:lnTo>
                <a:lnTo>
                  <a:pt x="652" y="374"/>
                </a:lnTo>
                <a:lnTo>
                  <a:pt x="652" y="374"/>
                </a:lnTo>
                <a:lnTo>
                  <a:pt x="652" y="374"/>
                </a:lnTo>
                <a:lnTo>
                  <a:pt x="652" y="377"/>
                </a:lnTo>
                <a:lnTo>
                  <a:pt x="652" y="377"/>
                </a:lnTo>
                <a:lnTo>
                  <a:pt x="650" y="379"/>
                </a:lnTo>
                <a:lnTo>
                  <a:pt x="650" y="379"/>
                </a:lnTo>
                <a:lnTo>
                  <a:pt x="647" y="379"/>
                </a:lnTo>
                <a:lnTo>
                  <a:pt x="647" y="379"/>
                </a:lnTo>
                <a:lnTo>
                  <a:pt x="645" y="379"/>
                </a:lnTo>
                <a:lnTo>
                  <a:pt x="645" y="379"/>
                </a:lnTo>
                <a:lnTo>
                  <a:pt x="645" y="381"/>
                </a:lnTo>
                <a:lnTo>
                  <a:pt x="645" y="381"/>
                </a:lnTo>
                <a:lnTo>
                  <a:pt x="640" y="381"/>
                </a:lnTo>
                <a:lnTo>
                  <a:pt x="640" y="381"/>
                </a:lnTo>
                <a:lnTo>
                  <a:pt x="640" y="384"/>
                </a:lnTo>
                <a:lnTo>
                  <a:pt x="640" y="384"/>
                </a:lnTo>
                <a:lnTo>
                  <a:pt x="635" y="384"/>
                </a:lnTo>
                <a:lnTo>
                  <a:pt x="635" y="384"/>
                </a:lnTo>
                <a:lnTo>
                  <a:pt x="635" y="386"/>
                </a:lnTo>
                <a:lnTo>
                  <a:pt x="635" y="386"/>
                </a:lnTo>
                <a:lnTo>
                  <a:pt x="630" y="386"/>
                </a:lnTo>
                <a:lnTo>
                  <a:pt x="630" y="386"/>
                </a:lnTo>
                <a:lnTo>
                  <a:pt x="630" y="386"/>
                </a:lnTo>
                <a:lnTo>
                  <a:pt x="628" y="386"/>
                </a:lnTo>
                <a:lnTo>
                  <a:pt x="628" y="386"/>
                </a:lnTo>
                <a:lnTo>
                  <a:pt x="625" y="389"/>
                </a:lnTo>
                <a:lnTo>
                  <a:pt x="625" y="389"/>
                </a:lnTo>
                <a:lnTo>
                  <a:pt x="628" y="389"/>
                </a:lnTo>
                <a:lnTo>
                  <a:pt x="628" y="389"/>
                </a:lnTo>
                <a:lnTo>
                  <a:pt x="628" y="391"/>
                </a:lnTo>
                <a:lnTo>
                  <a:pt x="628" y="391"/>
                </a:lnTo>
                <a:lnTo>
                  <a:pt x="625" y="394"/>
                </a:lnTo>
                <a:lnTo>
                  <a:pt x="625" y="394"/>
                </a:lnTo>
                <a:lnTo>
                  <a:pt x="623" y="394"/>
                </a:lnTo>
                <a:lnTo>
                  <a:pt x="623" y="394"/>
                </a:lnTo>
                <a:lnTo>
                  <a:pt x="623" y="396"/>
                </a:lnTo>
                <a:lnTo>
                  <a:pt x="623" y="396"/>
                </a:lnTo>
                <a:lnTo>
                  <a:pt x="620" y="396"/>
                </a:lnTo>
                <a:lnTo>
                  <a:pt x="620" y="396"/>
                </a:lnTo>
                <a:lnTo>
                  <a:pt x="618" y="401"/>
                </a:lnTo>
                <a:lnTo>
                  <a:pt x="618" y="401"/>
                </a:lnTo>
                <a:lnTo>
                  <a:pt x="615" y="406"/>
                </a:lnTo>
                <a:lnTo>
                  <a:pt x="615" y="406"/>
                </a:lnTo>
                <a:lnTo>
                  <a:pt x="615" y="411"/>
                </a:lnTo>
                <a:lnTo>
                  <a:pt x="615" y="411"/>
                </a:lnTo>
                <a:lnTo>
                  <a:pt x="613" y="421"/>
                </a:lnTo>
                <a:lnTo>
                  <a:pt x="613" y="421"/>
                </a:lnTo>
                <a:lnTo>
                  <a:pt x="613" y="426"/>
                </a:lnTo>
                <a:lnTo>
                  <a:pt x="613" y="426"/>
                </a:lnTo>
                <a:lnTo>
                  <a:pt x="613" y="431"/>
                </a:lnTo>
                <a:lnTo>
                  <a:pt x="613" y="431"/>
                </a:lnTo>
                <a:lnTo>
                  <a:pt x="615" y="436"/>
                </a:lnTo>
                <a:lnTo>
                  <a:pt x="615" y="436"/>
                </a:lnTo>
                <a:lnTo>
                  <a:pt x="615" y="443"/>
                </a:lnTo>
                <a:lnTo>
                  <a:pt x="615" y="443"/>
                </a:lnTo>
                <a:lnTo>
                  <a:pt x="618" y="445"/>
                </a:lnTo>
                <a:lnTo>
                  <a:pt x="618" y="445"/>
                </a:lnTo>
                <a:lnTo>
                  <a:pt x="618" y="453"/>
                </a:lnTo>
                <a:lnTo>
                  <a:pt x="618" y="453"/>
                </a:lnTo>
                <a:lnTo>
                  <a:pt x="620" y="455"/>
                </a:lnTo>
                <a:lnTo>
                  <a:pt x="620" y="455"/>
                </a:lnTo>
                <a:lnTo>
                  <a:pt x="623" y="458"/>
                </a:lnTo>
                <a:lnTo>
                  <a:pt x="623" y="458"/>
                </a:lnTo>
                <a:lnTo>
                  <a:pt x="620" y="463"/>
                </a:lnTo>
                <a:lnTo>
                  <a:pt x="620" y="463"/>
                </a:lnTo>
                <a:lnTo>
                  <a:pt x="620" y="468"/>
                </a:lnTo>
                <a:lnTo>
                  <a:pt x="620" y="468"/>
                </a:lnTo>
                <a:lnTo>
                  <a:pt x="620" y="468"/>
                </a:lnTo>
                <a:lnTo>
                  <a:pt x="623" y="477"/>
                </a:lnTo>
                <a:lnTo>
                  <a:pt x="623" y="477"/>
                </a:lnTo>
                <a:lnTo>
                  <a:pt x="625" y="480"/>
                </a:lnTo>
                <a:lnTo>
                  <a:pt x="625" y="480"/>
                </a:lnTo>
                <a:lnTo>
                  <a:pt x="628" y="485"/>
                </a:lnTo>
                <a:lnTo>
                  <a:pt x="628" y="485"/>
                </a:lnTo>
                <a:lnTo>
                  <a:pt x="625" y="487"/>
                </a:lnTo>
                <a:lnTo>
                  <a:pt x="625" y="487"/>
                </a:lnTo>
                <a:lnTo>
                  <a:pt x="625" y="487"/>
                </a:lnTo>
                <a:lnTo>
                  <a:pt x="625" y="492"/>
                </a:lnTo>
                <a:lnTo>
                  <a:pt x="625" y="492"/>
                </a:lnTo>
                <a:lnTo>
                  <a:pt x="625" y="495"/>
                </a:lnTo>
                <a:lnTo>
                  <a:pt x="625" y="495"/>
                </a:lnTo>
                <a:lnTo>
                  <a:pt x="625" y="497"/>
                </a:lnTo>
                <a:lnTo>
                  <a:pt x="625" y="497"/>
                </a:lnTo>
                <a:lnTo>
                  <a:pt x="623" y="502"/>
                </a:lnTo>
                <a:lnTo>
                  <a:pt x="623" y="502"/>
                </a:lnTo>
                <a:lnTo>
                  <a:pt x="620" y="507"/>
                </a:lnTo>
                <a:lnTo>
                  <a:pt x="620" y="507"/>
                </a:lnTo>
                <a:lnTo>
                  <a:pt x="618" y="509"/>
                </a:lnTo>
                <a:lnTo>
                  <a:pt x="618" y="509"/>
                </a:lnTo>
                <a:lnTo>
                  <a:pt x="618" y="512"/>
                </a:lnTo>
                <a:lnTo>
                  <a:pt x="618" y="512"/>
                </a:lnTo>
                <a:lnTo>
                  <a:pt x="615" y="514"/>
                </a:lnTo>
                <a:lnTo>
                  <a:pt x="615" y="514"/>
                </a:lnTo>
                <a:lnTo>
                  <a:pt x="613" y="514"/>
                </a:lnTo>
                <a:lnTo>
                  <a:pt x="613" y="514"/>
                </a:lnTo>
                <a:lnTo>
                  <a:pt x="611" y="514"/>
                </a:lnTo>
                <a:lnTo>
                  <a:pt x="611" y="514"/>
                </a:lnTo>
                <a:lnTo>
                  <a:pt x="608" y="512"/>
                </a:lnTo>
                <a:lnTo>
                  <a:pt x="608" y="512"/>
                </a:lnTo>
                <a:lnTo>
                  <a:pt x="606" y="512"/>
                </a:lnTo>
                <a:lnTo>
                  <a:pt x="606" y="512"/>
                </a:lnTo>
                <a:lnTo>
                  <a:pt x="608" y="509"/>
                </a:lnTo>
                <a:lnTo>
                  <a:pt x="608" y="509"/>
                </a:lnTo>
                <a:lnTo>
                  <a:pt x="603" y="507"/>
                </a:lnTo>
                <a:lnTo>
                  <a:pt x="603" y="507"/>
                </a:lnTo>
                <a:lnTo>
                  <a:pt x="603" y="504"/>
                </a:lnTo>
                <a:lnTo>
                  <a:pt x="603" y="504"/>
                </a:lnTo>
                <a:lnTo>
                  <a:pt x="603" y="502"/>
                </a:lnTo>
                <a:lnTo>
                  <a:pt x="603" y="502"/>
                </a:lnTo>
                <a:lnTo>
                  <a:pt x="601" y="502"/>
                </a:lnTo>
                <a:lnTo>
                  <a:pt x="601" y="502"/>
                </a:lnTo>
                <a:lnTo>
                  <a:pt x="598" y="502"/>
                </a:lnTo>
                <a:lnTo>
                  <a:pt x="598" y="502"/>
                </a:lnTo>
                <a:lnTo>
                  <a:pt x="598" y="497"/>
                </a:lnTo>
                <a:lnTo>
                  <a:pt x="598" y="497"/>
                </a:lnTo>
                <a:lnTo>
                  <a:pt x="598" y="495"/>
                </a:lnTo>
                <a:lnTo>
                  <a:pt x="598" y="495"/>
                </a:lnTo>
                <a:lnTo>
                  <a:pt x="596" y="492"/>
                </a:lnTo>
                <a:lnTo>
                  <a:pt x="596" y="492"/>
                </a:lnTo>
                <a:lnTo>
                  <a:pt x="593" y="490"/>
                </a:lnTo>
                <a:lnTo>
                  <a:pt x="593" y="490"/>
                </a:lnTo>
                <a:lnTo>
                  <a:pt x="596" y="487"/>
                </a:lnTo>
                <a:lnTo>
                  <a:pt x="596" y="487"/>
                </a:lnTo>
                <a:lnTo>
                  <a:pt x="596" y="485"/>
                </a:lnTo>
                <a:lnTo>
                  <a:pt x="596" y="485"/>
                </a:lnTo>
                <a:lnTo>
                  <a:pt x="598" y="482"/>
                </a:lnTo>
                <a:lnTo>
                  <a:pt x="598" y="482"/>
                </a:lnTo>
                <a:lnTo>
                  <a:pt x="596" y="485"/>
                </a:lnTo>
                <a:lnTo>
                  <a:pt x="596" y="485"/>
                </a:lnTo>
                <a:lnTo>
                  <a:pt x="593" y="482"/>
                </a:lnTo>
                <a:lnTo>
                  <a:pt x="593" y="482"/>
                </a:lnTo>
                <a:lnTo>
                  <a:pt x="593" y="485"/>
                </a:lnTo>
                <a:lnTo>
                  <a:pt x="593" y="485"/>
                </a:lnTo>
                <a:lnTo>
                  <a:pt x="593" y="485"/>
                </a:lnTo>
                <a:lnTo>
                  <a:pt x="593" y="482"/>
                </a:lnTo>
                <a:lnTo>
                  <a:pt x="593" y="482"/>
                </a:lnTo>
                <a:lnTo>
                  <a:pt x="591" y="482"/>
                </a:lnTo>
                <a:lnTo>
                  <a:pt x="591" y="482"/>
                </a:lnTo>
                <a:lnTo>
                  <a:pt x="591" y="482"/>
                </a:lnTo>
                <a:lnTo>
                  <a:pt x="588" y="480"/>
                </a:lnTo>
                <a:lnTo>
                  <a:pt x="588" y="480"/>
                </a:lnTo>
                <a:lnTo>
                  <a:pt x="588" y="477"/>
                </a:lnTo>
                <a:lnTo>
                  <a:pt x="588" y="477"/>
                </a:lnTo>
                <a:lnTo>
                  <a:pt x="588" y="475"/>
                </a:lnTo>
                <a:lnTo>
                  <a:pt x="588" y="475"/>
                </a:lnTo>
                <a:lnTo>
                  <a:pt x="591" y="470"/>
                </a:lnTo>
                <a:lnTo>
                  <a:pt x="591" y="470"/>
                </a:lnTo>
                <a:lnTo>
                  <a:pt x="591" y="468"/>
                </a:lnTo>
                <a:lnTo>
                  <a:pt x="591" y="468"/>
                </a:lnTo>
                <a:lnTo>
                  <a:pt x="588" y="465"/>
                </a:lnTo>
                <a:lnTo>
                  <a:pt x="588" y="465"/>
                </a:lnTo>
                <a:lnTo>
                  <a:pt x="588" y="468"/>
                </a:lnTo>
                <a:lnTo>
                  <a:pt x="588" y="468"/>
                </a:lnTo>
                <a:lnTo>
                  <a:pt x="588" y="468"/>
                </a:lnTo>
                <a:lnTo>
                  <a:pt x="586" y="470"/>
                </a:lnTo>
                <a:lnTo>
                  <a:pt x="586" y="470"/>
                </a:lnTo>
                <a:lnTo>
                  <a:pt x="586" y="470"/>
                </a:lnTo>
                <a:lnTo>
                  <a:pt x="583" y="468"/>
                </a:lnTo>
                <a:lnTo>
                  <a:pt x="583" y="468"/>
                </a:lnTo>
                <a:lnTo>
                  <a:pt x="583" y="465"/>
                </a:lnTo>
                <a:lnTo>
                  <a:pt x="583" y="465"/>
                </a:lnTo>
                <a:lnTo>
                  <a:pt x="588" y="460"/>
                </a:lnTo>
                <a:lnTo>
                  <a:pt x="588" y="460"/>
                </a:lnTo>
                <a:lnTo>
                  <a:pt x="588" y="453"/>
                </a:lnTo>
                <a:lnTo>
                  <a:pt x="588" y="453"/>
                </a:lnTo>
                <a:lnTo>
                  <a:pt x="588" y="450"/>
                </a:lnTo>
                <a:lnTo>
                  <a:pt x="588" y="450"/>
                </a:lnTo>
                <a:lnTo>
                  <a:pt x="588" y="445"/>
                </a:lnTo>
                <a:lnTo>
                  <a:pt x="588" y="445"/>
                </a:lnTo>
                <a:lnTo>
                  <a:pt x="586" y="445"/>
                </a:lnTo>
                <a:lnTo>
                  <a:pt x="586" y="445"/>
                </a:lnTo>
                <a:lnTo>
                  <a:pt x="583" y="443"/>
                </a:lnTo>
                <a:lnTo>
                  <a:pt x="583" y="443"/>
                </a:lnTo>
                <a:lnTo>
                  <a:pt x="583" y="441"/>
                </a:lnTo>
                <a:lnTo>
                  <a:pt x="583" y="441"/>
                </a:lnTo>
                <a:lnTo>
                  <a:pt x="583" y="441"/>
                </a:lnTo>
                <a:lnTo>
                  <a:pt x="581" y="441"/>
                </a:lnTo>
                <a:lnTo>
                  <a:pt x="581" y="441"/>
                </a:lnTo>
                <a:lnTo>
                  <a:pt x="581" y="436"/>
                </a:lnTo>
                <a:lnTo>
                  <a:pt x="581" y="436"/>
                </a:lnTo>
                <a:lnTo>
                  <a:pt x="579" y="436"/>
                </a:lnTo>
                <a:lnTo>
                  <a:pt x="579" y="436"/>
                </a:lnTo>
                <a:lnTo>
                  <a:pt x="579" y="436"/>
                </a:lnTo>
                <a:lnTo>
                  <a:pt x="576" y="428"/>
                </a:lnTo>
                <a:lnTo>
                  <a:pt x="576" y="428"/>
                </a:lnTo>
                <a:lnTo>
                  <a:pt x="571" y="428"/>
                </a:lnTo>
                <a:lnTo>
                  <a:pt x="571" y="428"/>
                </a:lnTo>
                <a:lnTo>
                  <a:pt x="571" y="428"/>
                </a:lnTo>
                <a:lnTo>
                  <a:pt x="566" y="428"/>
                </a:lnTo>
                <a:lnTo>
                  <a:pt x="566" y="428"/>
                </a:lnTo>
                <a:lnTo>
                  <a:pt x="566" y="428"/>
                </a:lnTo>
                <a:lnTo>
                  <a:pt x="566" y="431"/>
                </a:lnTo>
                <a:lnTo>
                  <a:pt x="566" y="431"/>
                </a:lnTo>
                <a:lnTo>
                  <a:pt x="564" y="431"/>
                </a:lnTo>
                <a:lnTo>
                  <a:pt x="564" y="431"/>
                </a:lnTo>
                <a:lnTo>
                  <a:pt x="564" y="431"/>
                </a:lnTo>
                <a:lnTo>
                  <a:pt x="559" y="433"/>
                </a:lnTo>
                <a:lnTo>
                  <a:pt x="559" y="433"/>
                </a:lnTo>
                <a:lnTo>
                  <a:pt x="556" y="433"/>
                </a:lnTo>
                <a:lnTo>
                  <a:pt x="556" y="433"/>
                </a:lnTo>
                <a:lnTo>
                  <a:pt x="551" y="436"/>
                </a:lnTo>
                <a:lnTo>
                  <a:pt x="551" y="436"/>
                </a:lnTo>
                <a:lnTo>
                  <a:pt x="551" y="433"/>
                </a:lnTo>
                <a:lnTo>
                  <a:pt x="551" y="433"/>
                </a:lnTo>
                <a:lnTo>
                  <a:pt x="551" y="433"/>
                </a:lnTo>
                <a:lnTo>
                  <a:pt x="551" y="433"/>
                </a:lnTo>
                <a:lnTo>
                  <a:pt x="554" y="433"/>
                </a:lnTo>
                <a:lnTo>
                  <a:pt x="554" y="433"/>
                </a:lnTo>
                <a:lnTo>
                  <a:pt x="551" y="431"/>
                </a:lnTo>
                <a:lnTo>
                  <a:pt x="551" y="431"/>
                </a:lnTo>
                <a:lnTo>
                  <a:pt x="551" y="431"/>
                </a:lnTo>
                <a:lnTo>
                  <a:pt x="547" y="428"/>
                </a:lnTo>
                <a:lnTo>
                  <a:pt x="547" y="428"/>
                </a:lnTo>
                <a:lnTo>
                  <a:pt x="547" y="426"/>
                </a:lnTo>
                <a:lnTo>
                  <a:pt x="547" y="426"/>
                </a:lnTo>
                <a:lnTo>
                  <a:pt x="549" y="428"/>
                </a:lnTo>
                <a:lnTo>
                  <a:pt x="549" y="428"/>
                </a:lnTo>
                <a:lnTo>
                  <a:pt x="549" y="426"/>
                </a:lnTo>
                <a:lnTo>
                  <a:pt x="549" y="426"/>
                </a:lnTo>
                <a:lnTo>
                  <a:pt x="547" y="426"/>
                </a:lnTo>
                <a:lnTo>
                  <a:pt x="547" y="426"/>
                </a:lnTo>
                <a:lnTo>
                  <a:pt x="547" y="423"/>
                </a:lnTo>
                <a:lnTo>
                  <a:pt x="547" y="423"/>
                </a:lnTo>
                <a:lnTo>
                  <a:pt x="544" y="423"/>
                </a:lnTo>
                <a:lnTo>
                  <a:pt x="544" y="423"/>
                </a:lnTo>
                <a:lnTo>
                  <a:pt x="544" y="423"/>
                </a:lnTo>
                <a:lnTo>
                  <a:pt x="547" y="426"/>
                </a:lnTo>
                <a:lnTo>
                  <a:pt x="547" y="426"/>
                </a:lnTo>
                <a:lnTo>
                  <a:pt x="544" y="426"/>
                </a:lnTo>
                <a:lnTo>
                  <a:pt x="544" y="426"/>
                </a:lnTo>
                <a:lnTo>
                  <a:pt x="542" y="423"/>
                </a:lnTo>
                <a:lnTo>
                  <a:pt x="542" y="423"/>
                </a:lnTo>
                <a:lnTo>
                  <a:pt x="537" y="423"/>
                </a:lnTo>
                <a:lnTo>
                  <a:pt x="537" y="423"/>
                </a:lnTo>
                <a:lnTo>
                  <a:pt x="534" y="423"/>
                </a:lnTo>
                <a:lnTo>
                  <a:pt x="534" y="423"/>
                </a:lnTo>
                <a:lnTo>
                  <a:pt x="534" y="421"/>
                </a:lnTo>
                <a:lnTo>
                  <a:pt x="534" y="421"/>
                </a:lnTo>
                <a:lnTo>
                  <a:pt x="537" y="421"/>
                </a:lnTo>
                <a:lnTo>
                  <a:pt x="537" y="421"/>
                </a:lnTo>
                <a:lnTo>
                  <a:pt x="539" y="421"/>
                </a:lnTo>
                <a:lnTo>
                  <a:pt x="539" y="421"/>
                </a:lnTo>
                <a:lnTo>
                  <a:pt x="539" y="421"/>
                </a:lnTo>
                <a:lnTo>
                  <a:pt x="534" y="421"/>
                </a:lnTo>
                <a:lnTo>
                  <a:pt x="534" y="421"/>
                </a:lnTo>
                <a:lnTo>
                  <a:pt x="532" y="423"/>
                </a:lnTo>
                <a:lnTo>
                  <a:pt x="532" y="423"/>
                </a:lnTo>
                <a:lnTo>
                  <a:pt x="532" y="421"/>
                </a:lnTo>
                <a:lnTo>
                  <a:pt x="532" y="421"/>
                </a:lnTo>
                <a:lnTo>
                  <a:pt x="527" y="423"/>
                </a:lnTo>
                <a:lnTo>
                  <a:pt x="527" y="423"/>
                </a:lnTo>
                <a:lnTo>
                  <a:pt x="524" y="421"/>
                </a:lnTo>
                <a:lnTo>
                  <a:pt x="524" y="421"/>
                </a:lnTo>
                <a:lnTo>
                  <a:pt x="522" y="421"/>
                </a:lnTo>
                <a:lnTo>
                  <a:pt x="522" y="421"/>
                </a:lnTo>
                <a:lnTo>
                  <a:pt x="517" y="421"/>
                </a:lnTo>
                <a:lnTo>
                  <a:pt x="517" y="421"/>
                </a:lnTo>
                <a:lnTo>
                  <a:pt x="515" y="423"/>
                </a:lnTo>
                <a:lnTo>
                  <a:pt x="515" y="423"/>
                </a:lnTo>
                <a:lnTo>
                  <a:pt x="512" y="421"/>
                </a:lnTo>
                <a:lnTo>
                  <a:pt x="512" y="421"/>
                </a:lnTo>
                <a:lnTo>
                  <a:pt x="512" y="418"/>
                </a:lnTo>
                <a:lnTo>
                  <a:pt x="512" y="418"/>
                </a:lnTo>
                <a:lnTo>
                  <a:pt x="512" y="416"/>
                </a:lnTo>
                <a:lnTo>
                  <a:pt x="512" y="416"/>
                </a:lnTo>
                <a:lnTo>
                  <a:pt x="510" y="416"/>
                </a:lnTo>
                <a:lnTo>
                  <a:pt x="510" y="416"/>
                </a:lnTo>
                <a:lnTo>
                  <a:pt x="510" y="418"/>
                </a:lnTo>
                <a:lnTo>
                  <a:pt x="510" y="418"/>
                </a:lnTo>
                <a:lnTo>
                  <a:pt x="507" y="421"/>
                </a:lnTo>
                <a:lnTo>
                  <a:pt x="507" y="421"/>
                </a:lnTo>
                <a:lnTo>
                  <a:pt x="505" y="421"/>
                </a:lnTo>
                <a:lnTo>
                  <a:pt x="505" y="421"/>
                </a:lnTo>
                <a:lnTo>
                  <a:pt x="505" y="421"/>
                </a:lnTo>
                <a:lnTo>
                  <a:pt x="500" y="421"/>
                </a:lnTo>
                <a:lnTo>
                  <a:pt x="500" y="421"/>
                </a:lnTo>
                <a:lnTo>
                  <a:pt x="490" y="423"/>
                </a:lnTo>
                <a:lnTo>
                  <a:pt x="490" y="423"/>
                </a:lnTo>
                <a:lnTo>
                  <a:pt x="488" y="426"/>
                </a:lnTo>
                <a:lnTo>
                  <a:pt x="488" y="426"/>
                </a:lnTo>
                <a:lnTo>
                  <a:pt x="483" y="426"/>
                </a:lnTo>
                <a:lnTo>
                  <a:pt x="483" y="426"/>
                </a:lnTo>
                <a:lnTo>
                  <a:pt x="480" y="431"/>
                </a:lnTo>
                <a:lnTo>
                  <a:pt x="480" y="431"/>
                </a:lnTo>
                <a:lnTo>
                  <a:pt x="480" y="433"/>
                </a:lnTo>
                <a:lnTo>
                  <a:pt x="480" y="433"/>
                </a:lnTo>
                <a:lnTo>
                  <a:pt x="483" y="431"/>
                </a:lnTo>
                <a:lnTo>
                  <a:pt x="483" y="431"/>
                </a:lnTo>
                <a:lnTo>
                  <a:pt x="485" y="428"/>
                </a:lnTo>
                <a:lnTo>
                  <a:pt x="485" y="428"/>
                </a:lnTo>
                <a:lnTo>
                  <a:pt x="485" y="431"/>
                </a:lnTo>
                <a:lnTo>
                  <a:pt x="485" y="431"/>
                </a:lnTo>
                <a:lnTo>
                  <a:pt x="488" y="431"/>
                </a:lnTo>
                <a:lnTo>
                  <a:pt x="488" y="431"/>
                </a:lnTo>
                <a:lnTo>
                  <a:pt x="490" y="433"/>
                </a:lnTo>
                <a:lnTo>
                  <a:pt x="490" y="433"/>
                </a:lnTo>
                <a:lnTo>
                  <a:pt x="488" y="433"/>
                </a:lnTo>
                <a:lnTo>
                  <a:pt x="488" y="433"/>
                </a:lnTo>
                <a:lnTo>
                  <a:pt x="483" y="436"/>
                </a:lnTo>
                <a:lnTo>
                  <a:pt x="483" y="436"/>
                </a:lnTo>
                <a:lnTo>
                  <a:pt x="483" y="438"/>
                </a:lnTo>
                <a:lnTo>
                  <a:pt x="483" y="438"/>
                </a:lnTo>
                <a:lnTo>
                  <a:pt x="485" y="441"/>
                </a:lnTo>
                <a:lnTo>
                  <a:pt x="485" y="441"/>
                </a:lnTo>
                <a:lnTo>
                  <a:pt x="490" y="441"/>
                </a:lnTo>
                <a:lnTo>
                  <a:pt x="490" y="441"/>
                </a:lnTo>
                <a:lnTo>
                  <a:pt x="492" y="445"/>
                </a:lnTo>
                <a:lnTo>
                  <a:pt x="492" y="445"/>
                </a:lnTo>
                <a:lnTo>
                  <a:pt x="492" y="445"/>
                </a:lnTo>
                <a:lnTo>
                  <a:pt x="490" y="445"/>
                </a:lnTo>
                <a:lnTo>
                  <a:pt x="490" y="445"/>
                </a:lnTo>
                <a:lnTo>
                  <a:pt x="490" y="448"/>
                </a:lnTo>
                <a:lnTo>
                  <a:pt x="490" y="448"/>
                </a:lnTo>
                <a:lnTo>
                  <a:pt x="490" y="445"/>
                </a:lnTo>
                <a:lnTo>
                  <a:pt x="490" y="445"/>
                </a:lnTo>
                <a:lnTo>
                  <a:pt x="488" y="443"/>
                </a:lnTo>
                <a:lnTo>
                  <a:pt x="488" y="443"/>
                </a:lnTo>
                <a:lnTo>
                  <a:pt x="485" y="445"/>
                </a:lnTo>
                <a:lnTo>
                  <a:pt x="485" y="445"/>
                </a:lnTo>
                <a:lnTo>
                  <a:pt x="485" y="443"/>
                </a:lnTo>
                <a:lnTo>
                  <a:pt x="485" y="443"/>
                </a:lnTo>
                <a:lnTo>
                  <a:pt x="483" y="441"/>
                </a:lnTo>
                <a:lnTo>
                  <a:pt x="483" y="441"/>
                </a:lnTo>
                <a:lnTo>
                  <a:pt x="480" y="438"/>
                </a:lnTo>
                <a:lnTo>
                  <a:pt x="480" y="438"/>
                </a:lnTo>
                <a:lnTo>
                  <a:pt x="478" y="438"/>
                </a:lnTo>
                <a:lnTo>
                  <a:pt x="478" y="438"/>
                </a:lnTo>
                <a:lnTo>
                  <a:pt x="478" y="441"/>
                </a:lnTo>
                <a:lnTo>
                  <a:pt x="478" y="441"/>
                </a:lnTo>
                <a:lnTo>
                  <a:pt x="478" y="445"/>
                </a:lnTo>
                <a:lnTo>
                  <a:pt x="478" y="445"/>
                </a:lnTo>
                <a:lnTo>
                  <a:pt x="475" y="445"/>
                </a:lnTo>
                <a:lnTo>
                  <a:pt x="475" y="445"/>
                </a:lnTo>
                <a:lnTo>
                  <a:pt x="475" y="443"/>
                </a:lnTo>
                <a:lnTo>
                  <a:pt x="475" y="443"/>
                </a:lnTo>
                <a:lnTo>
                  <a:pt x="473" y="443"/>
                </a:lnTo>
                <a:lnTo>
                  <a:pt x="473" y="443"/>
                </a:lnTo>
                <a:lnTo>
                  <a:pt x="470" y="443"/>
                </a:lnTo>
                <a:lnTo>
                  <a:pt x="470" y="443"/>
                </a:lnTo>
                <a:lnTo>
                  <a:pt x="468" y="445"/>
                </a:lnTo>
                <a:lnTo>
                  <a:pt x="468" y="445"/>
                </a:lnTo>
                <a:lnTo>
                  <a:pt x="465" y="445"/>
                </a:lnTo>
                <a:lnTo>
                  <a:pt x="465" y="445"/>
                </a:lnTo>
                <a:lnTo>
                  <a:pt x="463" y="443"/>
                </a:lnTo>
                <a:lnTo>
                  <a:pt x="463" y="443"/>
                </a:lnTo>
                <a:lnTo>
                  <a:pt x="460" y="443"/>
                </a:lnTo>
                <a:lnTo>
                  <a:pt x="460" y="443"/>
                </a:lnTo>
                <a:lnTo>
                  <a:pt x="458" y="443"/>
                </a:lnTo>
                <a:lnTo>
                  <a:pt x="458" y="443"/>
                </a:lnTo>
                <a:lnTo>
                  <a:pt x="460" y="441"/>
                </a:lnTo>
                <a:lnTo>
                  <a:pt x="460" y="441"/>
                </a:lnTo>
                <a:lnTo>
                  <a:pt x="460" y="441"/>
                </a:lnTo>
                <a:lnTo>
                  <a:pt x="460" y="438"/>
                </a:lnTo>
                <a:lnTo>
                  <a:pt x="460" y="438"/>
                </a:lnTo>
                <a:lnTo>
                  <a:pt x="458" y="438"/>
                </a:lnTo>
                <a:lnTo>
                  <a:pt x="458" y="438"/>
                </a:lnTo>
                <a:lnTo>
                  <a:pt x="456" y="438"/>
                </a:lnTo>
                <a:lnTo>
                  <a:pt x="456" y="438"/>
                </a:lnTo>
                <a:lnTo>
                  <a:pt x="456" y="436"/>
                </a:lnTo>
                <a:lnTo>
                  <a:pt x="456" y="436"/>
                </a:lnTo>
                <a:lnTo>
                  <a:pt x="456" y="433"/>
                </a:lnTo>
                <a:lnTo>
                  <a:pt x="456" y="433"/>
                </a:lnTo>
                <a:lnTo>
                  <a:pt x="453" y="436"/>
                </a:lnTo>
                <a:lnTo>
                  <a:pt x="453" y="436"/>
                </a:lnTo>
                <a:lnTo>
                  <a:pt x="451" y="433"/>
                </a:lnTo>
                <a:lnTo>
                  <a:pt x="451" y="433"/>
                </a:lnTo>
                <a:lnTo>
                  <a:pt x="453" y="433"/>
                </a:lnTo>
                <a:lnTo>
                  <a:pt x="453" y="433"/>
                </a:lnTo>
                <a:lnTo>
                  <a:pt x="451" y="431"/>
                </a:lnTo>
                <a:lnTo>
                  <a:pt x="451" y="431"/>
                </a:lnTo>
                <a:lnTo>
                  <a:pt x="448" y="433"/>
                </a:lnTo>
                <a:lnTo>
                  <a:pt x="448" y="433"/>
                </a:lnTo>
                <a:lnTo>
                  <a:pt x="448" y="433"/>
                </a:lnTo>
                <a:lnTo>
                  <a:pt x="448" y="436"/>
                </a:lnTo>
                <a:lnTo>
                  <a:pt x="448" y="436"/>
                </a:lnTo>
                <a:lnTo>
                  <a:pt x="446" y="436"/>
                </a:lnTo>
                <a:lnTo>
                  <a:pt x="446" y="436"/>
                </a:lnTo>
                <a:lnTo>
                  <a:pt x="436" y="436"/>
                </a:lnTo>
                <a:lnTo>
                  <a:pt x="436" y="436"/>
                </a:lnTo>
                <a:lnTo>
                  <a:pt x="436" y="433"/>
                </a:lnTo>
                <a:lnTo>
                  <a:pt x="436" y="433"/>
                </a:lnTo>
                <a:lnTo>
                  <a:pt x="428" y="433"/>
                </a:lnTo>
                <a:lnTo>
                  <a:pt x="428" y="433"/>
                </a:lnTo>
                <a:lnTo>
                  <a:pt x="424" y="433"/>
                </a:lnTo>
                <a:lnTo>
                  <a:pt x="424" y="433"/>
                </a:lnTo>
                <a:lnTo>
                  <a:pt x="419" y="433"/>
                </a:lnTo>
                <a:lnTo>
                  <a:pt x="419" y="433"/>
                </a:lnTo>
                <a:lnTo>
                  <a:pt x="416" y="436"/>
                </a:lnTo>
                <a:lnTo>
                  <a:pt x="416" y="436"/>
                </a:lnTo>
                <a:lnTo>
                  <a:pt x="414" y="436"/>
                </a:lnTo>
                <a:lnTo>
                  <a:pt x="414" y="436"/>
                </a:lnTo>
                <a:lnTo>
                  <a:pt x="411" y="438"/>
                </a:lnTo>
                <a:lnTo>
                  <a:pt x="411" y="438"/>
                </a:lnTo>
                <a:lnTo>
                  <a:pt x="409" y="438"/>
                </a:lnTo>
                <a:lnTo>
                  <a:pt x="409" y="438"/>
                </a:lnTo>
                <a:lnTo>
                  <a:pt x="409" y="436"/>
                </a:lnTo>
                <a:lnTo>
                  <a:pt x="409" y="436"/>
                </a:lnTo>
                <a:lnTo>
                  <a:pt x="409" y="433"/>
                </a:lnTo>
                <a:lnTo>
                  <a:pt x="409" y="433"/>
                </a:lnTo>
                <a:lnTo>
                  <a:pt x="411" y="431"/>
                </a:lnTo>
                <a:lnTo>
                  <a:pt x="411" y="431"/>
                </a:lnTo>
                <a:lnTo>
                  <a:pt x="409" y="428"/>
                </a:lnTo>
                <a:lnTo>
                  <a:pt x="409" y="428"/>
                </a:lnTo>
                <a:lnTo>
                  <a:pt x="409" y="431"/>
                </a:lnTo>
                <a:lnTo>
                  <a:pt x="409" y="431"/>
                </a:lnTo>
                <a:lnTo>
                  <a:pt x="406" y="433"/>
                </a:lnTo>
                <a:lnTo>
                  <a:pt x="406" y="433"/>
                </a:lnTo>
                <a:lnTo>
                  <a:pt x="404" y="433"/>
                </a:lnTo>
                <a:lnTo>
                  <a:pt x="404" y="433"/>
                </a:lnTo>
                <a:lnTo>
                  <a:pt x="401" y="431"/>
                </a:lnTo>
                <a:lnTo>
                  <a:pt x="401" y="431"/>
                </a:lnTo>
                <a:lnTo>
                  <a:pt x="404" y="436"/>
                </a:lnTo>
                <a:lnTo>
                  <a:pt x="404" y="436"/>
                </a:lnTo>
                <a:lnTo>
                  <a:pt x="404" y="438"/>
                </a:lnTo>
                <a:lnTo>
                  <a:pt x="404" y="438"/>
                </a:lnTo>
                <a:lnTo>
                  <a:pt x="404" y="441"/>
                </a:lnTo>
                <a:lnTo>
                  <a:pt x="404" y="441"/>
                </a:lnTo>
                <a:lnTo>
                  <a:pt x="404" y="443"/>
                </a:lnTo>
                <a:lnTo>
                  <a:pt x="404" y="443"/>
                </a:lnTo>
                <a:lnTo>
                  <a:pt x="401" y="443"/>
                </a:lnTo>
                <a:lnTo>
                  <a:pt x="401" y="443"/>
                </a:lnTo>
                <a:lnTo>
                  <a:pt x="396" y="448"/>
                </a:lnTo>
                <a:lnTo>
                  <a:pt x="396" y="448"/>
                </a:lnTo>
                <a:lnTo>
                  <a:pt x="389" y="450"/>
                </a:lnTo>
                <a:lnTo>
                  <a:pt x="389" y="450"/>
                </a:lnTo>
                <a:lnTo>
                  <a:pt x="387" y="450"/>
                </a:lnTo>
                <a:lnTo>
                  <a:pt x="387" y="450"/>
                </a:lnTo>
                <a:lnTo>
                  <a:pt x="384" y="453"/>
                </a:lnTo>
                <a:lnTo>
                  <a:pt x="384" y="453"/>
                </a:lnTo>
                <a:lnTo>
                  <a:pt x="382" y="453"/>
                </a:lnTo>
                <a:lnTo>
                  <a:pt x="382" y="453"/>
                </a:lnTo>
                <a:lnTo>
                  <a:pt x="384" y="450"/>
                </a:lnTo>
                <a:lnTo>
                  <a:pt x="384" y="450"/>
                </a:lnTo>
                <a:lnTo>
                  <a:pt x="382" y="450"/>
                </a:lnTo>
                <a:lnTo>
                  <a:pt x="382" y="450"/>
                </a:lnTo>
                <a:lnTo>
                  <a:pt x="382" y="450"/>
                </a:lnTo>
                <a:lnTo>
                  <a:pt x="379" y="450"/>
                </a:lnTo>
                <a:lnTo>
                  <a:pt x="379" y="450"/>
                </a:lnTo>
                <a:lnTo>
                  <a:pt x="377" y="450"/>
                </a:lnTo>
                <a:lnTo>
                  <a:pt x="377" y="450"/>
                </a:lnTo>
                <a:lnTo>
                  <a:pt x="379" y="453"/>
                </a:lnTo>
                <a:lnTo>
                  <a:pt x="379" y="453"/>
                </a:lnTo>
                <a:lnTo>
                  <a:pt x="377" y="453"/>
                </a:lnTo>
                <a:lnTo>
                  <a:pt x="377" y="453"/>
                </a:lnTo>
                <a:lnTo>
                  <a:pt x="374" y="453"/>
                </a:lnTo>
                <a:lnTo>
                  <a:pt x="374" y="453"/>
                </a:lnTo>
                <a:lnTo>
                  <a:pt x="374" y="455"/>
                </a:lnTo>
                <a:lnTo>
                  <a:pt x="374" y="455"/>
                </a:lnTo>
                <a:lnTo>
                  <a:pt x="372" y="458"/>
                </a:lnTo>
                <a:lnTo>
                  <a:pt x="372" y="458"/>
                </a:lnTo>
                <a:lnTo>
                  <a:pt x="369" y="458"/>
                </a:lnTo>
                <a:lnTo>
                  <a:pt x="369" y="458"/>
                </a:lnTo>
                <a:lnTo>
                  <a:pt x="367" y="460"/>
                </a:lnTo>
                <a:lnTo>
                  <a:pt x="367" y="460"/>
                </a:lnTo>
                <a:lnTo>
                  <a:pt x="369" y="463"/>
                </a:lnTo>
                <a:lnTo>
                  <a:pt x="369" y="463"/>
                </a:lnTo>
                <a:lnTo>
                  <a:pt x="367" y="465"/>
                </a:lnTo>
                <a:lnTo>
                  <a:pt x="367" y="465"/>
                </a:lnTo>
                <a:lnTo>
                  <a:pt x="365" y="465"/>
                </a:lnTo>
                <a:lnTo>
                  <a:pt x="365" y="465"/>
                </a:lnTo>
                <a:lnTo>
                  <a:pt x="365" y="472"/>
                </a:lnTo>
                <a:lnTo>
                  <a:pt x="365" y="472"/>
                </a:lnTo>
                <a:lnTo>
                  <a:pt x="362" y="475"/>
                </a:lnTo>
                <a:lnTo>
                  <a:pt x="362" y="475"/>
                </a:lnTo>
                <a:lnTo>
                  <a:pt x="362" y="480"/>
                </a:lnTo>
                <a:lnTo>
                  <a:pt x="362" y="480"/>
                </a:lnTo>
                <a:lnTo>
                  <a:pt x="360" y="482"/>
                </a:lnTo>
                <a:lnTo>
                  <a:pt x="360" y="482"/>
                </a:lnTo>
                <a:lnTo>
                  <a:pt x="360" y="485"/>
                </a:lnTo>
                <a:lnTo>
                  <a:pt x="360" y="485"/>
                </a:lnTo>
                <a:lnTo>
                  <a:pt x="360" y="492"/>
                </a:lnTo>
                <a:lnTo>
                  <a:pt x="360" y="492"/>
                </a:lnTo>
                <a:lnTo>
                  <a:pt x="362" y="495"/>
                </a:lnTo>
                <a:lnTo>
                  <a:pt x="362" y="495"/>
                </a:lnTo>
                <a:lnTo>
                  <a:pt x="360" y="497"/>
                </a:lnTo>
                <a:lnTo>
                  <a:pt x="360" y="497"/>
                </a:lnTo>
                <a:lnTo>
                  <a:pt x="360" y="502"/>
                </a:lnTo>
                <a:lnTo>
                  <a:pt x="360" y="502"/>
                </a:lnTo>
                <a:lnTo>
                  <a:pt x="357" y="502"/>
                </a:lnTo>
                <a:lnTo>
                  <a:pt x="357" y="502"/>
                </a:lnTo>
                <a:lnTo>
                  <a:pt x="357" y="500"/>
                </a:lnTo>
                <a:lnTo>
                  <a:pt x="357" y="500"/>
                </a:lnTo>
                <a:lnTo>
                  <a:pt x="355" y="500"/>
                </a:lnTo>
                <a:lnTo>
                  <a:pt x="355" y="500"/>
                </a:lnTo>
                <a:lnTo>
                  <a:pt x="350" y="497"/>
                </a:lnTo>
                <a:lnTo>
                  <a:pt x="350" y="497"/>
                </a:lnTo>
                <a:lnTo>
                  <a:pt x="345" y="495"/>
                </a:lnTo>
                <a:lnTo>
                  <a:pt x="345" y="495"/>
                </a:lnTo>
                <a:lnTo>
                  <a:pt x="342" y="492"/>
                </a:lnTo>
                <a:lnTo>
                  <a:pt x="342" y="492"/>
                </a:lnTo>
                <a:lnTo>
                  <a:pt x="340" y="492"/>
                </a:lnTo>
                <a:lnTo>
                  <a:pt x="340" y="492"/>
                </a:lnTo>
                <a:lnTo>
                  <a:pt x="340" y="492"/>
                </a:lnTo>
                <a:lnTo>
                  <a:pt x="337" y="492"/>
                </a:lnTo>
                <a:lnTo>
                  <a:pt x="337" y="492"/>
                </a:lnTo>
                <a:lnTo>
                  <a:pt x="337" y="492"/>
                </a:lnTo>
                <a:lnTo>
                  <a:pt x="335" y="490"/>
                </a:lnTo>
                <a:lnTo>
                  <a:pt x="335" y="490"/>
                </a:lnTo>
                <a:lnTo>
                  <a:pt x="335" y="485"/>
                </a:lnTo>
                <a:lnTo>
                  <a:pt x="335" y="485"/>
                </a:lnTo>
                <a:lnTo>
                  <a:pt x="333" y="477"/>
                </a:lnTo>
                <a:lnTo>
                  <a:pt x="333" y="477"/>
                </a:lnTo>
                <a:lnTo>
                  <a:pt x="333" y="475"/>
                </a:lnTo>
                <a:lnTo>
                  <a:pt x="333" y="475"/>
                </a:lnTo>
                <a:lnTo>
                  <a:pt x="333" y="475"/>
                </a:lnTo>
                <a:lnTo>
                  <a:pt x="333" y="472"/>
                </a:lnTo>
                <a:lnTo>
                  <a:pt x="333" y="472"/>
                </a:lnTo>
                <a:lnTo>
                  <a:pt x="333" y="470"/>
                </a:lnTo>
                <a:lnTo>
                  <a:pt x="333" y="470"/>
                </a:lnTo>
                <a:lnTo>
                  <a:pt x="330" y="465"/>
                </a:lnTo>
                <a:lnTo>
                  <a:pt x="330" y="465"/>
                </a:lnTo>
                <a:lnTo>
                  <a:pt x="330" y="463"/>
                </a:lnTo>
                <a:lnTo>
                  <a:pt x="330" y="463"/>
                </a:lnTo>
                <a:lnTo>
                  <a:pt x="328" y="460"/>
                </a:lnTo>
                <a:lnTo>
                  <a:pt x="328" y="460"/>
                </a:lnTo>
                <a:lnTo>
                  <a:pt x="325" y="460"/>
                </a:lnTo>
                <a:lnTo>
                  <a:pt x="325" y="460"/>
                </a:lnTo>
                <a:lnTo>
                  <a:pt x="325" y="458"/>
                </a:lnTo>
                <a:lnTo>
                  <a:pt x="325" y="458"/>
                </a:lnTo>
                <a:lnTo>
                  <a:pt x="325" y="458"/>
                </a:lnTo>
                <a:lnTo>
                  <a:pt x="323" y="450"/>
                </a:lnTo>
                <a:lnTo>
                  <a:pt x="323" y="450"/>
                </a:lnTo>
                <a:lnTo>
                  <a:pt x="320" y="448"/>
                </a:lnTo>
                <a:lnTo>
                  <a:pt x="320" y="448"/>
                </a:lnTo>
                <a:lnTo>
                  <a:pt x="320" y="448"/>
                </a:lnTo>
                <a:lnTo>
                  <a:pt x="320" y="445"/>
                </a:lnTo>
                <a:lnTo>
                  <a:pt x="320" y="445"/>
                </a:lnTo>
                <a:lnTo>
                  <a:pt x="318" y="443"/>
                </a:lnTo>
                <a:lnTo>
                  <a:pt x="318" y="443"/>
                </a:lnTo>
                <a:lnTo>
                  <a:pt x="318" y="441"/>
                </a:lnTo>
                <a:lnTo>
                  <a:pt x="318" y="441"/>
                </a:lnTo>
                <a:lnTo>
                  <a:pt x="318" y="438"/>
                </a:lnTo>
                <a:lnTo>
                  <a:pt x="318" y="438"/>
                </a:lnTo>
                <a:lnTo>
                  <a:pt x="315" y="433"/>
                </a:lnTo>
                <a:lnTo>
                  <a:pt x="315" y="433"/>
                </a:lnTo>
                <a:lnTo>
                  <a:pt x="310" y="431"/>
                </a:lnTo>
                <a:lnTo>
                  <a:pt x="310" y="431"/>
                </a:lnTo>
                <a:lnTo>
                  <a:pt x="310" y="428"/>
                </a:lnTo>
                <a:lnTo>
                  <a:pt x="310" y="428"/>
                </a:lnTo>
                <a:lnTo>
                  <a:pt x="308" y="428"/>
                </a:lnTo>
                <a:lnTo>
                  <a:pt x="308" y="428"/>
                </a:lnTo>
                <a:lnTo>
                  <a:pt x="305" y="428"/>
                </a:lnTo>
                <a:lnTo>
                  <a:pt x="305" y="428"/>
                </a:lnTo>
                <a:lnTo>
                  <a:pt x="305" y="428"/>
                </a:lnTo>
                <a:lnTo>
                  <a:pt x="303" y="426"/>
                </a:lnTo>
                <a:lnTo>
                  <a:pt x="303" y="426"/>
                </a:lnTo>
                <a:lnTo>
                  <a:pt x="301" y="428"/>
                </a:lnTo>
                <a:lnTo>
                  <a:pt x="301" y="428"/>
                </a:lnTo>
                <a:lnTo>
                  <a:pt x="298" y="426"/>
                </a:lnTo>
                <a:lnTo>
                  <a:pt x="298" y="426"/>
                </a:lnTo>
                <a:lnTo>
                  <a:pt x="296" y="426"/>
                </a:lnTo>
                <a:lnTo>
                  <a:pt x="296" y="426"/>
                </a:lnTo>
                <a:lnTo>
                  <a:pt x="296" y="428"/>
                </a:lnTo>
                <a:lnTo>
                  <a:pt x="296" y="428"/>
                </a:lnTo>
                <a:lnTo>
                  <a:pt x="293" y="428"/>
                </a:lnTo>
                <a:lnTo>
                  <a:pt x="293" y="428"/>
                </a:lnTo>
                <a:lnTo>
                  <a:pt x="293" y="428"/>
                </a:lnTo>
                <a:lnTo>
                  <a:pt x="293" y="428"/>
                </a:lnTo>
                <a:lnTo>
                  <a:pt x="291" y="428"/>
                </a:lnTo>
                <a:lnTo>
                  <a:pt x="291" y="428"/>
                </a:lnTo>
                <a:lnTo>
                  <a:pt x="288" y="431"/>
                </a:lnTo>
                <a:lnTo>
                  <a:pt x="288" y="431"/>
                </a:lnTo>
                <a:lnTo>
                  <a:pt x="286" y="436"/>
                </a:lnTo>
                <a:lnTo>
                  <a:pt x="286" y="436"/>
                </a:lnTo>
                <a:lnTo>
                  <a:pt x="286" y="436"/>
                </a:lnTo>
                <a:lnTo>
                  <a:pt x="286" y="438"/>
                </a:lnTo>
                <a:lnTo>
                  <a:pt x="286" y="438"/>
                </a:lnTo>
                <a:lnTo>
                  <a:pt x="286" y="438"/>
                </a:lnTo>
                <a:lnTo>
                  <a:pt x="283" y="438"/>
                </a:lnTo>
                <a:lnTo>
                  <a:pt x="283" y="438"/>
                </a:lnTo>
                <a:lnTo>
                  <a:pt x="281" y="441"/>
                </a:lnTo>
                <a:lnTo>
                  <a:pt x="281" y="441"/>
                </a:lnTo>
                <a:lnTo>
                  <a:pt x="281" y="441"/>
                </a:lnTo>
                <a:lnTo>
                  <a:pt x="281" y="443"/>
                </a:lnTo>
                <a:lnTo>
                  <a:pt x="281" y="443"/>
                </a:lnTo>
                <a:lnTo>
                  <a:pt x="278" y="443"/>
                </a:lnTo>
                <a:lnTo>
                  <a:pt x="278" y="443"/>
                </a:lnTo>
                <a:lnTo>
                  <a:pt x="278" y="441"/>
                </a:lnTo>
                <a:lnTo>
                  <a:pt x="278" y="441"/>
                </a:lnTo>
                <a:lnTo>
                  <a:pt x="273" y="438"/>
                </a:lnTo>
                <a:lnTo>
                  <a:pt x="273" y="438"/>
                </a:lnTo>
                <a:lnTo>
                  <a:pt x="271" y="438"/>
                </a:lnTo>
                <a:lnTo>
                  <a:pt x="271" y="438"/>
                </a:lnTo>
                <a:lnTo>
                  <a:pt x="271" y="438"/>
                </a:lnTo>
                <a:lnTo>
                  <a:pt x="269" y="436"/>
                </a:lnTo>
                <a:lnTo>
                  <a:pt x="269" y="436"/>
                </a:lnTo>
                <a:lnTo>
                  <a:pt x="266" y="436"/>
                </a:lnTo>
                <a:lnTo>
                  <a:pt x="266" y="436"/>
                </a:lnTo>
                <a:lnTo>
                  <a:pt x="266" y="436"/>
                </a:lnTo>
                <a:lnTo>
                  <a:pt x="266" y="433"/>
                </a:lnTo>
                <a:lnTo>
                  <a:pt x="266" y="433"/>
                </a:lnTo>
                <a:lnTo>
                  <a:pt x="264" y="433"/>
                </a:lnTo>
                <a:lnTo>
                  <a:pt x="264" y="433"/>
                </a:lnTo>
                <a:lnTo>
                  <a:pt x="264" y="431"/>
                </a:lnTo>
                <a:lnTo>
                  <a:pt x="264" y="431"/>
                </a:lnTo>
                <a:lnTo>
                  <a:pt x="261" y="431"/>
                </a:lnTo>
                <a:lnTo>
                  <a:pt x="261" y="431"/>
                </a:lnTo>
                <a:lnTo>
                  <a:pt x="261" y="431"/>
                </a:lnTo>
                <a:lnTo>
                  <a:pt x="261" y="431"/>
                </a:lnTo>
                <a:lnTo>
                  <a:pt x="261" y="431"/>
                </a:lnTo>
                <a:lnTo>
                  <a:pt x="259" y="428"/>
                </a:lnTo>
                <a:lnTo>
                  <a:pt x="259" y="428"/>
                </a:lnTo>
                <a:lnTo>
                  <a:pt x="256" y="426"/>
                </a:lnTo>
                <a:lnTo>
                  <a:pt x="256" y="426"/>
                </a:lnTo>
                <a:lnTo>
                  <a:pt x="254" y="421"/>
                </a:lnTo>
                <a:lnTo>
                  <a:pt x="254" y="421"/>
                </a:lnTo>
                <a:lnTo>
                  <a:pt x="254" y="421"/>
                </a:lnTo>
                <a:lnTo>
                  <a:pt x="256" y="421"/>
                </a:lnTo>
                <a:lnTo>
                  <a:pt x="256" y="421"/>
                </a:lnTo>
                <a:lnTo>
                  <a:pt x="256" y="421"/>
                </a:lnTo>
                <a:lnTo>
                  <a:pt x="256" y="418"/>
                </a:lnTo>
                <a:lnTo>
                  <a:pt x="256" y="418"/>
                </a:lnTo>
                <a:lnTo>
                  <a:pt x="256" y="416"/>
                </a:lnTo>
                <a:lnTo>
                  <a:pt x="256" y="416"/>
                </a:lnTo>
                <a:lnTo>
                  <a:pt x="254" y="413"/>
                </a:lnTo>
                <a:lnTo>
                  <a:pt x="254" y="413"/>
                </a:lnTo>
                <a:lnTo>
                  <a:pt x="254" y="413"/>
                </a:lnTo>
                <a:lnTo>
                  <a:pt x="254" y="413"/>
                </a:lnTo>
                <a:lnTo>
                  <a:pt x="254" y="409"/>
                </a:lnTo>
                <a:lnTo>
                  <a:pt x="254" y="409"/>
                </a:lnTo>
                <a:lnTo>
                  <a:pt x="251" y="409"/>
                </a:lnTo>
                <a:lnTo>
                  <a:pt x="251" y="409"/>
                </a:lnTo>
                <a:lnTo>
                  <a:pt x="249" y="406"/>
                </a:lnTo>
                <a:lnTo>
                  <a:pt x="249" y="406"/>
                </a:lnTo>
                <a:lnTo>
                  <a:pt x="246" y="406"/>
                </a:lnTo>
                <a:lnTo>
                  <a:pt x="246" y="406"/>
                </a:lnTo>
                <a:lnTo>
                  <a:pt x="249" y="404"/>
                </a:lnTo>
                <a:lnTo>
                  <a:pt x="249" y="404"/>
                </a:lnTo>
                <a:lnTo>
                  <a:pt x="249" y="404"/>
                </a:lnTo>
                <a:lnTo>
                  <a:pt x="246" y="401"/>
                </a:lnTo>
                <a:lnTo>
                  <a:pt x="246" y="401"/>
                </a:lnTo>
                <a:lnTo>
                  <a:pt x="244" y="401"/>
                </a:lnTo>
                <a:lnTo>
                  <a:pt x="244" y="401"/>
                </a:lnTo>
                <a:lnTo>
                  <a:pt x="244" y="399"/>
                </a:lnTo>
                <a:lnTo>
                  <a:pt x="244" y="399"/>
                </a:lnTo>
                <a:lnTo>
                  <a:pt x="241" y="396"/>
                </a:lnTo>
                <a:lnTo>
                  <a:pt x="241" y="396"/>
                </a:lnTo>
                <a:lnTo>
                  <a:pt x="241" y="396"/>
                </a:lnTo>
                <a:lnTo>
                  <a:pt x="241" y="396"/>
                </a:lnTo>
                <a:lnTo>
                  <a:pt x="239" y="394"/>
                </a:lnTo>
                <a:lnTo>
                  <a:pt x="239" y="394"/>
                </a:lnTo>
                <a:lnTo>
                  <a:pt x="237" y="389"/>
                </a:lnTo>
                <a:lnTo>
                  <a:pt x="237" y="389"/>
                </a:lnTo>
                <a:lnTo>
                  <a:pt x="234" y="389"/>
                </a:lnTo>
                <a:lnTo>
                  <a:pt x="234" y="389"/>
                </a:lnTo>
                <a:lnTo>
                  <a:pt x="210" y="386"/>
                </a:lnTo>
                <a:lnTo>
                  <a:pt x="210" y="386"/>
                </a:lnTo>
                <a:lnTo>
                  <a:pt x="210" y="394"/>
                </a:lnTo>
                <a:lnTo>
                  <a:pt x="210" y="394"/>
                </a:lnTo>
                <a:lnTo>
                  <a:pt x="165" y="391"/>
                </a:lnTo>
                <a:lnTo>
                  <a:pt x="165" y="391"/>
                </a:lnTo>
                <a:lnTo>
                  <a:pt x="111" y="367"/>
                </a:lnTo>
                <a:lnTo>
                  <a:pt x="111" y="367"/>
                </a:lnTo>
                <a:lnTo>
                  <a:pt x="114" y="367"/>
                </a:lnTo>
                <a:lnTo>
                  <a:pt x="114" y="367"/>
                </a:lnTo>
                <a:lnTo>
                  <a:pt x="111" y="364"/>
                </a:lnTo>
                <a:lnTo>
                  <a:pt x="111" y="364"/>
                </a:lnTo>
                <a:lnTo>
                  <a:pt x="74" y="367"/>
                </a:lnTo>
                <a:lnTo>
                  <a:pt x="74" y="367"/>
                </a:lnTo>
                <a:lnTo>
                  <a:pt x="74" y="364"/>
                </a:lnTo>
                <a:lnTo>
                  <a:pt x="74" y="364"/>
                </a:lnTo>
                <a:lnTo>
                  <a:pt x="74" y="359"/>
                </a:lnTo>
                <a:lnTo>
                  <a:pt x="74" y="359"/>
                </a:lnTo>
                <a:lnTo>
                  <a:pt x="74" y="354"/>
                </a:lnTo>
                <a:lnTo>
                  <a:pt x="74" y="354"/>
                </a:lnTo>
                <a:lnTo>
                  <a:pt x="69" y="347"/>
                </a:lnTo>
                <a:lnTo>
                  <a:pt x="69" y="347"/>
                </a:lnTo>
                <a:lnTo>
                  <a:pt x="67" y="342"/>
                </a:lnTo>
                <a:lnTo>
                  <a:pt x="67" y="342"/>
                </a:lnTo>
                <a:lnTo>
                  <a:pt x="64" y="345"/>
                </a:lnTo>
                <a:lnTo>
                  <a:pt x="64" y="345"/>
                </a:lnTo>
                <a:lnTo>
                  <a:pt x="62" y="345"/>
                </a:lnTo>
                <a:lnTo>
                  <a:pt x="62" y="345"/>
                </a:lnTo>
                <a:lnTo>
                  <a:pt x="62" y="342"/>
                </a:lnTo>
                <a:lnTo>
                  <a:pt x="62" y="342"/>
                </a:lnTo>
                <a:lnTo>
                  <a:pt x="62" y="340"/>
                </a:lnTo>
                <a:lnTo>
                  <a:pt x="62" y="340"/>
                </a:lnTo>
                <a:lnTo>
                  <a:pt x="62" y="340"/>
                </a:lnTo>
                <a:lnTo>
                  <a:pt x="57" y="337"/>
                </a:lnTo>
                <a:lnTo>
                  <a:pt x="57" y="337"/>
                </a:lnTo>
                <a:lnTo>
                  <a:pt x="55" y="337"/>
                </a:lnTo>
                <a:lnTo>
                  <a:pt x="55" y="337"/>
                </a:lnTo>
                <a:lnTo>
                  <a:pt x="50" y="335"/>
                </a:lnTo>
                <a:lnTo>
                  <a:pt x="50" y="335"/>
                </a:lnTo>
                <a:lnTo>
                  <a:pt x="50" y="332"/>
                </a:lnTo>
                <a:lnTo>
                  <a:pt x="50" y="332"/>
                </a:lnTo>
                <a:lnTo>
                  <a:pt x="47" y="330"/>
                </a:lnTo>
                <a:lnTo>
                  <a:pt x="47" y="330"/>
                </a:lnTo>
                <a:lnTo>
                  <a:pt x="45" y="330"/>
                </a:lnTo>
                <a:lnTo>
                  <a:pt x="45" y="330"/>
                </a:lnTo>
                <a:lnTo>
                  <a:pt x="42" y="330"/>
                </a:lnTo>
                <a:lnTo>
                  <a:pt x="42" y="330"/>
                </a:lnTo>
                <a:lnTo>
                  <a:pt x="40" y="327"/>
                </a:lnTo>
                <a:lnTo>
                  <a:pt x="40" y="327"/>
                </a:lnTo>
                <a:lnTo>
                  <a:pt x="37" y="327"/>
                </a:lnTo>
                <a:lnTo>
                  <a:pt x="37" y="327"/>
                </a:lnTo>
                <a:lnTo>
                  <a:pt x="30" y="327"/>
                </a:lnTo>
                <a:lnTo>
                  <a:pt x="30" y="327"/>
                </a:lnTo>
                <a:lnTo>
                  <a:pt x="30" y="327"/>
                </a:lnTo>
                <a:lnTo>
                  <a:pt x="27" y="325"/>
                </a:lnTo>
                <a:lnTo>
                  <a:pt x="27" y="325"/>
                </a:lnTo>
                <a:lnTo>
                  <a:pt x="30" y="322"/>
                </a:lnTo>
                <a:lnTo>
                  <a:pt x="30" y="322"/>
                </a:lnTo>
                <a:lnTo>
                  <a:pt x="30" y="320"/>
                </a:lnTo>
                <a:lnTo>
                  <a:pt x="30" y="320"/>
                </a:lnTo>
                <a:lnTo>
                  <a:pt x="32" y="318"/>
                </a:lnTo>
                <a:lnTo>
                  <a:pt x="32" y="318"/>
                </a:lnTo>
                <a:lnTo>
                  <a:pt x="30" y="313"/>
                </a:lnTo>
                <a:lnTo>
                  <a:pt x="30" y="313"/>
                </a:lnTo>
                <a:lnTo>
                  <a:pt x="27" y="310"/>
                </a:lnTo>
                <a:lnTo>
                  <a:pt x="27" y="310"/>
                </a:lnTo>
                <a:lnTo>
                  <a:pt x="27" y="310"/>
                </a:lnTo>
                <a:lnTo>
                  <a:pt x="27" y="308"/>
                </a:lnTo>
                <a:lnTo>
                  <a:pt x="27" y="308"/>
                </a:lnTo>
                <a:lnTo>
                  <a:pt x="27" y="308"/>
                </a:lnTo>
                <a:lnTo>
                  <a:pt x="25" y="305"/>
                </a:lnTo>
                <a:lnTo>
                  <a:pt x="25" y="305"/>
                </a:lnTo>
                <a:lnTo>
                  <a:pt x="20" y="298"/>
                </a:lnTo>
                <a:lnTo>
                  <a:pt x="20" y="298"/>
                </a:lnTo>
                <a:lnTo>
                  <a:pt x="20" y="293"/>
                </a:lnTo>
                <a:lnTo>
                  <a:pt x="20" y="293"/>
                </a:lnTo>
                <a:lnTo>
                  <a:pt x="18" y="290"/>
                </a:lnTo>
                <a:lnTo>
                  <a:pt x="18" y="290"/>
                </a:lnTo>
                <a:lnTo>
                  <a:pt x="18" y="288"/>
                </a:lnTo>
                <a:lnTo>
                  <a:pt x="18" y="288"/>
                </a:lnTo>
                <a:lnTo>
                  <a:pt x="18" y="286"/>
                </a:lnTo>
                <a:lnTo>
                  <a:pt x="18" y="286"/>
                </a:lnTo>
                <a:lnTo>
                  <a:pt x="18" y="283"/>
                </a:lnTo>
                <a:lnTo>
                  <a:pt x="18" y="283"/>
                </a:lnTo>
                <a:lnTo>
                  <a:pt x="18" y="281"/>
                </a:lnTo>
                <a:lnTo>
                  <a:pt x="18" y="281"/>
                </a:lnTo>
                <a:lnTo>
                  <a:pt x="18" y="281"/>
                </a:lnTo>
                <a:lnTo>
                  <a:pt x="20" y="278"/>
                </a:lnTo>
                <a:lnTo>
                  <a:pt x="20" y="278"/>
                </a:lnTo>
                <a:lnTo>
                  <a:pt x="20" y="276"/>
                </a:lnTo>
                <a:lnTo>
                  <a:pt x="20" y="276"/>
                </a:lnTo>
                <a:lnTo>
                  <a:pt x="18" y="276"/>
                </a:lnTo>
                <a:lnTo>
                  <a:pt x="18" y="276"/>
                </a:lnTo>
                <a:lnTo>
                  <a:pt x="18" y="273"/>
                </a:lnTo>
                <a:lnTo>
                  <a:pt x="18" y="273"/>
                </a:lnTo>
                <a:lnTo>
                  <a:pt x="15" y="271"/>
                </a:lnTo>
                <a:lnTo>
                  <a:pt x="15" y="271"/>
                </a:lnTo>
                <a:lnTo>
                  <a:pt x="15" y="268"/>
                </a:lnTo>
                <a:lnTo>
                  <a:pt x="15" y="268"/>
                </a:lnTo>
                <a:lnTo>
                  <a:pt x="15" y="266"/>
                </a:lnTo>
                <a:lnTo>
                  <a:pt x="15" y="266"/>
                </a:lnTo>
                <a:lnTo>
                  <a:pt x="15" y="263"/>
                </a:lnTo>
                <a:lnTo>
                  <a:pt x="15" y="263"/>
                </a:lnTo>
                <a:lnTo>
                  <a:pt x="15" y="263"/>
                </a:lnTo>
                <a:lnTo>
                  <a:pt x="15" y="261"/>
                </a:lnTo>
                <a:lnTo>
                  <a:pt x="15" y="261"/>
                </a:lnTo>
                <a:lnTo>
                  <a:pt x="15" y="259"/>
                </a:lnTo>
                <a:lnTo>
                  <a:pt x="15" y="259"/>
                </a:lnTo>
                <a:lnTo>
                  <a:pt x="18" y="259"/>
                </a:lnTo>
                <a:lnTo>
                  <a:pt x="18" y="259"/>
                </a:lnTo>
                <a:lnTo>
                  <a:pt x="18" y="259"/>
                </a:lnTo>
                <a:lnTo>
                  <a:pt x="20" y="261"/>
                </a:lnTo>
                <a:lnTo>
                  <a:pt x="20" y="261"/>
                </a:lnTo>
                <a:lnTo>
                  <a:pt x="23" y="263"/>
                </a:lnTo>
                <a:lnTo>
                  <a:pt x="23" y="263"/>
                </a:lnTo>
                <a:lnTo>
                  <a:pt x="20" y="261"/>
                </a:lnTo>
                <a:lnTo>
                  <a:pt x="20" y="261"/>
                </a:lnTo>
                <a:lnTo>
                  <a:pt x="20" y="259"/>
                </a:lnTo>
                <a:lnTo>
                  <a:pt x="20" y="259"/>
                </a:lnTo>
                <a:lnTo>
                  <a:pt x="20" y="256"/>
                </a:lnTo>
                <a:lnTo>
                  <a:pt x="20" y="256"/>
                </a:lnTo>
                <a:lnTo>
                  <a:pt x="18" y="254"/>
                </a:lnTo>
                <a:lnTo>
                  <a:pt x="18" y="254"/>
                </a:lnTo>
                <a:lnTo>
                  <a:pt x="18" y="251"/>
                </a:lnTo>
                <a:lnTo>
                  <a:pt x="18" y="251"/>
                </a:lnTo>
                <a:lnTo>
                  <a:pt x="20" y="251"/>
                </a:lnTo>
                <a:lnTo>
                  <a:pt x="20" y="251"/>
                </a:lnTo>
                <a:lnTo>
                  <a:pt x="20" y="254"/>
                </a:lnTo>
                <a:lnTo>
                  <a:pt x="20" y="254"/>
                </a:lnTo>
                <a:lnTo>
                  <a:pt x="23" y="254"/>
                </a:lnTo>
                <a:lnTo>
                  <a:pt x="23" y="254"/>
                </a:lnTo>
                <a:lnTo>
                  <a:pt x="27" y="251"/>
                </a:lnTo>
                <a:lnTo>
                  <a:pt x="27" y="251"/>
                </a:lnTo>
                <a:lnTo>
                  <a:pt x="23" y="251"/>
                </a:lnTo>
                <a:lnTo>
                  <a:pt x="23" y="251"/>
                </a:lnTo>
                <a:lnTo>
                  <a:pt x="23" y="251"/>
                </a:lnTo>
                <a:lnTo>
                  <a:pt x="20" y="251"/>
                </a:lnTo>
                <a:lnTo>
                  <a:pt x="20" y="251"/>
                </a:lnTo>
                <a:lnTo>
                  <a:pt x="20" y="249"/>
                </a:lnTo>
                <a:lnTo>
                  <a:pt x="20" y="249"/>
                </a:lnTo>
                <a:lnTo>
                  <a:pt x="18" y="249"/>
                </a:lnTo>
                <a:lnTo>
                  <a:pt x="18" y="249"/>
                </a:lnTo>
                <a:lnTo>
                  <a:pt x="15" y="249"/>
                </a:lnTo>
                <a:lnTo>
                  <a:pt x="15" y="249"/>
                </a:lnTo>
                <a:lnTo>
                  <a:pt x="15" y="251"/>
                </a:lnTo>
                <a:lnTo>
                  <a:pt x="15" y="251"/>
                </a:lnTo>
                <a:lnTo>
                  <a:pt x="15" y="256"/>
                </a:lnTo>
                <a:lnTo>
                  <a:pt x="15" y="256"/>
                </a:lnTo>
                <a:lnTo>
                  <a:pt x="15" y="254"/>
                </a:lnTo>
                <a:lnTo>
                  <a:pt x="15" y="254"/>
                </a:lnTo>
                <a:lnTo>
                  <a:pt x="15" y="254"/>
                </a:lnTo>
                <a:lnTo>
                  <a:pt x="13" y="254"/>
                </a:lnTo>
                <a:lnTo>
                  <a:pt x="13" y="254"/>
                </a:lnTo>
                <a:lnTo>
                  <a:pt x="10" y="251"/>
                </a:lnTo>
                <a:lnTo>
                  <a:pt x="10" y="251"/>
                </a:lnTo>
                <a:lnTo>
                  <a:pt x="10" y="249"/>
                </a:lnTo>
                <a:lnTo>
                  <a:pt x="10" y="249"/>
                </a:lnTo>
                <a:lnTo>
                  <a:pt x="10" y="246"/>
                </a:lnTo>
                <a:lnTo>
                  <a:pt x="10" y="246"/>
                </a:lnTo>
                <a:lnTo>
                  <a:pt x="10" y="244"/>
                </a:lnTo>
                <a:lnTo>
                  <a:pt x="10" y="244"/>
                </a:lnTo>
                <a:lnTo>
                  <a:pt x="3" y="234"/>
                </a:lnTo>
                <a:lnTo>
                  <a:pt x="3" y="234"/>
                </a:lnTo>
                <a:lnTo>
                  <a:pt x="3" y="231"/>
                </a:lnTo>
                <a:lnTo>
                  <a:pt x="3" y="231"/>
                </a:lnTo>
                <a:lnTo>
                  <a:pt x="3" y="229"/>
                </a:lnTo>
                <a:lnTo>
                  <a:pt x="3" y="229"/>
                </a:lnTo>
                <a:lnTo>
                  <a:pt x="5" y="227"/>
                </a:lnTo>
                <a:lnTo>
                  <a:pt x="5" y="227"/>
                </a:lnTo>
                <a:lnTo>
                  <a:pt x="3" y="224"/>
                </a:lnTo>
                <a:lnTo>
                  <a:pt x="3" y="224"/>
                </a:lnTo>
                <a:lnTo>
                  <a:pt x="3" y="222"/>
                </a:lnTo>
                <a:lnTo>
                  <a:pt x="3" y="222"/>
                </a:lnTo>
                <a:lnTo>
                  <a:pt x="3" y="219"/>
                </a:lnTo>
                <a:lnTo>
                  <a:pt x="3" y="219"/>
                </a:lnTo>
                <a:lnTo>
                  <a:pt x="5" y="217"/>
                </a:lnTo>
                <a:lnTo>
                  <a:pt x="5" y="217"/>
                </a:lnTo>
                <a:lnTo>
                  <a:pt x="5" y="214"/>
                </a:lnTo>
                <a:lnTo>
                  <a:pt x="5" y="214"/>
                </a:lnTo>
                <a:lnTo>
                  <a:pt x="5" y="207"/>
                </a:lnTo>
                <a:lnTo>
                  <a:pt x="5" y="207"/>
                </a:lnTo>
                <a:lnTo>
                  <a:pt x="3" y="202"/>
                </a:lnTo>
                <a:lnTo>
                  <a:pt x="3" y="202"/>
                </a:lnTo>
                <a:lnTo>
                  <a:pt x="0" y="197"/>
                </a:lnTo>
                <a:lnTo>
                  <a:pt x="0" y="197"/>
                </a:lnTo>
                <a:lnTo>
                  <a:pt x="0" y="195"/>
                </a:lnTo>
                <a:lnTo>
                  <a:pt x="0" y="195"/>
                </a:lnTo>
                <a:lnTo>
                  <a:pt x="0" y="190"/>
                </a:lnTo>
                <a:lnTo>
                  <a:pt x="0" y="190"/>
                </a:lnTo>
                <a:lnTo>
                  <a:pt x="5" y="187"/>
                </a:lnTo>
                <a:lnTo>
                  <a:pt x="5" y="187"/>
                </a:lnTo>
                <a:lnTo>
                  <a:pt x="8" y="182"/>
                </a:lnTo>
                <a:lnTo>
                  <a:pt x="8" y="182"/>
                </a:lnTo>
                <a:lnTo>
                  <a:pt x="5" y="182"/>
                </a:lnTo>
                <a:lnTo>
                  <a:pt x="5" y="182"/>
                </a:lnTo>
                <a:lnTo>
                  <a:pt x="5" y="180"/>
                </a:lnTo>
                <a:lnTo>
                  <a:pt x="5" y="180"/>
                </a:lnTo>
                <a:lnTo>
                  <a:pt x="8" y="180"/>
                </a:lnTo>
                <a:lnTo>
                  <a:pt x="8" y="180"/>
                </a:lnTo>
                <a:lnTo>
                  <a:pt x="10" y="175"/>
                </a:lnTo>
                <a:lnTo>
                  <a:pt x="10" y="175"/>
                </a:lnTo>
                <a:lnTo>
                  <a:pt x="10" y="170"/>
                </a:lnTo>
                <a:lnTo>
                  <a:pt x="10" y="170"/>
                </a:lnTo>
                <a:lnTo>
                  <a:pt x="8" y="165"/>
                </a:lnTo>
                <a:lnTo>
                  <a:pt x="8" y="165"/>
                </a:lnTo>
                <a:lnTo>
                  <a:pt x="10" y="163"/>
                </a:lnTo>
                <a:lnTo>
                  <a:pt x="10" y="163"/>
                </a:lnTo>
                <a:lnTo>
                  <a:pt x="10" y="160"/>
                </a:lnTo>
                <a:lnTo>
                  <a:pt x="10" y="160"/>
                </a:lnTo>
                <a:lnTo>
                  <a:pt x="8" y="158"/>
                </a:lnTo>
                <a:lnTo>
                  <a:pt x="8" y="158"/>
                </a:lnTo>
                <a:lnTo>
                  <a:pt x="8" y="155"/>
                </a:lnTo>
                <a:lnTo>
                  <a:pt x="8" y="155"/>
                </a:lnTo>
                <a:lnTo>
                  <a:pt x="10" y="148"/>
                </a:lnTo>
                <a:lnTo>
                  <a:pt x="10" y="148"/>
                </a:lnTo>
                <a:lnTo>
                  <a:pt x="10" y="143"/>
                </a:lnTo>
                <a:lnTo>
                  <a:pt x="10" y="143"/>
                </a:lnTo>
                <a:lnTo>
                  <a:pt x="10" y="140"/>
                </a:lnTo>
                <a:lnTo>
                  <a:pt x="10" y="140"/>
                </a:lnTo>
                <a:lnTo>
                  <a:pt x="15" y="136"/>
                </a:lnTo>
                <a:lnTo>
                  <a:pt x="15" y="136"/>
                </a:lnTo>
                <a:lnTo>
                  <a:pt x="15" y="131"/>
                </a:lnTo>
                <a:lnTo>
                  <a:pt x="15" y="131"/>
                </a:lnTo>
                <a:lnTo>
                  <a:pt x="18" y="131"/>
                </a:lnTo>
                <a:lnTo>
                  <a:pt x="18" y="131"/>
                </a:lnTo>
                <a:lnTo>
                  <a:pt x="20" y="126"/>
                </a:lnTo>
                <a:lnTo>
                  <a:pt x="20" y="126"/>
                </a:lnTo>
                <a:lnTo>
                  <a:pt x="23" y="121"/>
                </a:lnTo>
                <a:lnTo>
                  <a:pt x="23" y="121"/>
                </a:lnTo>
                <a:lnTo>
                  <a:pt x="25" y="118"/>
                </a:lnTo>
                <a:lnTo>
                  <a:pt x="25" y="118"/>
                </a:lnTo>
                <a:lnTo>
                  <a:pt x="25" y="108"/>
                </a:lnTo>
                <a:lnTo>
                  <a:pt x="25" y="108"/>
                </a:lnTo>
                <a:lnTo>
                  <a:pt x="30" y="101"/>
                </a:lnTo>
                <a:lnTo>
                  <a:pt x="30" y="101"/>
                </a:lnTo>
                <a:lnTo>
                  <a:pt x="30" y="94"/>
                </a:lnTo>
                <a:lnTo>
                  <a:pt x="30" y="94"/>
                </a:lnTo>
                <a:lnTo>
                  <a:pt x="35" y="86"/>
                </a:lnTo>
                <a:lnTo>
                  <a:pt x="35" y="86"/>
                </a:lnTo>
                <a:lnTo>
                  <a:pt x="35" y="81"/>
                </a:lnTo>
                <a:lnTo>
                  <a:pt x="35" y="81"/>
                </a:lnTo>
                <a:lnTo>
                  <a:pt x="37" y="79"/>
                </a:lnTo>
                <a:lnTo>
                  <a:pt x="37" y="79"/>
                </a:lnTo>
                <a:lnTo>
                  <a:pt x="37" y="77"/>
                </a:lnTo>
                <a:lnTo>
                  <a:pt x="37" y="77"/>
                </a:lnTo>
                <a:lnTo>
                  <a:pt x="37" y="74"/>
                </a:lnTo>
                <a:lnTo>
                  <a:pt x="37" y="74"/>
                </a:lnTo>
                <a:lnTo>
                  <a:pt x="40" y="69"/>
                </a:lnTo>
                <a:lnTo>
                  <a:pt x="40" y="69"/>
                </a:lnTo>
                <a:lnTo>
                  <a:pt x="40" y="67"/>
                </a:lnTo>
                <a:lnTo>
                  <a:pt x="40" y="67"/>
                </a:lnTo>
                <a:lnTo>
                  <a:pt x="42" y="67"/>
                </a:lnTo>
                <a:lnTo>
                  <a:pt x="42" y="67"/>
                </a:lnTo>
                <a:lnTo>
                  <a:pt x="42" y="67"/>
                </a:lnTo>
                <a:lnTo>
                  <a:pt x="47" y="67"/>
                </a:lnTo>
                <a:lnTo>
                  <a:pt x="47" y="67"/>
                </a:lnTo>
                <a:lnTo>
                  <a:pt x="50" y="69"/>
                </a:lnTo>
                <a:lnTo>
                  <a:pt x="50" y="69"/>
                </a:lnTo>
                <a:lnTo>
                  <a:pt x="52" y="69"/>
                </a:lnTo>
                <a:lnTo>
                  <a:pt x="52" y="69"/>
                </a:lnTo>
                <a:lnTo>
                  <a:pt x="55" y="72"/>
                </a:lnTo>
                <a:lnTo>
                  <a:pt x="55" y="72"/>
                </a:lnTo>
                <a:lnTo>
                  <a:pt x="57" y="74"/>
                </a:lnTo>
                <a:lnTo>
                  <a:pt x="57" y="74"/>
                </a:lnTo>
                <a:lnTo>
                  <a:pt x="57" y="69"/>
                </a:lnTo>
                <a:lnTo>
                  <a:pt x="57" y="69"/>
                </a:lnTo>
                <a:lnTo>
                  <a:pt x="55" y="69"/>
                </a:lnTo>
                <a:lnTo>
                  <a:pt x="55" y="69"/>
                </a:lnTo>
                <a:lnTo>
                  <a:pt x="52" y="67"/>
                </a:lnTo>
                <a:lnTo>
                  <a:pt x="52" y="67"/>
                </a:lnTo>
                <a:lnTo>
                  <a:pt x="50" y="64"/>
                </a:lnTo>
                <a:lnTo>
                  <a:pt x="50" y="64"/>
                </a:lnTo>
                <a:lnTo>
                  <a:pt x="45" y="64"/>
                </a:lnTo>
                <a:lnTo>
                  <a:pt x="45" y="64"/>
                </a:lnTo>
                <a:lnTo>
                  <a:pt x="40" y="64"/>
                </a:lnTo>
                <a:lnTo>
                  <a:pt x="40" y="64"/>
                </a:lnTo>
                <a:lnTo>
                  <a:pt x="40" y="62"/>
                </a:lnTo>
                <a:lnTo>
                  <a:pt x="40" y="62"/>
                </a:lnTo>
                <a:lnTo>
                  <a:pt x="42" y="62"/>
                </a:lnTo>
                <a:lnTo>
                  <a:pt x="42" y="62"/>
                </a:lnTo>
                <a:lnTo>
                  <a:pt x="42" y="62"/>
                </a:lnTo>
                <a:lnTo>
                  <a:pt x="45" y="59"/>
                </a:lnTo>
                <a:lnTo>
                  <a:pt x="45" y="59"/>
                </a:lnTo>
                <a:lnTo>
                  <a:pt x="45" y="57"/>
                </a:lnTo>
                <a:lnTo>
                  <a:pt x="45" y="57"/>
                </a:lnTo>
                <a:lnTo>
                  <a:pt x="45" y="54"/>
                </a:lnTo>
                <a:lnTo>
                  <a:pt x="45" y="54"/>
                </a:lnTo>
                <a:lnTo>
                  <a:pt x="42" y="52"/>
                </a:lnTo>
                <a:lnTo>
                  <a:pt x="42" y="52"/>
                </a:lnTo>
                <a:lnTo>
                  <a:pt x="42" y="52"/>
                </a:lnTo>
                <a:lnTo>
                  <a:pt x="42" y="49"/>
                </a:lnTo>
                <a:lnTo>
                  <a:pt x="42" y="49"/>
                </a:lnTo>
                <a:lnTo>
                  <a:pt x="45" y="49"/>
                </a:lnTo>
                <a:lnTo>
                  <a:pt x="45" y="49"/>
                </a:lnTo>
                <a:lnTo>
                  <a:pt x="45" y="47"/>
                </a:lnTo>
                <a:lnTo>
                  <a:pt x="45" y="47"/>
                </a:lnTo>
                <a:lnTo>
                  <a:pt x="45" y="47"/>
                </a:lnTo>
                <a:lnTo>
                  <a:pt x="42" y="47"/>
                </a:lnTo>
                <a:lnTo>
                  <a:pt x="42" y="47"/>
                </a:lnTo>
                <a:lnTo>
                  <a:pt x="42" y="45"/>
                </a:lnTo>
                <a:lnTo>
                  <a:pt x="42" y="45"/>
                </a:lnTo>
                <a:lnTo>
                  <a:pt x="42" y="40"/>
                </a:lnTo>
                <a:lnTo>
                  <a:pt x="42" y="40"/>
                </a:lnTo>
                <a:lnTo>
                  <a:pt x="42" y="37"/>
                </a:lnTo>
                <a:lnTo>
                  <a:pt x="42" y="37"/>
                </a:lnTo>
                <a:lnTo>
                  <a:pt x="45" y="27"/>
                </a:lnTo>
                <a:lnTo>
                  <a:pt x="45" y="27"/>
                </a:lnTo>
                <a:lnTo>
                  <a:pt x="42" y="22"/>
                </a:lnTo>
                <a:lnTo>
                  <a:pt x="42" y="22"/>
                </a:lnTo>
                <a:lnTo>
                  <a:pt x="42" y="20"/>
                </a:lnTo>
                <a:lnTo>
                  <a:pt x="42" y="20"/>
                </a:lnTo>
                <a:lnTo>
                  <a:pt x="45" y="15"/>
                </a:lnTo>
                <a:lnTo>
                  <a:pt x="45" y="15"/>
                </a:lnTo>
                <a:lnTo>
                  <a:pt x="45" y="10"/>
                </a:lnTo>
                <a:lnTo>
                  <a:pt x="45" y="10"/>
                </a:lnTo>
                <a:lnTo>
                  <a:pt x="47" y="10"/>
                </a:lnTo>
                <a:lnTo>
                  <a:pt x="47" y="10"/>
                </a:lnTo>
                <a:lnTo>
                  <a:pt x="52" y="17"/>
                </a:lnTo>
                <a:lnTo>
                  <a:pt x="52" y="17"/>
                </a:lnTo>
                <a:lnTo>
                  <a:pt x="57" y="20"/>
                </a:lnTo>
                <a:lnTo>
                  <a:pt x="57" y="20"/>
                </a:lnTo>
                <a:lnTo>
                  <a:pt x="64" y="20"/>
                </a:lnTo>
                <a:lnTo>
                  <a:pt x="64" y="20"/>
                </a:lnTo>
                <a:lnTo>
                  <a:pt x="67" y="20"/>
                </a:lnTo>
                <a:lnTo>
                  <a:pt x="67" y="20"/>
                </a:lnTo>
                <a:lnTo>
                  <a:pt x="67" y="22"/>
                </a:lnTo>
                <a:lnTo>
                  <a:pt x="67" y="22"/>
                </a:lnTo>
                <a:lnTo>
                  <a:pt x="69" y="22"/>
                </a:lnTo>
                <a:lnTo>
                  <a:pt x="69" y="22"/>
                </a:lnTo>
                <a:lnTo>
                  <a:pt x="72" y="22"/>
                </a:lnTo>
                <a:lnTo>
                  <a:pt x="72" y="22"/>
                </a:lnTo>
                <a:lnTo>
                  <a:pt x="72" y="25"/>
                </a:lnTo>
                <a:lnTo>
                  <a:pt x="72" y="25"/>
                </a:lnTo>
                <a:lnTo>
                  <a:pt x="72" y="27"/>
                </a:lnTo>
                <a:lnTo>
                  <a:pt x="72" y="27"/>
                </a:lnTo>
                <a:lnTo>
                  <a:pt x="67" y="27"/>
                </a:lnTo>
                <a:lnTo>
                  <a:pt x="67" y="27"/>
                </a:lnTo>
                <a:lnTo>
                  <a:pt x="64" y="30"/>
                </a:lnTo>
                <a:lnTo>
                  <a:pt x="64" y="30"/>
                </a:lnTo>
                <a:lnTo>
                  <a:pt x="64" y="32"/>
                </a:lnTo>
                <a:lnTo>
                  <a:pt x="64" y="32"/>
                </a:lnTo>
                <a:lnTo>
                  <a:pt x="67" y="32"/>
                </a:lnTo>
                <a:lnTo>
                  <a:pt x="67" y="32"/>
                </a:lnTo>
                <a:lnTo>
                  <a:pt x="69" y="30"/>
                </a:lnTo>
                <a:lnTo>
                  <a:pt x="69" y="30"/>
                </a:lnTo>
                <a:lnTo>
                  <a:pt x="72" y="27"/>
                </a:lnTo>
                <a:lnTo>
                  <a:pt x="72" y="27"/>
                </a:lnTo>
                <a:lnTo>
                  <a:pt x="72" y="27"/>
                </a:lnTo>
                <a:lnTo>
                  <a:pt x="74" y="30"/>
                </a:lnTo>
                <a:lnTo>
                  <a:pt x="74" y="30"/>
                </a:lnTo>
                <a:lnTo>
                  <a:pt x="72" y="32"/>
                </a:lnTo>
                <a:lnTo>
                  <a:pt x="72" y="32"/>
                </a:lnTo>
                <a:lnTo>
                  <a:pt x="69" y="35"/>
                </a:lnTo>
                <a:lnTo>
                  <a:pt x="69" y="35"/>
                </a:lnTo>
                <a:lnTo>
                  <a:pt x="69" y="40"/>
                </a:lnTo>
                <a:lnTo>
                  <a:pt x="69" y="40"/>
                </a:lnTo>
                <a:lnTo>
                  <a:pt x="67" y="40"/>
                </a:lnTo>
                <a:lnTo>
                  <a:pt x="67" y="40"/>
                </a:lnTo>
                <a:lnTo>
                  <a:pt x="67" y="37"/>
                </a:lnTo>
                <a:lnTo>
                  <a:pt x="67" y="37"/>
                </a:lnTo>
                <a:lnTo>
                  <a:pt x="64" y="40"/>
                </a:lnTo>
                <a:lnTo>
                  <a:pt x="64" y="40"/>
                </a:lnTo>
                <a:lnTo>
                  <a:pt x="64" y="40"/>
                </a:lnTo>
                <a:lnTo>
                  <a:pt x="62" y="42"/>
                </a:lnTo>
                <a:lnTo>
                  <a:pt x="62" y="42"/>
                </a:lnTo>
                <a:lnTo>
                  <a:pt x="64" y="42"/>
                </a:lnTo>
                <a:lnTo>
                  <a:pt x="64" y="42"/>
                </a:lnTo>
                <a:lnTo>
                  <a:pt x="67" y="45"/>
                </a:lnTo>
                <a:lnTo>
                  <a:pt x="67" y="45"/>
                </a:lnTo>
                <a:lnTo>
                  <a:pt x="69" y="42"/>
                </a:lnTo>
                <a:lnTo>
                  <a:pt x="69" y="42"/>
                </a:lnTo>
                <a:lnTo>
                  <a:pt x="69" y="40"/>
                </a:lnTo>
                <a:lnTo>
                  <a:pt x="69" y="40"/>
                </a:lnTo>
                <a:lnTo>
                  <a:pt x="72" y="37"/>
                </a:lnTo>
                <a:lnTo>
                  <a:pt x="72" y="37"/>
                </a:lnTo>
                <a:lnTo>
                  <a:pt x="72" y="35"/>
                </a:lnTo>
                <a:lnTo>
                  <a:pt x="72" y="35"/>
                </a:lnTo>
                <a:lnTo>
                  <a:pt x="74" y="32"/>
                </a:lnTo>
                <a:lnTo>
                  <a:pt x="74" y="32"/>
                </a:lnTo>
                <a:lnTo>
                  <a:pt x="74" y="30"/>
                </a:lnTo>
                <a:lnTo>
                  <a:pt x="74" y="30"/>
                </a:lnTo>
                <a:lnTo>
                  <a:pt x="77" y="27"/>
                </a:lnTo>
                <a:lnTo>
                  <a:pt x="77" y="27"/>
                </a:lnTo>
                <a:lnTo>
                  <a:pt x="79" y="25"/>
                </a:lnTo>
                <a:lnTo>
                  <a:pt x="79" y="25"/>
                </a:lnTo>
                <a:lnTo>
                  <a:pt x="79" y="22"/>
                </a:lnTo>
                <a:lnTo>
                  <a:pt x="79" y="22"/>
                </a:lnTo>
                <a:lnTo>
                  <a:pt x="79" y="20"/>
                </a:lnTo>
                <a:lnTo>
                  <a:pt x="79" y="20"/>
                </a:lnTo>
                <a:lnTo>
                  <a:pt x="77" y="20"/>
                </a:lnTo>
                <a:lnTo>
                  <a:pt x="77" y="20"/>
                </a:lnTo>
                <a:lnTo>
                  <a:pt x="79" y="17"/>
                </a:lnTo>
                <a:lnTo>
                  <a:pt x="79" y="17"/>
                </a:lnTo>
                <a:lnTo>
                  <a:pt x="79" y="15"/>
                </a:lnTo>
                <a:lnTo>
                  <a:pt x="79" y="15"/>
                </a:lnTo>
                <a:lnTo>
                  <a:pt x="79" y="15"/>
                </a:lnTo>
                <a:lnTo>
                  <a:pt x="77" y="10"/>
                </a:lnTo>
                <a:lnTo>
                  <a:pt x="77" y="10"/>
                </a:lnTo>
                <a:lnTo>
                  <a:pt x="79" y="10"/>
                </a:lnTo>
                <a:lnTo>
                  <a:pt x="79" y="10"/>
                </a:lnTo>
                <a:lnTo>
                  <a:pt x="82" y="8"/>
                </a:lnTo>
                <a:lnTo>
                  <a:pt x="82" y="8"/>
                </a:lnTo>
                <a:lnTo>
                  <a:pt x="77" y="5"/>
                </a:lnTo>
                <a:lnTo>
                  <a:pt x="77" y="5"/>
                </a:lnTo>
                <a:lnTo>
                  <a:pt x="77" y="0"/>
                </a:lnTo>
                <a:lnTo>
                  <a:pt x="77" y="0"/>
                </a:lnTo>
                <a:close/>
                <a:moveTo>
                  <a:pt x="802" y="219"/>
                </a:moveTo>
                <a:lnTo>
                  <a:pt x="802" y="219"/>
                </a:lnTo>
                <a:lnTo>
                  <a:pt x="802" y="219"/>
                </a:lnTo>
                <a:lnTo>
                  <a:pt x="805" y="219"/>
                </a:lnTo>
                <a:lnTo>
                  <a:pt x="805" y="219"/>
                </a:lnTo>
                <a:lnTo>
                  <a:pt x="805" y="219"/>
                </a:lnTo>
                <a:lnTo>
                  <a:pt x="807" y="219"/>
                </a:lnTo>
                <a:lnTo>
                  <a:pt x="807" y="219"/>
                </a:lnTo>
                <a:lnTo>
                  <a:pt x="807" y="217"/>
                </a:lnTo>
                <a:lnTo>
                  <a:pt x="807" y="217"/>
                </a:lnTo>
                <a:lnTo>
                  <a:pt x="805" y="217"/>
                </a:lnTo>
                <a:lnTo>
                  <a:pt x="805" y="217"/>
                </a:lnTo>
                <a:lnTo>
                  <a:pt x="802" y="217"/>
                </a:lnTo>
                <a:lnTo>
                  <a:pt x="802" y="217"/>
                </a:lnTo>
                <a:lnTo>
                  <a:pt x="802" y="219"/>
                </a:lnTo>
                <a:lnTo>
                  <a:pt x="802" y="219"/>
                </a:lnTo>
                <a:close/>
                <a:moveTo>
                  <a:pt x="756" y="231"/>
                </a:moveTo>
                <a:lnTo>
                  <a:pt x="756" y="231"/>
                </a:lnTo>
                <a:lnTo>
                  <a:pt x="753" y="231"/>
                </a:lnTo>
                <a:lnTo>
                  <a:pt x="753" y="231"/>
                </a:lnTo>
                <a:lnTo>
                  <a:pt x="756" y="231"/>
                </a:lnTo>
                <a:lnTo>
                  <a:pt x="756" y="231"/>
                </a:lnTo>
                <a:lnTo>
                  <a:pt x="758" y="231"/>
                </a:lnTo>
                <a:lnTo>
                  <a:pt x="758" y="231"/>
                </a:lnTo>
                <a:lnTo>
                  <a:pt x="761" y="231"/>
                </a:lnTo>
                <a:lnTo>
                  <a:pt x="761" y="231"/>
                </a:lnTo>
                <a:lnTo>
                  <a:pt x="763" y="229"/>
                </a:lnTo>
                <a:lnTo>
                  <a:pt x="763" y="229"/>
                </a:lnTo>
                <a:lnTo>
                  <a:pt x="768" y="229"/>
                </a:lnTo>
                <a:lnTo>
                  <a:pt x="768" y="229"/>
                </a:lnTo>
                <a:lnTo>
                  <a:pt x="770" y="229"/>
                </a:lnTo>
                <a:lnTo>
                  <a:pt x="770" y="229"/>
                </a:lnTo>
                <a:lnTo>
                  <a:pt x="775" y="229"/>
                </a:lnTo>
                <a:lnTo>
                  <a:pt x="775" y="229"/>
                </a:lnTo>
                <a:lnTo>
                  <a:pt x="778" y="227"/>
                </a:lnTo>
                <a:lnTo>
                  <a:pt x="778" y="227"/>
                </a:lnTo>
                <a:lnTo>
                  <a:pt x="778" y="227"/>
                </a:lnTo>
                <a:lnTo>
                  <a:pt x="783" y="227"/>
                </a:lnTo>
                <a:lnTo>
                  <a:pt x="783" y="227"/>
                </a:lnTo>
                <a:lnTo>
                  <a:pt x="783" y="224"/>
                </a:lnTo>
                <a:lnTo>
                  <a:pt x="783" y="224"/>
                </a:lnTo>
                <a:lnTo>
                  <a:pt x="780" y="227"/>
                </a:lnTo>
                <a:lnTo>
                  <a:pt x="780" y="227"/>
                </a:lnTo>
                <a:lnTo>
                  <a:pt x="780" y="224"/>
                </a:lnTo>
                <a:lnTo>
                  <a:pt x="780" y="224"/>
                </a:lnTo>
                <a:lnTo>
                  <a:pt x="778" y="227"/>
                </a:lnTo>
                <a:lnTo>
                  <a:pt x="778" y="227"/>
                </a:lnTo>
                <a:lnTo>
                  <a:pt x="778" y="224"/>
                </a:lnTo>
                <a:lnTo>
                  <a:pt x="778" y="224"/>
                </a:lnTo>
                <a:lnTo>
                  <a:pt x="778" y="224"/>
                </a:lnTo>
                <a:lnTo>
                  <a:pt x="778" y="222"/>
                </a:lnTo>
                <a:lnTo>
                  <a:pt x="778" y="222"/>
                </a:lnTo>
                <a:lnTo>
                  <a:pt x="775" y="224"/>
                </a:lnTo>
                <a:lnTo>
                  <a:pt x="775" y="224"/>
                </a:lnTo>
                <a:lnTo>
                  <a:pt x="770" y="224"/>
                </a:lnTo>
                <a:lnTo>
                  <a:pt x="770" y="224"/>
                </a:lnTo>
                <a:lnTo>
                  <a:pt x="765" y="227"/>
                </a:lnTo>
                <a:lnTo>
                  <a:pt x="765" y="227"/>
                </a:lnTo>
                <a:lnTo>
                  <a:pt x="763" y="227"/>
                </a:lnTo>
                <a:lnTo>
                  <a:pt x="763" y="227"/>
                </a:lnTo>
                <a:lnTo>
                  <a:pt x="758" y="227"/>
                </a:lnTo>
                <a:lnTo>
                  <a:pt x="758" y="227"/>
                </a:lnTo>
                <a:lnTo>
                  <a:pt x="756" y="229"/>
                </a:lnTo>
                <a:lnTo>
                  <a:pt x="756" y="229"/>
                </a:lnTo>
                <a:lnTo>
                  <a:pt x="753" y="229"/>
                </a:lnTo>
                <a:lnTo>
                  <a:pt x="753" y="229"/>
                </a:lnTo>
                <a:lnTo>
                  <a:pt x="753" y="231"/>
                </a:lnTo>
                <a:lnTo>
                  <a:pt x="753" y="231"/>
                </a:lnTo>
                <a:lnTo>
                  <a:pt x="756" y="231"/>
                </a:lnTo>
                <a:lnTo>
                  <a:pt x="756" y="231"/>
                </a:lnTo>
                <a:close/>
                <a:moveTo>
                  <a:pt x="77" y="15"/>
                </a:moveTo>
                <a:lnTo>
                  <a:pt x="77" y="15"/>
                </a:lnTo>
                <a:lnTo>
                  <a:pt x="74" y="17"/>
                </a:lnTo>
                <a:lnTo>
                  <a:pt x="74" y="17"/>
                </a:lnTo>
                <a:lnTo>
                  <a:pt x="74" y="22"/>
                </a:lnTo>
                <a:lnTo>
                  <a:pt x="74" y="22"/>
                </a:lnTo>
                <a:lnTo>
                  <a:pt x="74" y="25"/>
                </a:lnTo>
                <a:lnTo>
                  <a:pt x="74" y="25"/>
                </a:lnTo>
                <a:lnTo>
                  <a:pt x="77" y="25"/>
                </a:lnTo>
                <a:lnTo>
                  <a:pt x="77" y="25"/>
                </a:lnTo>
                <a:lnTo>
                  <a:pt x="74" y="20"/>
                </a:lnTo>
                <a:lnTo>
                  <a:pt x="74" y="20"/>
                </a:lnTo>
                <a:lnTo>
                  <a:pt x="74" y="17"/>
                </a:lnTo>
                <a:lnTo>
                  <a:pt x="74" y="17"/>
                </a:lnTo>
                <a:lnTo>
                  <a:pt x="77" y="15"/>
                </a:lnTo>
                <a:lnTo>
                  <a:pt x="77" y="15"/>
                </a:lnTo>
                <a:lnTo>
                  <a:pt x="77" y="15"/>
                </a:lnTo>
                <a:close/>
                <a:moveTo>
                  <a:pt x="369" y="465"/>
                </a:moveTo>
                <a:lnTo>
                  <a:pt x="369" y="465"/>
                </a:lnTo>
                <a:lnTo>
                  <a:pt x="369" y="465"/>
                </a:lnTo>
                <a:lnTo>
                  <a:pt x="374" y="460"/>
                </a:lnTo>
                <a:lnTo>
                  <a:pt x="374" y="460"/>
                </a:lnTo>
                <a:lnTo>
                  <a:pt x="377" y="458"/>
                </a:lnTo>
                <a:lnTo>
                  <a:pt x="377" y="458"/>
                </a:lnTo>
                <a:lnTo>
                  <a:pt x="372" y="460"/>
                </a:lnTo>
                <a:lnTo>
                  <a:pt x="372" y="460"/>
                </a:lnTo>
                <a:lnTo>
                  <a:pt x="369" y="465"/>
                </a:lnTo>
                <a:lnTo>
                  <a:pt x="369" y="465"/>
                </a:lnTo>
                <a:close/>
                <a:moveTo>
                  <a:pt x="365" y="472"/>
                </a:moveTo>
                <a:lnTo>
                  <a:pt x="365" y="472"/>
                </a:lnTo>
                <a:lnTo>
                  <a:pt x="367" y="472"/>
                </a:lnTo>
                <a:lnTo>
                  <a:pt x="367" y="472"/>
                </a:lnTo>
                <a:lnTo>
                  <a:pt x="367" y="468"/>
                </a:lnTo>
                <a:lnTo>
                  <a:pt x="367" y="468"/>
                </a:lnTo>
                <a:lnTo>
                  <a:pt x="367" y="468"/>
                </a:lnTo>
                <a:lnTo>
                  <a:pt x="365" y="472"/>
                </a:lnTo>
                <a:lnTo>
                  <a:pt x="365" y="472"/>
                </a:lnTo>
                <a:close/>
                <a:moveTo>
                  <a:pt x="365" y="495"/>
                </a:moveTo>
                <a:lnTo>
                  <a:pt x="365" y="495"/>
                </a:lnTo>
                <a:lnTo>
                  <a:pt x="362" y="490"/>
                </a:lnTo>
                <a:lnTo>
                  <a:pt x="362" y="490"/>
                </a:lnTo>
                <a:lnTo>
                  <a:pt x="362" y="482"/>
                </a:lnTo>
                <a:lnTo>
                  <a:pt x="362" y="482"/>
                </a:lnTo>
                <a:lnTo>
                  <a:pt x="365" y="475"/>
                </a:lnTo>
                <a:lnTo>
                  <a:pt x="365" y="475"/>
                </a:lnTo>
                <a:lnTo>
                  <a:pt x="362" y="482"/>
                </a:lnTo>
                <a:lnTo>
                  <a:pt x="362" y="482"/>
                </a:lnTo>
                <a:lnTo>
                  <a:pt x="362" y="490"/>
                </a:lnTo>
                <a:lnTo>
                  <a:pt x="365" y="495"/>
                </a:lnTo>
                <a:lnTo>
                  <a:pt x="365" y="495"/>
                </a:lnTo>
                <a:close/>
              </a:path>
            </a:pathLst>
          </a:custGeom>
          <a:blipFill>
            <a:blip r:embed="rId11"/>
            <a:stretch>
              <a:fillRect/>
            </a:stretch>
          </a:blipFill>
          <a:ln w="9525">
            <a:solidFill>
              <a:schemeClr val="bg1"/>
            </a:solidFill>
            <a:round/>
            <a:headEnd/>
            <a:tailEnd/>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0" name="Freeform 179"/>
          <p:cNvSpPr>
            <a:spLocks noEditPoints="1"/>
          </p:cNvSpPr>
          <p:nvPr/>
        </p:nvSpPr>
        <p:spPr bwMode="auto">
          <a:xfrm>
            <a:off x="3366082" y="5830276"/>
            <a:ext cx="582252" cy="98306"/>
          </a:xfrm>
          <a:custGeom>
            <a:avLst/>
            <a:gdLst/>
            <a:ahLst/>
            <a:cxnLst>
              <a:cxn ang="0">
                <a:pos x="349" y="59"/>
              </a:cxn>
              <a:cxn ang="0">
                <a:pos x="347" y="54"/>
              </a:cxn>
              <a:cxn ang="0">
                <a:pos x="342" y="52"/>
              </a:cxn>
              <a:cxn ang="0">
                <a:pos x="339" y="49"/>
              </a:cxn>
              <a:cxn ang="0">
                <a:pos x="347" y="52"/>
              </a:cxn>
              <a:cxn ang="0">
                <a:pos x="352" y="54"/>
              </a:cxn>
              <a:cxn ang="0">
                <a:pos x="352" y="59"/>
              </a:cxn>
              <a:cxn ang="0">
                <a:pos x="357" y="59"/>
              </a:cxn>
              <a:cxn ang="0">
                <a:pos x="354" y="62"/>
              </a:cxn>
              <a:cxn ang="0">
                <a:pos x="349" y="64"/>
              </a:cxn>
              <a:cxn ang="0">
                <a:pos x="17" y="0"/>
              </a:cxn>
              <a:cxn ang="0">
                <a:pos x="22" y="0"/>
              </a:cxn>
              <a:cxn ang="0">
                <a:pos x="12" y="0"/>
              </a:cxn>
              <a:cxn ang="0">
                <a:pos x="15" y="3"/>
              </a:cxn>
              <a:cxn ang="0">
                <a:pos x="0" y="15"/>
              </a:cxn>
              <a:cxn ang="0">
                <a:pos x="5" y="15"/>
              </a:cxn>
              <a:cxn ang="0">
                <a:pos x="2" y="15"/>
              </a:cxn>
              <a:cxn ang="0">
                <a:pos x="22" y="20"/>
              </a:cxn>
              <a:cxn ang="0">
                <a:pos x="27" y="22"/>
              </a:cxn>
              <a:cxn ang="0">
                <a:pos x="27" y="20"/>
              </a:cxn>
              <a:cxn ang="0">
                <a:pos x="32" y="20"/>
              </a:cxn>
              <a:cxn ang="0">
                <a:pos x="32" y="17"/>
              </a:cxn>
              <a:cxn ang="0">
                <a:pos x="34" y="17"/>
              </a:cxn>
              <a:cxn ang="0">
                <a:pos x="34" y="15"/>
              </a:cxn>
              <a:cxn ang="0">
                <a:pos x="34" y="13"/>
              </a:cxn>
              <a:cxn ang="0">
                <a:pos x="42" y="13"/>
              </a:cxn>
              <a:cxn ang="0">
                <a:pos x="47" y="10"/>
              </a:cxn>
              <a:cxn ang="0">
                <a:pos x="44" y="8"/>
              </a:cxn>
              <a:cxn ang="0">
                <a:pos x="44" y="5"/>
              </a:cxn>
              <a:cxn ang="0">
                <a:pos x="42" y="3"/>
              </a:cxn>
              <a:cxn ang="0">
                <a:pos x="42" y="5"/>
              </a:cxn>
              <a:cxn ang="0">
                <a:pos x="37" y="3"/>
              </a:cxn>
              <a:cxn ang="0">
                <a:pos x="32" y="0"/>
              </a:cxn>
              <a:cxn ang="0">
                <a:pos x="29" y="3"/>
              </a:cxn>
              <a:cxn ang="0">
                <a:pos x="29" y="8"/>
              </a:cxn>
              <a:cxn ang="0">
                <a:pos x="32" y="13"/>
              </a:cxn>
              <a:cxn ang="0">
                <a:pos x="27" y="13"/>
              </a:cxn>
              <a:cxn ang="0">
                <a:pos x="20" y="3"/>
              </a:cxn>
              <a:cxn ang="0">
                <a:pos x="22" y="5"/>
              </a:cxn>
              <a:cxn ang="0">
                <a:pos x="27" y="5"/>
              </a:cxn>
              <a:cxn ang="0">
                <a:pos x="22" y="13"/>
              </a:cxn>
              <a:cxn ang="0">
                <a:pos x="17" y="17"/>
              </a:cxn>
              <a:cxn ang="0">
                <a:pos x="12" y="17"/>
              </a:cxn>
              <a:cxn ang="0">
                <a:pos x="12" y="22"/>
              </a:cxn>
              <a:cxn ang="0">
                <a:pos x="7" y="22"/>
              </a:cxn>
              <a:cxn ang="0">
                <a:pos x="5" y="17"/>
              </a:cxn>
              <a:cxn ang="0">
                <a:pos x="10" y="15"/>
              </a:cxn>
              <a:cxn ang="0">
                <a:pos x="12" y="13"/>
              </a:cxn>
              <a:cxn ang="0">
                <a:pos x="15" y="10"/>
              </a:cxn>
              <a:cxn ang="0">
                <a:pos x="7" y="5"/>
              </a:cxn>
              <a:cxn ang="0">
                <a:pos x="12" y="8"/>
              </a:cxn>
              <a:cxn ang="0">
                <a:pos x="17" y="3"/>
              </a:cxn>
            </a:cxnLst>
            <a:rect l="0" t="0" r="r" b="b"/>
            <a:pathLst>
              <a:path w="357" h="64">
                <a:moveTo>
                  <a:pt x="349" y="62"/>
                </a:moveTo>
                <a:lnTo>
                  <a:pt x="349" y="62"/>
                </a:lnTo>
                <a:lnTo>
                  <a:pt x="349" y="59"/>
                </a:lnTo>
                <a:lnTo>
                  <a:pt x="349" y="59"/>
                </a:lnTo>
                <a:lnTo>
                  <a:pt x="347" y="57"/>
                </a:lnTo>
                <a:lnTo>
                  <a:pt x="347" y="57"/>
                </a:lnTo>
                <a:lnTo>
                  <a:pt x="347" y="54"/>
                </a:lnTo>
                <a:lnTo>
                  <a:pt x="347" y="54"/>
                </a:lnTo>
                <a:lnTo>
                  <a:pt x="344" y="54"/>
                </a:lnTo>
                <a:lnTo>
                  <a:pt x="344" y="54"/>
                </a:lnTo>
                <a:lnTo>
                  <a:pt x="342" y="52"/>
                </a:lnTo>
                <a:lnTo>
                  <a:pt x="342" y="52"/>
                </a:lnTo>
                <a:lnTo>
                  <a:pt x="339" y="52"/>
                </a:lnTo>
                <a:lnTo>
                  <a:pt x="339" y="52"/>
                </a:lnTo>
                <a:lnTo>
                  <a:pt x="339" y="49"/>
                </a:lnTo>
                <a:lnTo>
                  <a:pt x="339" y="49"/>
                </a:lnTo>
                <a:lnTo>
                  <a:pt x="342" y="49"/>
                </a:lnTo>
                <a:lnTo>
                  <a:pt x="342" y="49"/>
                </a:lnTo>
                <a:lnTo>
                  <a:pt x="347" y="52"/>
                </a:lnTo>
                <a:lnTo>
                  <a:pt x="347" y="52"/>
                </a:lnTo>
                <a:lnTo>
                  <a:pt x="347" y="52"/>
                </a:lnTo>
                <a:lnTo>
                  <a:pt x="347" y="52"/>
                </a:lnTo>
                <a:lnTo>
                  <a:pt x="349" y="54"/>
                </a:lnTo>
                <a:lnTo>
                  <a:pt x="352" y="54"/>
                </a:lnTo>
                <a:lnTo>
                  <a:pt x="352" y="54"/>
                </a:lnTo>
                <a:lnTo>
                  <a:pt x="352" y="57"/>
                </a:lnTo>
                <a:lnTo>
                  <a:pt x="352" y="57"/>
                </a:lnTo>
                <a:lnTo>
                  <a:pt x="352" y="59"/>
                </a:lnTo>
                <a:lnTo>
                  <a:pt x="352" y="59"/>
                </a:lnTo>
                <a:lnTo>
                  <a:pt x="354" y="59"/>
                </a:lnTo>
                <a:lnTo>
                  <a:pt x="354" y="59"/>
                </a:lnTo>
                <a:lnTo>
                  <a:pt x="357" y="59"/>
                </a:lnTo>
                <a:lnTo>
                  <a:pt x="357" y="59"/>
                </a:lnTo>
                <a:lnTo>
                  <a:pt x="357" y="62"/>
                </a:lnTo>
                <a:lnTo>
                  <a:pt x="357" y="62"/>
                </a:lnTo>
                <a:lnTo>
                  <a:pt x="354" y="62"/>
                </a:lnTo>
                <a:lnTo>
                  <a:pt x="354" y="62"/>
                </a:lnTo>
                <a:lnTo>
                  <a:pt x="352" y="64"/>
                </a:lnTo>
                <a:lnTo>
                  <a:pt x="352" y="64"/>
                </a:lnTo>
                <a:lnTo>
                  <a:pt x="349" y="64"/>
                </a:lnTo>
                <a:lnTo>
                  <a:pt x="349" y="64"/>
                </a:lnTo>
                <a:lnTo>
                  <a:pt x="349" y="62"/>
                </a:lnTo>
                <a:lnTo>
                  <a:pt x="349" y="62"/>
                </a:lnTo>
                <a:close/>
                <a:moveTo>
                  <a:pt x="17" y="0"/>
                </a:moveTo>
                <a:lnTo>
                  <a:pt x="17" y="0"/>
                </a:lnTo>
                <a:lnTo>
                  <a:pt x="20" y="0"/>
                </a:lnTo>
                <a:lnTo>
                  <a:pt x="20" y="0"/>
                </a:lnTo>
                <a:lnTo>
                  <a:pt x="22" y="0"/>
                </a:lnTo>
                <a:lnTo>
                  <a:pt x="22" y="0"/>
                </a:lnTo>
                <a:lnTo>
                  <a:pt x="17" y="0"/>
                </a:lnTo>
                <a:lnTo>
                  <a:pt x="17" y="0"/>
                </a:lnTo>
                <a:close/>
                <a:moveTo>
                  <a:pt x="12" y="0"/>
                </a:moveTo>
                <a:lnTo>
                  <a:pt x="12" y="0"/>
                </a:lnTo>
                <a:lnTo>
                  <a:pt x="12" y="3"/>
                </a:lnTo>
                <a:lnTo>
                  <a:pt x="12" y="3"/>
                </a:lnTo>
                <a:lnTo>
                  <a:pt x="15" y="3"/>
                </a:lnTo>
                <a:lnTo>
                  <a:pt x="15" y="3"/>
                </a:lnTo>
                <a:lnTo>
                  <a:pt x="12" y="0"/>
                </a:lnTo>
                <a:lnTo>
                  <a:pt x="12" y="0"/>
                </a:lnTo>
                <a:close/>
                <a:moveTo>
                  <a:pt x="0" y="15"/>
                </a:moveTo>
                <a:lnTo>
                  <a:pt x="0" y="15"/>
                </a:lnTo>
                <a:lnTo>
                  <a:pt x="2" y="13"/>
                </a:lnTo>
                <a:lnTo>
                  <a:pt x="2" y="13"/>
                </a:lnTo>
                <a:lnTo>
                  <a:pt x="5" y="15"/>
                </a:lnTo>
                <a:lnTo>
                  <a:pt x="5" y="15"/>
                </a:lnTo>
                <a:lnTo>
                  <a:pt x="5" y="15"/>
                </a:lnTo>
                <a:lnTo>
                  <a:pt x="2" y="15"/>
                </a:lnTo>
                <a:lnTo>
                  <a:pt x="2" y="15"/>
                </a:lnTo>
                <a:lnTo>
                  <a:pt x="0" y="15"/>
                </a:lnTo>
                <a:lnTo>
                  <a:pt x="0" y="15"/>
                </a:lnTo>
                <a:close/>
                <a:moveTo>
                  <a:pt x="22" y="20"/>
                </a:moveTo>
                <a:lnTo>
                  <a:pt x="22" y="20"/>
                </a:lnTo>
                <a:lnTo>
                  <a:pt x="25" y="20"/>
                </a:lnTo>
                <a:lnTo>
                  <a:pt x="25" y="20"/>
                </a:lnTo>
                <a:lnTo>
                  <a:pt x="27" y="22"/>
                </a:lnTo>
                <a:lnTo>
                  <a:pt x="27" y="22"/>
                </a:lnTo>
                <a:lnTo>
                  <a:pt x="29" y="22"/>
                </a:lnTo>
                <a:lnTo>
                  <a:pt x="29" y="22"/>
                </a:lnTo>
                <a:lnTo>
                  <a:pt x="29" y="22"/>
                </a:lnTo>
                <a:lnTo>
                  <a:pt x="27" y="20"/>
                </a:lnTo>
                <a:lnTo>
                  <a:pt x="27" y="20"/>
                </a:lnTo>
                <a:lnTo>
                  <a:pt x="29" y="17"/>
                </a:lnTo>
                <a:lnTo>
                  <a:pt x="29" y="17"/>
                </a:lnTo>
                <a:lnTo>
                  <a:pt x="32" y="20"/>
                </a:lnTo>
                <a:lnTo>
                  <a:pt x="32" y="20"/>
                </a:lnTo>
                <a:lnTo>
                  <a:pt x="32" y="20"/>
                </a:lnTo>
                <a:lnTo>
                  <a:pt x="32" y="17"/>
                </a:lnTo>
                <a:lnTo>
                  <a:pt x="32" y="17"/>
                </a:lnTo>
                <a:lnTo>
                  <a:pt x="32" y="15"/>
                </a:lnTo>
                <a:lnTo>
                  <a:pt x="32" y="15"/>
                </a:lnTo>
                <a:lnTo>
                  <a:pt x="34" y="17"/>
                </a:lnTo>
                <a:lnTo>
                  <a:pt x="34" y="17"/>
                </a:lnTo>
                <a:lnTo>
                  <a:pt x="37" y="15"/>
                </a:lnTo>
                <a:lnTo>
                  <a:pt x="37" y="15"/>
                </a:lnTo>
                <a:lnTo>
                  <a:pt x="37" y="15"/>
                </a:lnTo>
                <a:lnTo>
                  <a:pt x="34" y="15"/>
                </a:lnTo>
                <a:lnTo>
                  <a:pt x="34" y="15"/>
                </a:lnTo>
                <a:lnTo>
                  <a:pt x="32" y="15"/>
                </a:lnTo>
                <a:lnTo>
                  <a:pt x="32" y="15"/>
                </a:lnTo>
                <a:lnTo>
                  <a:pt x="34" y="13"/>
                </a:lnTo>
                <a:lnTo>
                  <a:pt x="34" y="13"/>
                </a:lnTo>
                <a:lnTo>
                  <a:pt x="37" y="13"/>
                </a:lnTo>
                <a:lnTo>
                  <a:pt x="37" y="13"/>
                </a:lnTo>
                <a:lnTo>
                  <a:pt x="42" y="13"/>
                </a:lnTo>
                <a:lnTo>
                  <a:pt x="42" y="13"/>
                </a:lnTo>
                <a:lnTo>
                  <a:pt x="44" y="10"/>
                </a:lnTo>
                <a:lnTo>
                  <a:pt x="44" y="10"/>
                </a:lnTo>
                <a:lnTo>
                  <a:pt x="47" y="10"/>
                </a:lnTo>
                <a:lnTo>
                  <a:pt x="47" y="10"/>
                </a:lnTo>
                <a:lnTo>
                  <a:pt x="47" y="8"/>
                </a:lnTo>
                <a:lnTo>
                  <a:pt x="47" y="8"/>
                </a:lnTo>
                <a:lnTo>
                  <a:pt x="44" y="8"/>
                </a:lnTo>
                <a:lnTo>
                  <a:pt x="44" y="8"/>
                </a:lnTo>
                <a:lnTo>
                  <a:pt x="44" y="8"/>
                </a:lnTo>
                <a:lnTo>
                  <a:pt x="44" y="5"/>
                </a:lnTo>
                <a:lnTo>
                  <a:pt x="44" y="5"/>
                </a:lnTo>
                <a:lnTo>
                  <a:pt x="47" y="5"/>
                </a:lnTo>
                <a:lnTo>
                  <a:pt x="47" y="5"/>
                </a:lnTo>
                <a:lnTo>
                  <a:pt x="47" y="5"/>
                </a:lnTo>
                <a:lnTo>
                  <a:pt x="42" y="3"/>
                </a:lnTo>
                <a:lnTo>
                  <a:pt x="42" y="3"/>
                </a:lnTo>
                <a:lnTo>
                  <a:pt x="39" y="3"/>
                </a:lnTo>
                <a:lnTo>
                  <a:pt x="39" y="3"/>
                </a:lnTo>
                <a:lnTo>
                  <a:pt x="42" y="5"/>
                </a:lnTo>
                <a:lnTo>
                  <a:pt x="42" y="5"/>
                </a:lnTo>
                <a:lnTo>
                  <a:pt x="39" y="8"/>
                </a:lnTo>
                <a:lnTo>
                  <a:pt x="39" y="8"/>
                </a:lnTo>
                <a:lnTo>
                  <a:pt x="37" y="3"/>
                </a:lnTo>
                <a:lnTo>
                  <a:pt x="37" y="3"/>
                </a:lnTo>
                <a:lnTo>
                  <a:pt x="37" y="0"/>
                </a:lnTo>
                <a:lnTo>
                  <a:pt x="37" y="0"/>
                </a:lnTo>
                <a:lnTo>
                  <a:pt x="32" y="0"/>
                </a:lnTo>
                <a:lnTo>
                  <a:pt x="32" y="0"/>
                </a:lnTo>
                <a:lnTo>
                  <a:pt x="32" y="3"/>
                </a:lnTo>
                <a:lnTo>
                  <a:pt x="32" y="3"/>
                </a:lnTo>
                <a:lnTo>
                  <a:pt x="29" y="3"/>
                </a:lnTo>
                <a:lnTo>
                  <a:pt x="29" y="3"/>
                </a:lnTo>
                <a:lnTo>
                  <a:pt x="29" y="5"/>
                </a:lnTo>
                <a:lnTo>
                  <a:pt x="29" y="5"/>
                </a:lnTo>
                <a:lnTo>
                  <a:pt x="29" y="8"/>
                </a:lnTo>
                <a:lnTo>
                  <a:pt x="29" y="8"/>
                </a:lnTo>
                <a:lnTo>
                  <a:pt x="32" y="10"/>
                </a:lnTo>
                <a:lnTo>
                  <a:pt x="32" y="10"/>
                </a:lnTo>
                <a:lnTo>
                  <a:pt x="32" y="13"/>
                </a:lnTo>
                <a:lnTo>
                  <a:pt x="32" y="13"/>
                </a:lnTo>
                <a:lnTo>
                  <a:pt x="29" y="10"/>
                </a:lnTo>
                <a:lnTo>
                  <a:pt x="29" y="10"/>
                </a:lnTo>
                <a:lnTo>
                  <a:pt x="27" y="13"/>
                </a:lnTo>
                <a:lnTo>
                  <a:pt x="27" y="13"/>
                </a:lnTo>
                <a:lnTo>
                  <a:pt x="22" y="20"/>
                </a:lnTo>
                <a:lnTo>
                  <a:pt x="22" y="20"/>
                </a:lnTo>
                <a:close/>
                <a:moveTo>
                  <a:pt x="20" y="3"/>
                </a:moveTo>
                <a:lnTo>
                  <a:pt x="20" y="3"/>
                </a:lnTo>
                <a:lnTo>
                  <a:pt x="22" y="5"/>
                </a:lnTo>
                <a:lnTo>
                  <a:pt x="22" y="5"/>
                </a:lnTo>
                <a:lnTo>
                  <a:pt x="22" y="5"/>
                </a:lnTo>
                <a:lnTo>
                  <a:pt x="25" y="3"/>
                </a:lnTo>
                <a:lnTo>
                  <a:pt x="25" y="3"/>
                </a:lnTo>
                <a:lnTo>
                  <a:pt x="25" y="3"/>
                </a:lnTo>
                <a:lnTo>
                  <a:pt x="27" y="5"/>
                </a:lnTo>
                <a:lnTo>
                  <a:pt x="27" y="5"/>
                </a:lnTo>
                <a:lnTo>
                  <a:pt x="25" y="8"/>
                </a:lnTo>
                <a:lnTo>
                  <a:pt x="25" y="8"/>
                </a:lnTo>
                <a:lnTo>
                  <a:pt x="22" y="13"/>
                </a:lnTo>
                <a:lnTo>
                  <a:pt x="22" y="13"/>
                </a:lnTo>
                <a:lnTo>
                  <a:pt x="22" y="15"/>
                </a:lnTo>
                <a:lnTo>
                  <a:pt x="22" y="15"/>
                </a:lnTo>
                <a:lnTo>
                  <a:pt x="17" y="17"/>
                </a:lnTo>
                <a:lnTo>
                  <a:pt x="17" y="17"/>
                </a:lnTo>
                <a:lnTo>
                  <a:pt x="15" y="15"/>
                </a:lnTo>
                <a:lnTo>
                  <a:pt x="15" y="15"/>
                </a:lnTo>
                <a:lnTo>
                  <a:pt x="12" y="17"/>
                </a:lnTo>
                <a:lnTo>
                  <a:pt x="12" y="17"/>
                </a:lnTo>
                <a:lnTo>
                  <a:pt x="15" y="20"/>
                </a:lnTo>
                <a:lnTo>
                  <a:pt x="15" y="20"/>
                </a:lnTo>
                <a:lnTo>
                  <a:pt x="12" y="22"/>
                </a:lnTo>
                <a:lnTo>
                  <a:pt x="12" y="22"/>
                </a:lnTo>
                <a:lnTo>
                  <a:pt x="10" y="20"/>
                </a:lnTo>
                <a:lnTo>
                  <a:pt x="10" y="20"/>
                </a:lnTo>
                <a:lnTo>
                  <a:pt x="7" y="22"/>
                </a:lnTo>
                <a:lnTo>
                  <a:pt x="7" y="22"/>
                </a:lnTo>
                <a:lnTo>
                  <a:pt x="5" y="20"/>
                </a:lnTo>
                <a:lnTo>
                  <a:pt x="5" y="20"/>
                </a:lnTo>
                <a:lnTo>
                  <a:pt x="5" y="17"/>
                </a:lnTo>
                <a:lnTo>
                  <a:pt x="5" y="17"/>
                </a:lnTo>
                <a:lnTo>
                  <a:pt x="7" y="17"/>
                </a:lnTo>
                <a:lnTo>
                  <a:pt x="7" y="17"/>
                </a:lnTo>
                <a:lnTo>
                  <a:pt x="10" y="15"/>
                </a:lnTo>
                <a:lnTo>
                  <a:pt x="10" y="15"/>
                </a:lnTo>
                <a:lnTo>
                  <a:pt x="10" y="13"/>
                </a:lnTo>
                <a:lnTo>
                  <a:pt x="10" y="13"/>
                </a:lnTo>
                <a:lnTo>
                  <a:pt x="12" y="13"/>
                </a:lnTo>
                <a:lnTo>
                  <a:pt x="12" y="13"/>
                </a:lnTo>
                <a:lnTo>
                  <a:pt x="15" y="13"/>
                </a:lnTo>
                <a:lnTo>
                  <a:pt x="15" y="13"/>
                </a:lnTo>
                <a:lnTo>
                  <a:pt x="15" y="10"/>
                </a:lnTo>
                <a:lnTo>
                  <a:pt x="15" y="10"/>
                </a:lnTo>
                <a:lnTo>
                  <a:pt x="12" y="10"/>
                </a:lnTo>
                <a:lnTo>
                  <a:pt x="12" y="10"/>
                </a:lnTo>
                <a:lnTo>
                  <a:pt x="7" y="5"/>
                </a:lnTo>
                <a:lnTo>
                  <a:pt x="7" y="5"/>
                </a:lnTo>
                <a:lnTo>
                  <a:pt x="10" y="5"/>
                </a:lnTo>
                <a:lnTo>
                  <a:pt x="10" y="5"/>
                </a:lnTo>
                <a:lnTo>
                  <a:pt x="12" y="8"/>
                </a:lnTo>
                <a:lnTo>
                  <a:pt x="12" y="8"/>
                </a:lnTo>
                <a:lnTo>
                  <a:pt x="15" y="8"/>
                </a:lnTo>
                <a:lnTo>
                  <a:pt x="15" y="8"/>
                </a:lnTo>
                <a:lnTo>
                  <a:pt x="17" y="3"/>
                </a:lnTo>
                <a:lnTo>
                  <a:pt x="20" y="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1" name="Freeform 180"/>
          <p:cNvSpPr>
            <a:spLocks/>
          </p:cNvSpPr>
          <p:nvPr/>
        </p:nvSpPr>
        <p:spPr bwMode="auto">
          <a:xfrm>
            <a:off x="2684341" y="4217435"/>
            <a:ext cx="140263" cy="59906"/>
          </a:xfrm>
          <a:custGeom>
            <a:avLst/>
            <a:gdLst/>
            <a:ahLst/>
            <a:cxnLst>
              <a:cxn ang="0">
                <a:pos x="74" y="35"/>
              </a:cxn>
              <a:cxn ang="0">
                <a:pos x="69" y="25"/>
              </a:cxn>
              <a:cxn ang="0">
                <a:pos x="74" y="20"/>
              </a:cxn>
              <a:cxn ang="0">
                <a:pos x="76" y="20"/>
              </a:cxn>
              <a:cxn ang="0">
                <a:pos x="74" y="17"/>
              </a:cxn>
              <a:cxn ang="0">
                <a:pos x="71" y="20"/>
              </a:cxn>
              <a:cxn ang="0">
                <a:pos x="69" y="15"/>
              </a:cxn>
              <a:cxn ang="0">
                <a:pos x="64" y="12"/>
              </a:cxn>
              <a:cxn ang="0">
                <a:pos x="59" y="7"/>
              </a:cxn>
              <a:cxn ang="0">
                <a:pos x="51" y="10"/>
              </a:cxn>
              <a:cxn ang="0">
                <a:pos x="51" y="15"/>
              </a:cxn>
              <a:cxn ang="0">
                <a:pos x="47" y="20"/>
              </a:cxn>
              <a:cxn ang="0">
                <a:pos x="39" y="22"/>
              </a:cxn>
              <a:cxn ang="0">
                <a:pos x="39" y="27"/>
              </a:cxn>
              <a:cxn ang="0">
                <a:pos x="44" y="30"/>
              </a:cxn>
              <a:cxn ang="0">
                <a:pos x="44" y="35"/>
              </a:cxn>
              <a:cxn ang="0">
                <a:pos x="39" y="37"/>
              </a:cxn>
              <a:cxn ang="0">
                <a:pos x="32" y="37"/>
              </a:cxn>
              <a:cxn ang="0">
                <a:pos x="32" y="35"/>
              </a:cxn>
              <a:cxn ang="0">
                <a:pos x="32" y="30"/>
              </a:cxn>
              <a:cxn ang="0">
                <a:pos x="29" y="27"/>
              </a:cxn>
              <a:cxn ang="0">
                <a:pos x="29" y="30"/>
              </a:cxn>
              <a:cxn ang="0">
                <a:pos x="24" y="32"/>
              </a:cxn>
              <a:cxn ang="0">
                <a:pos x="19" y="27"/>
              </a:cxn>
              <a:cxn ang="0">
                <a:pos x="15" y="22"/>
              </a:cxn>
              <a:cxn ang="0">
                <a:pos x="12" y="20"/>
              </a:cxn>
              <a:cxn ang="0">
                <a:pos x="10" y="20"/>
              </a:cxn>
              <a:cxn ang="0">
                <a:pos x="5" y="20"/>
              </a:cxn>
              <a:cxn ang="0">
                <a:pos x="2" y="20"/>
              </a:cxn>
              <a:cxn ang="0">
                <a:pos x="2" y="15"/>
              </a:cxn>
              <a:cxn ang="0">
                <a:pos x="2" y="10"/>
              </a:cxn>
              <a:cxn ang="0">
                <a:pos x="2" y="7"/>
              </a:cxn>
              <a:cxn ang="0">
                <a:pos x="2" y="3"/>
              </a:cxn>
              <a:cxn ang="0">
                <a:pos x="7" y="3"/>
              </a:cxn>
              <a:cxn ang="0">
                <a:pos x="10" y="5"/>
              </a:cxn>
              <a:cxn ang="0">
                <a:pos x="12" y="5"/>
              </a:cxn>
              <a:cxn ang="0">
                <a:pos x="12" y="7"/>
              </a:cxn>
              <a:cxn ang="0">
                <a:pos x="12" y="10"/>
              </a:cxn>
              <a:cxn ang="0">
                <a:pos x="17" y="10"/>
              </a:cxn>
              <a:cxn ang="0">
                <a:pos x="15" y="7"/>
              </a:cxn>
              <a:cxn ang="0">
                <a:pos x="19" y="7"/>
              </a:cxn>
              <a:cxn ang="0">
                <a:pos x="29" y="12"/>
              </a:cxn>
              <a:cxn ang="0">
                <a:pos x="37" y="10"/>
              </a:cxn>
              <a:cxn ang="0">
                <a:pos x="49" y="3"/>
              </a:cxn>
              <a:cxn ang="0">
                <a:pos x="56" y="0"/>
              </a:cxn>
              <a:cxn ang="0">
                <a:pos x="59" y="3"/>
              </a:cxn>
              <a:cxn ang="0">
                <a:pos x="69" y="3"/>
              </a:cxn>
              <a:cxn ang="0">
                <a:pos x="78" y="7"/>
              </a:cxn>
              <a:cxn ang="0">
                <a:pos x="81" y="12"/>
              </a:cxn>
              <a:cxn ang="0">
                <a:pos x="86" y="15"/>
              </a:cxn>
              <a:cxn ang="0">
                <a:pos x="86" y="20"/>
              </a:cxn>
              <a:cxn ang="0">
                <a:pos x="83" y="27"/>
              </a:cxn>
              <a:cxn ang="0">
                <a:pos x="81" y="32"/>
              </a:cxn>
              <a:cxn ang="0">
                <a:pos x="78" y="37"/>
              </a:cxn>
            </a:cxnLst>
            <a:rect l="0" t="0" r="r" b="b"/>
            <a:pathLst>
              <a:path w="86" h="39">
                <a:moveTo>
                  <a:pt x="78" y="37"/>
                </a:moveTo>
                <a:lnTo>
                  <a:pt x="74" y="35"/>
                </a:lnTo>
                <a:lnTo>
                  <a:pt x="71" y="30"/>
                </a:lnTo>
                <a:lnTo>
                  <a:pt x="69" y="25"/>
                </a:lnTo>
                <a:lnTo>
                  <a:pt x="71" y="25"/>
                </a:lnTo>
                <a:lnTo>
                  <a:pt x="74" y="20"/>
                </a:lnTo>
                <a:lnTo>
                  <a:pt x="76" y="20"/>
                </a:lnTo>
                <a:lnTo>
                  <a:pt x="76" y="20"/>
                </a:lnTo>
                <a:lnTo>
                  <a:pt x="76" y="17"/>
                </a:lnTo>
                <a:lnTo>
                  <a:pt x="74" y="17"/>
                </a:lnTo>
                <a:lnTo>
                  <a:pt x="71" y="20"/>
                </a:lnTo>
                <a:lnTo>
                  <a:pt x="71" y="20"/>
                </a:lnTo>
                <a:lnTo>
                  <a:pt x="69" y="20"/>
                </a:lnTo>
                <a:lnTo>
                  <a:pt x="69" y="15"/>
                </a:lnTo>
                <a:lnTo>
                  <a:pt x="66" y="12"/>
                </a:lnTo>
                <a:lnTo>
                  <a:pt x="64" y="12"/>
                </a:lnTo>
                <a:lnTo>
                  <a:pt x="61" y="10"/>
                </a:lnTo>
                <a:lnTo>
                  <a:pt x="59" y="7"/>
                </a:lnTo>
                <a:lnTo>
                  <a:pt x="54" y="7"/>
                </a:lnTo>
                <a:lnTo>
                  <a:pt x="51" y="10"/>
                </a:lnTo>
                <a:lnTo>
                  <a:pt x="49" y="15"/>
                </a:lnTo>
                <a:lnTo>
                  <a:pt x="51" y="15"/>
                </a:lnTo>
                <a:lnTo>
                  <a:pt x="51" y="15"/>
                </a:lnTo>
                <a:lnTo>
                  <a:pt x="47" y="20"/>
                </a:lnTo>
                <a:lnTo>
                  <a:pt x="42" y="20"/>
                </a:lnTo>
                <a:lnTo>
                  <a:pt x="39" y="22"/>
                </a:lnTo>
                <a:lnTo>
                  <a:pt x="39" y="25"/>
                </a:lnTo>
                <a:lnTo>
                  <a:pt x="39" y="27"/>
                </a:lnTo>
                <a:lnTo>
                  <a:pt x="42" y="27"/>
                </a:lnTo>
                <a:lnTo>
                  <a:pt x="44" y="30"/>
                </a:lnTo>
                <a:lnTo>
                  <a:pt x="44" y="35"/>
                </a:lnTo>
                <a:lnTo>
                  <a:pt x="44" y="35"/>
                </a:lnTo>
                <a:lnTo>
                  <a:pt x="42" y="35"/>
                </a:lnTo>
                <a:lnTo>
                  <a:pt x="39" y="37"/>
                </a:lnTo>
                <a:lnTo>
                  <a:pt x="37" y="39"/>
                </a:lnTo>
                <a:lnTo>
                  <a:pt x="32" y="37"/>
                </a:lnTo>
                <a:lnTo>
                  <a:pt x="32" y="37"/>
                </a:lnTo>
                <a:lnTo>
                  <a:pt x="32" y="35"/>
                </a:lnTo>
                <a:lnTo>
                  <a:pt x="32" y="32"/>
                </a:lnTo>
                <a:lnTo>
                  <a:pt x="32" y="30"/>
                </a:lnTo>
                <a:lnTo>
                  <a:pt x="29" y="27"/>
                </a:lnTo>
                <a:lnTo>
                  <a:pt x="29" y="27"/>
                </a:lnTo>
                <a:lnTo>
                  <a:pt x="27" y="30"/>
                </a:lnTo>
                <a:lnTo>
                  <a:pt x="29" y="30"/>
                </a:lnTo>
                <a:lnTo>
                  <a:pt x="27" y="32"/>
                </a:lnTo>
                <a:lnTo>
                  <a:pt x="24" y="32"/>
                </a:lnTo>
                <a:lnTo>
                  <a:pt x="22" y="32"/>
                </a:lnTo>
                <a:lnTo>
                  <a:pt x="19" y="27"/>
                </a:lnTo>
                <a:lnTo>
                  <a:pt x="19" y="22"/>
                </a:lnTo>
                <a:lnTo>
                  <a:pt x="15" y="22"/>
                </a:lnTo>
                <a:lnTo>
                  <a:pt x="12" y="22"/>
                </a:lnTo>
                <a:lnTo>
                  <a:pt x="12" y="20"/>
                </a:lnTo>
                <a:lnTo>
                  <a:pt x="12" y="20"/>
                </a:lnTo>
                <a:lnTo>
                  <a:pt x="10" y="20"/>
                </a:lnTo>
                <a:lnTo>
                  <a:pt x="7" y="20"/>
                </a:lnTo>
                <a:lnTo>
                  <a:pt x="5" y="20"/>
                </a:lnTo>
                <a:lnTo>
                  <a:pt x="2" y="20"/>
                </a:lnTo>
                <a:lnTo>
                  <a:pt x="2" y="20"/>
                </a:lnTo>
                <a:lnTo>
                  <a:pt x="2" y="17"/>
                </a:lnTo>
                <a:lnTo>
                  <a:pt x="2" y="15"/>
                </a:lnTo>
                <a:lnTo>
                  <a:pt x="5" y="12"/>
                </a:lnTo>
                <a:lnTo>
                  <a:pt x="2" y="10"/>
                </a:lnTo>
                <a:lnTo>
                  <a:pt x="0" y="10"/>
                </a:lnTo>
                <a:lnTo>
                  <a:pt x="2" y="7"/>
                </a:lnTo>
                <a:lnTo>
                  <a:pt x="2" y="5"/>
                </a:lnTo>
                <a:lnTo>
                  <a:pt x="2" y="3"/>
                </a:lnTo>
                <a:lnTo>
                  <a:pt x="5" y="3"/>
                </a:lnTo>
                <a:lnTo>
                  <a:pt x="7" y="3"/>
                </a:lnTo>
                <a:lnTo>
                  <a:pt x="7" y="3"/>
                </a:lnTo>
                <a:lnTo>
                  <a:pt x="10" y="5"/>
                </a:lnTo>
                <a:lnTo>
                  <a:pt x="12" y="5"/>
                </a:lnTo>
                <a:lnTo>
                  <a:pt x="12" y="5"/>
                </a:lnTo>
                <a:lnTo>
                  <a:pt x="12" y="7"/>
                </a:lnTo>
                <a:lnTo>
                  <a:pt x="12" y="7"/>
                </a:lnTo>
                <a:lnTo>
                  <a:pt x="12" y="7"/>
                </a:lnTo>
                <a:lnTo>
                  <a:pt x="12" y="10"/>
                </a:lnTo>
                <a:lnTo>
                  <a:pt x="15" y="10"/>
                </a:lnTo>
                <a:lnTo>
                  <a:pt x="17" y="10"/>
                </a:lnTo>
                <a:lnTo>
                  <a:pt x="17" y="7"/>
                </a:lnTo>
                <a:lnTo>
                  <a:pt x="15" y="7"/>
                </a:lnTo>
                <a:lnTo>
                  <a:pt x="17" y="7"/>
                </a:lnTo>
                <a:lnTo>
                  <a:pt x="19" y="7"/>
                </a:lnTo>
                <a:lnTo>
                  <a:pt x="24" y="12"/>
                </a:lnTo>
                <a:lnTo>
                  <a:pt x="29" y="12"/>
                </a:lnTo>
                <a:lnTo>
                  <a:pt x="34" y="12"/>
                </a:lnTo>
                <a:lnTo>
                  <a:pt x="37" y="10"/>
                </a:lnTo>
                <a:lnTo>
                  <a:pt x="44" y="5"/>
                </a:lnTo>
                <a:lnTo>
                  <a:pt x="49" y="3"/>
                </a:lnTo>
                <a:lnTo>
                  <a:pt x="54" y="0"/>
                </a:lnTo>
                <a:lnTo>
                  <a:pt x="56" y="0"/>
                </a:lnTo>
                <a:lnTo>
                  <a:pt x="59" y="0"/>
                </a:lnTo>
                <a:lnTo>
                  <a:pt x="59" y="3"/>
                </a:lnTo>
                <a:lnTo>
                  <a:pt x="61" y="3"/>
                </a:lnTo>
                <a:lnTo>
                  <a:pt x="69" y="3"/>
                </a:lnTo>
                <a:lnTo>
                  <a:pt x="71" y="3"/>
                </a:lnTo>
                <a:lnTo>
                  <a:pt x="78" y="7"/>
                </a:lnTo>
                <a:lnTo>
                  <a:pt x="81" y="10"/>
                </a:lnTo>
                <a:lnTo>
                  <a:pt x="81" y="12"/>
                </a:lnTo>
                <a:lnTo>
                  <a:pt x="83" y="12"/>
                </a:lnTo>
                <a:lnTo>
                  <a:pt x="86" y="15"/>
                </a:lnTo>
                <a:lnTo>
                  <a:pt x="83" y="17"/>
                </a:lnTo>
                <a:lnTo>
                  <a:pt x="86" y="20"/>
                </a:lnTo>
                <a:lnTo>
                  <a:pt x="86" y="22"/>
                </a:lnTo>
                <a:lnTo>
                  <a:pt x="83" y="27"/>
                </a:lnTo>
                <a:lnTo>
                  <a:pt x="83" y="30"/>
                </a:lnTo>
                <a:lnTo>
                  <a:pt x="81" y="32"/>
                </a:lnTo>
                <a:lnTo>
                  <a:pt x="78" y="32"/>
                </a:lnTo>
                <a:lnTo>
                  <a:pt x="78" y="37"/>
                </a:lnTo>
                <a:lnTo>
                  <a:pt x="78" y="3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2" name="Freeform 181"/>
          <p:cNvSpPr>
            <a:spLocks/>
          </p:cNvSpPr>
          <p:nvPr/>
        </p:nvSpPr>
        <p:spPr bwMode="auto">
          <a:xfrm>
            <a:off x="2610949" y="4179034"/>
            <a:ext cx="84810" cy="76802"/>
          </a:xfrm>
          <a:custGeom>
            <a:avLst/>
            <a:gdLst/>
            <a:ahLst/>
            <a:cxnLst>
              <a:cxn ang="0">
                <a:pos x="47" y="45"/>
              </a:cxn>
              <a:cxn ang="0">
                <a:pos x="47" y="45"/>
              </a:cxn>
              <a:cxn ang="0">
                <a:pos x="47" y="50"/>
              </a:cxn>
              <a:cxn ang="0">
                <a:pos x="42" y="47"/>
              </a:cxn>
              <a:cxn ang="0">
                <a:pos x="42" y="47"/>
              </a:cxn>
              <a:cxn ang="0">
                <a:pos x="40" y="40"/>
              </a:cxn>
              <a:cxn ang="0">
                <a:pos x="37" y="40"/>
              </a:cxn>
              <a:cxn ang="0">
                <a:pos x="40" y="42"/>
              </a:cxn>
              <a:cxn ang="0">
                <a:pos x="40" y="47"/>
              </a:cxn>
              <a:cxn ang="0">
                <a:pos x="37" y="45"/>
              </a:cxn>
              <a:cxn ang="0">
                <a:pos x="32" y="42"/>
              </a:cxn>
              <a:cxn ang="0">
                <a:pos x="32" y="37"/>
              </a:cxn>
              <a:cxn ang="0">
                <a:pos x="30" y="32"/>
              </a:cxn>
              <a:cxn ang="0">
                <a:pos x="25" y="28"/>
              </a:cxn>
              <a:cxn ang="0">
                <a:pos x="20" y="23"/>
              </a:cxn>
              <a:cxn ang="0">
                <a:pos x="18" y="18"/>
              </a:cxn>
              <a:cxn ang="0">
                <a:pos x="10" y="15"/>
              </a:cxn>
              <a:cxn ang="0">
                <a:pos x="10" y="18"/>
              </a:cxn>
              <a:cxn ang="0">
                <a:pos x="15" y="23"/>
              </a:cxn>
              <a:cxn ang="0">
                <a:pos x="13" y="28"/>
              </a:cxn>
              <a:cxn ang="0">
                <a:pos x="8" y="23"/>
              </a:cxn>
              <a:cxn ang="0">
                <a:pos x="0" y="18"/>
              </a:cxn>
              <a:cxn ang="0">
                <a:pos x="0" y="13"/>
              </a:cxn>
              <a:cxn ang="0">
                <a:pos x="3" y="8"/>
              </a:cxn>
              <a:cxn ang="0">
                <a:pos x="0" y="5"/>
              </a:cxn>
              <a:cxn ang="0">
                <a:pos x="3" y="3"/>
              </a:cxn>
              <a:cxn ang="0">
                <a:pos x="3" y="0"/>
              </a:cxn>
              <a:cxn ang="0">
                <a:pos x="8" y="0"/>
              </a:cxn>
              <a:cxn ang="0">
                <a:pos x="20" y="0"/>
              </a:cxn>
              <a:cxn ang="0">
                <a:pos x="25" y="3"/>
              </a:cxn>
              <a:cxn ang="0">
                <a:pos x="28" y="5"/>
              </a:cxn>
              <a:cxn ang="0">
                <a:pos x="32" y="8"/>
              </a:cxn>
              <a:cxn ang="0">
                <a:pos x="32" y="8"/>
              </a:cxn>
              <a:cxn ang="0">
                <a:pos x="37" y="8"/>
              </a:cxn>
              <a:cxn ang="0">
                <a:pos x="40" y="10"/>
              </a:cxn>
              <a:cxn ang="0">
                <a:pos x="42" y="15"/>
              </a:cxn>
              <a:cxn ang="0">
                <a:pos x="45" y="23"/>
              </a:cxn>
              <a:cxn ang="0">
                <a:pos x="50" y="25"/>
              </a:cxn>
              <a:cxn ang="0">
                <a:pos x="52" y="28"/>
              </a:cxn>
              <a:cxn ang="0">
                <a:pos x="47" y="28"/>
              </a:cxn>
              <a:cxn ang="0">
                <a:pos x="47" y="32"/>
              </a:cxn>
              <a:cxn ang="0">
                <a:pos x="47" y="35"/>
              </a:cxn>
              <a:cxn ang="0">
                <a:pos x="47" y="40"/>
              </a:cxn>
              <a:cxn ang="0">
                <a:pos x="47" y="45"/>
              </a:cxn>
              <a:cxn ang="0">
                <a:pos x="47" y="45"/>
              </a:cxn>
            </a:cxnLst>
            <a:rect l="0" t="0" r="r" b="b"/>
            <a:pathLst>
              <a:path w="52" h="50">
                <a:moveTo>
                  <a:pt x="47" y="45"/>
                </a:moveTo>
                <a:lnTo>
                  <a:pt x="47" y="45"/>
                </a:lnTo>
                <a:lnTo>
                  <a:pt x="47" y="45"/>
                </a:lnTo>
                <a:lnTo>
                  <a:pt x="47" y="45"/>
                </a:lnTo>
                <a:lnTo>
                  <a:pt x="47" y="47"/>
                </a:lnTo>
                <a:lnTo>
                  <a:pt x="47" y="50"/>
                </a:lnTo>
                <a:lnTo>
                  <a:pt x="45" y="50"/>
                </a:lnTo>
                <a:lnTo>
                  <a:pt x="42" y="47"/>
                </a:lnTo>
                <a:lnTo>
                  <a:pt x="42" y="47"/>
                </a:lnTo>
                <a:lnTo>
                  <a:pt x="42" y="47"/>
                </a:lnTo>
                <a:lnTo>
                  <a:pt x="42" y="45"/>
                </a:lnTo>
                <a:lnTo>
                  <a:pt x="40" y="40"/>
                </a:lnTo>
                <a:lnTo>
                  <a:pt x="37" y="40"/>
                </a:lnTo>
                <a:lnTo>
                  <a:pt x="37" y="40"/>
                </a:lnTo>
                <a:lnTo>
                  <a:pt x="37" y="40"/>
                </a:lnTo>
                <a:lnTo>
                  <a:pt x="40" y="42"/>
                </a:lnTo>
                <a:lnTo>
                  <a:pt x="40" y="45"/>
                </a:lnTo>
                <a:lnTo>
                  <a:pt x="40" y="47"/>
                </a:lnTo>
                <a:lnTo>
                  <a:pt x="40" y="47"/>
                </a:lnTo>
                <a:lnTo>
                  <a:pt x="37" y="45"/>
                </a:lnTo>
                <a:lnTo>
                  <a:pt x="32" y="45"/>
                </a:lnTo>
                <a:lnTo>
                  <a:pt x="32" y="42"/>
                </a:lnTo>
                <a:lnTo>
                  <a:pt x="32" y="40"/>
                </a:lnTo>
                <a:lnTo>
                  <a:pt x="32" y="37"/>
                </a:lnTo>
                <a:lnTo>
                  <a:pt x="32" y="35"/>
                </a:lnTo>
                <a:lnTo>
                  <a:pt x="30" y="32"/>
                </a:lnTo>
                <a:lnTo>
                  <a:pt x="28" y="30"/>
                </a:lnTo>
                <a:lnTo>
                  <a:pt x="25" y="28"/>
                </a:lnTo>
                <a:lnTo>
                  <a:pt x="20" y="25"/>
                </a:lnTo>
                <a:lnTo>
                  <a:pt x="20" y="23"/>
                </a:lnTo>
                <a:lnTo>
                  <a:pt x="18" y="20"/>
                </a:lnTo>
                <a:lnTo>
                  <a:pt x="18" y="18"/>
                </a:lnTo>
                <a:lnTo>
                  <a:pt x="15" y="18"/>
                </a:lnTo>
                <a:lnTo>
                  <a:pt x="10" y="15"/>
                </a:lnTo>
                <a:lnTo>
                  <a:pt x="10" y="15"/>
                </a:lnTo>
                <a:lnTo>
                  <a:pt x="10" y="18"/>
                </a:lnTo>
                <a:lnTo>
                  <a:pt x="15" y="20"/>
                </a:lnTo>
                <a:lnTo>
                  <a:pt x="15" y="23"/>
                </a:lnTo>
                <a:lnTo>
                  <a:pt x="15" y="28"/>
                </a:lnTo>
                <a:lnTo>
                  <a:pt x="13" y="28"/>
                </a:lnTo>
                <a:lnTo>
                  <a:pt x="10" y="25"/>
                </a:lnTo>
                <a:lnTo>
                  <a:pt x="8" y="23"/>
                </a:lnTo>
                <a:lnTo>
                  <a:pt x="5" y="23"/>
                </a:lnTo>
                <a:lnTo>
                  <a:pt x="0" y="18"/>
                </a:lnTo>
                <a:lnTo>
                  <a:pt x="0" y="15"/>
                </a:lnTo>
                <a:lnTo>
                  <a:pt x="0" y="13"/>
                </a:lnTo>
                <a:lnTo>
                  <a:pt x="3" y="10"/>
                </a:lnTo>
                <a:lnTo>
                  <a:pt x="3" y="8"/>
                </a:lnTo>
                <a:lnTo>
                  <a:pt x="0" y="8"/>
                </a:lnTo>
                <a:lnTo>
                  <a:pt x="0" y="5"/>
                </a:lnTo>
                <a:lnTo>
                  <a:pt x="0" y="5"/>
                </a:lnTo>
                <a:lnTo>
                  <a:pt x="3" y="3"/>
                </a:lnTo>
                <a:lnTo>
                  <a:pt x="0" y="0"/>
                </a:lnTo>
                <a:lnTo>
                  <a:pt x="3" y="0"/>
                </a:lnTo>
                <a:lnTo>
                  <a:pt x="3" y="0"/>
                </a:lnTo>
                <a:lnTo>
                  <a:pt x="8" y="0"/>
                </a:lnTo>
                <a:lnTo>
                  <a:pt x="15" y="3"/>
                </a:lnTo>
                <a:lnTo>
                  <a:pt x="20" y="0"/>
                </a:lnTo>
                <a:lnTo>
                  <a:pt x="23" y="0"/>
                </a:lnTo>
                <a:lnTo>
                  <a:pt x="25" y="3"/>
                </a:lnTo>
                <a:lnTo>
                  <a:pt x="28" y="5"/>
                </a:lnTo>
                <a:lnTo>
                  <a:pt x="28" y="5"/>
                </a:lnTo>
                <a:lnTo>
                  <a:pt x="30" y="8"/>
                </a:lnTo>
                <a:lnTo>
                  <a:pt x="32" y="8"/>
                </a:lnTo>
                <a:lnTo>
                  <a:pt x="32" y="8"/>
                </a:lnTo>
                <a:lnTo>
                  <a:pt x="32" y="8"/>
                </a:lnTo>
                <a:lnTo>
                  <a:pt x="35" y="8"/>
                </a:lnTo>
                <a:lnTo>
                  <a:pt x="37" y="8"/>
                </a:lnTo>
                <a:lnTo>
                  <a:pt x="37" y="8"/>
                </a:lnTo>
                <a:lnTo>
                  <a:pt x="40" y="10"/>
                </a:lnTo>
                <a:lnTo>
                  <a:pt x="40" y="13"/>
                </a:lnTo>
                <a:lnTo>
                  <a:pt x="42" y="15"/>
                </a:lnTo>
                <a:lnTo>
                  <a:pt x="45" y="20"/>
                </a:lnTo>
                <a:lnTo>
                  <a:pt x="45" y="23"/>
                </a:lnTo>
                <a:lnTo>
                  <a:pt x="47" y="23"/>
                </a:lnTo>
                <a:lnTo>
                  <a:pt x="50" y="25"/>
                </a:lnTo>
                <a:lnTo>
                  <a:pt x="52" y="25"/>
                </a:lnTo>
                <a:lnTo>
                  <a:pt x="52" y="28"/>
                </a:lnTo>
                <a:lnTo>
                  <a:pt x="50" y="28"/>
                </a:lnTo>
                <a:lnTo>
                  <a:pt x="47" y="28"/>
                </a:lnTo>
                <a:lnTo>
                  <a:pt x="47" y="30"/>
                </a:lnTo>
                <a:lnTo>
                  <a:pt x="47" y="32"/>
                </a:lnTo>
                <a:lnTo>
                  <a:pt x="45" y="35"/>
                </a:lnTo>
                <a:lnTo>
                  <a:pt x="47" y="35"/>
                </a:lnTo>
                <a:lnTo>
                  <a:pt x="50" y="37"/>
                </a:lnTo>
                <a:lnTo>
                  <a:pt x="47" y="40"/>
                </a:lnTo>
                <a:lnTo>
                  <a:pt x="47" y="42"/>
                </a:lnTo>
                <a:lnTo>
                  <a:pt x="47" y="45"/>
                </a:lnTo>
                <a:lnTo>
                  <a:pt x="47" y="45"/>
                </a:lnTo>
                <a:lnTo>
                  <a:pt x="47" y="45"/>
                </a:lnTo>
                <a:lnTo>
                  <a:pt x="47" y="4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3" name="Freeform 182"/>
          <p:cNvSpPr>
            <a:spLocks/>
          </p:cNvSpPr>
          <p:nvPr/>
        </p:nvSpPr>
        <p:spPr bwMode="auto">
          <a:xfrm>
            <a:off x="2571806" y="4085336"/>
            <a:ext cx="115798" cy="105987"/>
          </a:xfrm>
          <a:custGeom>
            <a:avLst/>
            <a:gdLst/>
            <a:ahLst/>
            <a:cxnLst>
              <a:cxn ang="0">
                <a:pos x="27" y="61"/>
              </a:cxn>
              <a:cxn ang="0">
                <a:pos x="32" y="61"/>
              </a:cxn>
              <a:cxn ang="0">
                <a:pos x="39" y="64"/>
              </a:cxn>
              <a:cxn ang="0">
                <a:pos x="47" y="61"/>
              </a:cxn>
              <a:cxn ang="0">
                <a:pos x="49" y="64"/>
              </a:cxn>
              <a:cxn ang="0">
                <a:pos x="52" y="66"/>
              </a:cxn>
              <a:cxn ang="0">
                <a:pos x="56" y="69"/>
              </a:cxn>
              <a:cxn ang="0">
                <a:pos x="56" y="69"/>
              </a:cxn>
              <a:cxn ang="0">
                <a:pos x="59" y="64"/>
              </a:cxn>
              <a:cxn ang="0">
                <a:pos x="56" y="64"/>
              </a:cxn>
              <a:cxn ang="0">
                <a:pos x="59" y="57"/>
              </a:cxn>
              <a:cxn ang="0">
                <a:pos x="59" y="54"/>
              </a:cxn>
              <a:cxn ang="0">
                <a:pos x="59" y="52"/>
              </a:cxn>
              <a:cxn ang="0">
                <a:pos x="59" y="54"/>
              </a:cxn>
              <a:cxn ang="0">
                <a:pos x="56" y="52"/>
              </a:cxn>
              <a:cxn ang="0">
                <a:pos x="56" y="49"/>
              </a:cxn>
              <a:cxn ang="0">
                <a:pos x="59" y="44"/>
              </a:cxn>
              <a:cxn ang="0">
                <a:pos x="59" y="42"/>
              </a:cxn>
              <a:cxn ang="0">
                <a:pos x="61" y="37"/>
              </a:cxn>
              <a:cxn ang="0">
                <a:pos x="61" y="42"/>
              </a:cxn>
              <a:cxn ang="0">
                <a:pos x="61" y="44"/>
              </a:cxn>
              <a:cxn ang="0">
                <a:pos x="64" y="37"/>
              </a:cxn>
              <a:cxn ang="0">
                <a:pos x="64" y="30"/>
              </a:cxn>
              <a:cxn ang="0">
                <a:pos x="64" y="27"/>
              </a:cxn>
              <a:cxn ang="0">
                <a:pos x="61" y="25"/>
              </a:cxn>
              <a:cxn ang="0">
                <a:pos x="64" y="25"/>
              </a:cxn>
              <a:cxn ang="0">
                <a:pos x="66" y="20"/>
              </a:cxn>
              <a:cxn ang="0">
                <a:pos x="69" y="17"/>
              </a:cxn>
              <a:cxn ang="0">
                <a:pos x="69" y="15"/>
              </a:cxn>
              <a:cxn ang="0">
                <a:pos x="69" y="12"/>
              </a:cxn>
              <a:cxn ang="0">
                <a:pos x="69" y="7"/>
              </a:cxn>
              <a:cxn ang="0">
                <a:pos x="69" y="2"/>
              </a:cxn>
              <a:cxn ang="0">
                <a:pos x="71" y="0"/>
              </a:cxn>
              <a:cxn ang="0">
                <a:pos x="69" y="0"/>
              </a:cxn>
              <a:cxn ang="0">
                <a:pos x="66" y="0"/>
              </a:cxn>
              <a:cxn ang="0">
                <a:pos x="61" y="0"/>
              </a:cxn>
              <a:cxn ang="0">
                <a:pos x="61" y="2"/>
              </a:cxn>
              <a:cxn ang="0">
                <a:pos x="56" y="5"/>
              </a:cxn>
              <a:cxn ang="0">
                <a:pos x="54" y="5"/>
              </a:cxn>
              <a:cxn ang="0">
                <a:pos x="52" y="7"/>
              </a:cxn>
              <a:cxn ang="0">
                <a:pos x="49" y="7"/>
              </a:cxn>
              <a:cxn ang="0">
                <a:pos x="47" y="5"/>
              </a:cxn>
              <a:cxn ang="0">
                <a:pos x="44" y="5"/>
              </a:cxn>
              <a:cxn ang="0">
                <a:pos x="42" y="7"/>
              </a:cxn>
              <a:cxn ang="0">
                <a:pos x="39" y="10"/>
              </a:cxn>
              <a:cxn ang="0">
                <a:pos x="37" y="12"/>
              </a:cxn>
              <a:cxn ang="0">
                <a:pos x="34" y="17"/>
              </a:cxn>
              <a:cxn ang="0">
                <a:pos x="29" y="20"/>
              </a:cxn>
              <a:cxn ang="0">
                <a:pos x="27" y="20"/>
              </a:cxn>
              <a:cxn ang="0">
                <a:pos x="24" y="17"/>
              </a:cxn>
              <a:cxn ang="0">
                <a:pos x="17" y="20"/>
              </a:cxn>
              <a:cxn ang="0">
                <a:pos x="12" y="20"/>
              </a:cxn>
              <a:cxn ang="0">
                <a:pos x="12" y="25"/>
              </a:cxn>
              <a:cxn ang="0">
                <a:pos x="12" y="30"/>
              </a:cxn>
              <a:cxn ang="0">
                <a:pos x="7" y="32"/>
              </a:cxn>
              <a:cxn ang="0">
                <a:pos x="5" y="32"/>
              </a:cxn>
              <a:cxn ang="0">
                <a:pos x="2" y="34"/>
              </a:cxn>
              <a:cxn ang="0">
                <a:pos x="0" y="34"/>
              </a:cxn>
              <a:cxn ang="0">
                <a:pos x="5" y="42"/>
              </a:cxn>
              <a:cxn ang="0">
                <a:pos x="7" y="44"/>
              </a:cxn>
              <a:cxn ang="0">
                <a:pos x="12" y="49"/>
              </a:cxn>
              <a:cxn ang="0">
                <a:pos x="22" y="61"/>
              </a:cxn>
              <a:cxn ang="0">
                <a:pos x="24" y="61"/>
              </a:cxn>
            </a:cxnLst>
            <a:rect l="0" t="0" r="r" b="b"/>
            <a:pathLst>
              <a:path w="71" h="69">
                <a:moveTo>
                  <a:pt x="24" y="61"/>
                </a:moveTo>
                <a:lnTo>
                  <a:pt x="24" y="61"/>
                </a:lnTo>
                <a:lnTo>
                  <a:pt x="27" y="61"/>
                </a:lnTo>
                <a:lnTo>
                  <a:pt x="27" y="61"/>
                </a:lnTo>
                <a:lnTo>
                  <a:pt x="27" y="61"/>
                </a:lnTo>
                <a:lnTo>
                  <a:pt x="32" y="61"/>
                </a:lnTo>
                <a:lnTo>
                  <a:pt x="32" y="61"/>
                </a:lnTo>
                <a:lnTo>
                  <a:pt x="39" y="64"/>
                </a:lnTo>
                <a:lnTo>
                  <a:pt x="39" y="64"/>
                </a:lnTo>
                <a:lnTo>
                  <a:pt x="44" y="61"/>
                </a:lnTo>
                <a:lnTo>
                  <a:pt x="44" y="61"/>
                </a:lnTo>
                <a:lnTo>
                  <a:pt x="47" y="61"/>
                </a:lnTo>
                <a:lnTo>
                  <a:pt x="47" y="61"/>
                </a:lnTo>
                <a:lnTo>
                  <a:pt x="49" y="64"/>
                </a:lnTo>
                <a:lnTo>
                  <a:pt x="49" y="64"/>
                </a:lnTo>
                <a:lnTo>
                  <a:pt x="52" y="66"/>
                </a:lnTo>
                <a:lnTo>
                  <a:pt x="52" y="66"/>
                </a:lnTo>
                <a:lnTo>
                  <a:pt x="52" y="66"/>
                </a:lnTo>
                <a:lnTo>
                  <a:pt x="54" y="69"/>
                </a:lnTo>
                <a:lnTo>
                  <a:pt x="54" y="69"/>
                </a:lnTo>
                <a:lnTo>
                  <a:pt x="56" y="69"/>
                </a:lnTo>
                <a:lnTo>
                  <a:pt x="56" y="69"/>
                </a:lnTo>
                <a:lnTo>
                  <a:pt x="56" y="69"/>
                </a:lnTo>
                <a:lnTo>
                  <a:pt x="56" y="69"/>
                </a:lnTo>
                <a:lnTo>
                  <a:pt x="59" y="66"/>
                </a:lnTo>
                <a:lnTo>
                  <a:pt x="59" y="66"/>
                </a:lnTo>
                <a:lnTo>
                  <a:pt x="59" y="64"/>
                </a:lnTo>
                <a:lnTo>
                  <a:pt x="59" y="64"/>
                </a:lnTo>
                <a:lnTo>
                  <a:pt x="56" y="64"/>
                </a:lnTo>
                <a:lnTo>
                  <a:pt x="56" y="64"/>
                </a:lnTo>
                <a:lnTo>
                  <a:pt x="56" y="59"/>
                </a:lnTo>
                <a:lnTo>
                  <a:pt x="56" y="59"/>
                </a:lnTo>
                <a:lnTo>
                  <a:pt x="59" y="57"/>
                </a:lnTo>
                <a:lnTo>
                  <a:pt x="59" y="57"/>
                </a:lnTo>
                <a:lnTo>
                  <a:pt x="59" y="54"/>
                </a:lnTo>
                <a:lnTo>
                  <a:pt x="59" y="54"/>
                </a:lnTo>
                <a:lnTo>
                  <a:pt x="59" y="49"/>
                </a:lnTo>
                <a:lnTo>
                  <a:pt x="59" y="49"/>
                </a:lnTo>
                <a:lnTo>
                  <a:pt x="59" y="52"/>
                </a:lnTo>
                <a:lnTo>
                  <a:pt x="59" y="52"/>
                </a:lnTo>
                <a:lnTo>
                  <a:pt x="59" y="54"/>
                </a:lnTo>
                <a:lnTo>
                  <a:pt x="59" y="54"/>
                </a:lnTo>
                <a:lnTo>
                  <a:pt x="56" y="54"/>
                </a:lnTo>
                <a:lnTo>
                  <a:pt x="56" y="54"/>
                </a:lnTo>
                <a:lnTo>
                  <a:pt x="56" y="52"/>
                </a:lnTo>
                <a:lnTo>
                  <a:pt x="56" y="52"/>
                </a:lnTo>
                <a:lnTo>
                  <a:pt x="56" y="49"/>
                </a:lnTo>
                <a:lnTo>
                  <a:pt x="56" y="49"/>
                </a:lnTo>
                <a:lnTo>
                  <a:pt x="59" y="47"/>
                </a:lnTo>
                <a:lnTo>
                  <a:pt x="59" y="47"/>
                </a:lnTo>
                <a:lnTo>
                  <a:pt x="59" y="44"/>
                </a:lnTo>
                <a:lnTo>
                  <a:pt x="59" y="44"/>
                </a:lnTo>
                <a:lnTo>
                  <a:pt x="59" y="42"/>
                </a:lnTo>
                <a:lnTo>
                  <a:pt x="59" y="42"/>
                </a:lnTo>
                <a:lnTo>
                  <a:pt x="59" y="37"/>
                </a:lnTo>
                <a:lnTo>
                  <a:pt x="59" y="37"/>
                </a:lnTo>
                <a:lnTo>
                  <a:pt x="61" y="37"/>
                </a:lnTo>
                <a:lnTo>
                  <a:pt x="61" y="37"/>
                </a:lnTo>
                <a:lnTo>
                  <a:pt x="61" y="39"/>
                </a:lnTo>
                <a:lnTo>
                  <a:pt x="61" y="42"/>
                </a:lnTo>
                <a:lnTo>
                  <a:pt x="61" y="44"/>
                </a:lnTo>
                <a:lnTo>
                  <a:pt x="61" y="44"/>
                </a:lnTo>
                <a:lnTo>
                  <a:pt x="61" y="44"/>
                </a:lnTo>
                <a:lnTo>
                  <a:pt x="64" y="44"/>
                </a:lnTo>
                <a:lnTo>
                  <a:pt x="64" y="44"/>
                </a:lnTo>
                <a:lnTo>
                  <a:pt x="64" y="37"/>
                </a:lnTo>
                <a:lnTo>
                  <a:pt x="64" y="37"/>
                </a:lnTo>
                <a:lnTo>
                  <a:pt x="64" y="30"/>
                </a:lnTo>
                <a:lnTo>
                  <a:pt x="64" y="30"/>
                </a:lnTo>
                <a:lnTo>
                  <a:pt x="64" y="30"/>
                </a:lnTo>
                <a:lnTo>
                  <a:pt x="64" y="27"/>
                </a:lnTo>
                <a:lnTo>
                  <a:pt x="64" y="27"/>
                </a:lnTo>
                <a:lnTo>
                  <a:pt x="61" y="27"/>
                </a:lnTo>
                <a:lnTo>
                  <a:pt x="61" y="27"/>
                </a:lnTo>
                <a:lnTo>
                  <a:pt x="61" y="25"/>
                </a:lnTo>
                <a:lnTo>
                  <a:pt x="61" y="25"/>
                </a:lnTo>
                <a:lnTo>
                  <a:pt x="64" y="25"/>
                </a:lnTo>
                <a:lnTo>
                  <a:pt x="64" y="25"/>
                </a:lnTo>
                <a:lnTo>
                  <a:pt x="64" y="25"/>
                </a:lnTo>
                <a:lnTo>
                  <a:pt x="64" y="25"/>
                </a:lnTo>
                <a:lnTo>
                  <a:pt x="66" y="20"/>
                </a:lnTo>
                <a:lnTo>
                  <a:pt x="66" y="20"/>
                </a:lnTo>
                <a:lnTo>
                  <a:pt x="69" y="17"/>
                </a:lnTo>
                <a:lnTo>
                  <a:pt x="69" y="17"/>
                </a:lnTo>
                <a:lnTo>
                  <a:pt x="69" y="15"/>
                </a:lnTo>
                <a:lnTo>
                  <a:pt x="69" y="15"/>
                </a:lnTo>
                <a:lnTo>
                  <a:pt x="69" y="15"/>
                </a:lnTo>
                <a:lnTo>
                  <a:pt x="69" y="12"/>
                </a:lnTo>
                <a:lnTo>
                  <a:pt x="69" y="12"/>
                </a:lnTo>
                <a:lnTo>
                  <a:pt x="69" y="12"/>
                </a:lnTo>
                <a:lnTo>
                  <a:pt x="69" y="10"/>
                </a:lnTo>
                <a:lnTo>
                  <a:pt x="69" y="10"/>
                </a:lnTo>
                <a:lnTo>
                  <a:pt x="69" y="7"/>
                </a:lnTo>
                <a:lnTo>
                  <a:pt x="69" y="7"/>
                </a:lnTo>
                <a:lnTo>
                  <a:pt x="69" y="2"/>
                </a:lnTo>
                <a:lnTo>
                  <a:pt x="69" y="2"/>
                </a:lnTo>
                <a:lnTo>
                  <a:pt x="69" y="0"/>
                </a:lnTo>
                <a:lnTo>
                  <a:pt x="69" y="0"/>
                </a:lnTo>
                <a:lnTo>
                  <a:pt x="71" y="0"/>
                </a:lnTo>
                <a:lnTo>
                  <a:pt x="71" y="0"/>
                </a:lnTo>
                <a:lnTo>
                  <a:pt x="69" y="0"/>
                </a:lnTo>
                <a:lnTo>
                  <a:pt x="69" y="0"/>
                </a:lnTo>
                <a:lnTo>
                  <a:pt x="66" y="0"/>
                </a:lnTo>
                <a:lnTo>
                  <a:pt x="66" y="0"/>
                </a:lnTo>
                <a:lnTo>
                  <a:pt x="66" y="0"/>
                </a:lnTo>
                <a:lnTo>
                  <a:pt x="64" y="0"/>
                </a:lnTo>
                <a:lnTo>
                  <a:pt x="64" y="0"/>
                </a:lnTo>
                <a:lnTo>
                  <a:pt x="61" y="0"/>
                </a:lnTo>
                <a:lnTo>
                  <a:pt x="61" y="0"/>
                </a:lnTo>
                <a:lnTo>
                  <a:pt x="61" y="2"/>
                </a:lnTo>
                <a:lnTo>
                  <a:pt x="61" y="2"/>
                </a:lnTo>
                <a:lnTo>
                  <a:pt x="59" y="2"/>
                </a:lnTo>
                <a:lnTo>
                  <a:pt x="59" y="2"/>
                </a:lnTo>
                <a:lnTo>
                  <a:pt x="56" y="5"/>
                </a:lnTo>
                <a:lnTo>
                  <a:pt x="56" y="5"/>
                </a:lnTo>
                <a:lnTo>
                  <a:pt x="54" y="5"/>
                </a:lnTo>
                <a:lnTo>
                  <a:pt x="54" y="5"/>
                </a:lnTo>
                <a:lnTo>
                  <a:pt x="54" y="7"/>
                </a:lnTo>
                <a:lnTo>
                  <a:pt x="54" y="7"/>
                </a:lnTo>
                <a:lnTo>
                  <a:pt x="52" y="7"/>
                </a:lnTo>
                <a:lnTo>
                  <a:pt x="52" y="7"/>
                </a:lnTo>
                <a:lnTo>
                  <a:pt x="49" y="7"/>
                </a:lnTo>
                <a:lnTo>
                  <a:pt x="49" y="7"/>
                </a:lnTo>
                <a:lnTo>
                  <a:pt x="49" y="5"/>
                </a:lnTo>
                <a:lnTo>
                  <a:pt x="49" y="5"/>
                </a:lnTo>
                <a:lnTo>
                  <a:pt x="47" y="5"/>
                </a:lnTo>
                <a:lnTo>
                  <a:pt x="47" y="5"/>
                </a:lnTo>
                <a:lnTo>
                  <a:pt x="44" y="5"/>
                </a:lnTo>
                <a:lnTo>
                  <a:pt x="44" y="5"/>
                </a:lnTo>
                <a:lnTo>
                  <a:pt x="44" y="7"/>
                </a:lnTo>
                <a:lnTo>
                  <a:pt x="44" y="7"/>
                </a:lnTo>
                <a:lnTo>
                  <a:pt x="42" y="7"/>
                </a:lnTo>
                <a:lnTo>
                  <a:pt x="42" y="7"/>
                </a:lnTo>
                <a:lnTo>
                  <a:pt x="39" y="10"/>
                </a:lnTo>
                <a:lnTo>
                  <a:pt x="39" y="10"/>
                </a:lnTo>
                <a:lnTo>
                  <a:pt x="39" y="12"/>
                </a:lnTo>
                <a:lnTo>
                  <a:pt x="39" y="12"/>
                </a:lnTo>
                <a:lnTo>
                  <a:pt x="37" y="12"/>
                </a:lnTo>
                <a:lnTo>
                  <a:pt x="37" y="12"/>
                </a:lnTo>
                <a:lnTo>
                  <a:pt x="34" y="17"/>
                </a:lnTo>
                <a:lnTo>
                  <a:pt x="34" y="17"/>
                </a:lnTo>
                <a:lnTo>
                  <a:pt x="32" y="17"/>
                </a:lnTo>
                <a:lnTo>
                  <a:pt x="32" y="17"/>
                </a:lnTo>
                <a:lnTo>
                  <a:pt x="29" y="20"/>
                </a:lnTo>
                <a:lnTo>
                  <a:pt x="29" y="20"/>
                </a:lnTo>
                <a:lnTo>
                  <a:pt x="27" y="20"/>
                </a:lnTo>
                <a:lnTo>
                  <a:pt x="27" y="20"/>
                </a:lnTo>
                <a:lnTo>
                  <a:pt x="27" y="20"/>
                </a:lnTo>
                <a:lnTo>
                  <a:pt x="24" y="17"/>
                </a:lnTo>
                <a:lnTo>
                  <a:pt x="24" y="17"/>
                </a:lnTo>
                <a:lnTo>
                  <a:pt x="22" y="17"/>
                </a:lnTo>
                <a:lnTo>
                  <a:pt x="22" y="17"/>
                </a:lnTo>
                <a:lnTo>
                  <a:pt x="17" y="20"/>
                </a:lnTo>
                <a:lnTo>
                  <a:pt x="17" y="20"/>
                </a:lnTo>
                <a:lnTo>
                  <a:pt x="12" y="20"/>
                </a:lnTo>
                <a:lnTo>
                  <a:pt x="12" y="20"/>
                </a:lnTo>
                <a:lnTo>
                  <a:pt x="12" y="22"/>
                </a:lnTo>
                <a:lnTo>
                  <a:pt x="12" y="22"/>
                </a:lnTo>
                <a:lnTo>
                  <a:pt x="12" y="25"/>
                </a:lnTo>
                <a:lnTo>
                  <a:pt x="12" y="25"/>
                </a:lnTo>
                <a:lnTo>
                  <a:pt x="12" y="30"/>
                </a:lnTo>
                <a:lnTo>
                  <a:pt x="12" y="30"/>
                </a:lnTo>
                <a:lnTo>
                  <a:pt x="10" y="32"/>
                </a:lnTo>
                <a:lnTo>
                  <a:pt x="10" y="32"/>
                </a:lnTo>
                <a:lnTo>
                  <a:pt x="7" y="32"/>
                </a:lnTo>
                <a:lnTo>
                  <a:pt x="7" y="32"/>
                </a:lnTo>
                <a:lnTo>
                  <a:pt x="5" y="32"/>
                </a:lnTo>
                <a:lnTo>
                  <a:pt x="5" y="32"/>
                </a:lnTo>
                <a:lnTo>
                  <a:pt x="2" y="34"/>
                </a:lnTo>
                <a:lnTo>
                  <a:pt x="2" y="34"/>
                </a:lnTo>
                <a:lnTo>
                  <a:pt x="2" y="34"/>
                </a:lnTo>
                <a:lnTo>
                  <a:pt x="0" y="32"/>
                </a:lnTo>
                <a:lnTo>
                  <a:pt x="0" y="32"/>
                </a:lnTo>
                <a:lnTo>
                  <a:pt x="0" y="34"/>
                </a:lnTo>
                <a:lnTo>
                  <a:pt x="0" y="34"/>
                </a:lnTo>
                <a:lnTo>
                  <a:pt x="5" y="42"/>
                </a:lnTo>
                <a:lnTo>
                  <a:pt x="5" y="42"/>
                </a:lnTo>
                <a:lnTo>
                  <a:pt x="7" y="42"/>
                </a:lnTo>
                <a:lnTo>
                  <a:pt x="7" y="42"/>
                </a:lnTo>
                <a:lnTo>
                  <a:pt x="7" y="44"/>
                </a:lnTo>
                <a:lnTo>
                  <a:pt x="7" y="44"/>
                </a:lnTo>
                <a:lnTo>
                  <a:pt x="12" y="49"/>
                </a:lnTo>
                <a:lnTo>
                  <a:pt x="12" y="49"/>
                </a:lnTo>
                <a:lnTo>
                  <a:pt x="15" y="54"/>
                </a:lnTo>
                <a:lnTo>
                  <a:pt x="15" y="54"/>
                </a:lnTo>
                <a:lnTo>
                  <a:pt x="22" y="61"/>
                </a:lnTo>
                <a:lnTo>
                  <a:pt x="22" y="61"/>
                </a:lnTo>
                <a:lnTo>
                  <a:pt x="24" y="61"/>
                </a:lnTo>
                <a:lnTo>
                  <a:pt x="24" y="6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4" name="Freeform 183"/>
          <p:cNvSpPr>
            <a:spLocks/>
          </p:cNvSpPr>
          <p:nvPr/>
        </p:nvSpPr>
        <p:spPr bwMode="auto">
          <a:xfrm>
            <a:off x="2519615" y="4059223"/>
            <a:ext cx="167989" cy="75266"/>
          </a:xfrm>
          <a:custGeom>
            <a:avLst/>
            <a:gdLst/>
            <a:ahLst/>
            <a:cxnLst>
              <a:cxn ang="0">
                <a:pos x="39" y="49"/>
              </a:cxn>
              <a:cxn ang="0">
                <a:pos x="44" y="47"/>
              </a:cxn>
              <a:cxn ang="0">
                <a:pos x="44" y="39"/>
              </a:cxn>
              <a:cxn ang="0">
                <a:pos x="49" y="37"/>
              </a:cxn>
              <a:cxn ang="0">
                <a:pos x="56" y="34"/>
              </a:cxn>
              <a:cxn ang="0">
                <a:pos x="59" y="37"/>
              </a:cxn>
              <a:cxn ang="0">
                <a:pos x="64" y="34"/>
              </a:cxn>
              <a:cxn ang="0">
                <a:pos x="69" y="29"/>
              </a:cxn>
              <a:cxn ang="0">
                <a:pos x="71" y="27"/>
              </a:cxn>
              <a:cxn ang="0">
                <a:pos x="76" y="24"/>
              </a:cxn>
              <a:cxn ang="0">
                <a:pos x="79" y="22"/>
              </a:cxn>
              <a:cxn ang="0">
                <a:pos x="81" y="24"/>
              </a:cxn>
              <a:cxn ang="0">
                <a:pos x="86" y="24"/>
              </a:cxn>
              <a:cxn ang="0">
                <a:pos x="88" y="22"/>
              </a:cxn>
              <a:cxn ang="0">
                <a:pos x="93" y="19"/>
              </a:cxn>
              <a:cxn ang="0">
                <a:pos x="96" y="17"/>
              </a:cxn>
              <a:cxn ang="0">
                <a:pos x="98" y="17"/>
              </a:cxn>
              <a:cxn ang="0">
                <a:pos x="103" y="17"/>
              </a:cxn>
              <a:cxn ang="0">
                <a:pos x="103" y="15"/>
              </a:cxn>
              <a:cxn ang="0">
                <a:pos x="96" y="10"/>
              </a:cxn>
              <a:cxn ang="0">
                <a:pos x="96" y="15"/>
              </a:cxn>
              <a:cxn ang="0">
                <a:pos x="88" y="12"/>
              </a:cxn>
              <a:cxn ang="0">
                <a:pos x="84" y="12"/>
              </a:cxn>
              <a:cxn ang="0">
                <a:pos x="84" y="10"/>
              </a:cxn>
              <a:cxn ang="0">
                <a:pos x="84" y="7"/>
              </a:cxn>
              <a:cxn ang="0">
                <a:pos x="88" y="7"/>
              </a:cxn>
              <a:cxn ang="0">
                <a:pos x="93" y="10"/>
              </a:cxn>
              <a:cxn ang="0">
                <a:pos x="86" y="5"/>
              </a:cxn>
              <a:cxn ang="0">
                <a:pos x="81" y="5"/>
              </a:cxn>
              <a:cxn ang="0">
                <a:pos x="79" y="7"/>
              </a:cxn>
              <a:cxn ang="0">
                <a:pos x="71" y="5"/>
              </a:cxn>
              <a:cxn ang="0">
                <a:pos x="59" y="0"/>
              </a:cxn>
              <a:cxn ang="0">
                <a:pos x="56" y="2"/>
              </a:cxn>
              <a:cxn ang="0">
                <a:pos x="54" y="2"/>
              </a:cxn>
              <a:cxn ang="0">
                <a:pos x="52" y="2"/>
              </a:cxn>
              <a:cxn ang="0">
                <a:pos x="39" y="5"/>
              </a:cxn>
              <a:cxn ang="0">
                <a:pos x="27" y="7"/>
              </a:cxn>
              <a:cxn ang="0">
                <a:pos x="25" y="7"/>
              </a:cxn>
              <a:cxn ang="0">
                <a:pos x="20" y="10"/>
              </a:cxn>
              <a:cxn ang="0">
                <a:pos x="15" y="12"/>
              </a:cxn>
              <a:cxn ang="0">
                <a:pos x="7" y="19"/>
              </a:cxn>
              <a:cxn ang="0">
                <a:pos x="7" y="27"/>
              </a:cxn>
              <a:cxn ang="0">
                <a:pos x="2" y="29"/>
              </a:cxn>
              <a:cxn ang="0">
                <a:pos x="2" y="32"/>
              </a:cxn>
              <a:cxn ang="0">
                <a:pos x="2" y="42"/>
              </a:cxn>
              <a:cxn ang="0">
                <a:pos x="10" y="44"/>
              </a:cxn>
              <a:cxn ang="0">
                <a:pos x="15" y="47"/>
              </a:cxn>
              <a:cxn ang="0">
                <a:pos x="12" y="44"/>
              </a:cxn>
              <a:cxn ang="0">
                <a:pos x="20" y="47"/>
              </a:cxn>
              <a:cxn ang="0">
                <a:pos x="27" y="49"/>
              </a:cxn>
              <a:cxn ang="0">
                <a:pos x="29" y="44"/>
              </a:cxn>
              <a:cxn ang="0">
                <a:pos x="32" y="44"/>
              </a:cxn>
              <a:cxn ang="0">
                <a:pos x="32" y="47"/>
              </a:cxn>
              <a:cxn ang="0">
                <a:pos x="34" y="47"/>
              </a:cxn>
              <a:cxn ang="0">
                <a:pos x="37" y="49"/>
              </a:cxn>
              <a:cxn ang="0">
                <a:pos x="37" y="49"/>
              </a:cxn>
            </a:cxnLst>
            <a:rect l="0" t="0" r="r" b="b"/>
            <a:pathLst>
              <a:path w="103" h="49">
                <a:moveTo>
                  <a:pt x="37" y="49"/>
                </a:moveTo>
                <a:lnTo>
                  <a:pt x="39" y="49"/>
                </a:lnTo>
                <a:lnTo>
                  <a:pt x="42" y="49"/>
                </a:lnTo>
                <a:lnTo>
                  <a:pt x="44" y="47"/>
                </a:lnTo>
                <a:lnTo>
                  <a:pt x="44" y="42"/>
                </a:lnTo>
                <a:lnTo>
                  <a:pt x="44" y="39"/>
                </a:lnTo>
                <a:lnTo>
                  <a:pt x="44" y="37"/>
                </a:lnTo>
                <a:lnTo>
                  <a:pt x="49" y="37"/>
                </a:lnTo>
                <a:lnTo>
                  <a:pt x="54" y="34"/>
                </a:lnTo>
                <a:lnTo>
                  <a:pt x="56" y="34"/>
                </a:lnTo>
                <a:lnTo>
                  <a:pt x="59" y="37"/>
                </a:lnTo>
                <a:lnTo>
                  <a:pt x="59" y="37"/>
                </a:lnTo>
                <a:lnTo>
                  <a:pt x="61" y="37"/>
                </a:lnTo>
                <a:lnTo>
                  <a:pt x="64" y="34"/>
                </a:lnTo>
                <a:lnTo>
                  <a:pt x="66" y="34"/>
                </a:lnTo>
                <a:lnTo>
                  <a:pt x="69" y="29"/>
                </a:lnTo>
                <a:lnTo>
                  <a:pt x="71" y="29"/>
                </a:lnTo>
                <a:lnTo>
                  <a:pt x="71" y="27"/>
                </a:lnTo>
                <a:lnTo>
                  <a:pt x="74" y="24"/>
                </a:lnTo>
                <a:lnTo>
                  <a:pt x="76" y="24"/>
                </a:lnTo>
                <a:lnTo>
                  <a:pt x="76" y="22"/>
                </a:lnTo>
                <a:lnTo>
                  <a:pt x="79" y="22"/>
                </a:lnTo>
                <a:lnTo>
                  <a:pt x="81" y="22"/>
                </a:lnTo>
                <a:lnTo>
                  <a:pt x="81" y="24"/>
                </a:lnTo>
                <a:lnTo>
                  <a:pt x="84" y="24"/>
                </a:lnTo>
                <a:lnTo>
                  <a:pt x="86" y="24"/>
                </a:lnTo>
                <a:lnTo>
                  <a:pt x="86" y="22"/>
                </a:lnTo>
                <a:lnTo>
                  <a:pt x="88" y="22"/>
                </a:lnTo>
                <a:lnTo>
                  <a:pt x="91" y="19"/>
                </a:lnTo>
                <a:lnTo>
                  <a:pt x="93" y="19"/>
                </a:lnTo>
                <a:lnTo>
                  <a:pt x="93" y="17"/>
                </a:lnTo>
                <a:lnTo>
                  <a:pt x="96" y="17"/>
                </a:lnTo>
                <a:lnTo>
                  <a:pt x="98" y="17"/>
                </a:lnTo>
                <a:lnTo>
                  <a:pt x="98" y="17"/>
                </a:lnTo>
                <a:lnTo>
                  <a:pt x="101" y="17"/>
                </a:lnTo>
                <a:lnTo>
                  <a:pt x="103" y="17"/>
                </a:lnTo>
                <a:lnTo>
                  <a:pt x="103" y="17"/>
                </a:lnTo>
                <a:lnTo>
                  <a:pt x="103" y="15"/>
                </a:lnTo>
                <a:lnTo>
                  <a:pt x="98" y="12"/>
                </a:lnTo>
                <a:lnTo>
                  <a:pt x="96" y="10"/>
                </a:lnTo>
                <a:lnTo>
                  <a:pt x="96" y="10"/>
                </a:lnTo>
                <a:lnTo>
                  <a:pt x="96" y="15"/>
                </a:lnTo>
                <a:lnTo>
                  <a:pt x="93" y="12"/>
                </a:lnTo>
                <a:lnTo>
                  <a:pt x="88" y="12"/>
                </a:lnTo>
                <a:lnTo>
                  <a:pt x="88" y="12"/>
                </a:lnTo>
                <a:lnTo>
                  <a:pt x="84" y="12"/>
                </a:lnTo>
                <a:lnTo>
                  <a:pt x="81" y="12"/>
                </a:lnTo>
                <a:lnTo>
                  <a:pt x="84" y="10"/>
                </a:lnTo>
                <a:lnTo>
                  <a:pt x="84" y="10"/>
                </a:lnTo>
                <a:lnTo>
                  <a:pt x="84" y="7"/>
                </a:lnTo>
                <a:lnTo>
                  <a:pt x="86" y="7"/>
                </a:lnTo>
                <a:lnTo>
                  <a:pt x="88" y="7"/>
                </a:lnTo>
                <a:lnTo>
                  <a:pt x="93" y="10"/>
                </a:lnTo>
                <a:lnTo>
                  <a:pt x="93" y="10"/>
                </a:lnTo>
                <a:lnTo>
                  <a:pt x="91" y="7"/>
                </a:lnTo>
                <a:lnTo>
                  <a:pt x="86" y="5"/>
                </a:lnTo>
                <a:lnTo>
                  <a:pt x="84" y="5"/>
                </a:lnTo>
                <a:lnTo>
                  <a:pt x="81" y="5"/>
                </a:lnTo>
                <a:lnTo>
                  <a:pt x="79" y="5"/>
                </a:lnTo>
                <a:lnTo>
                  <a:pt x="79" y="7"/>
                </a:lnTo>
                <a:lnTo>
                  <a:pt x="76" y="5"/>
                </a:lnTo>
                <a:lnTo>
                  <a:pt x="71" y="5"/>
                </a:lnTo>
                <a:lnTo>
                  <a:pt x="64" y="5"/>
                </a:lnTo>
                <a:lnTo>
                  <a:pt x="59" y="0"/>
                </a:lnTo>
                <a:lnTo>
                  <a:pt x="56" y="0"/>
                </a:lnTo>
                <a:lnTo>
                  <a:pt x="56" y="2"/>
                </a:lnTo>
                <a:lnTo>
                  <a:pt x="56" y="2"/>
                </a:lnTo>
                <a:lnTo>
                  <a:pt x="54" y="2"/>
                </a:lnTo>
                <a:lnTo>
                  <a:pt x="54" y="5"/>
                </a:lnTo>
                <a:lnTo>
                  <a:pt x="52" y="2"/>
                </a:lnTo>
                <a:lnTo>
                  <a:pt x="47" y="5"/>
                </a:lnTo>
                <a:lnTo>
                  <a:pt x="39" y="5"/>
                </a:lnTo>
                <a:lnTo>
                  <a:pt x="29" y="5"/>
                </a:lnTo>
                <a:lnTo>
                  <a:pt x="27" y="7"/>
                </a:lnTo>
                <a:lnTo>
                  <a:pt x="25" y="5"/>
                </a:lnTo>
                <a:lnTo>
                  <a:pt x="25" y="7"/>
                </a:lnTo>
                <a:lnTo>
                  <a:pt x="22" y="7"/>
                </a:lnTo>
                <a:lnTo>
                  <a:pt x="20" y="10"/>
                </a:lnTo>
                <a:lnTo>
                  <a:pt x="17" y="12"/>
                </a:lnTo>
                <a:lnTo>
                  <a:pt x="15" y="12"/>
                </a:lnTo>
                <a:lnTo>
                  <a:pt x="10" y="17"/>
                </a:lnTo>
                <a:lnTo>
                  <a:pt x="7" y="19"/>
                </a:lnTo>
                <a:lnTo>
                  <a:pt x="7" y="22"/>
                </a:lnTo>
                <a:lnTo>
                  <a:pt x="7" y="27"/>
                </a:lnTo>
                <a:lnTo>
                  <a:pt x="2" y="29"/>
                </a:lnTo>
                <a:lnTo>
                  <a:pt x="2" y="29"/>
                </a:lnTo>
                <a:lnTo>
                  <a:pt x="2" y="32"/>
                </a:lnTo>
                <a:lnTo>
                  <a:pt x="2" y="32"/>
                </a:lnTo>
                <a:lnTo>
                  <a:pt x="0" y="39"/>
                </a:lnTo>
                <a:lnTo>
                  <a:pt x="2" y="42"/>
                </a:lnTo>
                <a:lnTo>
                  <a:pt x="2" y="42"/>
                </a:lnTo>
                <a:lnTo>
                  <a:pt x="10" y="44"/>
                </a:lnTo>
                <a:lnTo>
                  <a:pt x="15" y="47"/>
                </a:lnTo>
                <a:lnTo>
                  <a:pt x="15" y="47"/>
                </a:lnTo>
                <a:lnTo>
                  <a:pt x="12" y="44"/>
                </a:lnTo>
                <a:lnTo>
                  <a:pt x="12" y="44"/>
                </a:lnTo>
                <a:lnTo>
                  <a:pt x="17" y="44"/>
                </a:lnTo>
                <a:lnTo>
                  <a:pt x="20" y="47"/>
                </a:lnTo>
                <a:lnTo>
                  <a:pt x="20" y="49"/>
                </a:lnTo>
                <a:lnTo>
                  <a:pt x="27" y="49"/>
                </a:lnTo>
                <a:lnTo>
                  <a:pt x="29" y="47"/>
                </a:lnTo>
                <a:lnTo>
                  <a:pt x="29" y="44"/>
                </a:lnTo>
                <a:lnTo>
                  <a:pt x="29" y="44"/>
                </a:lnTo>
                <a:lnTo>
                  <a:pt x="32" y="44"/>
                </a:lnTo>
                <a:lnTo>
                  <a:pt x="32" y="47"/>
                </a:lnTo>
                <a:lnTo>
                  <a:pt x="32" y="47"/>
                </a:lnTo>
                <a:lnTo>
                  <a:pt x="34" y="44"/>
                </a:lnTo>
                <a:lnTo>
                  <a:pt x="34" y="47"/>
                </a:lnTo>
                <a:lnTo>
                  <a:pt x="34" y="47"/>
                </a:lnTo>
                <a:lnTo>
                  <a:pt x="37" y="49"/>
                </a:lnTo>
                <a:lnTo>
                  <a:pt x="37" y="49"/>
                </a:lnTo>
                <a:lnTo>
                  <a:pt x="37" y="49"/>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5" name="Freeform 184"/>
          <p:cNvSpPr>
            <a:spLocks/>
          </p:cNvSpPr>
          <p:nvPr/>
        </p:nvSpPr>
        <p:spPr bwMode="auto">
          <a:xfrm>
            <a:off x="2508199" y="4100696"/>
            <a:ext cx="58715" cy="33793"/>
          </a:xfrm>
          <a:custGeom>
            <a:avLst/>
            <a:gdLst/>
            <a:ahLst/>
            <a:cxnLst>
              <a:cxn ang="0">
                <a:pos x="12" y="0"/>
              </a:cxn>
              <a:cxn ang="0">
                <a:pos x="14" y="0"/>
              </a:cxn>
              <a:cxn ang="0">
                <a:pos x="17" y="0"/>
              </a:cxn>
              <a:cxn ang="0">
                <a:pos x="17" y="2"/>
              </a:cxn>
              <a:cxn ang="0">
                <a:pos x="19" y="2"/>
              </a:cxn>
              <a:cxn ang="0">
                <a:pos x="22" y="2"/>
              </a:cxn>
              <a:cxn ang="0">
                <a:pos x="24" y="2"/>
              </a:cxn>
              <a:cxn ang="0">
                <a:pos x="27" y="5"/>
              </a:cxn>
              <a:cxn ang="0">
                <a:pos x="27" y="7"/>
              </a:cxn>
              <a:cxn ang="0">
                <a:pos x="29" y="10"/>
              </a:cxn>
              <a:cxn ang="0">
                <a:pos x="29" y="7"/>
              </a:cxn>
              <a:cxn ang="0">
                <a:pos x="32" y="5"/>
              </a:cxn>
              <a:cxn ang="0">
                <a:pos x="34" y="5"/>
              </a:cxn>
              <a:cxn ang="0">
                <a:pos x="34" y="5"/>
              </a:cxn>
              <a:cxn ang="0">
                <a:pos x="36" y="7"/>
              </a:cxn>
              <a:cxn ang="0">
                <a:pos x="36" y="10"/>
              </a:cxn>
              <a:cxn ang="0">
                <a:pos x="36" y="12"/>
              </a:cxn>
              <a:cxn ang="0">
                <a:pos x="36" y="12"/>
              </a:cxn>
              <a:cxn ang="0">
                <a:pos x="36" y="15"/>
              </a:cxn>
              <a:cxn ang="0">
                <a:pos x="36" y="17"/>
              </a:cxn>
              <a:cxn ang="0">
                <a:pos x="36" y="17"/>
              </a:cxn>
              <a:cxn ang="0">
                <a:pos x="36" y="20"/>
              </a:cxn>
              <a:cxn ang="0">
                <a:pos x="34" y="22"/>
              </a:cxn>
              <a:cxn ang="0">
                <a:pos x="27" y="22"/>
              </a:cxn>
              <a:cxn ang="0">
                <a:pos x="27" y="20"/>
              </a:cxn>
              <a:cxn ang="0">
                <a:pos x="24" y="17"/>
              </a:cxn>
              <a:cxn ang="0">
                <a:pos x="19" y="17"/>
              </a:cxn>
              <a:cxn ang="0">
                <a:pos x="19" y="17"/>
              </a:cxn>
              <a:cxn ang="0">
                <a:pos x="22" y="20"/>
              </a:cxn>
              <a:cxn ang="0">
                <a:pos x="22" y="20"/>
              </a:cxn>
              <a:cxn ang="0">
                <a:pos x="17" y="17"/>
              </a:cxn>
              <a:cxn ang="0">
                <a:pos x="9" y="15"/>
              </a:cxn>
              <a:cxn ang="0">
                <a:pos x="9" y="15"/>
              </a:cxn>
              <a:cxn ang="0">
                <a:pos x="4" y="15"/>
              </a:cxn>
              <a:cxn ang="0">
                <a:pos x="2" y="12"/>
              </a:cxn>
              <a:cxn ang="0">
                <a:pos x="0" y="12"/>
              </a:cxn>
              <a:cxn ang="0">
                <a:pos x="0" y="12"/>
              </a:cxn>
              <a:cxn ang="0">
                <a:pos x="0" y="10"/>
              </a:cxn>
              <a:cxn ang="0">
                <a:pos x="0" y="10"/>
              </a:cxn>
              <a:cxn ang="0">
                <a:pos x="2" y="5"/>
              </a:cxn>
              <a:cxn ang="0">
                <a:pos x="7" y="5"/>
              </a:cxn>
              <a:cxn ang="0">
                <a:pos x="9" y="5"/>
              </a:cxn>
              <a:cxn ang="0">
                <a:pos x="9" y="2"/>
              </a:cxn>
              <a:cxn ang="0">
                <a:pos x="12" y="0"/>
              </a:cxn>
              <a:cxn ang="0">
                <a:pos x="12" y="0"/>
              </a:cxn>
            </a:cxnLst>
            <a:rect l="0" t="0" r="r" b="b"/>
            <a:pathLst>
              <a:path w="36" h="22">
                <a:moveTo>
                  <a:pt x="12" y="0"/>
                </a:moveTo>
                <a:lnTo>
                  <a:pt x="14" y="0"/>
                </a:lnTo>
                <a:lnTo>
                  <a:pt x="17" y="0"/>
                </a:lnTo>
                <a:lnTo>
                  <a:pt x="17" y="2"/>
                </a:lnTo>
                <a:lnTo>
                  <a:pt x="19" y="2"/>
                </a:lnTo>
                <a:lnTo>
                  <a:pt x="22" y="2"/>
                </a:lnTo>
                <a:lnTo>
                  <a:pt x="24" y="2"/>
                </a:lnTo>
                <a:lnTo>
                  <a:pt x="27" y="5"/>
                </a:lnTo>
                <a:lnTo>
                  <a:pt x="27" y="7"/>
                </a:lnTo>
                <a:lnTo>
                  <a:pt x="29" y="10"/>
                </a:lnTo>
                <a:lnTo>
                  <a:pt x="29" y="7"/>
                </a:lnTo>
                <a:lnTo>
                  <a:pt x="32" y="5"/>
                </a:lnTo>
                <a:lnTo>
                  <a:pt x="34" y="5"/>
                </a:lnTo>
                <a:lnTo>
                  <a:pt x="34" y="5"/>
                </a:lnTo>
                <a:lnTo>
                  <a:pt x="36" y="7"/>
                </a:lnTo>
                <a:lnTo>
                  <a:pt x="36" y="10"/>
                </a:lnTo>
                <a:lnTo>
                  <a:pt x="36" y="12"/>
                </a:lnTo>
                <a:lnTo>
                  <a:pt x="36" y="12"/>
                </a:lnTo>
                <a:lnTo>
                  <a:pt x="36" y="15"/>
                </a:lnTo>
                <a:lnTo>
                  <a:pt x="36" y="17"/>
                </a:lnTo>
                <a:lnTo>
                  <a:pt x="36" y="17"/>
                </a:lnTo>
                <a:lnTo>
                  <a:pt x="36" y="20"/>
                </a:lnTo>
                <a:lnTo>
                  <a:pt x="34" y="22"/>
                </a:lnTo>
                <a:lnTo>
                  <a:pt x="27" y="22"/>
                </a:lnTo>
                <a:lnTo>
                  <a:pt x="27" y="20"/>
                </a:lnTo>
                <a:lnTo>
                  <a:pt x="24" y="17"/>
                </a:lnTo>
                <a:lnTo>
                  <a:pt x="19" y="17"/>
                </a:lnTo>
                <a:lnTo>
                  <a:pt x="19" y="17"/>
                </a:lnTo>
                <a:lnTo>
                  <a:pt x="22" y="20"/>
                </a:lnTo>
                <a:lnTo>
                  <a:pt x="22" y="20"/>
                </a:lnTo>
                <a:lnTo>
                  <a:pt x="17" y="17"/>
                </a:lnTo>
                <a:lnTo>
                  <a:pt x="9" y="15"/>
                </a:lnTo>
                <a:lnTo>
                  <a:pt x="9" y="15"/>
                </a:lnTo>
                <a:lnTo>
                  <a:pt x="4" y="15"/>
                </a:lnTo>
                <a:lnTo>
                  <a:pt x="2" y="12"/>
                </a:lnTo>
                <a:lnTo>
                  <a:pt x="0" y="12"/>
                </a:lnTo>
                <a:lnTo>
                  <a:pt x="0" y="12"/>
                </a:lnTo>
                <a:lnTo>
                  <a:pt x="0" y="10"/>
                </a:lnTo>
                <a:lnTo>
                  <a:pt x="0" y="10"/>
                </a:lnTo>
                <a:lnTo>
                  <a:pt x="2" y="5"/>
                </a:lnTo>
                <a:lnTo>
                  <a:pt x="7" y="5"/>
                </a:lnTo>
                <a:lnTo>
                  <a:pt x="9" y="5"/>
                </a:lnTo>
                <a:lnTo>
                  <a:pt x="9" y="2"/>
                </a:lnTo>
                <a:lnTo>
                  <a:pt x="12" y="0"/>
                </a:lnTo>
                <a:lnTo>
                  <a:pt x="12"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6" name="Freeform 185"/>
          <p:cNvSpPr>
            <a:spLocks/>
          </p:cNvSpPr>
          <p:nvPr/>
        </p:nvSpPr>
        <p:spPr bwMode="auto">
          <a:xfrm>
            <a:off x="2535924" y="4002389"/>
            <a:ext cx="27727" cy="59906"/>
          </a:xfrm>
          <a:custGeom>
            <a:avLst/>
            <a:gdLst/>
            <a:ahLst/>
            <a:cxnLst>
              <a:cxn ang="0">
                <a:pos x="0" y="10"/>
              </a:cxn>
              <a:cxn ang="0">
                <a:pos x="0" y="10"/>
              </a:cxn>
              <a:cxn ang="0">
                <a:pos x="0" y="7"/>
              </a:cxn>
              <a:cxn ang="0">
                <a:pos x="2" y="7"/>
              </a:cxn>
              <a:cxn ang="0">
                <a:pos x="2" y="7"/>
              </a:cxn>
              <a:cxn ang="0">
                <a:pos x="2" y="7"/>
              </a:cxn>
              <a:cxn ang="0">
                <a:pos x="5" y="7"/>
              </a:cxn>
              <a:cxn ang="0">
                <a:pos x="5" y="7"/>
              </a:cxn>
              <a:cxn ang="0">
                <a:pos x="5" y="7"/>
              </a:cxn>
              <a:cxn ang="0">
                <a:pos x="7" y="7"/>
              </a:cxn>
              <a:cxn ang="0">
                <a:pos x="7" y="5"/>
              </a:cxn>
              <a:cxn ang="0">
                <a:pos x="10" y="2"/>
              </a:cxn>
              <a:cxn ang="0">
                <a:pos x="10" y="0"/>
              </a:cxn>
              <a:cxn ang="0">
                <a:pos x="12" y="0"/>
              </a:cxn>
              <a:cxn ang="0">
                <a:pos x="12" y="0"/>
              </a:cxn>
              <a:cxn ang="0">
                <a:pos x="12" y="0"/>
              </a:cxn>
              <a:cxn ang="0">
                <a:pos x="15" y="0"/>
              </a:cxn>
              <a:cxn ang="0">
                <a:pos x="17" y="0"/>
              </a:cxn>
              <a:cxn ang="0">
                <a:pos x="17" y="2"/>
              </a:cxn>
              <a:cxn ang="0">
                <a:pos x="17" y="2"/>
              </a:cxn>
              <a:cxn ang="0">
                <a:pos x="17" y="10"/>
              </a:cxn>
              <a:cxn ang="0">
                <a:pos x="15" y="12"/>
              </a:cxn>
              <a:cxn ang="0">
                <a:pos x="15" y="17"/>
              </a:cxn>
              <a:cxn ang="0">
                <a:pos x="15" y="20"/>
              </a:cxn>
              <a:cxn ang="0">
                <a:pos x="15" y="24"/>
              </a:cxn>
              <a:cxn ang="0">
                <a:pos x="15" y="29"/>
              </a:cxn>
              <a:cxn ang="0">
                <a:pos x="10" y="34"/>
              </a:cxn>
              <a:cxn ang="0">
                <a:pos x="7" y="34"/>
              </a:cxn>
              <a:cxn ang="0">
                <a:pos x="5" y="37"/>
              </a:cxn>
              <a:cxn ang="0">
                <a:pos x="5" y="39"/>
              </a:cxn>
              <a:cxn ang="0">
                <a:pos x="5" y="39"/>
              </a:cxn>
              <a:cxn ang="0">
                <a:pos x="2" y="39"/>
              </a:cxn>
              <a:cxn ang="0">
                <a:pos x="0" y="39"/>
              </a:cxn>
              <a:cxn ang="0">
                <a:pos x="0" y="39"/>
              </a:cxn>
              <a:cxn ang="0">
                <a:pos x="0" y="10"/>
              </a:cxn>
              <a:cxn ang="0">
                <a:pos x="0" y="10"/>
              </a:cxn>
              <a:cxn ang="0">
                <a:pos x="0" y="10"/>
              </a:cxn>
            </a:cxnLst>
            <a:rect l="0" t="0" r="r" b="b"/>
            <a:pathLst>
              <a:path w="17" h="39">
                <a:moveTo>
                  <a:pt x="0" y="10"/>
                </a:moveTo>
                <a:lnTo>
                  <a:pt x="0" y="10"/>
                </a:lnTo>
                <a:lnTo>
                  <a:pt x="0" y="7"/>
                </a:lnTo>
                <a:lnTo>
                  <a:pt x="2" y="7"/>
                </a:lnTo>
                <a:lnTo>
                  <a:pt x="2" y="7"/>
                </a:lnTo>
                <a:lnTo>
                  <a:pt x="2" y="7"/>
                </a:lnTo>
                <a:lnTo>
                  <a:pt x="5" y="7"/>
                </a:lnTo>
                <a:lnTo>
                  <a:pt x="5" y="7"/>
                </a:lnTo>
                <a:lnTo>
                  <a:pt x="5" y="7"/>
                </a:lnTo>
                <a:lnTo>
                  <a:pt x="7" y="7"/>
                </a:lnTo>
                <a:lnTo>
                  <a:pt x="7" y="5"/>
                </a:lnTo>
                <a:lnTo>
                  <a:pt x="10" y="2"/>
                </a:lnTo>
                <a:lnTo>
                  <a:pt x="10" y="0"/>
                </a:lnTo>
                <a:lnTo>
                  <a:pt x="12" y="0"/>
                </a:lnTo>
                <a:lnTo>
                  <a:pt x="12" y="0"/>
                </a:lnTo>
                <a:lnTo>
                  <a:pt x="12" y="0"/>
                </a:lnTo>
                <a:lnTo>
                  <a:pt x="15" y="0"/>
                </a:lnTo>
                <a:lnTo>
                  <a:pt x="17" y="0"/>
                </a:lnTo>
                <a:lnTo>
                  <a:pt x="17" y="2"/>
                </a:lnTo>
                <a:lnTo>
                  <a:pt x="17" y="2"/>
                </a:lnTo>
                <a:lnTo>
                  <a:pt x="17" y="10"/>
                </a:lnTo>
                <a:lnTo>
                  <a:pt x="15" y="12"/>
                </a:lnTo>
                <a:lnTo>
                  <a:pt x="15" y="17"/>
                </a:lnTo>
                <a:lnTo>
                  <a:pt x="15" y="20"/>
                </a:lnTo>
                <a:lnTo>
                  <a:pt x="15" y="24"/>
                </a:lnTo>
                <a:lnTo>
                  <a:pt x="15" y="29"/>
                </a:lnTo>
                <a:lnTo>
                  <a:pt x="10" y="34"/>
                </a:lnTo>
                <a:lnTo>
                  <a:pt x="7" y="34"/>
                </a:lnTo>
                <a:lnTo>
                  <a:pt x="5" y="37"/>
                </a:lnTo>
                <a:lnTo>
                  <a:pt x="5" y="39"/>
                </a:lnTo>
                <a:lnTo>
                  <a:pt x="5" y="39"/>
                </a:lnTo>
                <a:lnTo>
                  <a:pt x="2" y="39"/>
                </a:lnTo>
                <a:lnTo>
                  <a:pt x="0" y="39"/>
                </a:lnTo>
                <a:lnTo>
                  <a:pt x="0" y="39"/>
                </a:lnTo>
                <a:lnTo>
                  <a:pt x="0" y="10"/>
                </a:lnTo>
                <a:lnTo>
                  <a:pt x="0" y="10"/>
                </a:lnTo>
                <a:lnTo>
                  <a:pt x="0" y="1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7" name="Freeform 186"/>
          <p:cNvSpPr>
            <a:spLocks/>
          </p:cNvSpPr>
          <p:nvPr/>
        </p:nvSpPr>
        <p:spPr bwMode="auto">
          <a:xfrm>
            <a:off x="2456008" y="4017751"/>
            <a:ext cx="104381" cy="101379"/>
          </a:xfrm>
          <a:custGeom>
            <a:avLst/>
            <a:gdLst/>
            <a:ahLst/>
            <a:cxnLst>
              <a:cxn ang="0">
                <a:pos x="32" y="66"/>
              </a:cxn>
              <a:cxn ang="0">
                <a:pos x="32" y="64"/>
              </a:cxn>
              <a:cxn ang="0">
                <a:pos x="32" y="64"/>
              </a:cxn>
              <a:cxn ang="0">
                <a:pos x="34" y="59"/>
              </a:cxn>
              <a:cxn ang="0">
                <a:pos x="39" y="59"/>
              </a:cxn>
              <a:cxn ang="0">
                <a:pos x="41" y="59"/>
              </a:cxn>
              <a:cxn ang="0">
                <a:pos x="41" y="56"/>
              </a:cxn>
              <a:cxn ang="0">
                <a:pos x="46" y="54"/>
              </a:cxn>
              <a:cxn ang="0">
                <a:pos x="46" y="49"/>
              </a:cxn>
              <a:cxn ang="0">
                <a:pos x="46" y="46"/>
              </a:cxn>
              <a:cxn ang="0">
                <a:pos x="49" y="44"/>
              </a:cxn>
              <a:cxn ang="0">
                <a:pos x="54" y="39"/>
              </a:cxn>
              <a:cxn ang="0">
                <a:pos x="56" y="39"/>
              </a:cxn>
              <a:cxn ang="0">
                <a:pos x="59" y="37"/>
              </a:cxn>
              <a:cxn ang="0">
                <a:pos x="61" y="34"/>
              </a:cxn>
              <a:cxn ang="0">
                <a:pos x="64" y="34"/>
              </a:cxn>
              <a:cxn ang="0">
                <a:pos x="64" y="32"/>
              </a:cxn>
              <a:cxn ang="0">
                <a:pos x="61" y="32"/>
              </a:cxn>
              <a:cxn ang="0">
                <a:pos x="59" y="32"/>
              </a:cxn>
              <a:cxn ang="0">
                <a:pos x="59" y="32"/>
              </a:cxn>
              <a:cxn ang="0">
                <a:pos x="56" y="32"/>
              </a:cxn>
              <a:cxn ang="0">
                <a:pos x="54" y="32"/>
              </a:cxn>
              <a:cxn ang="0">
                <a:pos x="54" y="29"/>
              </a:cxn>
              <a:cxn ang="0">
                <a:pos x="51" y="29"/>
              </a:cxn>
              <a:cxn ang="0">
                <a:pos x="49" y="29"/>
              </a:cxn>
              <a:cxn ang="0">
                <a:pos x="49" y="29"/>
              </a:cxn>
              <a:cxn ang="0">
                <a:pos x="49" y="0"/>
              </a:cxn>
              <a:cxn ang="0">
                <a:pos x="49" y="0"/>
              </a:cxn>
              <a:cxn ang="0">
                <a:pos x="22" y="0"/>
              </a:cxn>
              <a:cxn ang="0">
                <a:pos x="22" y="7"/>
              </a:cxn>
              <a:cxn ang="0">
                <a:pos x="14" y="7"/>
              </a:cxn>
              <a:cxn ang="0">
                <a:pos x="17" y="10"/>
              </a:cxn>
              <a:cxn ang="0">
                <a:pos x="17" y="12"/>
              </a:cxn>
              <a:cxn ang="0">
                <a:pos x="19" y="14"/>
              </a:cxn>
              <a:cxn ang="0">
                <a:pos x="22" y="17"/>
              </a:cxn>
              <a:cxn ang="0">
                <a:pos x="24" y="17"/>
              </a:cxn>
              <a:cxn ang="0">
                <a:pos x="24" y="19"/>
              </a:cxn>
              <a:cxn ang="0">
                <a:pos x="27" y="19"/>
              </a:cxn>
              <a:cxn ang="0">
                <a:pos x="27" y="22"/>
              </a:cxn>
              <a:cxn ang="0">
                <a:pos x="29" y="22"/>
              </a:cxn>
              <a:cxn ang="0">
                <a:pos x="32" y="22"/>
              </a:cxn>
              <a:cxn ang="0">
                <a:pos x="32" y="24"/>
              </a:cxn>
              <a:cxn ang="0">
                <a:pos x="29" y="27"/>
              </a:cxn>
              <a:cxn ang="0">
                <a:pos x="9" y="27"/>
              </a:cxn>
              <a:cxn ang="0">
                <a:pos x="0" y="42"/>
              </a:cxn>
              <a:cxn ang="0">
                <a:pos x="0" y="44"/>
              </a:cxn>
              <a:cxn ang="0">
                <a:pos x="2" y="44"/>
              </a:cxn>
              <a:cxn ang="0">
                <a:pos x="0" y="46"/>
              </a:cxn>
              <a:cxn ang="0">
                <a:pos x="2" y="46"/>
              </a:cxn>
              <a:cxn ang="0">
                <a:pos x="2" y="49"/>
              </a:cxn>
              <a:cxn ang="0">
                <a:pos x="2" y="49"/>
              </a:cxn>
              <a:cxn ang="0">
                <a:pos x="0" y="51"/>
              </a:cxn>
              <a:cxn ang="0">
                <a:pos x="0" y="51"/>
              </a:cxn>
              <a:cxn ang="0">
                <a:pos x="0" y="51"/>
              </a:cxn>
              <a:cxn ang="0">
                <a:pos x="2" y="56"/>
              </a:cxn>
              <a:cxn ang="0">
                <a:pos x="4" y="59"/>
              </a:cxn>
              <a:cxn ang="0">
                <a:pos x="7" y="59"/>
              </a:cxn>
              <a:cxn ang="0">
                <a:pos x="7" y="61"/>
              </a:cxn>
              <a:cxn ang="0">
                <a:pos x="17" y="64"/>
              </a:cxn>
              <a:cxn ang="0">
                <a:pos x="22" y="64"/>
              </a:cxn>
              <a:cxn ang="0">
                <a:pos x="24" y="64"/>
              </a:cxn>
              <a:cxn ang="0">
                <a:pos x="32" y="66"/>
              </a:cxn>
              <a:cxn ang="0">
                <a:pos x="32" y="66"/>
              </a:cxn>
            </a:cxnLst>
            <a:rect l="0" t="0" r="r" b="b"/>
            <a:pathLst>
              <a:path w="64" h="66">
                <a:moveTo>
                  <a:pt x="32" y="66"/>
                </a:moveTo>
                <a:lnTo>
                  <a:pt x="32" y="64"/>
                </a:lnTo>
                <a:lnTo>
                  <a:pt x="32" y="64"/>
                </a:lnTo>
                <a:lnTo>
                  <a:pt x="34" y="59"/>
                </a:lnTo>
                <a:lnTo>
                  <a:pt x="39" y="59"/>
                </a:lnTo>
                <a:lnTo>
                  <a:pt x="41" y="59"/>
                </a:lnTo>
                <a:lnTo>
                  <a:pt x="41" y="56"/>
                </a:lnTo>
                <a:lnTo>
                  <a:pt x="46" y="54"/>
                </a:lnTo>
                <a:lnTo>
                  <a:pt x="46" y="49"/>
                </a:lnTo>
                <a:lnTo>
                  <a:pt x="46" y="46"/>
                </a:lnTo>
                <a:lnTo>
                  <a:pt x="49" y="44"/>
                </a:lnTo>
                <a:lnTo>
                  <a:pt x="54" y="39"/>
                </a:lnTo>
                <a:lnTo>
                  <a:pt x="56" y="39"/>
                </a:lnTo>
                <a:lnTo>
                  <a:pt x="59" y="37"/>
                </a:lnTo>
                <a:lnTo>
                  <a:pt x="61" y="34"/>
                </a:lnTo>
                <a:lnTo>
                  <a:pt x="64" y="34"/>
                </a:lnTo>
                <a:lnTo>
                  <a:pt x="64" y="32"/>
                </a:lnTo>
                <a:lnTo>
                  <a:pt x="61" y="32"/>
                </a:lnTo>
                <a:lnTo>
                  <a:pt x="59" y="32"/>
                </a:lnTo>
                <a:lnTo>
                  <a:pt x="59" y="32"/>
                </a:lnTo>
                <a:lnTo>
                  <a:pt x="56" y="32"/>
                </a:lnTo>
                <a:lnTo>
                  <a:pt x="54" y="32"/>
                </a:lnTo>
                <a:lnTo>
                  <a:pt x="54" y="29"/>
                </a:lnTo>
                <a:lnTo>
                  <a:pt x="51" y="29"/>
                </a:lnTo>
                <a:lnTo>
                  <a:pt x="49" y="29"/>
                </a:lnTo>
                <a:lnTo>
                  <a:pt x="49" y="29"/>
                </a:lnTo>
                <a:lnTo>
                  <a:pt x="49" y="0"/>
                </a:lnTo>
                <a:lnTo>
                  <a:pt x="49" y="0"/>
                </a:lnTo>
                <a:lnTo>
                  <a:pt x="22" y="0"/>
                </a:lnTo>
                <a:lnTo>
                  <a:pt x="22" y="7"/>
                </a:lnTo>
                <a:lnTo>
                  <a:pt x="14" y="7"/>
                </a:lnTo>
                <a:lnTo>
                  <a:pt x="17" y="10"/>
                </a:lnTo>
                <a:lnTo>
                  <a:pt x="17" y="12"/>
                </a:lnTo>
                <a:lnTo>
                  <a:pt x="19" y="14"/>
                </a:lnTo>
                <a:lnTo>
                  <a:pt x="22" y="17"/>
                </a:lnTo>
                <a:lnTo>
                  <a:pt x="24" y="17"/>
                </a:lnTo>
                <a:lnTo>
                  <a:pt x="24" y="19"/>
                </a:lnTo>
                <a:lnTo>
                  <a:pt x="27" y="19"/>
                </a:lnTo>
                <a:lnTo>
                  <a:pt x="27" y="22"/>
                </a:lnTo>
                <a:lnTo>
                  <a:pt x="29" y="22"/>
                </a:lnTo>
                <a:lnTo>
                  <a:pt x="32" y="22"/>
                </a:lnTo>
                <a:lnTo>
                  <a:pt x="32" y="24"/>
                </a:lnTo>
                <a:lnTo>
                  <a:pt x="29" y="27"/>
                </a:lnTo>
                <a:lnTo>
                  <a:pt x="9" y="27"/>
                </a:lnTo>
                <a:lnTo>
                  <a:pt x="0" y="42"/>
                </a:lnTo>
                <a:lnTo>
                  <a:pt x="0" y="44"/>
                </a:lnTo>
                <a:lnTo>
                  <a:pt x="2" y="44"/>
                </a:lnTo>
                <a:lnTo>
                  <a:pt x="0" y="46"/>
                </a:lnTo>
                <a:lnTo>
                  <a:pt x="2" y="46"/>
                </a:lnTo>
                <a:lnTo>
                  <a:pt x="2" y="49"/>
                </a:lnTo>
                <a:lnTo>
                  <a:pt x="2" y="49"/>
                </a:lnTo>
                <a:lnTo>
                  <a:pt x="0" y="51"/>
                </a:lnTo>
                <a:lnTo>
                  <a:pt x="0" y="51"/>
                </a:lnTo>
                <a:lnTo>
                  <a:pt x="0" y="51"/>
                </a:lnTo>
                <a:lnTo>
                  <a:pt x="2" y="56"/>
                </a:lnTo>
                <a:lnTo>
                  <a:pt x="4" y="59"/>
                </a:lnTo>
                <a:lnTo>
                  <a:pt x="7" y="59"/>
                </a:lnTo>
                <a:lnTo>
                  <a:pt x="7" y="61"/>
                </a:lnTo>
                <a:lnTo>
                  <a:pt x="17" y="64"/>
                </a:lnTo>
                <a:lnTo>
                  <a:pt x="22" y="64"/>
                </a:lnTo>
                <a:lnTo>
                  <a:pt x="24" y="64"/>
                </a:lnTo>
                <a:lnTo>
                  <a:pt x="32" y="66"/>
                </a:lnTo>
                <a:lnTo>
                  <a:pt x="32" y="6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88" name="Freeform 187"/>
          <p:cNvSpPr>
            <a:spLocks noEditPoints="1"/>
          </p:cNvSpPr>
          <p:nvPr/>
        </p:nvSpPr>
        <p:spPr bwMode="auto">
          <a:xfrm>
            <a:off x="1885173" y="3593803"/>
            <a:ext cx="722514" cy="502285"/>
          </a:xfrm>
          <a:custGeom>
            <a:avLst/>
            <a:gdLst/>
            <a:ahLst/>
            <a:cxnLst>
              <a:cxn ang="0">
                <a:pos x="167" y="32"/>
              </a:cxn>
              <a:cxn ang="0">
                <a:pos x="180" y="45"/>
              </a:cxn>
              <a:cxn ang="0">
                <a:pos x="185" y="64"/>
              </a:cxn>
              <a:cxn ang="0">
                <a:pos x="197" y="74"/>
              </a:cxn>
              <a:cxn ang="0">
                <a:pos x="212" y="72"/>
              </a:cxn>
              <a:cxn ang="0">
                <a:pos x="229" y="62"/>
              </a:cxn>
              <a:cxn ang="0">
                <a:pos x="246" y="84"/>
              </a:cxn>
              <a:cxn ang="0">
                <a:pos x="259" y="111"/>
              </a:cxn>
              <a:cxn ang="0">
                <a:pos x="276" y="133"/>
              </a:cxn>
              <a:cxn ang="0">
                <a:pos x="288" y="138"/>
              </a:cxn>
              <a:cxn ang="0">
                <a:pos x="281" y="153"/>
              </a:cxn>
              <a:cxn ang="0">
                <a:pos x="273" y="195"/>
              </a:cxn>
              <a:cxn ang="0">
                <a:pos x="278" y="219"/>
              </a:cxn>
              <a:cxn ang="0">
                <a:pos x="303" y="259"/>
              </a:cxn>
              <a:cxn ang="0">
                <a:pos x="337" y="263"/>
              </a:cxn>
              <a:cxn ang="0">
                <a:pos x="364" y="268"/>
              </a:cxn>
              <a:cxn ang="0">
                <a:pos x="379" y="244"/>
              </a:cxn>
              <a:cxn ang="0">
                <a:pos x="418" y="214"/>
              </a:cxn>
              <a:cxn ang="0">
                <a:pos x="438" y="229"/>
              </a:cxn>
              <a:cxn ang="0">
                <a:pos x="426" y="254"/>
              </a:cxn>
              <a:cxn ang="0">
                <a:pos x="418" y="259"/>
              </a:cxn>
              <a:cxn ang="0">
                <a:pos x="404" y="273"/>
              </a:cxn>
              <a:cxn ang="0">
                <a:pos x="367" y="288"/>
              </a:cxn>
              <a:cxn ang="0">
                <a:pos x="359" y="303"/>
              </a:cxn>
              <a:cxn ang="0">
                <a:pos x="347" y="325"/>
              </a:cxn>
              <a:cxn ang="0">
                <a:pos x="318" y="300"/>
              </a:cxn>
              <a:cxn ang="0">
                <a:pos x="315" y="300"/>
              </a:cxn>
              <a:cxn ang="0">
                <a:pos x="310" y="303"/>
              </a:cxn>
              <a:cxn ang="0">
                <a:pos x="259" y="300"/>
              </a:cxn>
              <a:cxn ang="0">
                <a:pos x="224" y="288"/>
              </a:cxn>
              <a:cxn ang="0">
                <a:pos x="187" y="268"/>
              </a:cxn>
              <a:cxn ang="0">
                <a:pos x="160" y="251"/>
              </a:cxn>
              <a:cxn ang="0">
                <a:pos x="153" y="229"/>
              </a:cxn>
              <a:cxn ang="0">
                <a:pos x="153" y="197"/>
              </a:cxn>
              <a:cxn ang="0">
                <a:pos x="118" y="155"/>
              </a:cxn>
              <a:cxn ang="0">
                <a:pos x="104" y="138"/>
              </a:cxn>
              <a:cxn ang="0">
                <a:pos x="104" y="121"/>
              </a:cxn>
              <a:cxn ang="0">
                <a:pos x="86" y="99"/>
              </a:cxn>
              <a:cxn ang="0">
                <a:pos x="72" y="81"/>
              </a:cxn>
              <a:cxn ang="0">
                <a:pos x="59" y="54"/>
              </a:cxn>
              <a:cxn ang="0">
                <a:pos x="52" y="27"/>
              </a:cxn>
              <a:cxn ang="0">
                <a:pos x="32" y="30"/>
              </a:cxn>
              <a:cxn ang="0">
                <a:pos x="44" y="72"/>
              </a:cxn>
              <a:cxn ang="0">
                <a:pos x="59" y="96"/>
              </a:cxn>
              <a:cxn ang="0">
                <a:pos x="69" y="113"/>
              </a:cxn>
              <a:cxn ang="0">
                <a:pos x="76" y="143"/>
              </a:cxn>
              <a:cxn ang="0">
                <a:pos x="84" y="160"/>
              </a:cxn>
              <a:cxn ang="0">
                <a:pos x="89" y="185"/>
              </a:cxn>
              <a:cxn ang="0">
                <a:pos x="67" y="158"/>
              </a:cxn>
              <a:cxn ang="0">
                <a:pos x="57" y="123"/>
              </a:cxn>
              <a:cxn ang="0">
                <a:pos x="37" y="111"/>
              </a:cxn>
              <a:cxn ang="0">
                <a:pos x="25" y="94"/>
              </a:cxn>
              <a:cxn ang="0">
                <a:pos x="35" y="86"/>
              </a:cxn>
              <a:cxn ang="0">
                <a:pos x="17" y="57"/>
              </a:cxn>
              <a:cxn ang="0">
                <a:pos x="10" y="30"/>
              </a:cxn>
              <a:cxn ang="0">
                <a:pos x="81" y="150"/>
              </a:cxn>
              <a:cxn ang="0">
                <a:pos x="84" y="158"/>
              </a:cxn>
              <a:cxn ang="0">
                <a:pos x="281" y="153"/>
              </a:cxn>
              <a:cxn ang="0">
                <a:pos x="278" y="163"/>
              </a:cxn>
            </a:cxnLst>
            <a:rect l="0" t="0" r="r" b="b"/>
            <a:pathLst>
              <a:path w="443" h="327">
                <a:moveTo>
                  <a:pt x="0" y="3"/>
                </a:moveTo>
                <a:lnTo>
                  <a:pt x="37" y="0"/>
                </a:lnTo>
                <a:lnTo>
                  <a:pt x="40" y="3"/>
                </a:lnTo>
                <a:lnTo>
                  <a:pt x="37" y="3"/>
                </a:lnTo>
                <a:lnTo>
                  <a:pt x="91" y="27"/>
                </a:lnTo>
                <a:lnTo>
                  <a:pt x="136" y="30"/>
                </a:lnTo>
                <a:lnTo>
                  <a:pt x="136" y="22"/>
                </a:lnTo>
                <a:lnTo>
                  <a:pt x="160" y="25"/>
                </a:lnTo>
                <a:lnTo>
                  <a:pt x="163" y="25"/>
                </a:lnTo>
                <a:lnTo>
                  <a:pt x="165" y="30"/>
                </a:lnTo>
                <a:lnTo>
                  <a:pt x="167" y="32"/>
                </a:lnTo>
                <a:lnTo>
                  <a:pt x="167" y="32"/>
                </a:lnTo>
                <a:lnTo>
                  <a:pt x="167" y="32"/>
                </a:lnTo>
                <a:lnTo>
                  <a:pt x="170" y="35"/>
                </a:lnTo>
                <a:lnTo>
                  <a:pt x="170" y="37"/>
                </a:lnTo>
                <a:lnTo>
                  <a:pt x="172" y="37"/>
                </a:lnTo>
                <a:lnTo>
                  <a:pt x="175" y="40"/>
                </a:lnTo>
                <a:lnTo>
                  <a:pt x="175" y="40"/>
                </a:lnTo>
                <a:lnTo>
                  <a:pt x="172" y="42"/>
                </a:lnTo>
                <a:lnTo>
                  <a:pt x="175" y="42"/>
                </a:lnTo>
                <a:lnTo>
                  <a:pt x="177" y="45"/>
                </a:lnTo>
                <a:lnTo>
                  <a:pt x="180" y="45"/>
                </a:lnTo>
                <a:lnTo>
                  <a:pt x="180" y="49"/>
                </a:lnTo>
                <a:lnTo>
                  <a:pt x="180" y="49"/>
                </a:lnTo>
                <a:lnTo>
                  <a:pt x="180" y="49"/>
                </a:lnTo>
                <a:lnTo>
                  <a:pt x="182" y="52"/>
                </a:lnTo>
                <a:lnTo>
                  <a:pt x="182" y="54"/>
                </a:lnTo>
                <a:lnTo>
                  <a:pt x="182" y="57"/>
                </a:lnTo>
                <a:lnTo>
                  <a:pt x="182" y="57"/>
                </a:lnTo>
                <a:lnTo>
                  <a:pt x="180" y="57"/>
                </a:lnTo>
                <a:lnTo>
                  <a:pt x="180" y="57"/>
                </a:lnTo>
                <a:lnTo>
                  <a:pt x="182" y="62"/>
                </a:lnTo>
                <a:lnTo>
                  <a:pt x="185" y="64"/>
                </a:lnTo>
                <a:lnTo>
                  <a:pt x="187" y="67"/>
                </a:lnTo>
                <a:lnTo>
                  <a:pt x="187" y="67"/>
                </a:lnTo>
                <a:lnTo>
                  <a:pt x="187" y="67"/>
                </a:lnTo>
                <a:lnTo>
                  <a:pt x="187" y="67"/>
                </a:lnTo>
                <a:lnTo>
                  <a:pt x="190" y="67"/>
                </a:lnTo>
                <a:lnTo>
                  <a:pt x="190" y="69"/>
                </a:lnTo>
                <a:lnTo>
                  <a:pt x="192" y="69"/>
                </a:lnTo>
                <a:lnTo>
                  <a:pt x="192" y="72"/>
                </a:lnTo>
                <a:lnTo>
                  <a:pt x="192" y="72"/>
                </a:lnTo>
                <a:lnTo>
                  <a:pt x="195" y="72"/>
                </a:lnTo>
                <a:lnTo>
                  <a:pt x="197" y="74"/>
                </a:lnTo>
                <a:lnTo>
                  <a:pt x="197" y="74"/>
                </a:lnTo>
                <a:lnTo>
                  <a:pt x="199" y="74"/>
                </a:lnTo>
                <a:lnTo>
                  <a:pt x="204" y="77"/>
                </a:lnTo>
                <a:lnTo>
                  <a:pt x="204" y="79"/>
                </a:lnTo>
                <a:lnTo>
                  <a:pt x="207" y="79"/>
                </a:lnTo>
                <a:lnTo>
                  <a:pt x="207" y="77"/>
                </a:lnTo>
                <a:lnTo>
                  <a:pt x="207" y="77"/>
                </a:lnTo>
                <a:lnTo>
                  <a:pt x="209" y="74"/>
                </a:lnTo>
                <a:lnTo>
                  <a:pt x="212" y="74"/>
                </a:lnTo>
                <a:lnTo>
                  <a:pt x="212" y="74"/>
                </a:lnTo>
                <a:lnTo>
                  <a:pt x="212" y="72"/>
                </a:lnTo>
                <a:lnTo>
                  <a:pt x="212" y="72"/>
                </a:lnTo>
                <a:lnTo>
                  <a:pt x="214" y="67"/>
                </a:lnTo>
                <a:lnTo>
                  <a:pt x="217" y="64"/>
                </a:lnTo>
                <a:lnTo>
                  <a:pt x="219" y="64"/>
                </a:lnTo>
                <a:lnTo>
                  <a:pt x="219" y="64"/>
                </a:lnTo>
                <a:lnTo>
                  <a:pt x="219" y="64"/>
                </a:lnTo>
                <a:lnTo>
                  <a:pt x="222" y="64"/>
                </a:lnTo>
                <a:lnTo>
                  <a:pt x="222" y="62"/>
                </a:lnTo>
                <a:lnTo>
                  <a:pt x="224" y="62"/>
                </a:lnTo>
                <a:lnTo>
                  <a:pt x="227" y="64"/>
                </a:lnTo>
                <a:lnTo>
                  <a:pt x="229" y="62"/>
                </a:lnTo>
                <a:lnTo>
                  <a:pt x="231" y="64"/>
                </a:lnTo>
                <a:lnTo>
                  <a:pt x="231" y="64"/>
                </a:lnTo>
                <a:lnTo>
                  <a:pt x="234" y="64"/>
                </a:lnTo>
                <a:lnTo>
                  <a:pt x="236" y="64"/>
                </a:lnTo>
                <a:lnTo>
                  <a:pt x="236" y="67"/>
                </a:lnTo>
                <a:lnTo>
                  <a:pt x="241" y="69"/>
                </a:lnTo>
                <a:lnTo>
                  <a:pt x="244" y="74"/>
                </a:lnTo>
                <a:lnTo>
                  <a:pt x="244" y="77"/>
                </a:lnTo>
                <a:lnTo>
                  <a:pt x="244" y="79"/>
                </a:lnTo>
                <a:lnTo>
                  <a:pt x="246" y="81"/>
                </a:lnTo>
                <a:lnTo>
                  <a:pt x="246" y="84"/>
                </a:lnTo>
                <a:lnTo>
                  <a:pt x="246" y="84"/>
                </a:lnTo>
                <a:lnTo>
                  <a:pt x="249" y="86"/>
                </a:lnTo>
                <a:lnTo>
                  <a:pt x="251" y="94"/>
                </a:lnTo>
                <a:lnTo>
                  <a:pt x="251" y="94"/>
                </a:lnTo>
                <a:lnTo>
                  <a:pt x="251" y="96"/>
                </a:lnTo>
                <a:lnTo>
                  <a:pt x="254" y="96"/>
                </a:lnTo>
                <a:lnTo>
                  <a:pt x="256" y="99"/>
                </a:lnTo>
                <a:lnTo>
                  <a:pt x="256" y="101"/>
                </a:lnTo>
                <a:lnTo>
                  <a:pt x="259" y="106"/>
                </a:lnTo>
                <a:lnTo>
                  <a:pt x="259" y="108"/>
                </a:lnTo>
                <a:lnTo>
                  <a:pt x="259" y="111"/>
                </a:lnTo>
                <a:lnTo>
                  <a:pt x="259" y="111"/>
                </a:lnTo>
                <a:lnTo>
                  <a:pt x="259" y="113"/>
                </a:lnTo>
                <a:lnTo>
                  <a:pt x="261" y="121"/>
                </a:lnTo>
                <a:lnTo>
                  <a:pt x="261" y="126"/>
                </a:lnTo>
                <a:lnTo>
                  <a:pt x="263" y="128"/>
                </a:lnTo>
                <a:lnTo>
                  <a:pt x="263" y="128"/>
                </a:lnTo>
                <a:lnTo>
                  <a:pt x="266" y="128"/>
                </a:lnTo>
                <a:lnTo>
                  <a:pt x="266" y="128"/>
                </a:lnTo>
                <a:lnTo>
                  <a:pt x="268" y="128"/>
                </a:lnTo>
                <a:lnTo>
                  <a:pt x="271" y="131"/>
                </a:lnTo>
                <a:lnTo>
                  <a:pt x="276" y="133"/>
                </a:lnTo>
                <a:lnTo>
                  <a:pt x="281" y="136"/>
                </a:lnTo>
                <a:lnTo>
                  <a:pt x="283" y="136"/>
                </a:lnTo>
                <a:lnTo>
                  <a:pt x="283" y="138"/>
                </a:lnTo>
                <a:lnTo>
                  <a:pt x="286" y="138"/>
                </a:lnTo>
                <a:lnTo>
                  <a:pt x="283" y="140"/>
                </a:lnTo>
                <a:lnTo>
                  <a:pt x="286" y="138"/>
                </a:lnTo>
                <a:lnTo>
                  <a:pt x="288" y="133"/>
                </a:lnTo>
                <a:lnTo>
                  <a:pt x="291" y="133"/>
                </a:lnTo>
                <a:lnTo>
                  <a:pt x="288" y="133"/>
                </a:lnTo>
                <a:lnTo>
                  <a:pt x="288" y="138"/>
                </a:lnTo>
                <a:lnTo>
                  <a:pt x="288" y="138"/>
                </a:lnTo>
                <a:lnTo>
                  <a:pt x="286" y="143"/>
                </a:lnTo>
                <a:lnTo>
                  <a:pt x="283" y="145"/>
                </a:lnTo>
                <a:lnTo>
                  <a:pt x="283" y="148"/>
                </a:lnTo>
                <a:lnTo>
                  <a:pt x="283" y="148"/>
                </a:lnTo>
                <a:lnTo>
                  <a:pt x="283" y="148"/>
                </a:lnTo>
                <a:lnTo>
                  <a:pt x="283" y="145"/>
                </a:lnTo>
                <a:lnTo>
                  <a:pt x="281" y="143"/>
                </a:lnTo>
                <a:lnTo>
                  <a:pt x="281" y="148"/>
                </a:lnTo>
                <a:lnTo>
                  <a:pt x="278" y="150"/>
                </a:lnTo>
                <a:lnTo>
                  <a:pt x="281" y="153"/>
                </a:lnTo>
                <a:lnTo>
                  <a:pt x="281" y="153"/>
                </a:lnTo>
                <a:lnTo>
                  <a:pt x="278" y="158"/>
                </a:lnTo>
                <a:lnTo>
                  <a:pt x="278" y="160"/>
                </a:lnTo>
                <a:lnTo>
                  <a:pt x="278" y="163"/>
                </a:lnTo>
                <a:lnTo>
                  <a:pt x="278" y="165"/>
                </a:lnTo>
                <a:lnTo>
                  <a:pt x="278" y="168"/>
                </a:lnTo>
                <a:lnTo>
                  <a:pt x="278" y="170"/>
                </a:lnTo>
                <a:lnTo>
                  <a:pt x="276" y="177"/>
                </a:lnTo>
                <a:lnTo>
                  <a:pt x="276" y="182"/>
                </a:lnTo>
                <a:lnTo>
                  <a:pt x="276" y="190"/>
                </a:lnTo>
                <a:lnTo>
                  <a:pt x="273" y="192"/>
                </a:lnTo>
                <a:lnTo>
                  <a:pt x="273" y="195"/>
                </a:lnTo>
                <a:lnTo>
                  <a:pt x="276" y="199"/>
                </a:lnTo>
                <a:lnTo>
                  <a:pt x="273" y="204"/>
                </a:lnTo>
                <a:lnTo>
                  <a:pt x="278" y="209"/>
                </a:lnTo>
                <a:lnTo>
                  <a:pt x="278" y="214"/>
                </a:lnTo>
                <a:lnTo>
                  <a:pt x="278" y="214"/>
                </a:lnTo>
                <a:lnTo>
                  <a:pt x="278" y="209"/>
                </a:lnTo>
                <a:lnTo>
                  <a:pt x="273" y="204"/>
                </a:lnTo>
                <a:lnTo>
                  <a:pt x="273" y="209"/>
                </a:lnTo>
                <a:lnTo>
                  <a:pt x="276" y="212"/>
                </a:lnTo>
                <a:lnTo>
                  <a:pt x="278" y="217"/>
                </a:lnTo>
                <a:lnTo>
                  <a:pt x="278" y="219"/>
                </a:lnTo>
                <a:lnTo>
                  <a:pt x="278" y="222"/>
                </a:lnTo>
                <a:lnTo>
                  <a:pt x="278" y="224"/>
                </a:lnTo>
                <a:lnTo>
                  <a:pt x="281" y="227"/>
                </a:lnTo>
                <a:lnTo>
                  <a:pt x="288" y="236"/>
                </a:lnTo>
                <a:lnTo>
                  <a:pt x="291" y="239"/>
                </a:lnTo>
                <a:lnTo>
                  <a:pt x="293" y="244"/>
                </a:lnTo>
                <a:lnTo>
                  <a:pt x="293" y="246"/>
                </a:lnTo>
                <a:lnTo>
                  <a:pt x="293" y="249"/>
                </a:lnTo>
                <a:lnTo>
                  <a:pt x="300" y="256"/>
                </a:lnTo>
                <a:lnTo>
                  <a:pt x="300" y="259"/>
                </a:lnTo>
                <a:lnTo>
                  <a:pt x="303" y="259"/>
                </a:lnTo>
                <a:lnTo>
                  <a:pt x="308" y="259"/>
                </a:lnTo>
                <a:lnTo>
                  <a:pt x="308" y="259"/>
                </a:lnTo>
                <a:lnTo>
                  <a:pt x="313" y="261"/>
                </a:lnTo>
                <a:lnTo>
                  <a:pt x="315" y="266"/>
                </a:lnTo>
                <a:lnTo>
                  <a:pt x="318" y="271"/>
                </a:lnTo>
                <a:lnTo>
                  <a:pt x="320" y="268"/>
                </a:lnTo>
                <a:lnTo>
                  <a:pt x="325" y="268"/>
                </a:lnTo>
                <a:lnTo>
                  <a:pt x="327" y="268"/>
                </a:lnTo>
                <a:lnTo>
                  <a:pt x="330" y="268"/>
                </a:lnTo>
                <a:lnTo>
                  <a:pt x="335" y="266"/>
                </a:lnTo>
                <a:lnTo>
                  <a:pt x="337" y="263"/>
                </a:lnTo>
                <a:lnTo>
                  <a:pt x="342" y="263"/>
                </a:lnTo>
                <a:lnTo>
                  <a:pt x="345" y="263"/>
                </a:lnTo>
                <a:lnTo>
                  <a:pt x="350" y="261"/>
                </a:lnTo>
                <a:lnTo>
                  <a:pt x="352" y="261"/>
                </a:lnTo>
                <a:lnTo>
                  <a:pt x="357" y="261"/>
                </a:lnTo>
                <a:lnTo>
                  <a:pt x="357" y="261"/>
                </a:lnTo>
                <a:lnTo>
                  <a:pt x="362" y="261"/>
                </a:lnTo>
                <a:lnTo>
                  <a:pt x="359" y="263"/>
                </a:lnTo>
                <a:lnTo>
                  <a:pt x="357" y="266"/>
                </a:lnTo>
                <a:lnTo>
                  <a:pt x="362" y="266"/>
                </a:lnTo>
                <a:lnTo>
                  <a:pt x="364" y="268"/>
                </a:lnTo>
                <a:lnTo>
                  <a:pt x="364" y="266"/>
                </a:lnTo>
                <a:lnTo>
                  <a:pt x="367" y="266"/>
                </a:lnTo>
                <a:lnTo>
                  <a:pt x="369" y="263"/>
                </a:lnTo>
                <a:lnTo>
                  <a:pt x="369" y="259"/>
                </a:lnTo>
                <a:lnTo>
                  <a:pt x="369" y="256"/>
                </a:lnTo>
                <a:lnTo>
                  <a:pt x="367" y="259"/>
                </a:lnTo>
                <a:lnTo>
                  <a:pt x="367" y="256"/>
                </a:lnTo>
                <a:lnTo>
                  <a:pt x="372" y="254"/>
                </a:lnTo>
                <a:lnTo>
                  <a:pt x="374" y="254"/>
                </a:lnTo>
                <a:lnTo>
                  <a:pt x="379" y="249"/>
                </a:lnTo>
                <a:lnTo>
                  <a:pt x="379" y="244"/>
                </a:lnTo>
                <a:lnTo>
                  <a:pt x="384" y="239"/>
                </a:lnTo>
                <a:lnTo>
                  <a:pt x="384" y="236"/>
                </a:lnTo>
                <a:lnTo>
                  <a:pt x="384" y="227"/>
                </a:lnTo>
                <a:lnTo>
                  <a:pt x="389" y="222"/>
                </a:lnTo>
                <a:lnTo>
                  <a:pt x="386" y="222"/>
                </a:lnTo>
                <a:lnTo>
                  <a:pt x="386" y="219"/>
                </a:lnTo>
                <a:lnTo>
                  <a:pt x="396" y="217"/>
                </a:lnTo>
                <a:lnTo>
                  <a:pt x="411" y="217"/>
                </a:lnTo>
                <a:lnTo>
                  <a:pt x="414" y="212"/>
                </a:lnTo>
                <a:lnTo>
                  <a:pt x="416" y="212"/>
                </a:lnTo>
                <a:lnTo>
                  <a:pt x="418" y="214"/>
                </a:lnTo>
                <a:lnTo>
                  <a:pt x="421" y="212"/>
                </a:lnTo>
                <a:lnTo>
                  <a:pt x="421" y="209"/>
                </a:lnTo>
                <a:lnTo>
                  <a:pt x="428" y="209"/>
                </a:lnTo>
                <a:lnTo>
                  <a:pt x="433" y="212"/>
                </a:lnTo>
                <a:lnTo>
                  <a:pt x="436" y="212"/>
                </a:lnTo>
                <a:lnTo>
                  <a:pt x="436" y="209"/>
                </a:lnTo>
                <a:lnTo>
                  <a:pt x="438" y="209"/>
                </a:lnTo>
                <a:lnTo>
                  <a:pt x="443" y="214"/>
                </a:lnTo>
                <a:lnTo>
                  <a:pt x="443" y="219"/>
                </a:lnTo>
                <a:lnTo>
                  <a:pt x="441" y="222"/>
                </a:lnTo>
                <a:lnTo>
                  <a:pt x="438" y="229"/>
                </a:lnTo>
                <a:lnTo>
                  <a:pt x="431" y="234"/>
                </a:lnTo>
                <a:lnTo>
                  <a:pt x="428" y="236"/>
                </a:lnTo>
                <a:lnTo>
                  <a:pt x="428" y="241"/>
                </a:lnTo>
                <a:lnTo>
                  <a:pt x="426" y="241"/>
                </a:lnTo>
                <a:lnTo>
                  <a:pt x="426" y="244"/>
                </a:lnTo>
                <a:lnTo>
                  <a:pt x="426" y="246"/>
                </a:lnTo>
                <a:lnTo>
                  <a:pt x="428" y="246"/>
                </a:lnTo>
                <a:lnTo>
                  <a:pt x="428" y="249"/>
                </a:lnTo>
                <a:lnTo>
                  <a:pt x="426" y="251"/>
                </a:lnTo>
                <a:lnTo>
                  <a:pt x="426" y="254"/>
                </a:lnTo>
                <a:lnTo>
                  <a:pt x="426" y="254"/>
                </a:lnTo>
                <a:lnTo>
                  <a:pt x="428" y="251"/>
                </a:lnTo>
                <a:lnTo>
                  <a:pt x="431" y="251"/>
                </a:lnTo>
                <a:lnTo>
                  <a:pt x="428" y="254"/>
                </a:lnTo>
                <a:lnTo>
                  <a:pt x="426" y="263"/>
                </a:lnTo>
                <a:lnTo>
                  <a:pt x="423" y="268"/>
                </a:lnTo>
                <a:lnTo>
                  <a:pt x="421" y="268"/>
                </a:lnTo>
                <a:lnTo>
                  <a:pt x="421" y="266"/>
                </a:lnTo>
                <a:lnTo>
                  <a:pt x="418" y="263"/>
                </a:lnTo>
                <a:lnTo>
                  <a:pt x="416" y="263"/>
                </a:lnTo>
                <a:lnTo>
                  <a:pt x="418" y="261"/>
                </a:lnTo>
                <a:lnTo>
                  <a:pt x="418" y="259"/>
                </a:lnTo>
                <a:lnTo>
                  <a:pt x="416" y="259"/>
                </a:lnTo>
                <a:lnTo>
                  <a:pt x="414" y="263"/>
                </a:lnTo>
                <a:lnTo>
                  <a:pt x="411" y="266"/>
                </a:lnTo>
                <a:lnTo>
                  <a:pt x="411" y="266"/>
                </a:lnTo>
                <a:lnTo>
                  <a:pt x="411" y="266"/>
                </a:lnTo>
                <a:lnTo>
                  <a:pt x="409" y="266"/>
                </a:lnTo>
                <a:lnTo>
                  <a:pt x="409" y="268"/>
                </a:lnTo>
                <a:lnTo>
                  <a:pt x="406" y="271"/>
                </a:lnTo>
                <a:lnTo>
                  <a:pt x="406" y="273"/>
                </a:lnTo>
                <a:lnTo>
                  <a:pt x="404" y="273"/>
                </a:lnTo>
                <a:lnTo>
                  <a:pt x="404" y="273"/>
                </a:lnTo>
                <a:lnTo>
                  <a:pt x="404" y="273"/>
                </a:lnTo>
                <a:lnTo>
                  <a:pt x="401" y="273"/>
                </a:lnTo>
                <a:lnTo>
                  <a:pt x="401" y="273"/>
                </a:lnTo>
                <a:lnTo>
                  <a:pt x="401" y="273"/>
                </a:lnTo>
                <a:lnTo>
                  <a:pt x="399" y="273"/>
                </a:lnTo>
                <a:lnTo>
                  <a:pt x="399" y="276"/>
                </a:lnTo>
                <a:lnTo>
                  <a:pt x="372" y="276"/>
                </a:lnTo>
                <a:lnTo>
                  <a:pt x="372" y="283"/>
                </a:lnTo>
                <a:lnTo>
                  <a:pt x="364" y="283"/>
                </a:lnTo>
                <a:lnTo>
                  <a:pt x="367" y="286"/>
                </a:lnTo>
                <a:lnTo>
                  <a:pt x="367" y="288"/>
                </a:lnTo>
                <a:lnTo>
                  <a:pt x="369" y="290"/>
                </a:lnTo>
                <a:lnTo>
                  <a:pt x="372" y="293"/>
                </a:lnTo>
                <a:lnTo>
                  <a:pt x="374" y="293"/>
                </a:lnTo>
                <a:lnTo>
                  <a:pt x="374" y="295"/>
                </a:lnTo>
                <a:lnTo>
                  <a:pt x="377" y="295"/>
                </a:lnTo>
                <a:lnTo>
                  <a:pt x="377" y="298"/>
                </a:lnTo>
                <a:lnTo>
                  <a:pt x="379" y="298"/>
                </a:lnTo>
                <a:lnTo>
                  <a:pt x="382" y="298"/>
                </a:lnTo>
                <a:lnTo>
                  <a:pt x="382" y="300"/>
                </a:lnTo>
                <a:lnTo>
                  <a:pt x="379" y="303"/>
                </a:lnTo>
                <a:lnTo>
                  <a:pt x="359" y="303"/>
                </a:lnTo>
                <a:lnTo>
                  <a:pt x="350" y="318"/>
                </a:lnTo>
                <a:lnTo>
                  <a:pt x="350" y="320"/>
                </a:lnTo>
                <a:lnTo>
                  <a:pt x="352" y="320"/>
                </a:lnTo>
                <a:lnTo>
                  <a:pt x="350" y="322"/>
                </a:lnTo>
                <a:lnTo>
                  <a:pt x="352" y="322"/>
                </a:lnTo>
                <a:lnTo>
                  <a:pt x="352" y="325"/>
                </a:lnTo>
                <a:lnTo>
                  <a:pt x="352" y="325"/>
                </a:lnTo>
                <a:lnTo>
                  <a:pt x="350" y="327"/>
                </a:lnTo>
                <a:lnTo>
                  <a:pt x="350" y="327"/>
                </a:lnTo>
                <a:lnTo>
                  <a:pt x="350" y="327"/>
                </a:lnTo>
                <a:lnTo>
                  <a:pt x="347" y="325"/>
                </a:lnTo>
                <a:lnTo>
                  <a:pt x="342" y="322"/>
                </a:lnTo>
                <a:lnTo>
                  <a:pt x="342" y="320"/>
                </a:lnTo>
                <a:lnTo>
                  <a:pt x="340" y="320"/>
                </a:lnTo>
                <a:lnTo>
                  <a:pt x="327" y="310"/>
                </a:lnTo>
                <a:lnTo>
                  <a:pt x="327" y="308"/>
                </a:lnTo>
                <a:lnTo>
                  <a:pt x="327" y="308"/>
                </a:lnTo>
                <a:lnTo>
                  <a:pt x="325" y="303"/>
                </a:lnTo>
                <a:lnTo>
                  <a:pt x="320" y="300"/>
                </a:lnTo>
                <a:lnTo>
                  <a:pt x="318" y="300"/>
                </a:lnTo>
                <a:lnTo>
                  <a:pt x="318" y="300"/>
                </a:lnTo>
                <a:lnTo>
                  <a:pt x="318" y="300"/>
                </a:lnTo>
                <a:lnTo>
                  <a:pt x="318" y="300"/>
                </a:lnTo>
                <a:lnTo>
                  <a:pt x="322" y="303"/>
                </a:lnTo>
                <a:lnTo>
                  <a:pt x="325" y="308"/>
                </a:lnTo>
                <a:lnTo>
                  <a:pt x="325" y="308"/>
                </a:lnTo>
                <a:lnTo>
                  <a:pt x="322" y="305"/>
                </a:lnTo>
                <a:lnTo>
                  <a:pt x="318" y="303"/>
                </a:lnTo>
                <a:lnTo>
                  <a:pt x="315" y="303"/>
                </a:lnTo>
                <a:lnTo>
                  <a:pt x="313" y="303"/>
                </a:lnTo>
                <a:lnTo>
                  <a:pt x="313" y="303"/>
                </a:lnTo>
                <a:lnTo>
                  <a:pt x="313" y="300"/>
                </a:lnTo>
                <a:lnTo>
                  <a:pt x="315" y="300"/>
                </a:lnTo>
                <a:lnTo>
                  <a:pt x="315" y="300"/>
                </a:lnTo>
                <a:lnTo>
                  <a:pt x="313" y="300"/>
                </a:lnTo>
                <a:lnTo>
                  <a:pt x="310" y="300"/>
                </a:lnTo>
                <a:lnTo>
                  <a:pt x="310" y="298"/>
                </a:lnTo>
                <a:lnTo>
                  <a:pt x="310" y="298"/>
                </a:lnTo>
                <a:lnTo>
                  <a:pt x="305" y="300"/>
                </a:lnTo>
                <a:lnTo>
                  <a:pt x="305" y="303"/>
                </a:lnTo>
                <a:lnTo>
                  <a:pt x="308" y="303"/>
                </a:lnTo>
                <a:lnTo>
                  <a:pt x="313" y="303"/>
                </a:lnTo>
                <a:lnTo>
                  <a:pt x="313" y="303"/>
                </a:lnTo>
                <a:lnTo>
                  <a:pt x="310" y="303"/>
                </a:lnTo>
                <a:lnTo>
                  <a:pt x="305" y="303"/>
                </a:lnTo>
                <a:lnTo>
                  <a:pt x="303" y="303"/>
                </a:lnTo>
                <a:lnTo>
                  <a:pt x="298" y="308"/>
                </a:lnTo>
                <a:lnTo>
                  <a:pt x="295" y="308"/>
                </a:lnTo>
                <a:lnTo>
                  <a:pt x="288" y="310"/>
                </a:lnTo>
                <a:lnTo>
                  <a:pt x="286" y="310"/>
                </a:lnTo>
                <a:lnTo>
                  <a:pt x="276" y="308"/>
                </a:lnTo>
                <a:lnTo>
                  <a:pt x="273" y="305"/>
                </a:lnTo>
                <a:lnTo>
                  <a:pt x="268" y="305"/>
                </a:lnTo>
                <a:lnTo>
                  <a:pt x="261" y="303"/>
                </a:lnTo>
                <a:lnTo>
                  <a:pt x="259" y="300"/>
                </a:lnTo>
                <a:lnTo>
                  <a:pt x="259" y="303"/>
                </a:lnTo>
                <a:lnTo>
                  <a:pt x="256" y="300"/>
                </a:lnTo>
                <a:lnTo>
                  <a:pt x="251" y="300"/>
                </a:lnTo>
                <a:lnTo>
                  <a:pt x="249" y="295"/>
                </a:lnTo>
                <a:lnTo>
                  <a:pt x="249" y="295"/>
                </a:lnTo>
                <a:lnTo>
                  <a:pt x="246" y="295"/>
                </a:lnTo>
                <a:lnTo>
                  <a:pt x="241" y="295"/>
                </a:lnTo>
                <a:lnTo>
                  <a:pt x="236" y="295"/>
                </a:lnTo>
                <a:lnTo>
                  <a:pt x="236" y="290"/>
                </a:lnTo>
                <a:lnTo>
                  <a:pt x="231" y="288"/>
                </a:lnTo>
                <a:lnTo>
                  <a:pt x="224" y="288"/>
                </a:lnTo>
                <a:lnTo>
                  <a:pt x="217" y="286"/>
                </a:lnTo>
                <a:lnTo>
                  <a:pt x="214" y="281"/>
                </a:lnTo>
                <a:lnTo>
                  <a:pt x="212" y="281"/>
                </a:lnTo>
                <a:lnTo>
                  <a:pt x="204" y="273"/>
                </a:lnTo>
                <a:lnTo>
                  <a:pt x="202" y="271"/>
                </a:lnTo>
                <a:lnTo>
                  <a:pt x="199" y="271"/>
                </a:lnTo>
                <a:lnTo>
                  <a:pt x="199" y="273"/>
                </a:lnTo>
                <a:lnTo>
                  <a:pt x="197" y="273"/>
                </a:lnTo>
                <a:lnTo>
                  <a:pt x="192" y="271"/>
                </a:lnTo>
                <a:lnTo>
                  <a:pt x="190" y="271"/>
                </a:lnTo>
                <a:lnTo>
                  <a:pt x="187" y="268"/>
                </a:lnTo>
                <a:lnTo>
                  <a:pt x="185" y="268"/>
                </a:lnTo>
                <a:lnTo>
                  <a:pt x="182" y="268"/>
                </a:lnTo>
                <a:lnTo>
                  <a:pt x="180" y="263"/>
                </a:lnTo>
                <a:lnTo>
                  <a:pt x="177" y="261"/>
                </a:lnTo>
                <a:lnTo>
                  <a:pt x="172" y="256"/>
                </a:lnTo>
                <a:lnTo>
                  <a:pt x="170" y="256"/>
                </a:lnTo>
                <a:lnTo>
                  <a:pt x="170" y="254"/>
                </a:lnTo>
                <a:lnTo>
                  <a:pt x="170" y="251"/>
                </a:lnTo>
                <a:lnTo>
                  <a:pt x="170" y="251"/>
                </a:lnTo>
                <a:lnTo>
                  <a:pt x="165" y="254"/>
                </a:lnTo>
                <a:lnTo>
                  <a:pt x="160" y="251"/>
                </a:lnTo>
                <a:lnTo>
                  <a:pt x="160" y="249"/>
                </a:lnTo>
                <a:lnTo>
                  <a:pt x="158" y="249"/>
                </a:lnTo>
                <a:lnTo>
                  <a:pt x="155" y="249"/>
                </a:lnTo>
                <a:lnTo>
                  <a:pt x="155" y="244"/>
                </a:lnTo>
                <a:lnTo>
                  <a:pt x="153" y="241"/>
                </a:lnTo>
                <a:lnTo>
                  <a:pt x="153" y="239"/>
                </a:lnTo>
                <a:lnTo>
                  <a:pt x="150" y="236"/>
                </a:lnTo>
                <a:lnTo>
                  <a:pt x="148" y="231"/>
                </a:lnTo>
                <a:lnTo>
                  <a:pt x="148" y="229"/>
                </a:lnTo>
                <a:lnTo>
                  <a:pt x="150" y="229"/>
                </a:lnTo>
                <a:lnTo>
                  <a:pt x="153" y="229"/>
                </a:lnTo>
                <a:lnTo>
                  <a:pt x="155" y="227"/>
                </a:lnTo>
                <a:lnTo>
                  <a:pt x="153" y="227"/>
                </a:lnTo>
                <a:lnTo>
                  <a:pt x="150" y="224"/>
                </a:lnTo>
                <a:lnTo>
                  <a:pt x="153" y="224"/>
                </a:lnTo>
                <a:lnTo>
                  <a:pt x="155" y="219"/>
                </a:lnTo>
                <a:lnTo>
                  <a:pt x="158" y="217"/>
                </a:lnTo>
                <a:lnTo>
                  <a:pt x="158" y="214"/>
                </a:lnTo>
                <a:lnTo>
                  <a:pt x="153" y="204"/>
                </a:lnTo>
                <a:lnTo>
                  <a:pt x="153" y="202"/>
                </a:lnTo>
                <a:lnTo>
                  <a:pt x="150" y="199"/>
                </a:lnTo>
                <a:lnTo>
                  <a:pt x="153" y="197"/>
                </a:lnTo>
                <a:lnTo>
                  <a:pt x="150" y="192"/>
                </a:lnTo>
                <a:lnTo>
                  <a:pt x="145" y="187"/>
                </a:lnTo>
                <a:lnTo>
                  <a:pt x="145" y="182"/>
                </a:lnTo>
                <a:lnTo>
                  <a:pt x="140" y="177"/>
                </a:lnTo>
                <a:lnTo>
                  <a:pt x="138" y="172"/>
                </a:lnTo>
                <a:lnTo>
                  <a:pt x="133" y="165"/>
                </a:lnTo>
                <a:lnTo>
                  <a:pt x="128" y="163"/>
                </a:lnTo>
                <a:lnTo>
                  <a:pt x="126" y="160"/>
                </a:lnTo>
                <a:lnTo>
                  <a:pt x="126" y="158"/>
                </a:lnTo>
                <a:lnTo>
                  <a:pt x="121" y="158"/>
                </a:lnTo>
                <a:lnTo>
                  <a:pt x="118" y="155"/>
                </a:lnTo>
                <a:lnTo>
                  <a:pt x="118" y="155"/>
                </a:lnTo>
                <a:lnTo>
                  <a:pt x="121" y="153"/>
                </a:lnTo>
                <a:lnTo>
                  <a:pt x="123" y="150"/>
                </a:lnTo>
                <a:lnTo>
                  <a:pt x="121" y="148"/>
                </a:lnTo>
                <a:lnTo>
                  <a:pt x="121" y="145"/>
                </a:lnTo>
                <a:lnTo>
                  <a:pt x="118" y="145"/>
                </a:lnTo>
                <a:lnTo>
                  <a:pt x="118" y="145"/>
                </a:lnTo>
                <a:lnTo>
                  <a:pt x="113" y="143"/>
                </a:lnTo>
                <a:lnTo>
                  <a:pt x="108" y="138"/>
                </a:lnTo>
                <a:lnTo>
                  <a:pt x="106" y="138"/>
                </a:lnTo>
                <a:lnTo>
                  <a:pt x="104" y="138"/>
                </a:lnTo>
                <a:lnTo>
                  <a:pt x="101" y="136"/>
                </a:lnTo>
                <a:lnTo>
                  <a:pt x="101" y="133"/>
                </a:lnTo>
                <a:lnTo>
                  <a:pt x="101" y="128"/>
                </a:lnTo>
                <a:lnTo>
                  <a:pt x="104" y="126"/>
                </a:lnTo>
                <a:lnTo>
                  <a:pt x="106" y="123"/>
                </a:lnTo>
                <a:lnTo>
                  <a:pt x="108" y="126"/>
                </a:lnTo>
                <a:lnTo>
                  <a:pt x="108" y="123"/>
                </a:lnTo>
                <a:lnTo>
                  <a:pt x="108" y="123"/>
                </a:lnTo>
                <a:lnTo>
                  <a:pt x="108" y="121"/>
                </a:lnTo>
                <a:lnTo>
                  <a:pt x="106" y="123"/>
                </a:lnTo>
                <a:lnTo>
                  <a:pt x="104" y="121"/>
                </a:lnTo>
                <a:lnTo>
                  <a:pt x="104" y="118"/>
                </a:lnTo>
                <a:lnTo>
                  <a:pt x="101" y="116"/>
                </a:lnTo>
                <a:lnTo>
                  <a:pt x="99" y="116"/>
                </a:lnTo>
                <a:lnTo>
                  <a:pt x="96" y="116"/>
                </a:lnTo>
                <a:lnTo>
                  <a:pt x="96" y="113"/>
                </a:lnTo>
                <a:lnTo>
                  <a:pt x="96" y="111"/>
                </a:lnTo>
                <a:lnTo>
                  <a:pt x="94" y="108"/>
                </a:lnTo>
                <a:lnTo>
                  <a:pt x="91" y="108"/>
                </a:lnTo>
                <a:lnTo>
                  <a:pt x="86" y="104"/>
                </a:lnTo>
                <a:lnTo>
                  <a:pt x="86" y="101"/>
                </a:lnTo>
                <a:lnTo>
                  <a:pt x="86" y="99"/>
                </a:lnTo>
                <a:lnTo>
                  <a:pt x="86" y="96"/>
                </a:lnTo>
                <a:lnTo>
                  <a:pt x="86" y="94"/>
                </a:lnTo>
                <a:lnTo>
                  <a:pt x="84" y="94"/>
                </a:lnTo>
                <a:lnTo>
                  <a:pt x="81" y="94"/>
                </a:lnTo>
                <a:lnTo>
                  <a:pt x="81" y="94"/>
                </a:lnTo>
                <a:lnTo>
                  <a:pt x="79" y="91"/>
                </a:lnTo>
                <a:lnTo>
                  <a:pt x="79" y="91"/>
                </a:lnTo>
                <a:lnTo>
                  <a:pt x="76" y="89"/>
                </a:lnTo>
                <a:lnTo>
                  <a:pt x="76" y="84"/>
                </a:lnTo>
                <a:lnTo>
                  <a:pt x="74" y="84"/>
                </a:lnTo>
                <a:lnTo>
                  <a:pt x="72" y="81"/>
                </a:lnTo>
                <a:lnTo>
                  <a:pt x="72" y="79"/>
                </a:lnTo>
                <a:lnTo>
                  <a:pt x="72" y="77"/>
                </a:lnTo>
                <a:lnTo>
                  <a:pt x="69" y="77"/>
                </a:lnTo>
                <a:lnTo>
                  <a:pt x="67" y="69"/>
                </a:lnTo>
                <a:lnTo>
                  <a:pt x="67" y="69"/>
                </a:lnTo>
                <a:lnTo>
                  <a:pt x="64" y="69"/>
                </a:lnTo>
                <a:lnTo>
                  <a:pt x="64" y="67"/>
                </a:lnTo>
                <a:lnTo>
                  <a:pt x="64" y="64"/>
                </a:lnTo>
                <a:lnTo>
                  <a:pt x="64" y="64"/>
                </a:lnTo>
                <a:lnTo>
                  <a:pt x="62" y="59"/>
                </a:lnTo>
                <a:lnTo>
                  <a:pt x="59" y="54"/>
                </a:lnTo>
                <a:lnTo>
                  <a:pt x="62" y="54"/>
                </a:lnTo>
                <a:lnTo>
                  <a:pt x="59" y="49"/>
                </a:lnTo>
                <a:lnTo>
                  <a:pt x="59" y="47"/>
                </a:lnTo>
                <a:lnTo>
                  <a:pt x="59" y="42"/>
                </a:lnTo>
                <a:lnTo>
                  <a:pt x="57" y="37"/>
                </a:lnTo>
                <a:lnTo>
                  <a:pt x="57" y="35"/>
                </a:lnTo>
                <a:lnTo>
                  <a:pt x="59" y="32"/>
                </a:lnTo>
                <a:lnTo>
                  <a:pt x="59" y="32"/>
                </a:lnTo>
                <a:lnTo>
                  <a:pt x="54" y="30"/>
                </a:lnTo>
                <a:lnTo>
                  <a:pt x="52" y="30"/>
                </a:lnTo>
                <a:lnTo>
                  <a:pt x="52" y="27"/>
                </a:lnTo>
                <a:lnTo>
                  <a:pt x="49" y="25"/>
                </a:lnTo>
                <a:lnTo>
                  <a:pt x="47" y="27"/>
                </a:lnTo>
                <a:lnTo>
                  <a:pt x="44" y="27"/>
                </a:lnTo>
                <a:lnTo>
                  <a:pt x="42" y="25"/>
                </a:lnTo>
                <a:lnTo>
                  <a:pt x="40" y="22"/>
                </a:lnTo>
                <a:lnTo>
                  <a:pt x="37" y="20"/>
                </a:lnTo>
                <a:lnTo>
                  <a:pt x="35" y="15"/>
                </a:lnTo>
                <a:lnTo>
                  <a:pt x="35" y="20"/>
                </a:lnTo>
                <a:lnTo>
                  <a:pt x="35" y="22"/>
                </a:lnTo>
                <a:lnTo>
                  <a:pt x="35" y="27"/>
                </a:lnTo>
                <a:lnTo>
                  <a:pt x="32" y="30"/>
                </a:lnTo>
                <a:lnTo>
                  <a:pt x="35" y="37"/>
                </a:lnTo>
                <a:lnTo>
                  <a:pt x="35" y="49"/>
                </a:lnTo>
                <a:lnTo>
                  <a:pt x="32" y="52"/>
                </a:lnTo>
                <a:lnTo>
                  <a:pt x="35" y="52"/>
                </a:lnTo>
                <a:lnTo>
                  <a:pt x="37" y="57"/>
                </a:lnTo>
                <a:lnTo>
                  <a:pt x="37" y="59"/>
                </a:lnTo>
                <a:lnTo>
                  <a:pt x="37" y="59"/>
                </a:lnTo>
                <a:lnTo>
                  <a:pt x="40" y="62"/>
                </a:lnTo>
                <a:lnTo>
                  <a:pt x="44" y="64"/>
                </a:lnTo>
                <a:lnTo>
                  <a:pt x="44" y="69"/>
                </a:lnTo>
                <a:lnTo>
                  <a:pt x="44" y="72"/>
                </a:lnTo>
                <a:lnTo>
                  <a:pt x="44" y="74"/>
                </a:lnTo>
                <a:lnTo>
                  <a:pt x="47" y="77"/>
                </a:lnTo>
                <a:lnTo>
                  <a:pt x="49" y="77"/>
                </a:lnTo>
                <a:lnTo>
                  <a:pt x="49" y="81"/>
                </a:lnTo>
                <a:lnTo>
                  <a:pt x="52" y="81"/>
                </a:lnTo>
                <a:lnTo>
                  <a:pt x="52" y="84"/>
                </a:lnTo>
                <a:lnTo>
                  <a:pt x="57" y="86"/>
                </a:lnTo>
                <a:lnTo>
                  <a:pt x="54" y="89"/>
                </a:lnTo>
                <a:lnTo>
                  <a:pt x="54" y="94"/>
                </a:lnTo>
                <a:lnTo>
                  <a:pt x="59" y="96"/>
                </a:lnTo>
                <a:lnTo>
                  <a:pt x="59" y="96"/>
                </a:lnTo>
                <a:lnTo>
                  <a:pt x="62" y="101"/>
                </a:lnTo>
                <a:lnTo>
                  <a:pt x="62" y="106"/>
                </a:lnTo>
                <a:lnTo>
                  <a:pt x="64" y="106"/>
                </a:lnTo>
                <a:lnTo>
                  <a:pt x="64" y="108"/>
                </a:lnTo>
                <a:lnTo>
                  <a:pt x="64" y="111"/>
                </a:lnTo>
                <a:lnTo>
                  <a:pt x="64" y="113"/>
                </a:lnTo>
                <a:lnTo>
                  <a:pt x="67" y="118"/>
                </a:lnTo>
                <a:lnTo>
                  <a:pt x="69" y="116"/>
                </a:lnTo>
                <a:lnTo>
                  <a:pt x="69" y="113"/>
                </a:lnTo>
                <a:lnTo>
                  <a:pt x="69" y="113"/>
                </a:lnTo>
                <a:lnTo>
                  <a:pt x="69" y="113"/>
                </a:lnTo>
                <a:lnTo>
                  <a:pt x="69" y="116"/>
                </a:lnTo>
                <a:lnTo>
                  <a:pt x="72" y="118"/>
                </a:lnTo>
                <a:lnTo>
                  <a:pt x="74" y="123"/>
                </a:lnTo>
                <a:lnTo>
                  <a:pt x="72" y="126"/>
                </a:lnTo>
                <a:lnTo>
                  <a:pt x="72" y="131"/>
                </a:lnTo>
                <a:lnTo>
                  <a:pt x="74" y="133"/>
                </a:lnTo>
                <a:lnTo>
                  <a:pt x="74" y="136"/>
                </a:lnTo>
                <a:lnTo>
                  <a:pt x="76" y="138"/>
                </a:lnTo>
                <a:lnTo>
                  <a:pt x="76" y="140"/>
                </a:lnTo>
                <a:lnTo>
                  <a:pt x="76" y="140"/>
                </a:lnTo>
                <a:lnTo>
                  <a:pt x="76" y="143"/>
                </a:lnTo>
                <a:lnTo>
                  <a:pt x="76" y="145"/>
                </a:lnTo>
                <a:lnTo>
                  <a:pt x="79" y="148"/>
                </a:lnTo>
                <a:lnTo>
                  <a:pt x="79" y="150"/>
                </a:lnTo>
                <a:lnTo>
                  <a:pt x="76" y="155"/>
                </a:lnTo>
                <a:lnTo>
                  <a:pt x="76" y="158"/>
                </a:lnTo>
                <a:lnTo>
                  <a:pt x="79" y="160"/>
                </a:lnTo>
                <a:lnTo>
                  <a:pt x="81" y="163"/>
                </a:lnTo>
                <a:lnTo>
                  <a:pt x="84" y="163"/>
                </a:lnTo>
                <a:lnTo>
                  <a:pt x="84" y="163"/>
                </a:lnTo>
                <a:lnTo>
                  <a:pt x="84" y="160"/>
                </a:lnTo>
                <a:lnTo>
                  <a:pt x="84" y="160"/>
                </a:lnTo>
                <a:lnTo>
                  <a:pt x="86" y="160"/>
                </a:lnTo>
                <a:lnTo>
                  <a:pt x="89" y="163"/>
                </a:lnTo>
                <a:lnTo>
                  <a:pt x="89" y="165"/>
                </a:lnTo>
                <a:lnTo>
                  <a:pt x="91" y="165"/>
                </a:lnTo>
                <a:lnTo>
                  <a:pt x="91" y="170"/>
                </a:lnTo>
                <a:lnTo>
                  <a:pt x="94" y="170"/>
                </a:lnTo>
                <a:lnTo>
                  <a:pt x="94" y="172"/>
                </a:lnTo>
                <a:lnTo>
                  <a:pt x="96" y="175"/>
                </a:lnTo>
                <a:lnTo>
                  <a:pt x="96" y="177"/>
                </a:lnTo>
                <a:lnTo>
                  <a:pt x="94" y="182"/>
                </a:lnTo>
                <a:lnTo>
                  <a:pt x="89" y="185"/>
                </a:lnTo>
                <a:lnTo>
                  <a:pt x="86" y="185"/>
                </a:lnTo>
                <a:lnTo>
                  <a:pt x="86" y="180"/>
                </a:lnTo>
                <a:lnTo>
                  <a:pt x="86" y="180"/>
                </a:lnTo>
                <a:lnTo>
                  <a:pt x="84" y="177"/>
                </a:lnTo>
                <a:lnTo>
                  <a:pt x="84" y="172"/>
                </a:lnTo>
                <a:lnTo>
                  <a:pt x="81" y="170"/>
                </a:lnTo>
                <a:lnTo>
                  <a:pt x="79" y="170"/>
                </a:lnTo>
                <a:lnTo>
                  <a:pt x="76" y="168"/>
                </a:lnTo>
                <a:lnTo>
                  <a:pt x="74" y="165"/>
                </a:lnTo>
                <a:lnTo>
                  <a:pt x="72" y="165"/>
                </a:lnTo>
                <a:lnTo>
                  <a:pt x="67" y="158"/>
                </a:lnTo>
                <a:lnTo>
                  <a:pt x="64" y="155"/>
                </a:lnTo>
                <a:lnTo>
                  <a:pt x="62" y="155"/>
                </a:lnTo>
                <a:lnTo>
                  <a:pt x="62" y="153"/>
                </a:lnTo>
                <a:lnTo>
                  <a:pt x="59" y="153"/>
                </a:lnTo>
                <a:lnTo>
                  <a:pt x="57" y="150"/>
                </a:lnTo>
                <a:lnTo>
                  <a:pt x="57" y="148"/>
                </a:lnTo>
                <a:lnTo>
                  <a:pt x="59" y="143"/>
                </a:lnTo>
                <a:lnTo>
                  <a:pt x="59" y="138"/>
                </a:lnTo>
                <a:lnTo>
                  <a:pt x="59" y="131"/>
                </a:lnTo>
                <a:lnTo>
                  <a:pt x="57" y="126"/>
                </a:lnTo>
                <a:lnTo>
                  <a:pt x="57" y="123"/>
                </a:lnTo>
                <a:lnTo>
                  <a:pt x="54" y="123"/>
                </a:lnTo>
                <a:lnTo>
                  <a:pt x="52" y="123"/>
                </a:lnTo>
                <a:lnTo>
                  <a:pt x="47" y="118"/>
                </a:lnTo>
                <a:lnTo>
                  <a:pt x="47" y="113"/>
                </a:lnTo>
                <a:lnTo>
                  <a:pt x="47" y="111"/>
                </a:lnTo>
                <a:lnTo>
                  <a:pt x="44" y="111"/>
                </a:lnTo>
                <a:lnTo>
                  <a:pt x="42" y="113"/>
                </a:lnTo>
                <a:lnTo>
                  <a:pt x="42" y="113"/>
                </a:lnTo>
                <a:lnTo>
                  <a:pt x="40" y="113"/>
                </a:lnTo>
                <a:lnTo>
                  <a:pt x="37" y="111"/>
                </a:lnTo>
                <a:lnTo>
                  <a:pt x="37" y="111"/>
                </a:lnTo>
                <a:lnTo>
                  <a:pt x="37" y="111"/>
                </a:lnTo>
                <a:lnTo>
                  <a:pt x="35" y="111"/>
                </a:lnTo>
                <a:lnTo>
                  <a:pt x="35" y="108"/>
                </a:lnTo>
                <a:lnTo>
                  <a:pt x="30" y="106"/>
                </a:lnTo>
                <a:lnTo>
                  <a:pt x="27" y="106"/>
                </a:lnTo>
                <a:lnTo>
                  <a:pt x="27" y="104"/>
                </a:lnTo>
                <a:lnTo>
                  <a:pt x="27" y="101"/>
                </a:lnTo>
                <a:lnTo>
                  <a:pt x="22" y="99"/>
                </a:lnTo>
                <a:lnTo>
                  <a:pt x="20" y="94"/>
                </a:lnTo>
                <a:lnTo>
                  <a:pt x="22" y="94"/>
                </a:lnTo>
                <a:lnTo>
                  <a:pt x="25" y="94"/>
                </a:lnTo>
                <a:lnTo>
                  <a:pt x="27" y="94"/>
                </a:lnTo>
                <a:lnTo>
                  <a:pt x="32" y="96"/>
                </a:lnTo>
                <a:lnTo>
                  <a:pt x="35" y="96"/>
                </a:lnTo>
                <a:lnTo>
                  <a:pt x="35" y="96"/>
                </a:lnTo>
                <a:lnTo>
                  <a:pt x="35" y="94"/>
                </a:lnTo>
                <a:lnTo>
                  <a:pt x="32" y="94"/>
                </a:lnTo>
                <a:lnTo>
                  <a:pt x="32" y="91"/>
                </a:lnTo>
                <a:lnTo>
                  <a:pt x="35" y="91"/>
                </a:lnTo>
                <a:lnTo>
                  <a:pt x="35" y="91"/>
                </a:lnTo>
                <a:lnTo>
                  <a:pt x="37" y="89"/>
                </a:lnTo>
                <a:lnTo>
                  <a:pt x="35" y="86"/>
                </a:lnTo>
                <a:lnTo>
                  <a:pt x="35" y="84"/>
                </a:lnTo>
                <a:lnTo>
                  <a:pt x="37" y="84"/>
                </a:lnTo>
                <a:lnTo>
                  <a:pt x="35" y="79"/>
                </a:lnTo>
                <a:lnTo>
                  <a:pt x="35" y="79"/>
                </a:lnTo>
                <a:lnTo>
                  <a:pt x="32" y="74"/>
                </a:lnTo>
                <a:lnTo>
                  <a:pt x="27" y="72"/>
                </a:lnTo>
                <a:lnTo>
                  <a:pt x="27" y="69"/>
                </a:lnTo>
                <a:lnTo>
                  <a:pt x="25" y="64"/>
                </a:lnTo>
                <a:lnTo>
                  <a:pt x="20" y="59"/>
                </a:lnTo>
                <a:lnTo>
                  <a:pt x="20" y="62"/>
                </a:lnTo>
                <a:lnTo>
                  <a:pt x="17" y="57"/>
                </a:lnTo>
                <a:lnTo>
                  <a:pt x="15" y="54"/>
                </a:lnTo>
                <a:lnTo>
                  <a:pt x="15" y="49"/>
                </a:lnTo>
                <a:lnTo>
                  <a:pt x="15" y="47"/>
                </a:lnTo>
                <a:lnTo>
                  <a:pt x="13" y="45"/>
                </a:lnTo>
                <a:lnTo>
                  <a:pt x="13" y="42"/>
                </a:lnTo>
                <a:lnTo>
                  <a:pt x="13" y="40"/>
                </a:lnTo>
                <a:lnTo>
                  <a:pt x="13" y="37"/>
                </a:lnTo>
                <a:lnTo>
                  <a:pt x="10" y="35"/>
                </a:lnTo>
                <a:lnTo>
                  <a:pt x="10" y="32"/>
                </a:lnTo>
                <a:lnTo>
                  <a:pt x="10" y="32"/>
                </a:lnTo>
                <a:lnTo>
                  <a:pt x="10" y="30"/>
                </a:lnTo>
                <a:lnTo>
                  <a:pt x="5" y="25"/>
                </a:lnTo>
                <a:lnTo>
                  <a:pt x="5" y="22"/>
                </a:lnTo>
                <a:lnTo>
                  <a:pt x="5" y="20"/>
                </a:lnTo>
                <a:lnTo>
                  <a:pt x="8" y="20"/>
                </a:lnTo>
                <a:lnTo>
                  <a:pt x="5" y="17"/>
                </a:lnTo>
                <a:lnTo>
                  <a:pt x="3" y="13"/>
                </a:lnTo>
                <a:lnTo>
                  <a:pt x="0" y="5"/>
                </a:lnTo>
                <a:lnTo>
                  <a:pt x="0" y="3"/>
                </a:lnTo>
                <a:lnTo>
                  <a:pt x="0" y="3"/>
                </a:lnTo>
                <a:lnTo>
                  <a:pt x="0" y="3"/>
                </a:lnTo>
                <a:close/>
                <a:moveTo>
                  <a:pt x="81" y="150"/>
                </a:moveTo>
                <a:lnTo>
                  <a:pt x="81" y="148"/>
                </a:lnTo>
                <a:lnTo>
                  <a:pt x="81" y="148"/>
                </a:lnTo>
                <a:lnTo>
                  <a:pt x="81" y="145"/>
                </a:lnTo>
                <a:lnTo>
                  <a:pt x="79" y="145"/>
                </a:lnTo>
                <a:lnTo>
                  <a:pt x="81" y="148"/>
                </a:lnTo>
                <a:lnTo>
                  <a:pt x="81" y="150"/>
                </a:lnTo>
                <a:lnTo>
                  <a:pt x="81" y="150"/>
                </a:lnTo>
                <a:lnTo>
                  <a:pt x="81" y="150"/>
                </a:lnTo>
                <a:close/>
                <a:moveTo>
                  <a:pt x="84" y="158"/>
                </a:moveTo>
                <a:lnTo>
                  <a:pt x="84" y="158"/>
                </a:lnTo>
                <a:lnTo>
                  <a:pt x="84" y="158"/>
                </a:lnTo>
                <a:lnTo>
                  <a:pt x="86" y="158"/>
                </a:lnTo>
                <a:lnTo>
                  <a:pt x="84" y="158"/>
                </a:lnTo>
                <a:lnTo>
                  <a:pt x="84" y="158"/>
                </a:lnTo>
                <a:lnTo>
                  <a:pt x="84" y="158"/>
                </a:lnTo>
                <a:close/>
                <a:moveTo>
                  <a:pt x="281" y="153"/>
                </a:moveTo>
                <a:lnTo>
                  <a:pt x="283" y="153"/>
                </a:lnTo>
                <a:lnTo>
                  <a:pt x="283" y="150"/>
                </a:lnTo>
                <a:lnTo>
                  <a:pt x="281" y="150"/>
                </a:lnTo>
                <a:lnTo>
                  <a:pt x="281" y="153"/>
                </a:lnTo>
                <a:lnTo>
                  <a:pt x="281" y="153"/>
                </a:lnTo>
                <a:lnTo>
                  <a:pt x="281" y="153"/>
                </a:lnTo>
                <a:close/>
                <a:moveTo>
                  <a:pt x="281" y="155"/>
                </a:moveTo>
                <a:lnTo>
                  <a:pt x="281" y="155"/>
                </a:lnTo>
                <a:lnTo>
                  <a:pt x="281" y="153"/>
                </a:lnTo>
                <a:lnTo>
                  <a:pt x="281" y="153"/>
                </a:lnTo>
                <a:lnTo>
                  <a:pt x="281" y="155"/>
                </a:lnTo>
                <a:lnTo>
                  <a:pt x="281" y="155"/>
                </a:lnTo>
                <a:lnTo>
                  <a:pt x="281" y="155"/>
                </a:lnTo>
                <a:close/>
                <a:moveTo>
                  <a:pt x="278" y="163"/>
                </a:moveTo>
                <a:lnTo>
                  <a:pt x="281" y="160"/>
                </a:lnTo>
                <a:lnTo>
                  <a:pt x="281" y="158"/>
                </a:lnTo>
                <a:lnTo>
                  <a:pt x="278" y="163"/>
                </a:lnTo>
                <a:lnTo>
                  <a:pt x="278" y="16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0" name="Freeform 189"/>
          <p:cNvSpPr>
            <a:spLocks/>
          </p:cNvSpPr>
          <p:nvPr/>
        </p:nvSpPr>
        <p:spPr bwMode="auto">
          <a:xfrm>
            <a:off x="3401963" y="4312670"/>
            <a:ext cx="71762" cy="98306"/>
          </a:xfrm>
          <a:custGeom>
            <a:avLst/>
            <a:gdLst/>
            <a:ahLst/>
            <a:cxnLst>
              <a:cxn ang="0">
                <a:pos x="0" y="51"/>
              </a:cxn>
              <a:cxn ang="0">
                <a:pos x="0" y="51"/>
              </a:cxn>
              <a:cxn ang="0">
                <a:pos x="3" y="54"/>
              </a:cxn>
              <a:cxn ang="0">
                <a:pos x="3" y="56"/>
              </a:cxn>
              <a:cxn ang="0">
                <a:pos x="3" y="56"/>
              </a:cxn>
              <a:cxn ang="0">
                <a:pos x="5" y="59"/>
              </a:cxn>
              <a:cxn ang="0">
                <a:pos x="7" y="59"/>
              </a:cxn>
              <a:cxn ang="0">
                <a:pos x="10" y="59"/>
              </a:cxn>
              <a:cxn ang="0">
                <a:pos x="12" y="56"/>
              </a:cxn>
              <a:cxn ang="0">
                <a:pos x="12" y="56"/>
              </a:cxn>
              <a:cxn ang="0">
                <a:pos x="12" y="59"/>
              </a:cxn>
              <a:cxn ang="0">
                <a:pos x="15" y="59"/>
              </a:cxn>
              <a:cxn ang="0">
                <a:pos x="15" y="64"/>
              </a:cxn>
              <a:cxn ang="0">
                <a:pos x="17" y="64"/>
              </a:cxn>
              <a:cxn ang="0">
                <a:pos x="20" y="61"/>
              </a:cxn>
              <a:cxn ang="0">
                <a:pos x="20" y="59"/>
              </a:cxn>
              <a:cxn ang="0">
                <a:pos x="22" y="59"/>
              </a:cxn>
              <a:cxn ang="0">
                <a:pos x="25" y="59"/>
              </a:cxn>
              <a:cxn ang="0">
                <a:pos x="27" y="54"/>
              </a:cxn>
              <a:cxn ang="0">
                <a:pos x="30" y="49"/>
              </a:cxn>
              <a:cxn ang="0">
                <a:pos x="32" y="44"/>
              </a:cxn>
              <a:cxn ang="0">
                <a:pos x="32" y="41"/>
              </a:cxn>
              <a:cxn ang="0">
                <a:pos x="35" y="36"/>
              </a:cxn>
              <a:cxn ang="0">
                <a:pos x="39" y="32"/>
              </a:cxn>
              <a:cxn ang="0">
                <a:pos x="39" y="29"/>
              </a:cxn>
              <a:cxn ang="0">
                <a:pos x="39" y="29"/>
              </a:cxn>
              <a:cxn ang="0">
                <a:pos x="44" y="24"/>
              </a:cxn>
              <a:cxn ang="0">
                <a:pos x="42" y="22"/>
              </a:cxn>
              <a:cxn ang="0">
                <a:pos x="39" y="19"/>
              </a:cxn>
              <a:cxn ang="0">
                <a:pos x="39" y="19"/>
              </a:cxn>
              <a:cxn ang="0">
                <a:pos x="37" y="17"/>
              </a:cxn>
              <a:cxn ang="0">
                <a:pos x="37" y="14"/>
              </a:cxn>
              <a:cxn ang="0">
                <a:pos x="32" y="9"/>
              </a:cxn>
              <a:cxn ang="0">
                <a:pos x="30" y="9"/>
              </a:cxn>
              <a:cxn ang="0">
                <a:pos x="27" y="7"/>
              </a:cxn>
              <a:cxn ang="0">
                <a:pos x="17" y="4"/>
              </a:cxn>
              <a:cxn ang="0">
                <a:pos x="15" y="2"/>
              </a:cxn>
              <a:cxn ang="0">
                <a:pos x="10" y="0"/>
              </a:cxn>
              <a:cxn ang="0">
                <a:pos x="7" y="2"/>
              </a:cxn>
              <a:cxn ang="0">
                <a:pos x="3" y="4"/>
              </a:cxn>
              <a:cxn ang="0">
                <a:pos x="3" y="4"/>
              </a:cxn>
              <a:cxn ang="0">
                <a:pos x="3" y="4"/>
              </a:cxn>
              <a:cxn ang="0">
                <a:pos x="3" y="4"/>
              </a:cxn>
              <a:cxn ang="0">
                <a:pos x="0" y="9"/>
              </a:cxn>
              <a:cxn ang="0">
                <a:pos x="0" y="14"/>
              </a:cxn>
              <a:cxn ang="0">
                <a:pos x="0" y="17"/>
              </a:cxn>
              <a:cxn ang="0">
                <a:pos x="0" y="19"/>
              </a:cxn>
              <a:cxn ang="0">
                <a:pos x="0" y="22"/>
              </a:cxn>
              <a:cxn ang="0">
                <a:pos x="3" y="24"/>
              </a:cxn>
              <a:cxn ang="0">
                <a:pos x="5" y="27"/>
              </a:cxn>
              <a:cxn ang="0">
                <a:pos x="7" y="29"/>
              </a:cxn>
              <a:cxn ang="0">
                <a:pos x="7" y="32"/>
              </a:cxn>
              <a:cxn ang="0">
                <a:pos x="7" y="34"/>
              </a:cxn>
              <a:cxn ang="0">
                <a:pos x="7" y="36"/>
              </a:cxn>
              <a:cxn ang="0">
                <a:pos x="5" y="39"/>
              </a:cxn>
              <a:cxn ang="0">
                <a:pos x="5" y="44"/>
              </a:cxn>
              <a:cxn ang="0">
                <a:pos x="7" y="44"/>
              </a:cxn>
              <a:cxn ang="0">
                <a:pos x="5" y="49"/>
              </a:cxn>
              <a:cxn ang="0">
                <a:pos x="0" y="51"/>
              </a:cxn>
              <a:cxn ang="0">
                <a:pos x="0" y="51"/>
              </a:cxn>
              <a:cxn ang="0">
                <a:pos x="0" y="51"/>
              </a:cxn>
            </a:cxnLst>
            <a:rect l="0" t="0" r="r" b="b"/>
            <a:pathLst>
              <a:path w="44" h="64">
                <a:moveTo>
                  <a:pt x="0" y="51"/>
                </a:moveTo>
                <a:lnTo>
                  <a:pt x="0" y="51"/>
                </a:lnTo>
                <a:lnTo>
                  <a:pt x="3" y="54"/>
                </a:lnTo>
                <a:lnTo>
                  <a:pt x="3" y="56"/>
                </a:lnTo>
                <a:lnTo>
                  <a:pt x="3" y="56"/>
                </a:lnTo>
                <a:lnTo>
                  <a:pt x="5" y="59"/>
                </a:lnTo>
                <a:lnTo>
                  <a:pt x="7" y="59"/>
                </a:lnTo>
                <a:lnTo>
                  <a:pt x="10" y="59"/>
                </a:lnTo>
                <a:lnTo>
                  <a:pt x="12" y="56"/>
                </a:lnTo>
                <a:lnTo>
                  <a:pt x="12" y="56"/>
                </a:lnTo>
                <a:lnTo>
                  <a:pt x="12" y="59"/>
                </a:lnTo>
                <a:lnTo>
                  <a:pt x="15" y="59"/>
                </a:lnTo>
                <a:lnTo>
                  <a:pt x="15" y="64"/>
                </a:lnTo>
                <a:lnTo>
                  <a:pt x="17" y="64"/>
                </a:lnTo>
                <a:lnTo>
                  <a:pt x="20" y="61"/>
                </a:lnTo>
                <a:lnTo>
                  <a:pt x="20" y="59"/>
                </a:lnTo>
                <a:lnTo>
                  <a:pt x="22" y="59"/>
                </a:lnTo>
                <a:lnTo>
                  <a:pt x="25" y="59"/>
                </a:lnTo>
                <a:lnTo>
                  <a:pt x="27" y="54"/>
                </a:lnTo>
                <a:lnTo>
                  <a:pt x="30" y="49"/>
                </a:lnTo>
                <a:lnTo>
                  <a:pt x="32" y="44"/>
                </a:lnTo>
                <a:lnTo>
                  <a:pt x="32" y="41"/>
                </a:lnTo>
                <a:lnTo>
                  <a:pt x="35" y="36"/>
                </a:lnTo>
                <a:lnTo>
                  <a:pt x="39" y="32"/>
                </a:lnTo>
                <a:lnTo>
                  <a:pt x="39" y="29"/>
                </a:lnTo>
                <a:lnTo>
                  <a:pt x="39" y="29"/>
                </a:lnTo>
                <a:lnTo>
                  <a:pt x="44" y="24"/>
                </a:lnTo>
                <a:lnTo>
                  <a:pt x="42" y="22"/>
                </a:lnTo>
                <a:lnTo>
                  <a:pt x="39" y="19"/>
                </a:lnTo>
                <a:lnTo>
                  <a:pt x="39" y="19"/>
                </a:lnTo>
                <a:lnTo>
                  <a:pt x="37" y="17"/>
                </a:lnTo>
                <a:lnTo>
                  <a:pt x="37" y="14"/>
                </a:lnTo>
                <a:lnTo>
                  <a:pt x="32" y="9"/>
                </a:lnTo>
                <a:lnTo>
                  <a:pt x="30" y="9"/>
                </a:lnTo>
                <a:lnTo>
                  <a:pt x="27" y="7"/>
                </a:lnTo>
                <a:lnTo>
                  <a:pt x="17" y="4"/>
                </a:lnTo>
                <a:lnTo>
                  <a:pt x="15" y="2"/>
                </a:lnTo>
                <a:lnTo>
                  <a:pt x="10" y="0"/>
                </a:lnTo>
                <a:lnTo>
                  <a:pt x="7" y="2"/>
                </a:lnTo>
                <a:lnTo>
                  <a:pt x="3" y="4"/>
                </a:lnTo>
                <a:lnTo>
                  <a:pt x="3" y="4"/>
                </a:lnTo>
                <a:lnTo>
                  <a:pt x="3" y="4"/>
                </a:lnTo>
                <a:lnTo>
                  <a:pt x="3" y="4"/>
                </a:lnTo>
                <a:lnTo>
                  <a:pt x="0" y="9"/>
                </a:lnTo>
                <a:lnTo>
                  <a:pt x="0" y="14"/>
                </a:lnTo>
                <a:lnTo>
                  <a:pt x="0" y="17"/>
                </a:lnTo>
                <a:lnTo>
                  <a:pt x="0" y="19"/>
                </a:lnTo>
                <a:lnTo>
                  <a:pt x="0" y="22"/>
                </a:lnTo>
                <a:lnTo>
                  <a:pt x="3" y="24"/>
                </a:lnTo>
                <a:lnTo>
                  <a:pt x="5" y="27"/>
                </a:lnTo>
                <a:lnTo>
                  <a:pt x="7" y="29"/>
                </a:lnTo>
                <a:lnTo>
                  <a:pt x="7" y="32"/>
                </a:lnTo>
                <a:lnTo>
                  <a:pt x="7" y="34"/>
                </a:lnTo>
                <a:lnTo>
                  <a:pt x="7" y="36"/>
                </a:lnTo>
                <a:lnTo>
                  <a:pt x="5" y="39"/>
                </a:lnTo>
                <a:lnTo>
                  <a:pt x="5" y="44"/>
                </a:lnTo>
                <a:lnTo>
                  <a:pt x="7" y="44"/>
                </a:lnTo>
                <a:lnTo>
                  <a:pt x="5" y="49"/>
                </a:lnTo>
                <a:lnTo>
                  <a:pt x="0" y="51"/>
                </a:lnTo>
                <a:lnTo>
                  <a:pt x="0" y="51"/>
                </a:lnTo>
                <a:lnTo>
                  <a:pt x="0" y="51"/>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1" name="Freeform 190"/>
          <p:cNvSpPr>
            <a:spLocks/>
          </p:cNvSpPr>
          <p:nvPr/>
        </p:nvSpPr>
        <p:spPr bwMode="auto">
          <a:xfrm>
            <a:off x="3313892" y="4304989"/>
            <a:ext cx="99489" cy="101379"/>
          </a:xfrm>
          <a:custGeom>
            <a:avLst/>
            <a:gdLst/>
            <a:ahLst/>
            <a:cxnLst>
              <a:cxn ang="0">
                <a:pos x="25" y="66"/>
              </a:cxn>
              <a:cxn ang="0">
                <a:pos x="27" y="66"/>
              </a:cxn>
              <a:cxn ang="0">
                <a:pos x="34" y="66"/>
              </a:cxn>
              <a:cxn ang="0">
                <a:pos x="32" y="61"/>
              </a:cxn>
              <a:cxn ang="0">
                <a:pos x="30" y="59"/>
              </a:cxn>
              <a:cxn ang="0">
                <a:pos x="32" y="54"/>
              </a:cxn>
              <a:cxn ang="0">
                <a:pos x="42" y="54"/>
              </a:cxn>
              <a:cxn ang="0">
                <a:pos x="49" y="51"/>
              </a:cxn>
              <a:cxn ang="0">
                <a:pos x="54" y="56"/>
              </a:cxn>
              <a:cxn ang="0">
                <a:pos x="61" y="49"/>
              </a:cxn>
              <a:cxn ang="0">
                <a:pos x="59" y="44"/>
              </a:cxn>
              <a:cxn ang="0">
                <a:pos x="61" y="39"/>
              </a:cxn>
              <a:cxn ang="0">
                <a:pos x="61" y="34"/>
              </a:cxn>
              <a:cxn ang="0">
                <a:pos x="57" y="29"/>
              </a:cxn>
              <a:cxn ang="0">
                <a:pos x="54" y="24"/>
              </a:cxn>
              <a:cxn ang="0">
                <a:pos x="54" y="19"/>
              </a:cxn>
              <a:cxn ang="0">
                <a:pos x="57" y="9"/>
              </a:cxn>
              <a:cxn ang="0">
                <a:pos x="57" y="9"/>
              </a:cxn>
              <a:cxn ang="0">
                <a:pos x="61" y="5"/>
              </a:cxn>
              <a:cxn ang="0">
                <a:pos x="52" y="2"/>
              </a:cxn>
              <a:cxn ang="0">
                <a:pos x="44" y="0"/>
              </a:cxn>
              <a:cxn ang="0">
                <a:pos x="37" y="0"/>
              </a:cxn>
              <a:cxn ang="0">
                <a:pos x="25" y="0"/>
              </a:cxn>
              <a:cxn ang="0">
                <a:pos x="15" y="2"/>
              </a:cxn>
              <a:cxn ang="0">
                <a:pos x="15" y="5"/>
              </a:cxn>
              <a:cxn ang="0">
                <a:pos x="12" y="9"/>
              </a:cxn>
              <a:cxn ang="0">
                <a:pos x="7" y="14"/>
              </a:cxn>
              <a:cxn ang="0">
                <a:pos x="2" y="19"/>
              </a:cxn>
              <a:cxn ang="0">
                <a:pos x="0" y="29"/>
              </a:cxn>
              <a:cxn ang="0">
                <a:pos x="2" y="32"/>
              </a:cxn>
              <a:cxn ang="0">
                <a:pos x="5" y="34"/>
              </a:cxn>
              <a:cxn ang="0">
                <a:pos x="7" y="39"/>
              </a:cxn>
              <a:cxn ang="0">
                <a:pos x="10" y="41"/>
              </a:cxn>
              <a:cxn ang="0">
                <a:pos x="12" y="44"/>
              </a:cxn>
              <a:cxn ang="0">
                <a:pos x="15" y="51"/>
              </a:cxn>
              <a:cxn ang="0">
                <a:pos x="17" y="56"/>
              </a:cxn>
              <a:cxn ang="0">
                <a:pos x="22" y="61"/>
              </a:cxn>
              <a:cxn ang="0">
                <a:pos x="22" y="64"/>
              </a:cxn>
              <a:cxn ang="0">
                <a:pos x="25" y="66"/>
              </a:cxn>
            </a:cxnLst>
            <a:rect l="0" t="0" r="r" b="b"/>
            <a:pathLst>
              <a:path w="61" h="66">
                <a:moveTo>
                  <a:pt x="25" y="66"/>
                </a:moveTo>
                <a:lnTo>
                  <a:pt x="25" y="66"/>
                </a:lnTo>
                <a:lnTo>
                  <a:pt x="27" y="66"/>
                </a:lnTo>
                <a:lnTo>
                  <a:pt x="27" y="66"/>
                </a:lnTo>
                <a:lnTo>
                  <a:pt x="30" y="66"/>
                </a:lnTo>
                <a:lnTo>
                  <a:pt x="34" y="66"/>
                </a:lnTo>
                <a:lnTo>
                  <a:pt x="34" y="66"/>
                </a:lnTo>
                <a:lnTo>
                  <a:pt x="32" y="61"/>
                </a:lnTo>
                <a:lnTo>
                  <a:pt x="32" y="61"/>
                </a:lnTo>
                <a:lnTo>
                  <a:pt x="30" y="59"/>
                </a:lnTo>
                <a:lnTo>
                  <a:pt x="30" y="54"/>
                </a:lnTo>
                <a:lnTo>
                  <a:pt x="32" y="54"/>
                </a:lnTo>
                <a:lnTo>
                  <a:pt x="37" y="54"/>
                </a:lnTo>
                <a:lnTo>
                  <a:pt x="42" y="54"/>
                </a:lnTo>
                <a:lnTo>
                  <a:pt x="44" y="51"/>
                </a:lnTo>
                <a:lnTo>
                  <a:pt x="49" y="51"/>
                </a:lnTo>
                <a:lnTo>
                  <a:pt x="52" y="56"/>
                </a:lnTo>
                <a:lnTo>
                  <a:pt x="54" y="56"/>
                </a:lnTo>
                <a:lnTo>
                  <a:pt x="59" y="54"/>
                </a:lnTo>
                <a:lnTo>
                  <a:pt x="61" y="49"/>
                </a:lnTo>
                <a:lnTo>
                  <a:pt x="59" y="49"/>
                </a:lnTo>
                <a:lnTo>
                  <a:pt x="59" y="44"/>
                </a:lnTo>
                <a:lnTo>
                  <a:pt x="61" y="41"/>
                </a:lnTo>
                <a:lnTo>
                  <a:pt x="61" y="39"/>
                </a:lnTo>
                <a:lnTo>
                  <a:pt x="61" y="37"/>
                </a:lnTo>
                <a:lnTo>
                  <a:pt x="61" y="34"/>
                </a:lnTo>
                <a:lnTo>
                  <a:pt x="59" y="32"/>
                </a:lnTo>
                <a:lnTo>
                  <a:pt x="57" y="29"/>
                </a:lnTo>
                <a:lnTo>
                  <a:pt x="54" y="27"/>
                </a:lnTo>
                <a:lnTo>
                  <a:pt x="54" y="24"/>
                </a:lnTo>
                <a:lnTo>
                  <a:pt x="54" y="22"/>
                </a:lnTo>
                <a:lnTo>
                  <a:pt x="54" y="19"/>
                </a:lnTo>
                <a:lnTo>
                  <a:pt x="54" y="14"/>
                </a:lnTo>
                <a:lnTo>
                  <a:pt x="57" y="9"/>
                </a:lnTo>
                <a:lnTo>
                  <a:pt x="57" y="9"/>
                </a:lnTo>
                <a:lnTo>
                  <a:pt x="57" y="9"/>
                </a:lnTo>
                <a:lnTo>
                  <a:pt x="61" y="5"/>
                </a:lnTo>
                <a:lnTo>
                  <a:pt x="61" y="5"/>
                </a:lnTo>
                <a:lnTo>
                  <a:pt x="57" y="2"/>
                </a:lnTo>
                <a:lnTo>
                  <a:pt x="52" y="2"/>
                </a:lnTo>
                <a:lnTo>
                  <a:pt x="47" y="0"/>
                </a:lnTo>
                <a:lnTo>
                  <a:pt x="44" y="0"/>
                </a:lnTo>
                <a:lnTo>
                  <a:pt x="42" y="0"/>
                </a:lnTo>
                <a:lnTo>
                  <a:pt x="37" y="0"/>
                </a:lnTo>
                <a:lnTo>
                  <a:pt x="30" y="2"/>
                </a:lnTo>
                <a:lnTo>
                  <a:pt x="25" y="0"/>
                </a:lnTo>
                <a:lnTo>
                  <a:pt x="17" y="0"/>
                </a:lnTo>
                <a:lnTo>
                  <a:pt x="15" y="2"/>
                </a:lnTo>
                <a:lnTo>
                  <a:pt x="15" y="5"/>
                </a:lnTo>
                <a:lnTo>
                  <a:pt x="15" y="5"/>
                </a:lnTo>
                <a:lnTo>
                  <a:pt x="12" y="7"/>
                </a:lnTo>
                <a:lnTo>
                  <a:pt x="12" y="9"/>
                </a:lnTo>
                <a:lnTo>
                  <a:pt x="10" y="12"/>
                </a:lnTo>
                <a:lnTo>
                  <a:pt x="7" y="14"/>
                </a:lnTo>
                <a:lnTo>
                  <a:pt x="5" y="14"/>
                </a:lnTo>
                <a:lnTo>
                  <a:pt x="2" y="19"/>
                </a:lnTo>
                <a:lnTo>
                  <a:pt x="2" y="22"/>
                </a:lnTo>
                <a:lnTo>
                  <a:pt x="0" y="29"/>
                </a:lnTo>
                <a:lnTo>
                  <a:pt x="0" y="29"/>
                </a:lnTo>
                <a:lnTo>
                  <a:pt x="2" y="32"/>
                </a:lnTo>
                <a:lnTo>
                  <a:pt x="5" y="34"/>
                </a:lnTo>
                <a:lnTo>
                  <a:pt x="5" y="34"/>
                </a:lnTo>
                <a:lnTo>
                  <a:pt x="7" y="37"/>
                </a:lnTo>
                <a:lnTo>
                  <a:pt x="7" y="39"/>
                </a:lnTo>
                <a:lnTo>
                  <a:pt x="10" y="41"/>
                </a:lnTo>
                <a:lnTo>
                  <a:pt x="10" y="41"/>
                </a:lnTo>
                <a:lnTo>
                  <a:pt x="12" y="41"/>
                </a:lnTo>
                <a:lnTo>
                  <a:pt x="12" y="44"/>
                </a:lnTo>
                <a:lnTo>
                  <a:pt x="15" y="49"/>
                </a:lnTo>
                <a:lnTo>
                  <a:pt x="15" y="51"/>
                </a:lnTo>
                <a:lnTo>
                  <a:pt x="15" y="54"/>
                </a:lnTo>
                <a:lnTo>
                  <a:pt x="17" y="56"/>
                </a:lnTo>
                <a:lnTo>
                  <a:pt x="17" y="59"/>
                </a:lnTo>
                <a:lnTo>
                  <a:pt x="22" y="61"/>
                </a:lnTo>
                <a:lnTo>
                  <a:pt x="22" y="61"/>
                </a:lnTo>
                <a:lnTo>
                  <a:pt x="22" y="64"/>
                </a:lnTo>
                <a:lnTo>
                  <a:pt x="25" y="66"/>
                </a:lnTo>
                <a:lnTo>
                  <a:pt x="25" y="6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2" name="Freeform 191"/>
          <p:cNvSpPr>
            <a:spLocks/>
          </p:cNvSpPr>
          <p:nvPr/>
        </p:nvSpPr>
        <p:spPr bwMode="auto">
          <a:xfrm>
            <a:off x="3225820" y="4243548"/>
            <a:ext cx="128847" cy="181253"/>
          </a:xfrm>
          <a:custGeom>
            <a:avLst/>
            <a:gdLst/>
            <a:ahLst/>
            <a:cxnLst>
              <a:cxn ang="0">
                <a:pos x="12" y="52"/>
              </a:cxn>
              <a:cxn ang="0">
                <a:pos x="17" y="52"/>
              </a:cxn>
              <a:cxn ang="0">
                <a:pos x="22" y="57"/>
              </a:cxn>
              <a:cxn ang="0">
                <a:pos x="20" y="64"/>
              </a:cxn>
              <a:cxn ang="0">
                <a:pos x="22" y="67"/>
              </a:cxn>
              <a:cxn ang="0">
                <a:pos x="27" y="69"/>
              </a:cxn>
              <a:cxn ang="0">
                <a:pos x="29" y="72"/>
              </a:cxn>
              <a:cxn ang="0">
                <a:pos x="27" y="77"/>
              </a:cxn>
              <a:cxn ang="0">
                <a:pos x="24" y="84"/>
              </a:cxn>
              <a:cxn ang="0">
                <a:pos x="22" y="91"/>
              </a:cxn>
              <a:cxn ang="0">
                <a:pos x="22" y="96"/>
              </a:cxn>
              <a:cxn ang="0">
                <a:pos x="22" y="101"/>
              </a:cxn>
              <a:cxn ang="0">
                <a:pos x="29" y="106"/>
              </a:cxn>
              <a:cxn ang="0">
                <a:pos x="32" y="111"/>
              </a:cxn>
              <a:cxn ang="0">
                <a:pos x="39" y="118"/>
              </a:cxn>
              <a:cxn ang="0">
                <a:pos x="44" y="116"/>
              </a:cxn>
              <a:cxn ang="0">
                <a:pos x="47" y="116"/>
              </a:cxn>
              <a:cxn ang="0">
                <a:pos x="49" y="111"/>
              </a:cxn>
              <a:cxn ang="0">
                <a:pos x="59" y="111"/>
              </a:cxn>
              <a:cxn ang="0">
                <a:pos x="64" y="104"/>
              </a:cxn>
              <a:cxn ang="0">
                <a:pos x="71" y="106"/>
              </a:cxn>
              <a:cxn ang="0">
                <a:pos x="79" y="106"/>
              </a:cxn>
              <a:cxn ang="0">
                <a:pos x="76" y="101"/>
              </a:cxn>
              <a:cxn ang="0">
                <a:pos x="71" y="99"/>
              </a:cxn>
              <a:cxn ang="0">
                <a:pos x="69" y="94"/>
              </a:cxn>
              <a:cxn ang="0">
                <a:pos x="69" y="89"/>
              </a:cxn>
              <a:cxn ang="0">
                <a:pos x="66" y="81"/>
              </a:cxn>
              <a:cxn ang="0">
                <a:pos x="64" y="81"/>
              </a:cxn>
              <a:cxn ang="0">
                <a:pos x="61" y="77"/>
              </a:cxn>
              <a:cxn ang="0">
                <a:pos x="59" y="74"/>
              </a:cxn>
              <a:cxn ang="0">
                <a:pos x="54" y="69"/>
              </a:cxn>
              <a:cxn ang="0">
                <a:pos x="56" y="62"/>
              </a:cxn>
              <a:cxn ang="0">
                <a:pos x="59" y="54"/>
              </a:cxn>
              <a:cxn ang="0">
                <a:pos x="64" y="52"/>
              </a:cxn>
              <a:cxn ang="0">
                <a:pos x="66" y="47"/>
              </a:cxn>
              <a:cxn ang="0">
                <a:pos x="69" y="45"/>
              </a:cxn>
              <a:cxn ang="0">
                <a:pos x="66" y="42"/>
              </a:cxn>
              <a:cxn ang="0">
                <a:pos x="66" y="35"/>
              </a:cxn>
              <a:cxn ang="0">
                <a:pos x="54" y="30"/>
              </a:cxn>
              <a:cxn ang="0">
                <a:pos x="49" y="27"/>
              </a:cxn>
              <a:cxn ang="0">
                <a:pos x="44" y="30"/>
              </a:cxn>
              <a:cxn ang="0">
                <a:pos x="44" y="30"/>
              </a:cxn>
              <a:cxn ang="0">
                <a:pos x="47" y="22"/>
              </a:cxn>
              <a:cxn ang="0">
                <a:pos x="42" y="15"/>
              </a:cxn>
              <a:cxn ang="0">
                <a:pos x="32" y="8"/>
              </a:cxn>
              <a:cxn ang="0">
                <a:pos x="27" y="3"/>
              </a:cxn>
              <a:cxn ang="0">
                <a:pos x="24" y="0"/>
              </a:cxn>
              <a:cxn ang="0">
                <a:pos x="20" y="8"/>
              </a:cxn>
              <a:cxn ang="0">
                <a:pos x="15" y="10"/>
              </a:cxn>
              <a:cxn ang="0">
                <a:pos x="10" y="18"/>
              </a:cxn>
              <a:cxn ang="0">
                <a:pos x="17" y="20"/>
              </a:cxn>
              <a:cxn ang="0">
                <a:pos x="20" y="27"/>
              </a:cxn>
              <a:cxn ang="0">
                <a:pos x="10" y="27"/>
              </a:cxn>
              <a:cxn ang="0">
                <a:pos x="7" y="27"/>
              </a:cxn>
              <a:cxn ang="0">
                <a:pos x="5" y="35"/>
              </a:cxn>
              <a:cxn ang="0">
                <a:pos x="2" y="42"/>
              </a:cxn>
              <a:cxn ang="0">
                <a:pos x="12" y="52"/>
              </a:cxn>
              <a:cxn ang="0">
                <a:pos x="12" y="52"/>
              </a:cxn>
            </a:cxnLst>
            <a:rect l="0" t="0" r="r" b="b"/>
            <a:pathLst>
              <a:path w="79" h="118">
                <a:moveTo>
                  <a:pt x="12" y="52"/>
                </a:moveTo>
                <a:lnTo>
                  <a:pt x="12" y="52"/>
                </a:lnTo>
                <a:lnTo>
                  <a:pt x="15" y="54"/>
                </a:lnTo>
                <a:lnTo>
                  <a:pt x="17" y="52"/>
                </a:lnTo>
                <a:lnTo>
                  <a:pt x="20" y="52"/>
                </a:lnTo>
                <a:lnTo>
                  <a:pt x="22" y="57"/>
                </a:lnTo>
                <a:lnTo>
                  <a:pt x="22" y="59"/>
                </a:lnTo>
                <a:lnTo>
                  <a:pt x="20" y="64"/>
                </a:lnTo>
                <a:lnTo>
                  <a:pt x="20" y="64"/>
                </a:lnTo>
                <a:lnTo>
                  <a:pt x="22" y="67"/>
                </a:lnTo>
                <a:lnTo>
                  <a:pt x="24" y="67"/>
                </a:lnTo>
                <a:lnTo>
                  <a:pt x="27" y="69"/>
                </a:lnTo>
                <a:lnTo>
                  <a:pt x="27" y="72"/>
                </a:lnTo>
                <a:lnTo>
                  <a:pt x="29" y="72"/>
                </a:lnTo>
                <a:lnTo>
                  <a:pt x="29" y="72"/>
                </a:lnTo>
                <a:lnTo>
                  <a:pt x="27" y="77"/>
                </a:lnTo>
                <a:lnTo>
                  <a:pt x="27" y="79"/>
                </a:lnTo>
                <a:lnTo>
                  <a:pt x="24" y="84"/>
                </a:lnTo>
                <a:lnTo>
                  <a:pt x="24" y="89"/>
                </a:lnTo>
                <a:lnTo>
                  <a:pt x="22" y="91"/>
                </a:lnTo>
                <a:lnTo>
                  <a:pt x="22" y="94"/>
                </a:lnTo>
                <a:lnTo>
                  <a:pt x="22" y="96"/>
                </a:lnTo>
                <a:lnTo>
                  <a:pt x="22" y="96"/>
                </a:lnTo>
                <a:lnTo>
                  <a:pt x="22" y="101"/>
                </a:lnTo>
                <a:lnTo>
                  <a:pt x="24" y="104"/>
                </a:lnTo>
                <a:lnTo>
                  <a:pt x="29" y="106"/>
                </a:lnTo>
                <a:lnTo>
                  <a:pt x="29" y="109"/>
                </a:lnTo>
                <a:lnTo>
                  <a:pt x="32" y="111"/>
                </a:lnTo>
                <a:lnTo>
                  <a:pt x="37" y="116"/>
                </a:lnTo>
                <a:lnTo>
                  <a:pt x="39" y="118"/>
                </a:lnTo>
                <a:lnTo>
                  <a:pt x="42" y="116"/>
                </a:lnTo>
                <a:lnTo>
                  <a:pt x="44" y="116"/>
                </a:lnTo>
                <a:lnTo>
                  <a:pt x="44" y="116"/>
                </a:lnTo>
                <a:lnTo>
                  <a:pt x="47" y="116"/>
                </a:lnTo>
                <a:lnTo>
                  <a:pt x="49" y="113"/>
                </a:lnTo>
                <a:lnTo>
                  <a:pt x="49" y="111"/>
                </a:lnTo>
                <a:lnTo>
                  <a:pt x="54" y="111"/>
                </a:lnTo>
                <a:lnTo>
                  <a:pt x="59" y="111"/>
                </a:lnTo>
                <a:lnTo>
                  <a:pt x="61" y="106"/>
                </a:lnTo>
                <a:lnTo>
                  <a:pt x="64" y="104"/>
                </a:lnTo>
                <a:lnTo>
                  <a:pt x="69" y="104"/>
                </a:lnTo>
                <a:lnTo>
                  <a:pt x="71" y="106"/>
                </a:lnTo>
                <a:lnTo>
                  <a:pt x="74" y="106"/>
                </a:lnTo>
                <a:lnTo>
                  <a:pt x="79" y="106"/>
                </a:lnTo>
                <a:lnTo>
                  <a:pt x="76" y="104"/>
                </a:lnTo>
                <a:lnTo>
                  <a:pt x="76" y="101"/>
                </a:lnTo>
                <a:lnTo>
                  <a:pt x="76" y="101"/>
                </a:lnTo>
                <a:lnTo>
                  <a:pt x="71" y="99"/>
                </a:lnTo>
                <a:lnTo>
                  <a:pt x="71" y="96"/>
                </a:lnTo>
                <a:lnTo>
                  <a:pt x="69" y="94"/>
                </a:lnTo>
                <a:lnTo>
                  <a:pt x="69" y="91"/>
                </a:lnTo>
                <a:lnTo>
                  <a:pt x="69" y="89"/>
                </a:lnTo>
                <a:lnTo>
                  <a:pt x="66" y="84"/>
                </a:lnTo>
                <a:lnTo>
                  <a:pt x="66" y="81"/>
                </a:lnTo>
                <a:lnTo>
                  <a:pt x="64" y="81"/>
                </a:lnTo>
                <a:lnTo>
                  <a:pt x="64" y="81"/>
                </a:lnTo>
                <a:lnTo>
                  <a:pt x="61" y="79"/>
                </a:lnTo>
                <a:lnTo>
                  <a:pt x="61" y="77"/>
                </a:lnTo>
                <a:lnTo>
                  <a:pt x="59" y="74"/>
                </a:lnTo>
                <a:lnTo>
                  <a:pt x="59" y="74"/>
                </a:lnTo>
                <a:lnTo>
                  <a:pt x="56" y="72"/>
                </a:lnTo>
                <a:lnTo>
                  <a:pt x="54" y="69"/>
                </a:lnTo>
                <a:lnTo>
                  <a:pt x="54" y="69"/>
                </a:lnTo>
                <a:lnTo>
                  <a:pt x="56" y="62"/>
                </a:lnTo>
                <a:lnTo>
                  <a:pt x="56" y="59"/>
                </a:lnTo>
                <a:lnTo>
                  <a:pt x="59" y="54"/>
                </a:lnTo>
                <a:lnTo>
                  <a:pt x="61" y="54"/>
                </a:lnTo>
                <a:lnTo>
                  <a:pt x="64" y="52"/>
                </a:lnTo>
                <a:lnTo>
                  <a:pt x="66" y="49"/>
                </a:lnTo>
                <a:lnTo>
                  <a:pt x="66" y="47"/>
                </a:lnTo>
                <a:lnTo>
                  <a:pt x="69" y="45"/>
                </a:lnTo>
                <a:lnTo>
                  <a:pt x="69" y="45"/>
                </a:lnTo>
                <a:lnTo>
                  <a:pt x="69" y="45"/>
                </a:lnTo>
                <a:lnTo>
                  <a:pt x="66" y="42"/>
                </a:lnTo>
                <a:lnTo>
                  <a:pt x="66" y="37"/>
                </a:lnTo>
                <a:lnTo>
                  <a:pt x="66" y="35"/>
                </a:lnTo>
                <a:lnTo>
                  <a:pt x="59" y="35"/>
                </a:lnTo>
                <a:lnTo>
                  <a:pt x="54" y="30"/>
                </a:lnTo>
                <a:lnTo>
                  <a:pt x="52" y="27"/>
                </a:lnTo>
                <a:lnTo>
                  <a:pt x="49" y="27"/>
                </a:lnTo>
                <a:lnTo>
                  <a:pt x="47" y="27"/>
                </a:lnTo>
                <a:lnTo>
                  <a:pt x="44" y="30"/>
                </a:lnTo>
                <a:lnTo>
                  <a:pt x="44" y="35"/>
                </a:lnTo>
                <a:lnTo>
                  <a:pt x="44" y="30"/>
                </a:lnTo>
                <a:lnTo>
                  <a:pt x="44" y="25"/>
                </a:lnTo>
                <a:lnTo>
                  <a:pt x="47" y="22"/>
                </a:lnTo>
                <a:lnTo>
                  <a:pt x="44" y="18"/>
                </a:lnTo>
                <a:lnTo>
                  <a:pt x="42" y="15"/>
                </a:lnTo>
                <a:lnTo>
                  <a:pt x="34" y="13"/>
                </a:lnTo>
                <a:lnTo>
                  <a:pt x="32" y="8"/>
                </a:lnTo>
                <a:lnTo>
                  <a:pt x="32" y="5"/>
                </a:lnTo>
                <a:lnTo>
                  <a:pt x="27" y="3"/>
                </a:lnTo>
                <a:lnTo>
                  <a:pt x="24" y="0"/>
                </a:lnTo>
                <a:lnTo>
                  <a:pt x="24" y="0"/>
                </a:lnTo>
                <a:lnTo>
                  <a:pt x="24" y="3"/>
                </a:lnTo>
                <a:lnTo>
                  <a:pt x="20" y="8"/>
                </a:lnTo>
                <a:lnTo>
                  <a:pt x="17" y="10"/>
                </a:lnTo>
                <a:lnTo>
                  <a:pt x="15" y="10"/>
                </a:lnTo>
                <a:lnTo>
                  <a:pt x="10" y="15"/>
                </a:lnTo>
                <a:lnTo>
                  <a:pt x="10" y="18"/>
                </a:lnTo>
                <a:lnTo>
                  <a:pt x="12" y="20"/>
                </a:lnTo>
                <a:lnTo>
                  <a:pt x="17" y="20"/>
                </a:lnTo>
                <a:lnTo>
                  <a:pt x="20" y="22"/>
                </a:lnTo>
                <a:lnTo>
                  <a:pt x="20" y="27"/>
                </a:lnTo>
                <a:lnTo>
                  <a:pt x="15" y="27"/>
                </a:lnTo>
                <a:lnTo>
                  <a:pt x="10" y="27"/>
                </a:lnTo>
                <a:lnTo>
                  <a:pt x="10" y="30"/>
                </a:lnTo>
                <a:lnTo>
                  <a:pt x="7" y="27"/>
                </a:lnTo>
                <a:lnTo>
                  <a:pt x="5" y="30"/>
                </a:lnTo>
                <a:lnTo>
                  <a:pt x="5" y="35"/>
                </a:lnTo>
                <a:lnTo>
                  <a:pt x="0" y="37"/>
                </a:lnTo>
                <a:lnTo>
                  <a:pt x="2" y="42"/>
                </a:lnTo>
                <a:lnTo>
                  <a:pt x="5" y="47"/>
                </a:lnTo>
                <a:lnTo>
                  <a:pt x="12" y="52"/>
                </a:lnTo>
                <a:lnTo>
                  <a:pt x="12" y="52"/>
                </a:lnTo>
                <a:lnTo>
                  <a:pt x="12" y="5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3" name="Freeform 192"/>
          <p:cNvSpPr>
            <a:spLocks noEditPoints="1"/>
          </p:cNvSpPr>
          <p:nvPr/>
        </p:nvSpPr>
        <p:spPr bwMode="auto">
          <a:xfrm>
            <a:off x="2928987" y="4145240"/>
            <a:ext cx="335977" cy="291847"/>
          </a:xfrm>
          <a:custGeom>
            <a:avLst/>
            <a:gdLst/>
            <a:ahLst/>
            <a:cxnLst>
              <a:cxn ang="0">
                <a:pos x="118" y="190"/>
              </a:cxn>
              <a:cxn ang="0">
                <a:pos x="135" y="175"/>
              </a:cxn>
              <a:cxn ang="0">
                <a:pos x="150" y="160"/>
              </a:cxn>
              <a:cxn ang="0">
                <a:pos x="135" y="153"/>
              </a:cxn>
              <a:cxn ang="0">
                <a:pos x="130" y="136"/>
              </a:cxn>
              <a:cxn ang="0">
                <a:pos x="143" y="138"/>
              </a:cxn>
              <a:cxn ang="0">
                <a:pos x="165" y="131"/>
              </a:cxn>
              <a:cxn ang="0">
                <a:pos x="184" y="128"/>
              </a:cxn>
              <a:cxn ang="0">
                <a:pos x="184" y="106"/>
              </a:cxn>
              <a:cxn ang="0">
                <a:pos x="189" y="91"/>
              </a:cxn>
              <a:cxn ang="0">
                <a:pos x="202" y="86"/>
              </a:cxn>
              <a:cxn ang="0">
                <a:pos x="192" y="79"/>
              </a:cxn>
              <a:cxn ang="0">
                <a:pos x="206" y="64"/>
              </a:cxn>
              <a:cxn ang="0">
                <a:pos x="192" y="62"/>
              </a:cxn>
              <a:cxn ang="0">
                <a:pos x="177" y="64"/>
              </a:cxn>
              <a:cxn ang="0">
                <a:pos x="189" y="57"/>
              </a:cxn>
              <a:cxn ang="0">
                <a:pos x="184" y="47"/>
              </a:cxn>
              <a:cxn ang="0">
                <a:pos x="170" y="42"/>
              </a:cxn>
              <a:cxn ang="0">
                <a:pos x="165" y="40"/>
              </a:cxn>
              <a:cxn ang="0">
                <a:pos x="167" y="32"/>
              </a:cxn>
              <a:cxn ang="0">
                <a:pos x="170" y="30"/>
              </a:cxn>
              <a:cxn ang="0">
                <a:pos x="147" y="30"/>
              </a:cxn>
              <a:cxn ang="0">
                <a:pos x="130" y="37"/>
              </a:cxn>
              <a:cxn ang="0">
                <a:pos x="113" y="32"/>
              </a:cxn>
              <a:cxn ang="0">
                <a:pos x="79" y="32"/>
              </a:cxn>
              <a:cxn ang="0">
                <a:pos x="81" y="25"/>
              </a:cxn>
              <a:cxn ang="0">
                <a:pos x="61" y="18"/>
              </a:cxn>
              <a:cxn ang="0">
                <a:pos x="54" y="5"/>
              </a:cxn>
              <a:cxn ang="0">
                <a:pos x="47" y="18"/>
              </a:cxn>
              <a:cxn ang="0">
                <a:pos x="51" y="20"/>
              </a:cxn>
              <a:cxn ang="0">
                <a:pos x="44" y="22"/>
              </a:cxn>
              <a:cxn ang="0">
                <a:pos x="27" y="32"/>
              </a:cxn>
              <a:cxn ang="0">
                <a:pos x="29" y="54"/>
              </a:cxn>
              <a:cxn ang="0">
                <a:pos x="17" y="47"/>
              </a:cxn>
              <a:cxn ang="0">
                <a:pos x="27" y="30"/>
              </a:cxn>
              <a:cxn ang="0">
                <a:pos x="22" y="22"/>
              </a:cxn>
              <a:cxn ang="0">
                <a:pos x="32" y="10"/>
              </a:cxn>
              <a:cxn ang="0">
                <a:pos x="15" y="22"/>
              </a:cxn>
              <a:cxn ang="0">
                <a:pos x="2" y="37"/>
              </a:cxn>
              <a:cxn ang="0">
                <a:pos x="0" y="54"/>
              </a:cxn>
              <a:cxn ang="0">
                <a:pos x="15" y="69"/>
              </a:cxn>
              <a:cxn ang="0">
                <a:pos x="12" y="82"/>
              </a:cxn>
              <a:cxn ang="0">
                <a:pos x="29" y="86"/>
              </a:cxn>
              <a:cxn ang="0">
                <a:pos x="42" y="86"/>
              </a:cxn>
              <a:cxn ang="0">
                <a:pos x="66" y="101"/>
              </a:cxn>
              <a:cxn ang="0">
                <a:pos x="76" y="101"/>
              </a:cxn>
              <a:cxn ang="0">
                <a:pos x="88" y="101"/>
              </a:cxn>
              <a:cxn ang="0">
                <a:pos x="88" y="113"/>
              </a:cxn>
              <a:cxn ang="0">
                <a:pos x="83" y="128"/>
              </a:cxn>
              <a:cxn ang="0">
                <a:pos x="88" y="145"/>
              </a:cxn>
              <a:cxn ang="0">
                <a:pos x="88" y="160"/>
              </a:cxn>
              <a:cxn ang="0">
                <a:pos x="96" y="177"/>
              </a:cxn>
              <a:cxn ang="0">
                <a:pos x="81" y="8"/>
              </a:cxn>
              <a:cxn ang="0">
                <a:pos x="64" y="3"/>
              </a:cxn>
              <a:cxn ang="0">
                <a:pos x="64" y="5"/>
              </a:cxn>
              <a:cxn ang="0">
                <a:pos x="54" y="3"/>
              </a:cxn>
              <a:cxn ang="0">
                <a:pos x="140" y="25"/>
              </a:cxn>
              <a:cxn ang="0">
                <a:pos x="143" y="27"/>
              </a:cxn>
            </a:cxnLst>
            <a:rect l="0" t="0" r="r" b="b"/>
            <a:pathLst>
              <a:path w="206" h="190">
                <a:moveTo>
                  <a:pt x="96" y="180"/>
                </a:moveTo>
                <a:lnTo>
                  <a:pt x="96" y="180"/>
                </a:lnTo>
                <a:lnTo>
                  <a:pt x="101" y="185"/>
                </a:lnTo>
                <a:lnTo>
                  <a:pt x="101" y="185"/>
                </a:lnTo>
                <a:lnTo>
                  <a:pt x="108" y="190"/>
                </a:lnTo>
                <a:lnTo>
                  <a:pt x="108" y="190"/>
                </a:lnTo>
                <a:lnTo>
                  <a:pt x="111" y="190"/>
                </a:lnTo>
                <a:lnTo>
                  <a:pt x="111" y="190"/>
                </a:lnTo>
                <a:lnTo>
                  <a:pt x="118" y="190"/>
                </a:lnTo>
                <a:lnTo>
                  <a:pt x="118" y="190"/>
                </a:lnTo>
                <a:lnTo>
                  <a:pt x="120" y="185"/>
                </a:lnTo>
                <a:lnTo>
                  <a:pt x="120" y="185"/>
                </a:lnTo>
                <a:lnTo>
                  <a:pt x="125" y="182"/>
                </a:lnTo>
                <a:lnTo>
                  <a:pt x="125" y="182"/>
                </a:lnTo>
                <a:lnTo>
                  <a:pt x="128" y="177"/>
                </a:lnTo>
                <a:lnTo>
                  <a:pt x="128" y="177"/>
                </a:lnTo>
                <a:lnTo>
                  <a:pt x="135" y="175"/>
                </a:lnTo>
                <a:lnTo>
                  <a:pt x="135" y="175"/>
                </a:lnTo>
                <a:lnTo>
                  <a:pt x="138" y="170"/>
                </a:lnTo>
                <a:lnTo>
                  <a:pt x="138" y="170"/>
                </a:lnTo>
                <a:lnTo>
                  <a:pt x="140" y="168"/>
                </a:lnTo>
                <a:lnTo>
                  <a:pt x="140" y="168"/>
                </a:lnTo>
                <a:lnTo>
                  <a:pt x="147" y="165"/>
                </a:lnTo>
                <a:lnTo>
                  <a:pt x="147" y="165"/>
                </a:lnTo>
                <a:lnTo>
                  <a:pt x="150" y="165"/>
                </a:lnTo>
                <a:lnTo>
                  <a:pt x="150" y="165"/>
                </a:lnTo>
                <a:lnTo>
                  <a:pt x="150" y="160"/>
                </a:lnTo>
                <a:lnTo>
                  <a:pt x="150" y="160"/>
                </a:lnTo>
                <a:lnTo>
                  <a:pt x="145" y="160"/>
                </a:lnTo>
                <a:lnTo>
                  <a:pt x="145" y="160"/>
                </a:lnTo>
                <a:lnTo>
                  <a:pt x="140" y="160"/>
                </a:lnTo>
                <a:lnTo>
                  <a:pt x="140" y="160"/>
                </a:lnTo>
                <a:lnTo>
                  <a:pt x="135" y="158"/>
                </a:lnTo>
                <a:lnTo>
                  <a:pt x="135" y="158"/>
                </a:lnTo>
                <a:lnTo>
                  <a:pt x="135" y="153"/>
                </a:lnTo>
                <a:lnTo>
                  <a:pt x="135" y="153"/>
                </a:lnTo>
                <a:lnTo>
                  <a:pt x="133" y="150"/>
                </a:lnTo>
                <a:lnTo>
                  <a:pt x="133" y="150"/>
                </a:lnTo>
                <a:lnTo>
                  <a:pt x="138" y="143"/>
                </a:lnTo>
                <a:lnTo>
                  <a:pt x="138" y="143"/>
                </a:lnTo>
                <a:lnTo>
                  <a:pt x="138" y="141"/>
                </a:lnTo>
                <a:lnTo>
                  <a:pt x="138" y="141"/>
                </a:lnTo>
                <a:lnTo>
                  <a:pt x="133" y="138"/>
                </a:lnTo>
                <a:lnTo>
                  <a:pt x="133" y="138"/>
                </a:lnTo>
                <a:lnTo>
                  <a:pt x="130" y="136"/>
                </a:lnTo>
                <a:lnTo>
                  <a:pt x="130" y="136"/>
                </a:lnTo>
                <a:lnTo>
                  <a:pt x="128" y="133"/>
                </a:lnTo>
                <a:lnTo>
                  <a:pt x="128" y="133"/>
                </a:lnTo>
                <a:lnTo>
                  <a:pt x="133" y="133"/>
                </a:lnTo>
                <a:lnTo>
                  <a:pt x="133" y="133"/>
                </a:lnTo>
                <a:lnTo>
                  <a:pt x="138" y="136"/>
                </a:lnTo>
                <a:lnTo>
                  <a:pt x="138" y="136"/>
                </a:lnTo>
                <a:lnTo>
                  <a:pt x="143" y="138"/>
                </a:lnTo>
                <a:lnTo>
                  <a:pt x="143" y="138"/>
                </a:lnTo>
                <a:lnTo>
                  <a:pt x="147" y="138"/>
                </a:lnTo>
                <a:lnTo>
                  <a:pt x="147" y="138"/>
                </a:lnTo>
                <a:lnTo>
                  <a:pt x="155" y="136"/>
                </a:lnTo>
                <a:lnTo>
                  <a:pt x="155" y="136"/>
                </a:lnTo>
                <a:lnTo>
                  <a:pt x="155" y="138"/>
                </a:lnTo>
                <a:lnTo>
                  <a:pt x="155" y="138"/>
                </a:lnTo>
                <a:lnTo>
                  <a:pt x="160" y="136"/>
                </a:lnTo>
                <a:lnTo>
                  <a:pt x="160" y="136"/>
                </a:lnTo>
                <a:lnTo>
                  <a:pt x="165" y="131"/>
                </a:lnTo>
                <a:lnTo>
                  <a:pt x="165" y="131"/>
                </a:lnTo>
                <a:lnTo>
                  <a:pt x="170" y="131"/>
                </a:lnTo>
                <a:lnTo>
                  <a:pt x="170" y="131"/>
                </a:lnTo>
                <a:lnTo>
                  <a:pt x="172" y="133"/>
                </a:lnTo>
                <a:lnTo>
                  <a:pt x="172" y="133"/>
                </a:lnTo>
                <a:lnTo>
                  <a:pt x="179" y="128"/>
                </a:lnTo>
                <a:lnTo>
                  <a:pt x="179" y="128"/>
                </a:lnTo>
                <a:lnTo>
                  <a:pt x="184" y="128"/>
                </a:lnTo>
                <a:lnTo>
                  <a:pt x="184" y="128"/>
                </a:lnTo>
                <a:lnTo>
                  <a:pt x="192" y="123"/>
                </a:lnTo>
                <a:lnTo>
                  <a:pt x="192" y="123"/>
                </a:lnTo>
                <a:lnTo>
                  <a:pt x="194" y="118"/>
                </a:lnTo>
                <a:lnTo>
                  <a:pt x="194" y="118"/>
                </a:lnTo>
                <a:lnTo>
                  <a:pt x="194" y="116"/>
                </a:lnTo>
                <a:lnTo>
                  <a:pt x="194" y="116"/>
                </a:lnTo>
                <a:lnTo>
                  <a:pt x="187" y="111"/>
                </a:lnTo>
                <a:lnTo>
                  <a:pt x="187" y="111"/>
                </a:lnTo>
                <a:lnTo>
                  <a:pt x="184" y="106"/>
                </a:lnTo>
                <a:lnTo>
                  <a:pt x="184" y="106"/>
                </a:lnTo>
                <a:lnTo>
                  <a:pt x="182" y="101"/>
                </a:lnTo>
                <a:lnTo>
                  <a:pt x="182" y="101"/>
                </a:lnTo>
                <a:lnTo>
                  <a:pt x="187" y="99"/>
                </a:lnTo>
                <a:lnTo>
                  <a:pt x="187" y="99"/>
                </a:lnTo>
                <a:lnTo>
                  <a:pt x="187" y="94"/>
                </a:lnTo>
                <a:lnTo>
                  <a:pt x="187" y="94"/>
                </a:lnTo>
                <a:lnTo>
                  <a:pt x="189" y="91"/>
                </a:lnTo>
                <a:lnTo>
                  <a:pt x="189" y="91"/>
                </a:lnTo>
                <a:lnTo>
                  <a:pt x="192" y="94"/>
                </a:lnTo>
                <a:lnTo>
                  <a:pt x="192" y="94"/>
                </a:lnTo>
                <a:lnTo>
                  <a:pt x="192" y="91"/>
                </a:lnTo>
                <a:lnTo>
                  <a:pt x="192" y="91"/>
                </a:lnTo>
                <a:lnTo>
                  <a:pt x="197" y="91"/>
                </a:lnTo>
                <a:lnTo>
                  <a:pt x="197" y="91"/>
                </a:lnTo>
                <a:lnTo>
                  <a:pt x="202" y="91"/>
                </a:lnTo>
                <a:lnTo>
                  <a:pt x="202" y="91"/>
                </a:lnTo>
                <a:lnTo>
                  <a:pt x="202" y="86"/>
                </a:lnTo>
                <a:lnTo>
                  <a:pt x="202" y="86"/>
                </a:lnTo>
                <a:lnTo>
                  <a:pt x="199" y="84"/>
                </a:lnTo>
                <a:lnTo>
                  <a:pt x="199" y="84"/>
                </a:lnTo>
                <a:lnTo>
                  <a:pt x="194" y="84"/>
                </a:lnTo>
                <a:lnTo>
                  <a:pt x="194" y="84"/>
                </a:lnTo>
                <a:lnTo>
                  <a:pt x="192" y="82"/>
                </a:lnTo>
                <a:lnTo>
                  <a:pt x="192" y="82"/>
                </a:lnTo>
                <a:lnTo>
                  <a:pt x="192" y="79"/>
                </a:lnTo>
                <a:lnTo>
                  <a:pt x="192" y="79"/>
                </a:lnTo>
                <a:lnTo>
                  <a:pt x="197" y="74"/>
                </a:lnTo>
                <a:lnTo>
                  <a:pt x="197" y="74"/>
                </a:lnTo>
                <a:lnTo>
                  <a:pt x="199" y="74"/>
                </a:lnTo>
                <a:lnTo>
                  <a:pt x="199" y="74"/>
                </a:lnTo>
                <a:lnTo>
                  <a:pt x="202" y="72"/>
                </a:lnTo>
                <a:lnTo>
                  <a:pt x="202" y="72"/>
                </a:lnTo>
                <a:lnTo>
                  <a:pt x="206" y="67"/>
                </a:lnTo>
                <a:lnTo>
                  <a:pt x="206" y="67"/>
                </a:lnTo>
                <a:lnTo>
                  <a:pt x="206" y="64"/>
                </a:lnTo>
                <a:lnTo>
                  <a:pt x="206" y="64"/>
                </a:lnTo>
                <a:lnTo>
                  <a:pt x="206" y="64"/>
                </a:lnTo>
                <a:lnTo>
                  <a:pt x="199" y="62"/>
                </a:lnTo>
                <a:lnTo>
                  <a:pt x="199" y="62"/>
                </a:lnTo>
                <a:lnTo>
                  <a:pt x="197" y="62"/>
                </a:lnTo>
                <a:lnTo>
                  <a:pt x="197" y="62"/>
                </a:lnTo>
                <a:lnTo>
                  <a:pt x="197" y="62"/>
                </a:lnTo>
                <a:lnTo>
                  <a:pt x="192" y="62"/>
                </a:lnTo>
                <a:lnTo>
                  <a:pt x="192" y="62"/>
                </a:lnTo>
                <a:lnTo>
                  <a:pt x="192" y="62"/>
                </a:lnTo>
                <a:lnTo>
                  <a:pt x="189" y="62"/>
                </a:lnTo>
                <a:lnTo>
                  <a:pt x="189" y="62"/>
                </a:lnTo>
                <a:lnTo>
                  <a:pt x="184" y="64"/>
                </a:lnTo>
                <a:lnTo>
                  <a:pt x="184" y="64"/>
                </a:lnTo>
                <a:lnTo>
                  <a:pt x="179" y="64"/>
                </a:lnTo>
                <a:lnTo>
                  <a:pt x="179" y="64"/>
                </a:lnTo>
                <a:lnTo>
                  <a:pt x="177" y="64"/>
                </a:lnTo>
                <a:lnTo>
                  <a:pt x="177" y="64"/>
                </a:lnTo>
                <a:lnTo>
                  <a:pt x="182" y="62"/>
                </a:lnTo>
                <a:lnTo>
                  <a:pt x="182" y="62"/>
                </a:lnTo>
                <a:lnTo>
                  <a:pt x="182" y="62"/>
                </a:lnTo>
                <a:lnTo>
                  <a:pt x="184" y="62"/>
                </a:lnTo>
                <a:lnTo>
                  <a:pt x="184" y="62"/>
                </a:lnTo>
                <a:lnTo>
                  <a:pt x="187" y="59"/>
                </a:lnTo>
                <a:lnTo>
                  <a:pt x="187" y="59"/>
                </a:lnTo>
                <a:lnTo>
                  <a:pt x="189" y="57"/>
                </a:lnTo>
                <a:lnTo>
                  <a:pt x="189" y="57"/>
                </a:lnTo>
                <a:lnTo>
                  <a:pt x="189" y="54"/>
                </a:lnTo>
                <a:lnTo>
                  <a:pt x="189" y="54"/>
                </a:lnTo>
                <a:lnTo>
                  <a:pt x="189" y="54"/>
                </a:lnTo>
                <a:lnTo>
                  <a:pt x="189" y="52"/>
                </a:lnTo>
                <a:lnTo>
                  <a:pt x="189" y="52"/>
                </a:lnTo>
                <a:lnTo>
                  <a:pt x="187" y="50"/>
                </a:lnTo>
                <a:lnTo>
                  <a:pt x="187" y="50"/>
                </a:lnTo>
                <a:lnTo>
                  <a:pt x="184" y="47"/>
                </a:lnTo>
                <a:lnTo>
                  <a:pt x="184" y="47"/>
                </a:lnTo>
                <a:lnTo>
                  <a:pt x="177" y="47"/>
                </a:lnTo>
                <a:lnTo>
                  <a:pt x="177" y="47"/>
                </a:lnTo>
                <a:lnTo>
                  <a:pt x="177" y="45"/>
                </a:lnTo>
                <a:lnTo>
                  <a:pt x="177" y="45"/>
                </a:lnTo>
                <a:lnTo>
                  <a:pt x="174" y="45"/>
                </a:lnTo>
                <a:lnTo>
                  <a:pt x="174" y="45"/>
                </a:lnTo>
                <a:lnTo>
                  <a:pt x="172" y="45"/>
                </a:lnTo>
                <a:lnTo>
                  <a:pt x="172" y="45"/>
                </a:lnTo>
                <a:lnTo>
                  <a:pt x="170" y="42"/>
                </a:lnTo>
                <a:lnTo>
                  <a:pt x="170" y="42"/>
                </a:lnTo>
                <a:lnTo>
                  <a:pt x="167" y="40"/>
                </a:lnTo>
                <a:lnTo>
                  <a:pt x="167" y="40"/>
                </a:lnTo>
                <a:lnTo>
                  <a:pt x="165" y="40"/>
                </a:lnTo>
                <a:lnTo>
                  <a:pt x="165" y="40"/>
                </a:lnTo>
                <a:lnTo>
                  <a:pt x="167" y="45"/>
                </a:lnTo>
                <a:lnTo>
                  <a:pt x="167" y="45"/>
                </a:lnTo>
                <a:lnTo>
                  <a:pt x="165" y="40"/>
                </a:lnTo>
                <a:lnTo>
                  <a:pt x="165" y="40"/>
                </a:lnTo>
                <a:lnTo>
                  <a:pt x="162" y="37"/>
                </a:lnTo>
                <a:lnTo>
                  <a:pt x="162" y="37"/>
                </a:lnTo>
                <a:lnTo>
                  <a:pt x="160" y="37"/>
                </a:lnTo>
                <a:lnTo>
                  <a:pt x="160" y="37"/>
                </a:lnTo>
                <a:lnTo>
                  <a:pt x="160" y="35"/>
                </a:lnTo>
                <a:lnTo>
                  <a:pt x="160" y="35"/>
                </a:lnTo>
                <a:lnTo>
                  <a:pt x="160" y="32"/>
                </a:lnTo>
                <a:lnTo>
                  <a:pt x="160" y="32"/>
                </a:lnTo>
                <a:lnTo>
                  <a:pt x="167" y="32"/>
                </a:lnTo>
                <a:lnTo>
                  <a:pt x="167" y="32"/>
                </a:lnTo>
                <a:lnTo>
                  <a:pt x="170" y="32"/>
                </a:lnTo>
                <a:lnTo>
                  <a:pt x="170" y="32"/>
                </a:lnTo>
                <a:lnTo>
                  <a:pt x="174" y="32"/>
                </a:lnTo>
                <a:lnTo>
                  <a:pt x="174" y="32"/>
                </a:lnTo>
                <a:lnTo>
                  <a:pt x="174" y="30"/>
                </a:lnTo>
                <a:lnTo>
                  <a:pt x="174" y="30"/>
                </a:lnTo>
                <a:lnTo>
                  <a:pt x="170" y="30"/>
                </a:lnTo>
                <a:lnTo>
                  <a:pt x="170" y="30"/>
                </a:lnTo>
                <a:lnTo>
                  <a:pt x="165" y="27"/>
                </a:lnTo>
                <a:lnTo>
                  <a:pt x="165" y="27"/>
                </a:lnTo>
                <a:lnTo>
                  <a:pt x="160" y="30"/>
                </a:lnTo>
                <a:lnTo>
                  <a:pt x="160" y="30"/>
                </a:lnTo>
                <a:lnTo>
                  <a:pt x="155" y="27"/>
                </a:lnTo>
                <a:lnTo>
                  <a:pt x="155" y="27"/>
                </a:lnTo>
                <a:lnTo>
                  <a:pt x="147" y="30"/>
                </a:lnTo>
                <a:lnTo>
                  <a:pt x="147" y="30"/>
                </a:lnTo>
                <a:lnTo>
                  <a:pt x="147" y="30"/>
                </a:lnTo>
                <a:lnTo>
                  <a:pt x="143" y="30"/>
                </a:lnTo>
                <a:lnTo>
                  <a:pt x="143" y="30"/>
                </a:lnTo>
                <a:lnTo>
                  <a:pt x="138" y="35"/>
                </a:lnTo>
                <a:lnTo>
                  <a:pt x="138" y="35"/>
                </a:lnTo>
                <a:lnTo>
                  <a:pt x="135" y="35"/>
                </a:lnTo>
                <a:lnTo>
                  <a:pt x="135" y="35"/>
                </a:lnTo>
                <a:lnTo>
                  <a:pt x="130" y="37"/>
                </a:lnTo>
                <a:lnTo>
                  <a:pt x="130" y="37"/>
                </a:lnTo>
                <a:lnTo>
                  <a:pt x="130" y="37"/>
                </a:lnTo>
                <a:lnTo>
                  <a:pt x="125" y="40"/>
                </a:lnTo>
                <a:lnTo>
                  <a:pt x="125" y="40"/>
                </a:lnTo>
                <a:lnTo>
                  <a:pt x="125" y="40"/>
                </a:lnTo>
                <a:lnTo>
                  <a:pt x="123" y="40"/>
                </a:lnTo>
                <a:lnTo>
                  <a:pt x="123" y="40"/>
                </a:lnTo>
                <a:lnTo>
                  <a:pt x="115" y="35"/>
                </a:lnTo>
                <a:lnTo>
                  <a:pt x="115" y="35"/>
                </a:lnTo>
                <a:lnTo>
                  <a:pt x="113" y="32"/>
                </a:lnTo>
                <a:lnTo>
                  <a:pt x="113" y="32"/>
                </a:lnTo>
                <a:lnTo>
                  <a:pt x="111" y="32"/>
                </a:lnTo>
                <a:lnTo>
                  <a:pt x="111" y="32"/>
                </a:lnTo>
                <a:lnTo>
                  <a:pt x="103" y="32"/>
                </a:lnTo>
                <a:lnTo>
                  <a:pt x="103" y="32"/>
                </a:lnTo>
                <a:lnTo>
                  <a:pt x="88" y="35"/>
                </a:lnTo>
                <a:lnTo>
                  <a:pt x="88" y="35"/>
                </a:lnTo>
                <a:lnTo>
                  <a:pt x="83" y="35"/>
                </a:lnTo>
                <a:lnTo>
                  <a:pt x="83" y="35"/>
                </a:lnTo>
                <a:lnTo>
                  <a:pt x="79" y="32"/>
                </a:lnTo>
                <a:lnTo>
                  <a:pt x="79" y="32"/>
                </a:lnTo>
                <a:lnTo>
                  <a:pt x="79" y="30"/>
                </a:lnTo>
                <a:lnTo>
                  <a:pt x="79" y="30"/>
                </a:lnTo>
                <a:lnTo>
                  <a:pt x="79" y="27"/>
                </a:lnTo>
                <a:lnTo>
                  <a:pt x="79" y="27"/>
                </a:lnTo>
                <a:lnTo>
                  <a:pt x="81" y="27"/>
                </a:lnTo>
                <a:lnTo>
                  <a:pt x="81" y="27"/>
                </a:lnTo>
                <a:lnTo>
                  <a:pt x="81" y="25"/>
                </a:lnTo>
                <a:lnTo>
                  <a:pt x="81" y="25"/>
                </a:lnTo>
                <a:lnTo>
                  <a:pt x="76" y="20"/>
                </a:lnTo>
                <a:lnTo>
                  <a:pt x="76" y="20"/>
                </a:lnTo>
                <a:lnTo>
                  <a:pt x="74" y="20"/>
                </a:lnTo>
                <a:lnTo>
                  <a:pt x="74" y="20"/>
                </a:lnTo>
                <a:lnTo>
                  <a:pt x="66" y="20"/>
                </a:lnTo>
                <a:lnTo>
                  <a:pt x="66" y="20"/>
                </a:lnTo>
                <a:lnTo>
                  <a:pt x="64" y="18"/>
                </a:lnTo>
                <a:lnTo>
                  <a:pt x="64" y="18"/>
                </a:lnTo>
                <a:lnTo>
                  <a:pt x="61" y="18"/>
                </a:lnTo>
                <a:lnTo>
                  <a:pt x="61" y="18"/>
                </a:lnTo>
                <a:lnTo>
                  <a:pt x="59" y="20"/>
                </a:lnTo>
                <a:lnTo>
                  <a:pt x="59" y="20"/>
                </a:lnTo>
                <a:lnTo>
                  <a:pt x="56" y="15"/>
                </a:lnTo>
                <a:lnTo>
                  <a:pt x="56" y="15"/>
                </a:lnTo>
                <a:lnTo>
                  <a:pt x="56" y="10"/>
                </a:lnTo>
                <a:lnTo>
                  <a:pt x="56" y="10"/>
                </a:lnTo>
                <a:lnTo>
                  <a:pt x="54" y="5"/>
                </a:lnTo>
                <a:lnTo>
                  <a:pt x="54" y="5"/>
                </a:lnTo>
                <a:lnTo>
                  <a:pt x="54" y="5"/>
                </a:lnTo>
                <a:lnTo>
                  <a:pt x="49" y="8"/>
                </a:lnTo>
                <a:lnTo>
                  <a:pt x="49" y="8"/>
                </a:lnTo>
                <a:lnTo>
                  <a:pt x="44" y="13"/>
                </a:lnTo>
                <a:lnTo>
                  <a:pt x="44" y="13"/>
                </a:lnTo>
                <a:lnTo>
                  <a:pt x="47" y="15"/>
                </a:lnTo>
                <a:lnTo>
                  <a:pt x="47" y="15"/>
                </a:lnTo>
                <a:lnTo>
                  <a:pt x="47" y="18"/>
                </a:lnTo>
                <a:lnTo>
                  <a:pt x="47" y="18"/>
                </a:lnTo>
                <a:lnTo>
                  <a:pt x="51" y="15"/>
                </a:lnTo>
                <a:lnTo>
                  <a:pt x="51" y="15"/>
                </a:lnTo>
                <a:lnTo>
                  <a:pt x="54" y="15"/>
                </a:lnTo>
                <a:lnTo>
                  <a:pt x="54" y="15"/>
                </a:lnTo>
                <a:lnTo>
                  <a:pt x="56" y="18"/>
                </a:lnTo>
                <a:lnTo>
                  <a:pt x="56" y="18"/>
                </a:lnTo>
                <a:lnTo>
                  <a:pt x="54" y="20"/>
                </a:lnTo>
                <a:lnTo>
                  <a:pt x="54" y="20"/>
                </a:lnTo>
                <a:lnTo>
                  <a:pt x="51" y="20"/>
                </a:lnTo>
                <a:lnTo>
                  <a:pt x="51" y="20"/>
                </a:lnTo>
                <a:lnTo>
                  <a:pt x="49" y="20"/>
                </a:lnTo>
                <a:lnTo>
                  <a:pt x="49" y="20"/>
                </a:lnTo>
                <a:lnTo>
                  <a:pt x="49" y="18"/>
                </a:lnTo>
                <a:lnTo>
                  <a:pt x="49" y="18"/>
                </a:lnTo>
                <a:lnTo>
                  <a:pt x="47" y="20"/>
                </a:lnTo>
                <a:lnTo>
                  <a:pt x="47" y="20"/>
                </a:lnTo>
                <a:lnTo>
                  <a:pt x="47" y="20"/>
                </a:lnTo>
                <a:lnTo>
                  <a:pt x="44" y="22"/>
                </a:lnTo>
                <a:lnTo>
                  <a:pt x="44" y="22"/>
                </a:lnTo>
                <a:lnTo>
                  <a:pt x="37" y="22"/>
                </a:lnTo>
                <a:lnTo>
                  <a:pt x="37" y="22"/>
                </a:lnTo>
                <a:lnTo>
                  <a:pt x="29" y="27"/>
                </a:lnTo>
                <a:lnTo>
                  <a:pt x="29" y="27"/>
                </a:lnTo>
                <a:lnTo>
                  <a:pt x="27" y="30"/>
                </a:lnTo>
                <a:lnTo>
                  <a:pt x="27" y="30"/>
                </a:lnTo>
                <a:lnTo>
                  <a:pt x="27" y="32"/>
                </a:lnTo>
                <a:lnTo>
                  <a:pt x="27" y="32"/>
                </a:lnTo>
                <a:lnTo>
                  <a:pt x="29" y="35"/>
                </a:lnTo>
                <a:lnTo>
                  <a:pt x="29" y="35"/>
                </a:lnTo>
                <a:lnTo>
                  <a:pt x="29" y="42"/>
                </a:lnTo>
                <a:lnTo>
                  <a:pt x="29" y="42"/>
                </a:lnTo>
                <a:lnTo>
                  <a:pt x="29" y="45"/>
                </a:lnTo>
                <a:lnTo>
                  <a:pt x="29" y="45"/>
                </a:lnTo>
                <a:lnTo>
                  <a:pt x="32" y="50"/>
                </a:lnTo>
                <a:lnTo>
                  <a:pt x="32" y="50"/>
                </a:lnTo>
                <a:lnTo>
                  <a:pt x="29" y="54"/>
                </a:lnTo>
                <a:lnTo>
                  <a:pt x="29" y="54"/>
                </a:lnTo>
                <a:lnTo>
                  <a:pt x="24" y="57"/>
                </a:lnTo>
                <a:lnTo>
                  <a:pt x="24" y="57"/>
                </a:lnTo>
                <a:lnTo>
                  <a:pt x="22" y="57"/>
                </a:lnTo>
                <a:lnTo>
                  <a:pt x="22" y="57"/>
                </a:lnTo>
                <a:lnTo>
                  <a:pt x="22" y="52"/>
                </a:lnTo>
                <a:lnTo>
                  <a:pt x="22" y="52"/>
                </a:lnTo>
                <a:lnTo>
                  <a:pt x="17" y="47"/>
                </a:lnTo>
                <a:lnTo>
                  <a:pt x="17" y="47"/>
                </a:lnTo>
                <a:lnTo>
                  <a:pt x="17" y="45"/>
                </a:lnTo>
                <a:lnTo>
                  <a:pt x="17" y="45"/>
                </a:lnTo>
                <a:lnTo>
                  <a:pt x="20" y="42"/>
                </a:lnTo>
                <a:lnTo>
                  <a:pt x="20" y="42"/>
                </a:lnTo>
                <a:lnTo>
                  <a:pt x="20" y="40"/>
                </a:lnTo>
                <a:lnTo>
                  <a:pt x="20" y="40"/>
                </a:lnTo>
                <a:lnTo>
                  <a:pt x="27" y="35"/>
                </a:lnTo>
                <a:lnTo>
                  <a:pt x="27" y="35"/>
                </a:lnTo>
                <a:lnTo>
                  <a:pt x="27" y="30"/>
                </a:lnTo>
                <a:lnTo>
                  <a:pt x="27" y="30"/>
                </a:lnTo>
                <a:lnTo>
                  <a:pt x="24" y="27"/>
                </a:lnTo>
                <a:lnTo>
                  <a:pt x="24" y="27"/>
                </a:lnTo>
                <a:lnTo>
                  <a:pt x="24" y="25"/>
                </a:lnTo>
                <a:lnTo>
                  <a:pt x="24" y="25"/>
                </a:lnTo>
                <a:lnTo>
                  <a:pt x="24" y="22"/>
                </a:lnTo>
                <a:lnTo>
                  <a:pt x="24" y="22"/>
                </a:lnTo>
                <a:lnTo>
                  <a:pt x="22" y="22"/>
                </a:lnTo>
                <a:lnTo>
                  <a:pt x="22" y="22"/>
                </a:lnTo>
                <a:lnTo>
                  <a:pt x="22" y="20"/>
                </a:lnTo>
                <a:lnTo>
                  <a:pt x="22" y="20"/>
                </a:lnTo>
                <a:lnTo>
                  <a:pt x="22" y="18"/>
                </a:lnTo>
                <a:lnTo>
                  <a:pt x="22" y="18"/>
                </a:lnTo>
                <a:lnTo>
                  <a:pt x="24" y="15"/>
                </a:lnTo>
                <a:lnTo>
                  <a:pt x="24" y="15"/>
                </a:lnTo>
                <a:lnTo>
                  <a:pt x="29" y="15"/>
                </a:lnTo>
                <a:lnTo>
                  <a:pt x="29" y="15"/>
                </a:lnTo>
                <a:lnTo>
                  <a:pt x="32" y="10"/>
                </a:lnTo>
                <a:lnTo>
                  <a:pt x="32" y="10"/>
                </a:lnTo>
                <a:lnTo>
                  <a:pt x="29" y="10"/>
                </a:lnTo>
                <a:lnTo>
                  <a:pt x="29" y="10"/>
                </a:lnTo>
                <a:lnTo>
                  <a:pt x="29" y="10"/>
                </a:lnTo>
                <a:lnTo>
                  <a:pt x="22" y="15"/>
                </a:lnTo>
                <a:lnTo>
                  <a:pt x="22" y="15"/>
                </a:lnTo>
                <a:lnTo>
                  <a:pt x="17" y="22"/>
                </a:lnTo>
                <a:lnTo>
                  <a:pt x="17" y="22"/>
                </a:lnTo>
                <a:lnTo>
                  <a:pt x="15" y="22"/>
                </a:lnTo>
                <a:lnTo>
                  <a:pt x="15" y="22"/>
                </a:lnTo>
                <a:lnTo>
                  <a:pt x="12" y="25"/>
                </a:lnTo>
                <a:lnTo>
                  <a:pt x="12" y="25"/>
                </a:lnTo>
                <a:lnTo>
                  <a:pt x="10" y="27"/>
                </a:lnTo>
                <a:lnTo>
                  <a:pt x="10" y="27"/>
                </a:lnTo>
                <a:lnTo>
                  <a:pt x="7" y="30"/>
                </a:lnTo>
                <a:lnTo>
                  <a:pt x="7" y="30"/>
                </a:lnTo>
                <a:lnTo>
                  <a:pt x="2" y="37"/>
                </a:lnTo>
                <a:lnTo>
                  <a:pt x="2" y="37"/>
                </a:lnTo>
                <a:lnTo>
                  <a:pt x="2" y="40"/>
                </a:lnTo>
                <a:lnTo>
                  <a:pt x="2" y="40"/>
                </a:lnTo>
                <a:lnTo>
                  <a:pt x="2" y="42"/>
                </a:lnTo>
                <a:lnTo>
                  <a:pt x="2" y="42"/>
                </a:lnTo>
                <a:lnTo>
                  <a:pt x="2" y="47"/>
                </a:lnTo>
                <a:lnTo>
                  <a:pt x="2" y="47"/>
                </a:lnTo>
                <a:lnTo>
                  <a:pt x="0" y="52"/>
                </a:lnTo>
                <a:lnTo>
                  <a:pt x="0" y="52"/>
                </a:lnTo>
                <a:lnTo>
                  <a:pt x="0" y="54"/>
                </a:lnTo>
                <a:lnTo>
                  <a:pt x="0" y="54"/>
                </a:lnTo>
                <a:lnTo>
                  <a:pt x="2" y="54"/>
                </a:lnTo>
                <a:lnTo>
                  <a:pt x="2" y="54"/>
                </a:lnTo>
                <a:lnTo>
                  <a:pt x="5" y="54"/>
                </a:lnTo>
                <a:lnTo>
                  <a:pt x="5" y="54"/>
                </a:lnTo>
                <a:lnTo>
                  <a:pt x="12" y="64"/>
                </a:lnTo>
                <a:lnTo>
                  <a:pt x="12" y="64"/>
                </a:lnTo>
                <a:lnTo>
                  <a:pt x="15" y="69"/>
                </a:lnTo>
                <a:lnTo>
                  <a:pt x="15" y="69"/>
                </a:lnTo>
                <a:lnTo>
                  <a:pt x="15" y="72"/>
                </a:lnTo>
                <a:lnTo>
                  <a:pt x="15" y="72"/>
                </a:lnTo>
                <a:lnTo>
                  <a:pt x="12" y="77"/>
                </a:lnTo>
                <a:lnTo>
                  <a:pt x="12" y="77"/>
                </a:lnTo>
                <a:lnTo>
                  <a:pt x="12" y="77"/>
                </a:lnTo>
                <a:lnTo>
                  <a:pt x="12" y="79"/>
                </a:lnTo>
                <a:lnTo>
                  <a:pt x="12" y="79"/>
                </a:lnTo>
                <a:lnTo>
                  <a:pt x="12" y="82"/>
                </a:lnTo>
                <a:lnTo>
                  <a:pt x="12" y="82"/>
                </a:lnTo>
                <a:lnTo>
                  <a:pt x="17" y="84"/>
                </a:lnTo>
                <a:lnTo>
                  <a:pt x="17" y="84"/>
                </a:lnTo>
                <a:lnTo>
                  <a:pt x="20" y="86"/>
                </a:lnTo>
                <a:lnTo>
                  <a:pt x="20" y="86"/>
                </a:lnTo>
                <a:lnTo>
                  <a:pt x="22" y="86"/>
                </a:lnTo>
                <a:lnTo>
                  <a:pt x="22" y="86"/>
                </a:lnTo>
                <a:lnTo>
                  <a:pt x="27" y="89"/>
                </a:lnTo>
                <a:lnTo>
                  <a:pt x="27" y="89"/>
                </a:lnTo>
                <a:lnTo>
                  <a:pt x="29" y="86"/>
                </a:lnTo>
                <a:lnTo>
                  <a:pt x="29" y="86"/>
                </a:lnTo>
                <a:lnTo>
                  <a:pt x="32" y="86"/>
                </a:lnTo>
                <a:lnTo>
                  <a:pt x="32" y="86"/>
                </a:lnTo>
                <a:lnTo>
                  <a:pt x="37" y="89"/>
                </a:lnTo>
                <a:lnTo>
                  <a:pt x="37" y="89"/>
                </a:lnTo>
                <a:lnTo>
                  <a:pt x="37" y="86"/>
                </a:lnTo>
                <a:lnTo>
                  <a:pt x="37" y="86"/>
                </a:lnTo>
                <a:lnTo>
                  <a:pt x="42" y="86"/>
                </a:lnTo>
                <a:lnTo>
                  <a:pt x="42" y="86"/>
                </a:lnTo>
                <a:lnTo>
                  <a:pt x="47" y="86"/>
                </a:lnTo>
                <a:lnTo>
                  <a:pt x="47" y="86"/>
                </a:lnTo>
                <a:lnTo>
                  <a:pt x="49" y="89"/>
                </a:lnTo>
                <a:lnTo>
                  <a:pt x="49" y="89"/>
                </a:lnTo>
                <a:lnTo>
                  <a:pt x="61" y="101"/>
                </a:lnTo>
                <a:lnTo>
                  <a:pt x="61" y="101"/>
                </a:lnTo>
                <a:lnTo>
                  <a:pt x="66" y="99"/>
                </a:lnTo>
                <a:lnTo>
                  <a:pt x="66" y="99"/>
                </a:lnTo>
                <a:lnTo>
                  <a:pt x="66" y="101"/>
                </a:lnTo>
                <a:lnTo>
                  <a:pt x="66" y="101"/>
                </a:lnTo>
                <a:lnTo>
                  <a:pt x="69" y="99"/>
                </a:lnTo>
                <a:lnTo>
                  <a:pt x="69" y="99"/>
                </a:lnTo>
                <a:lnTo>
                  <a:pt x="71" y="101"/>
                </a:lnTo>
                <a:lnTo>
                  <a:pt x="71" y="101"/>
                </a:lnTo>
                <a:lnTo>
                  <a:pt x="74" y="101"/>
                </a:lnTo>
                <a:lnTo>
                  <a:pt x="74" y="101"/>
                </a:lnTo>
                <a:lnTo>
                  <a:pt x="76" y="101"/>
                </a:lnTo>
                <a:lnTo>
                  <a:pt x="76" y="101"/>
                </a:lnTo>
                <a:lnTo>
                  <a:pt x="79" y="101"/>
                </a:lnTo>
                <a:lnTo>
                  <a:pt x="79" y="101"/>
                </a:lnTo>
                <a:lnTo>
                  <a:pt x="83" y="101"/>
                </a:lnTo>
                <a:lnTo>
                  <a:pt x="83" y="101"/>
                </a:lnTo>
                <a:lnTo>
                  <a:pt x="83" y="99"/>
                </a:lnTo>
                <a:lnTo>
                  <a:pt x="83" y="99"/>
                </a:lnTo>
                <a:lnTo>
                  <a:pt x="86" y="99"/>
                </a:lnTo>
                <a:lnTo>
                  <a:pt x="86" y="99"/>
                </a:lnTo>
                <a:lnTo>
                  <a:pt x="88" y="101"/>
                </a:lnTo>
                <a:lnTo>
                  <a:pt x="88" y="101"/>
                </a:lnTo>
                <a:lnTo>
                  <a:pt x="91" y="106"/>
                </a:lnTo>
                <a:lnTo>
                  <a:pt x="91" y="106"/>
                </a:lnTo>
                <a:lnTo>
                  <a:pt x="88" y="109"/>
                </a:lnTo>
                <a:lnTo>
                  <a:pt x="88" y="109"/>
                </a:lnTo>
                <a:lnTo>
                  <a:pt x="88" y="111"/>
                </a:lnTo>
                <a:lnTo>
                  <a:pt x="88" y="111"/>
                </a:lnTo>
                <a:lnTo>
                  <a:pt x="88" y="113"/>
                </a:lnTo>
                <a:lnTo>
                  <a:pt x="88" y="113"/>
                </a:lnTo>
                <a:lnTo>
                  <a:pt x="83" y="116"/>
                </a:lnTo>
                <a:lnTo>
                  <a:pt x="83" y="116"/>
                </a:lnTo>
                <a:lnTo>
                  <a:pt x="83" y="118"/>
                </a:lnTo>
                <a:lnTo>
                  <a:pt x="83" y="118"/>
                </a:lnTo>
                <a:lnTo>
                  <a:pt x="83" y="123"/>
                </a:lnTo>
                <a:lnTo>
                  <a:pt x="83" y="123"/>
                </a:lnTo>
                <a:lnTo>
                  <a:pt x="83" y="126"/>
                </a:lnTo>
                <a:lnTo>
                  <a:pt x="83" y="126"/>
                </a:lnTo>
                <a:lnTo>
                  <a:pt x="83" y="128"/>
                </a:lnTo>
                <a:lnTo>
                  <a:pt x="83" y="128"/>
                </a:lnTo>
                <a:lnTo>
                  <a:pt x="83" y="133"/>
                </a:lnTo>
                <a:lnTo>
                  <a:pt x="83" y="133"/>
                </a:lnTo>
                <a:lnTo>
                  <a:pt x="83" y="136"/>
                </a:lnTo>
                <a:lnTo>
                  <a:pt x="83" y="136"/>
                </a:lnTo>
                <a:lnTo>
                  <a:pt x="83" y="138"/>
                </a:lnTo>
                <a:lnTo>
                  <a:pt x="83" y="138"/>
                </a:lnTo>
                <a:lnTo>
                  <a:pt x="88" y="145"/>
                </a:lnTo>
                <a:lnTo>
                  <a:pt x="88" y="145"/>
                </a:lnTo>
                <a:lnTo>
                  <a:pt x="83" y="155"/>
                </a:lnTo>
                <a:lnTo>
                  <a:pt x="83" y="155"/>
                </a:lnTo>
                <a:lnTo>
                  <a:pt x="83" y="158"/>
                </a:lnTo>
                <a:lnTo>
                  <a:pt x="83" y="158"/>
                </a:lnTo>
                <a:lnTo>
                  <a:pt x="86" y="158"/>
                </a:lnTo>
                <a:lnTo>
                  <a:pt x="86" y="158"/>
                </a:lnTo>
                <a:lnTo>
                  <a:pt x="86" y="158"/>
                </a:lnTo>
                <a:lnTo>
                  <a:pt x="86" y="158"/>
                </a:lnTo>
                <a:lnTo>
                  <a:pt x="88" y="160"/>
                </a:lnTo>
                <a:lnTo>
                  <a:pt x="88" y="160"/>
                </a:lnTo>
                <a:lnTo>
                  <a:pt x="88" y="160"/>
                </a:lnTo>
                <a:lnTo>
                  <a:pt x="91" y="165"/>
                </a:lnTo>
                <a:lnTo>
                  <a:pt x="91" y="165"/>
                </a:lnTo>
                <a:lnTo>
                  <a:pt x="91" y="165"/>
                </a:lnTo>
                <a:lnTo>
                  <a:pt x="91" y="170"/>
                </a:lnTo>
                <a:lnTo>
                  <a:pt x="91" y="170"/>
                </a:lnTo>
                <a:lnTo>
                  <a:pt x="96" y="177"/>
                </a:lnTo>
                <a:lnTo>
                  <a:pt x="96" y="177"/>
                </a:lnTo>
                <a:lnTo>
                  <a:pt x="96" y="180"/>
                </a:lnTo>
                <a:lnTo>
                  <a:pt x="96" y="180"/>
                </a:lnTo>
                <a:lnTo>
                  <a:pt x="96" y="180"/>
                </a:lnTo>
                <a:close/>
                <a:moveTo>
                  <a:pt x="74" y="5"/>
                </a:moveTo>
                <a:lnTo>
                  <a:pt x="74" y="5"/>
                </a:lnTo>
                <a:lnTo>
                  <a:pt x="79" y="5"/>
                </a:lnTo>
                <a:lnTo>
                  <a:pt x="79" y="5"/>
                </a:lnTo>
                <a:lnTo>
                  <a:pt x="81" y="8"/>
                </a:lnTo>
                <a:lnTo>
                  <a:pt x="81" y="8"/>
                </a:lnTo>
                <a:lnTo>
                  <a:pt x="79" y="10"/>
                </a:lnTo>
                <a:lnTo>
                  <a:pt x="79" y="10"/>
                </a:lnTo>
                <a:lnTo>
                  <a:pt x="79" y="8"/>
                </a:lnTo>
                <a:lnTo>
                  <a:pt x="79" y="8"/>
                </a:lnTo>
                <a:lnTo>
                  <a:pt x="76" y="8"/>
                </a:lnTo>
                <a:lnTo>
                  <a:pt x="76" y="8"/>
                </a:lnTo>
                <a:lnTo>
                  <a:pt x="74" y="5"/>
                </a:lnTo>
                <a:lnTo>
                  <a:pt x="74" y="5"/>
                </a:lnTo>
                <a:close/>
                <a:moveTo>
                  <a:pt x="64" y="3"/>
                </a:moveTo>
                <a:lnTo>
                  <a:pt x="64" y="3"/>
                </a:lnTo>
                <a:lnTo>
                  <a:pt x="66" y="5"/>
                </a:lnTo>
                <a:lnTo>
                  <a:pt x="66" y="5"/>
                </a:lnTo>
                <a:lnTo>
                  <a:pt x="69" y="8"/>
                </a:lnTo>
                <a:lnTo>
                  <a:pt x="69" y="8"/>
                </a:lnTo>
                <a:lnTo>
                  <a:pt x="69" y="8"/>
                </a:lnTo>
                <a:lnTo>
                  <a:pt x="64" y="8"/>
                </a:lnTo>
                <a:lnTo>
                  <a:pt x="64" y="8"/>
                </a:lnTo>
                <a:lnTo>
                  <a:pt x="64" y="5"/>
                </a:lnTo>
                <a:lnTo>
                  <a:pt x="64" y="5"/>
                </a:lnTo>
                <a:lnTo>
                  <a:pt x="64" y="3"/>
                </a:lnTo>
                <a:lnTo>
                  <a:pt x="64" y="3"/>
                </a:lnTo>
                <a:close/>
                <a:moveTo>
                  <a:pt x="49" y="0"/>
                </a:moveTo>
                <a:lnTo>
                  <a:pt x="49" y="0"/>
                </a:lnTo>
                <a:lnTo>
                  <a:pt x="51" y="3"/>
                </a:lnTo>
                <a:lnTo>
                  <a:pt x="51" y="3"/>
                </a:lnTo>
                <a:lnTo>
                  <a:pt x="54" y="3"/>
                </a:lnTo>
                <a:lnTo>
                  <a:pt x="54" y="3"/>
                </a:lnTo>
                <a:lnTo>
                  <a:pt x="51" y="0"/>
                </a:lnTo>
                <a:lnTo>
                  <a:pt x="51" y="0"/>
                </a:lnTo>
                <a:lnTo>
                  <a:pt x="49" y="0"/>
                </a:lnTo>
                <a:lnTo>
                  <a:pt x="49" y="0"/>
                </a:lnTo>
                <a:close/>
                <a:moveTo>
                  <a:pt x="138" y="25"/>
                </a:moveTo>
                <a:lnTo>
                  <a:pt x="138" y="25"/>
                </a:lnTo>
                <a:lnTo>
                  <a:pt x="140" y="22"/>
                </a:lnTo>
                <a:lnTo>
                  <a:pt x="140" y="22"/>
                </a:lnTo>
                <a:lnTo>
                  <a:pt x="140" y="25"/>
                </a:lnTo>
                <a:lnTo>
                  <a:pt x="140" y="25"/>
                </a:lnTo>
                <a:lnTo>
                  <a:pt x="145" y="22"/>
                </a:lnTo>
                <a:lnTo>
                  <a:pt x="145" y="22"/>
                </a:lnTo>
                <a:lnTo>
                  <a:pt x="147" y="25"/>
                </a:lnTo>
                <a:lnTo>
                  <a:pt x="147" y="25"/>
                </a:lnTo>
                <a:lnTo>
                  <a:pt x="145" y="27"/>
                </a:lnTo>
                <a:lnTo>
                  <a:pt x="145" y="27"/>
                </a:lnTo>
                <a:lnTo>
                  <a:pt x="143" y="27"/>
                </a:lnTo>
                <a:lnTo>
                  <a:pt x="143" y="27"/>
                </a:lnTo>
                <a:lnTo>
                  <a:pt x="138" y="27"/>
                </a:lnTo>
                <a:lnTo>
                  <a:pt x="138" y="25"/>
                </a:lnTo>
                <a:lnTo>
                  <a:pt x="138" y="2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4" name="Freeform 193"/>
          <p:cNvSpPr>
            <a:spLocks/>
          </p:cNvSpPr>
          <p:nvPr/>
        </p:nvSpPr>
        <p:spPr bwMode="auto">
          <a:xfrm>
            <a:off x="2780568" y="4149849"/>
            <a:ext cx="304989" cy="403979"/>
          </a:xfrm>
          <a:custGeom>
            <a:avLst/>
            <a:gdLst/>
            <a:ahLst/>
            <a:cxnLst>
              <a:cxn ang="0">
                <a:pos x="152" y="216"/>
              </a:cxn>
              <a:cxn ang="0">
                <a:pos x="150" y="189"/>
              </a:cxn>
              <a:cxn ang="0">
                <a:pos x="150" y="179"/>
              </a:cxn>
              <a:cxn ang="0">
                <a:pos x="165" y="167"/>
              </a:cxn>
              <a:cxn ang="0">
                <a:pos x="177" y="165"/>
              </a:cxn>
              <a:cxn ang="0">
                <a:pos x="187" y="177"/>
              </a:cxn>
              <a:cxn ang="0">
                <a:pos x="179" y="157"/>
              </a:cxn>
              <a:cxn ang="0">
                <a:pos x="174" y="155"/>
              </a:cxn>
              <a:cxn ang="0">
                <a:pos x="174" y="130"/>
              </a:cxn>
              <a:cxn ang="0">
                <a:pos x="174" y="113"/>
              </a:cxn>
              <a:cxn ang="0">
                <a:pos x="179" y="98"/>
              </a:cxn>
              <a:cxn ang="0">
                <a:pos x="167" y="98"/>
              </a:cxn>
              <a:cxn ang="0">
                <a:pos x="157" y="96"/>
              </a:cxn>
              <a:cxn ang="0">
                <a:pos x="128" y="83"/>
              </a:cxn>
              <a:cxn ang="0">
                <a:pos x="113" y="83"/>
              </a:cxn>
              <a:cxn ang="0">
                <a:pos x="103" y="74"/>
              </a:cxn>
              <a:cxn ang="0">
                <a:pos x="96" y="51"/>
              </a:cxn>
              <a:cxn ang="0">
                <a:pos x="93" y="39"/>
              </a:cxn>
              <a:cxn ang="0">
                <a:pos x="103" y="22"/>
              </a:cxn>
              <a:cxn ang="0">
                <a:pos x="120" y="7"/>
              </a:cxn>
              <a:cxn ang="0">
                <a:pos x="125" y="2"/>
              </a:cxn>
              <a:cxn ang="0">
                <a:pos x="113" y="2"/>
              </a:cxn>
              <a:cxn ang="0">
                <a:pos x="108" y="7"/>
              </a:cxn>
              <a:cxn ang="0">
                <a:pos x="88" y="17"/>
              </a:cxn>
              <a:cxn ang="0">
                <a:pos x="79" y="22"/>
              </a:cxn>
              <a:cxn ang="0">
                <a:pos x="74" y="22"/>
              </a:cxn>
              <a:cxn ang="0">
                <a:pos x="61" y="24"/>
              </a:cxn>
              <a:cxn ang="0">
                <a:pos x="54" y="39"/>
              </a:cxn>
              <a:cxn ang="0">
                <a:pos x="49" y="47"/>
              </a:cxn>
              <a:cxn ang="0">
                <a:pos x="37" y="59"/>
              </a:cxn>
              <a:cxn ang="0">
                <a:pos x="37" y="71"/>
              </a:cxn>
              <a:cxn ang="0">
                <a:pos x="29" y="64"/>
              </a:cxn>
              <a:cxn ang="0">
                <a:pos x="27" y="66"/>
              </a:cxn>
              <a:cxn ang="0">
                <a:pos x="19" y="81"/>
              </a:cxn>
              <a:cxn ang="0">
                <a:pos x="24" y="93"/>
              </a:cxn>
              <a:cxn ang="0">
                <a:pos x="24" y="101"/>
              </a:cxn>
              <a:cxn ang="0">
                <a:pos x="24" y="110"/>
              </a:cxn>
              <a:cxn ang="0">
                <a:pos x="24" y="130"/>
              </a:cxn>
              <a:cxn ang="0">
                <a:pos x="32" y="135"/>
              </a:cxn>
              <a:cxn ang="0">
                <a:pos x="22" y="152"/>
              </a:cxn>
              <a:cxn ang="0">
                <a:pos x="2" y="172"/>
              </a:cxn>
              <a:cxn ang="0">
                <a:pos x="19" y="184"/>
              </a:cxn>
              <a:cxn ang="0">
                <a:pos x="34" y="197"/>
              </a:cxn>
              <a:cxn ang="0">
                <a:pos x="44" y="192"/>
              </a:cxn>
              <a:cxn ang="0">
                <a:pos x="56" y="197"/>
              </a:cxn>
              <a:cxn ang="0">
                <a:pos x="69" y="201"/>
              </a:cxn>
              <a:cxn ang="0">
                <a:pos x="76" y="216"/>
              </a:cxn>
              <a:cxn ang="0">
                <a:pos x="91" y="229"/>
              </a:cxn>
              <a:cxn ang="0">
                <a:pos x="98" y="236"/>
              </a:cxn>
              <a:cxn ang="0">
                <a:pos x="115" y="233"/>
              </a:cxn>
              <a:cxn ang="0">
                <a:pos x="130" y="233"/>
              </a:cxn>
              <a:cxn ang="0">
                <a:pos x="128" y="256"/>
              </a:cxn>
              <a:cxn ang="0">
                <a:pos x="140" y="263"/>
              </a:cxn>
            </a:cxnLst>
            <a:rect l="0" t="0" r="r" b="b"/>
            <a:pathLst>
              <a:path w="187" h="263">
                <a:moveTo>
                  <a:pt x="140" y="263"/>
                </a:moveTo>
                <a:lnTo>
                  <a:pt x="142" y="256"/>
                </a:lnTo>
                <a:lnTo>
                  <a:pt x="150" y="224"/>
                </a:lnTo>
                <a:lnTo>
                  <a:pt x="150" y="221"/>
                </a:lnTo>
                <a:lnTo>
                  <a:pt x="152" y="216"/>
                </a:lnTo>
                <a:lnTo>
                  <a:pt x="147" y="209"/>
                </a:lnTo>
                <a:lnTo>
                  <a:pt x="142" y="204"/>
                </a:lnTo>
                <a:lnTo>
                  <a:pt x="140" y="201"/>
                </a:lnTo>
                <a:lnTo>
                  <a:pt x="138" y="192"/>
                </a:lnTo>
                <a:lnTo>
                  <a:pt x="150" y="189"/>
                </a:lnTo>
                <a:lnTo>
                  <a:pt x="152" y="192"/>
                </a:lnTo>
                <a:lnTo>
                  <a:pt x="152" y="189"/>
                </a:lnTo>
                <a:lnTo>
                  <a:pt x="152" y="187"/>
                </a:lnTo>
                <a:lnTo>
                  <a:pt x="152" y="184"/>
                </a:lnTo>
                <a:lnTo>
                  <a:pt x="150" y="179"/>
                </a:lnTo>
                <a:lnTo>
                  <a:pt x="145" y="179"/>
                </a:lnTo>
                <a:lnTo>
                  <a:pt x="142" y="174"/>
                </a:lnTo>
                <a:lnTo>
                  <a:pt x="145" y="170"/>
                </a:lnTo>
                <a:lnTo>
                  <a:pt x="162" y="170"/>
                </a:lnTo>
                <a:lnTo>
                  <a:pt x="165" y="167"/>
                </a:lnTo>
                <a:lnTo>
                  <a:pt x="167" y="167"/>
                </a:lnTo>
                <a:lnTo>
                  <a:pt x="170" y="170"/>
                </a:lnTo>
                <a:lnTo>
                  <a:pt x="170" y="170"/>
                </a:lnTo>
                <a:lnTo>
                  <a:pt x="174" y="167"/>
                </a:lnTo>
                <a:lnTo>
                  <a:pt x="177" y="165"/>
                </a:lnTo>
                <a:lnTo>
                  <a:pt x="179" y="167"/>
                </a:lnTo>
                <a:lnTo>
                  <a:pt x="182" y="170"/>
                </a:lnTo>
                <a:lnTo>
                  <a:pt x="182" y="174"/>
                </a:lnTo>
                <a:lnTo>
                  <a:pt x="182" y="177"/>
                </a:lnTo>
                <a:lnTo>
                  <a:pt x="187" y="177"/>
                </a:lnTo>
                <a:lnTo>
                  <a:pt x="187" y="174"/>
                </a:lnTo>
                <a:lnTo>
                  <a:pt x="182" y="167"/>
                </a:lnTo>
                <a:lnTo>
                  <a:pt x="182" y="162"/>
                </a:lnTo>
                <a:lnTo>
                  <a:pt x="182" y="162"/>
                </a:lnTo>
                <a:lnTo>
                  <a:pt x="179" y="157"/>
                </a:lnTo>
                <a:lnTo>
                  <a:pt x="179" y="157"/>
                </a:lnTo>
                <a:lnTo>
                  <a:pt x="177" y="155"/>
                </a:lnTo>
                <a:lnTo>
                  <a:pt x="177" y="155"/>
                </a:lnTo>
                <a:lnTo>
                  <a:pt x="177" y="155"/>
                </a:lnTo>
                <a:lnTo>
                  <a:pt x="174" y="155"/>
                </a:lnTo>
                <a:lnTo>
                  <a:pt x="174" y="152"/>
                </a:lnTo>
                <a:lnTo>
                  <a:pt x="179" y="142"/>
                </a:lnTo>
                <a:lnTo>
                  <a:pt x="174" y="135"/>
                </a:lnTo>
                <a:lnTo>
                  <a:pt x="174" y="133"/>
                </a:lnTo>
                <a:lnTo>
                  <a:pt x="174" y="130"/>
                </a:lnTo>
                <a:lnTo>
                  <a:pt x="174" y="125"/>
                </a:lnTo>
                <a:lnTo>
                  <a:pt x="174" y="123"/>
                </a:lnTo>
                <a:lnTo>
                  <a:pt x="174" y="120"/>
                </a:lnTo>
                <a:lnTo>
                  <a:pt x="174" y="115"/>
                </a:lnTo>
                <a:lnTo>
                  <a:pt x="174" y="113"/>
                </a:lnTo>
                <a:lnTo>
                  <a:pt x="179" y="110"/>
                </a:lnTo>
                <a:lnTo>
                  <a:pt x="179" y="108"/>
                </a:lnTo>
                <a:lnTo>
                  <a:pt x="179" y="106"/>
                </a:lnTo>
                <a:lnTo>
                  <a:pt x="182" y="103"/>
                </a:lnTo>
                <a:lnTo>
                  <a:pt x="179" y="98"/>
                </a:lnTo>
                <a:lnTo>
                  <a:pt x="177" y="96"/>
                </a:lnTo>
                <a:lnTo>
                  <a:pt x="174" y="96"/>
                </a:lnTo>
                <a:lnTo>
                  <a:pt x="174" y="98"/>
                </a:lnTo>
                <a:lnTo>
                  <a:pt x="170" y="98"/>
                </a:lnTo>
                <a:lnTo>
                  <a:pt x="167" y="98"/>
                </a:lnTo>
                <a:lnTo>
                  <a:pt x="165" y="98"/>
                </a:lnTo>
                <a:lnTo>
                  <a:pt x="162" y="98"/>
                </a:lnTo>
                <a:lnTo>
                  <a:pt x="160" y="96"/>
                </a:lnTo>
                <a:lnTo>
                  <a:pt x="157" y="98"/>
                </a:lnTo>
                <a:lnTo>
                  <a:pt x="157" y="96"/>
                </a:lnTo>
                <a:lnTo>
                  <a:pt x="152" y="98"/>
                </a:lnTo>
                <a:lnTo>
                  <a:pt x="140" y="86"/>
                </a:lnTo>
                <a:lnTo>
                  <a:pt x="138" y="83"/>
                </a:lnTo>
                <a:lnTo>
                  <a:pt x="133" y="83"/>
                </a:lnTo>
                <a:lnTo>
                  <a:pt x="128" y="83"/>
                </a:lnTo>
                <a:lnTo>
                  <a:pt x="128" y="86"/>
                </a:lnTo>
                <a:lnTo>
                  <a:pt x="123" y="83"/>
                </a:lnTo>
                <a:lnTo>
                  <a:pt x="120" y="83"/>
                </a:lnTo>
                <a:lnTo>
                  <a:pt x="118" y="86"/>
                </a:lnTo>
                <a:lnTo>
                  <a:pt x="113" y="83"/>
                </a:lnTo>
                <a:lnTo>
                  <a:pt x="111" y="83"/>
                </a:lnTo>
                <a:lnTo>
                  <a:pt x="108" y="81"/>
                </a:lnTo>
                <a:lnTo>
                  <a:pt x="103" y="79"/>
                </a:lnTo>
                <a:lnTo>
                  <a:pt x="103" y="76"/>
                </a:lnTo>
                <a:lnTo>
                  <a:pt x="103" y="74"/>
                </a:lnTo>
                <a:lnTo>
                  <a:pt x="103" y="74"/>
                </a:lnTo>
                <a:lnTo>
                  <a:pt x="106" y="69"/>
                </a:lnTo>
                <a:lnTo>
                  <a:pt x="106" y="66"/>
                </a:lnTo>
                <a:lnTo>
                  <a:pt x="103" y="61"/>
                </a:lnTo>
                <a:lnTo>
                  <a:pt x="96" y="51"/>
                </a:lnTo>
                <a:lnTo>
                  <a:pt x="93" y="51"/>
                </a:lnTo>
                <a:lnTo>
                  <a:pt x="91" y="51"/>
                </a:lnTo>
                <a:lnTo>
                  <a:pt x="91" y="49"/>
                </a:lnTo>
                <a:lnTo>
                  <a:pt x="93" y="44"/>
                </a:lnTo>
                <a:lnTo>
                  <a:pt x="93" y="39"/>
                </a:lnTo>
                <a:lnTo>
                  <a:pt x="93" y="37"/>
                </a:lnTo>
                <a:lnTo>
                  <a:pt x="93" y="34"/>
                </a:lnTo>
                <a:lnTo>
                  <a:pt x="98" y="27"/>
                </a:lnTo>
                <a:lnTo>
                  <a:pt x="101" y="24"/>
                </a:lnTo>
                <a:lnTo>
                  <a:pt x="103" y="22"/>
                </a:lnTo>
                <a:lnTo>
                  <a:pt x="106" y="19"/>
                </a:lnTo>
                <a:lnTo>
                  <a:pt x="108" y="19"/>
                </a:lnTo>
                <a:lnTo>
                  <a:pt x="113" y="12"/>
                </a:lnTo>
                <a:lnTo>
                  <a:pt x="120" y="7"/>
                </a:lnTo>
                <a:lnTo>
                  <a:pt x="120" y="7"/>
                </a:lnTo>
                <a:lnTo>
                  <a:pt x="123" y="7"/>
                </a:lnTo>
                <a:lnTo>
                  <a:pt x="123" y="7"/>
                </a:lnTo>
                <a:lnTo>
                  <a:pt x="125" y="7"/>
                </a:lnTo>
                <a:lnTo>
                  <a:pt x="125" y="5"/>
                </a:lnTo>
                <a:lnTo>
                  <a:pt x="125" y="2"/>
                </a:lnTo>
                <a:lnTo>
                  <a:pt x="118" y="0"/>
                </a:lnTo>
                <a:lnTo>
                  <a:pt x="115" y="0"/>
                </a:lnTo>
                <a:lnTo>
                  <a:pt x="115" y="0"/>
                </a:lnTo>
                <a:lnTo>
                  <a:pt x="115" y="2"/>
                </a:lnTo>
                <a:lnTo>
                  <a:pt x="113" y="2"/>
                </a:lnTo>
                <a:lnTo>
                  <a:pt x="113" y="2"/>
                </a:lnTo>
                <a:lnTo>
                  <a:pt x="111" y="2"/>
                </a:lnTo>
                <a:lnTo>
                  <a:pt x="108" y="2"/>
                </a:lnTo>
                <a:lnTo>
                  <a:pt x="106" y="5"/>
                </a:lnTo>
                <a:lnTo>
                  <a:pt x="108" y="7"/>
                </a:lnTo>
                <a:lnTo>
                  <a:pt x="106" y="7"/>
                </a:lnTo>
                <a:lnTo>
                  <a:pt x="103" y="10"/>
                </a:lnTo>
                <a:lnTo>
                  <a:pt x="96" y="12"/>
                </a:lnTo>
                <a:lnTo>
                  <a:pt x="93" y="15"/>
                </a:lnTo>
                <a:lnTo>
                  <a:pt x="88" y="17"/>
                </a:lnTo>
                <a:lnTo>
                  <a:pt x="83" y="17"/>
                </a:lnTo>
                <a:lnTo>
                  <a:pt x="79" y="17"/>
                </a:lnTo>
                <a:lnTo>
                  <a:pt x="76" y="17"/>
                </a:lnTo>
                <a:lnTo>
                  <a:pt x="76" y="19"/>
                </a:lnTo>
                <a:lnTo>
                  <a:pt x="79" y="22"/>
                </a:lnTo>
                <a:lnTo>
                  <a:pt x="79" y="24"/>
                </a:lnTo>
                <a:lnTo>
                  <a:pt x="76" y="27"/>
                </a:lnTo>
                <a:lnTo>
                  <a:pt x="74" y="27"/>
                </a:lnTo>
                <a:lnTo>
                  <a:pt x="74" y="24"/>
                </a:lnTo>
                <a:lnTo>
                  <a:pt x="74" y="22"/>
                </a:lnTo>
                <a:lnTo>
                  <a:pt x="76" y="22"/>
                </a:lnTo>
                <a:lnTo>
                  <a:pt x="74" y="22"/>
                </a:lnTo>
                <a:lnTo>
                  <a:pt x="69" y="19"/>
                </a:lnTo>
                <a:lnTo>
                  <a:pt x="66" y="19"/>
                </a:lnTo>
                <a:lnTo>
                  <a:pt x="61" y="24"/>
                </a:lnTo>
                <a:lnTo>
                  <a:pt x="61" y="24"/>
                </a:lnTo>
                <a:lnTo>
                  <a:pt x="56" y="29"/>
                </a:lnTo>
                <a:lnTo>
                  <a:pt x="54" y="37"/>
                </a:lnTo>
                <a:lnTo>
                  <a:pt x="51" y="39"/>
                </a:lnTo>
                <a:lnTo>
                  <a:pt x="54" y="39"/>
                </a:lnTo>
                <a:lnTo>
                  <a:pt x="54" y="39"/>
                </a:lnTo>
                <a:lnTo>
                  <a:pt x="54" y="42"/>
                </a:lnTo>
                <a:lnTo>
                  <a:pt x="54" y="47"/>
                </a:lnTo>
                <a:lnTo>
                  <a:pt x="51" y="47"/>
                </a:lnTo>
                <a:lnTo>
                  <a:pt x="49" y="47"/>
                </a:lnTo>
                <a:lnTo>
                  <a:pt x="47" y="49"/>
                </a:lnTo>
                <a:lnTo>
                  <a:pt x="44" y="51"/>
                </a:lnTo>
                <a:lnTo>
                  <a:pt x="42" y="54"/>
                </a:lnTo>
                <a:lnTo>
                  <a:pt x="39" y="56"/>
                </a:lnTo>
                <a:lnTo>
                  <a:pt x="37" y="59"/>
                </a:lnTo>
                <a:lnTo>
                  <a:pt x="34" y="59"/>
                </a:lnTo>
                <a:lnTo>
                  <a:pt x="34" y="61"/>
                </a:lnTo>
                <a:lnTo>
                  <a:pt x="37" y="64"/>
                </a:lnTo>
                <a:lnTo>
                  <a:pt x="37" y="66"/>
                </a:lnTo>
                <a:lnTo>
                  <a:pt x="37" y="71"/>
                </a:lnTo>
                <a:lnTo>
                  <a:pt x="34" y="71"/>
                </a:lnTo>
                <a:lnTo>
                  <a:pt x="32" y="69"/>
                </a:lnTo>
                <a:lnTo>
                  <a:pt x="32" y="66"/>
                </a:lnTo>
                <a:lnTo>
                  <a:pt x="32" y="66"/>
                </a:lnTo>
                <a:lnTo>
                  <a:pt x="29" y="64"/>
                </a:lnTo>
                <a:lnTo>
                  <a:pt x="29" y="61"/>
                </a:lnTo>
                <a:lnTo>
                  <a:pt x="27" y="59"/>
                </a:lnTo>
                <a:lnTo>
                  <a:pt x="24" y="61"/>
                </a:lnTo>
                <a:lnTo>
                  <a:pt x="27" y="64"/>
                </a:lnTo>
                <a:lnTo>
                  <a:pt x="27" y="66"/>
                </a:lnTo>
                <a:lnTo>
                  <a:pt x="24" y="71"/>
                </a:lnTo>
                <a:lnTo>
                  <a:pt x="24" y="74"/>
                </a:lnTo>
                <a:lnTo>
                  <a:pt x="22" y="76"/>
                </a:lnTo>
                <a:lnTo>
                  <a:pt x="19" y="76"/>
                </a:lnTo>
                <a:lnTo>
                  <a:pt x="19" y="81"/>
                </a:lnTo>
                <a:lnTo>
                  <a:pt x="19" y="81"/>
                </a:lnTo>
                <a:lnTo>
                  <a:pt x="19" y="86"/>
                </a:lnTo>
                <a:lnTo>
                  <a:pt x="19" y="88"/>
                </a:lnTo>
                <a:lnTo>
                  <a:pt x="24" y="93"/>
                </a:lnTo>
                <a:lnTo>
                  <a:pt x="24" y="93"/>
                </a:lnTo>
                <a:lnTo>
                  <a:pt x="27" y="91"/>
                </a:lnTo>
                <a:lnTo>
                  <a:pt x="27" y="93"/>
                </a:lnTo>
                <a:lnTo>
                  <a:pt x="27" y="96"/>
                </a:lnTo>
                <a:lnTo>
                  <a:pt x="24" y="98"/>
                </a:lnTo>
                <a:lnTo>
                  <a:pt x="24" y="101"/>
                </a:lnTo>
                <a:lnTo>
                  <a:pt x="27" y="103"/>
                </a:lnTo>
                <a:lnTo>
                  <a:pt x="27" y="106"/>
                </a:lnTo>
                <a:lnTo>
                  <a:pt x="24" y="108"/>
                </a:lnTo>
                <a:lnTo>
                  <a:pt x="24" y="110"/>
                </a:lnTo>
                <a:lnTo>
                  <a:pt x="24" y="110"/>
                </a:lnTo>
                <a:lnTo>
                  <a:pt x="27" y="113"/>
                </a:lnTo>
                <a:lnTo>
                  <a:pt x="27" y="118"/>
                </a:lnTo>
                <a:lnTo>
                  <a:pt x="27" y="125"/>
                </a:lnTo>
                <a:lnTo>
                  <a:pt x="24" y="128"/>
                </a:lnTo>
                <a:lnTo>
                  <a:pt x="24" y="130"/>
                </a:lnTo>
                <a:lnTo>
                  <a:pt x="24" y="133"/>
                </a:lnTo>
                <a:lnTo>
                  <a:pt x="29" y="133"/>
                </a:lnTo>
                <a:lnTo>
                  <a:pt x="27" y="133"/>
                </a:lnTo>
                <a:lnTo>
                  <a:pt x="29" y="135"/>
                </a:lnTo>
                <a:lnTo>
                  <a:pt x="32" y="135"/>
                </a:lnTo>
                <a:lnTo>
                  <a:pt x="32" y="138"/>
                </a:lnTo>
                <a:lnTo>
                  <a:pt x="29" y="140"/>
                </a:lnTo>
                <a:lnTo>
                  <a:pt x="29" y="142"/>
                </a:lnTo>
                <a:lnTo>
                  <a:pt x="22" y="147"/>
                </a:lnTo>
                <a:lnTo>
                  <a:pt x="22" y="152"/>
                </a:lnTo>
                <a:lnTo>
                  <a:pt x="17" y="155"/>
                </a:lnTo>
                <a:lnTo>
                  <a:pt x="10" y="157"/>
                </a:lnTo>
                <a:lnTo>
                  <a:pt x="7" y="160"/>
                </a:lnTo>
                <a:lnTo>
                  <a:pt x="2" y="167"/>
                </a:lnTo>
                <a:lnTo>
                  <a:pt x="2" y="172"/>
                </a:lnTo>
                <a:lnTo>
                  <a:pt x="0" y="174"/>
                </a:lnTo>
                <a:lnTo>
                  <a:pt x="5" y="177"/>
                </a:lnTo>
                <a:lnTo>
                  <a:pt x="10" y="179"/>
                </a:lnTo>
                <a:lnTo>
                  <a:pt x="17" y="184"/>
                </a:lnTo>
                <a:lnTo>
                  <a:pt x="19" y="184"/>
                </a:lnTo>
                <a:lnTo>
                  <a:pt x="24" y="189"/>
                </a:lnTo>
                <a:lnTo>
                  <a:pt x="22" y="192"/>
                </a:lnTo>
                <a:lnTo>
                  <a:pt x="24" y="192"/>
                </a:lnTo>
                <a:lnTo>
                  <a:pt x="29" y="194"/>
                </a:lnTo>
                <a:lnTo>
                  <a:pt x="34" y="197"/>
                </a:lnTo>
                <a:lnTo>
                  <a:pt x="37" y="197"/>
                </a:lnTo>
                <a:lnTo>
                  <a:pt x="42" y="199"/>
                </a:lnTo>
                <a:lnTo>
                  <a:pt x="42" y="197"/>
                </a:lnTo>
                <a:lnTo>
                  <a:pt x="42" y="194"/>
                </a:lnTo>
                <a:lnTo>
                  <a:pt x="44" y="192"/>
                </a:lnTo>
                <a:lnTo>
                  <a:pt x="47" y="192"/>
                </a:lnTo>
                <a:lnTo>
                  <a:pt x="49" y="194"/>
                </a:lnTo>
                <a:lnTo>
                  <a:pt x="51" y="194"/>
                </a:lnTo>
                <a:lnTo>
                  <a:pt x="54" y="197"/>
                </a:lnTo>
                <a:lnTo>
                  <a:pt x="56" y="197"/>
                </a:lnTo>
                <a:lnTo>
                  <a:pt x="56" y="197"/>
                </a:lnTo>
                <a:lnTo>
                  <a:pt x="56" y="197"/>
                </a:lnTo>
                <a:lnTo>
                  <a:pt x="59" y="199"/>
                </a:lnTo>
                <a:lnTo>
                  <a:pt x="64" y="201"/>
                </a:lnTo>
                <a:lnTo>
                  <a:pt x="69" y="201"/>
                </a:lnTo>
                <a:lnTo>
                  <a:pt x="69" y="204"/>
                </a:lnTo>
                <a:lnTo>
                  <a:pt x="71" y="206"/>
                </a:lnTo>
                <a:lnTo>
                  <a:pt x="74" y="211"/>
                </a:lnTo>
                <a:lnTo>
                  <a:pt x="76" y="216"/>
                </a:lnTo>
                <a:lnTo>
                  <a:pt x="76" y="216"/>
                </a:lnTo>
                <a:lnTo>
                  <a:pt x="83" y="219"/>
                </a:lnTo>
                <a:lnTo>
                  <a:pt x="88" y="221"/>
                </a:lnTo>
                <a:lnTo>
                  <a:pt x="88" y="226"/>
                </a:lnTo>
                <a:lnTo>
                  <a:pt x="88" y="226"/>
                </a:lnTo>
                <a:lnTo>
                  <a:pt x="91" y="229"/>
                </a:lnTo>
                <a:lnTo>
                  <a:pt x="93" y="231"/>
                </a:lnTo>
                <a:lnTo>
                  <a:pt x="91" y="233"/>
                </a:lnTo>
                <a:lnTo>
                  <a:pt x="93" y="236"/>
                </a:lnTo>
                <a:lnTo>
                  <a:pt x="96" y="236"/>
                </a:lnTo>
                <a:lnTo>
                  <a:pt x="98" y="236"/>
                </a:lnTo>
                <a:lnTo>
                  <a:pt x="101" y="236"/>
                </a:lnTo>
                <a:lnTo>
                  <a:pt x="106" y="236"/>
                </a:lnTo>
                <a:lnTo>
                  <a:pt x="106" y="236"/>
                </a:lnTo>
                <a:lnTo>
                  <a:pt x="111" y="233"/>
                </a:lnTo>
                <a:lnTo>
                  <a:pt x="115" y="233"/>
                </a:lnTo>
                <a:lnTo>
                  <a:pt x="120" y="236"/>
                </a:lnTo>
                <a:lnTo>
                  <a:pt x="125" y="233"/>
                </a:lnTo>
                <a:lnTo>
                  <a:pt x="128" y="233"/>
                </a:lnTo>
                <a:lnTo>
                  <a:pt x="128" y="233"/>
                </a:lnTo>
                <a:lnTo>
                  <a:pt x="130" y="233"/>
                </a:lnTo>
                <a:lnTo>
                  <a:pt x="135" y="236"/>
                </a:lnTo>
                <a:lnTo>
                  <a:pt x="135" y="238"/>
                </a:lnTo>
                <a:lnTo>
                  <a:pt x="138" y="238"/>
                </a:lnTo>
                <a:lnTo>
                  <a:pt x="138" y="238"/>
                </a:lnTo>
                <a:lnTo>
                  <a:pt x="128" y="256"/>
                </a:lnTo>
                <a:lnTo>
                  <a:pt x="130" y="258"/>
                </a:lnTo>
                <a:lnTo>
                  <a:pt x="133" y="258"/>
                </a:lnTo>
                <a:lnTo>
                  <a:pt x="138" y="258"/>
                </a:lnTo>
                <a:lnTo>
                  <a:pt x="140" y="261"/>
                </a:lnTo>
                <a:lnTo>
                  <a:pt x="140" y="263"/>
                </a:lnTo>
                <a:lnTo>
                  <a:pt x="140" y="263"/>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5" name="Freeform 194"/>
          <p:cNvSpPr>
            <a:spLocks noEditPoints="1"/>
          </p:cNvSpPr>
          <p:nvPr/>
        </p:nvSpPr>
        <p:spPr bwMode="auto">
          <a:xfrm>
            <a:off x="2728378" y="4417120"/>
            <a:ext cx="148417" cy="155140"/>
          </a:xfrm>
          <a:custGeom>
            <a:avLst/>
            <a:gdLst/>
            <a:ahLst/>
            <a:cxnLst>
              <a:cxn ang="0">
                <a:pos x="88" y="23"/>
              </a:cxn>
              <a:cxn ang="0">
                <a:pos x="83" y="20"/>
              </a:cxn>
              <a:cxn ang="0">
                <a:pos x="79" y="18"/>
              </a:cxn>
              <a:cxn ang="0">
                <a:pos x="74" y="20"/>
              </a:cxn>
              <a:cxn ang="0">
                <a:pos x="74" y="25"/>
              </a:cxn>
              <a:cxn ang="0">
                <a:pos x="66" y="23"/>
              </a:cxn>
              <a:cxn ang="0">
                <a:pos x="56" y="18"/>
              </a:cxn>
              <a:cxn ang="0">
                <a:pos x="56" y="15"/>
              </a:cxn>
              <a:cxn ang="0">
                <a:pos x="49" y="10"/>
              </a:cxn>
              <a:cxn ang="0">
                <a:pos x="37" y="3"/>
              </a:cxn>
              <a:cxn ang="0">
                <a:pos x="32" y="5"/>
              </a:cxn>
              <a:cxn ang="0">
                <a:pos x="20" y="10"/>
              </a:cxn>
              <a:cxn ang="0">
                <a:pos x="12" y="13"/>
              </a:cxn>
              <a:cxn ang="0">
                <a:pos x="15" y="18"/>
              </a:cxn>
              <a:cxn ang="0">
                <a:pos x="15" y="25"/>
              </a:cxn>
              <a:cxn ang="0">
                <a:pos x="10" y="32"/>
              </a:cxn>
              <a:cxn ang="0">
                <a:pos x="7" y="40"/>
              </a:cxn>
              <a:cxn ang="0">
                <a:pos x="2" y="42"/>
              </a:cxn>
              <a:cxn ang="0">
                <a:pos x="2" y="50"/>
              </a:cxn>
              <a:cxn ang="0">
                <a:pos x="5" y="57"/>
              </a:cxn>
              <a:cxn ang="0">
                <a:pos x="0" y="59"/>
              </a:cxn>
              <a:cxn ang="0">
                <a:pos x="5" y="64"/>
              </a:cxn>
              <a:cxn ang="0">
                <a:pos x="12" y="69"/>
              </a:cxn>
              <a:cxn ang="0">
                <a:pos x="15" y="64"/>
              </a:cxn>
              <a:cxn ang="0">
                <a:pos x="17" y="59"/>
              </a:cxn>
              <a:cxn ang="0">
                <a:pos x="17" y="64"/>
              </a:cxn>
              <a:cxn ang="0">
                <a:pos x="17" y="62"/>
              </a:cxn>
              <a:cxn ang="0">
                <a:pos x="20" y="64"/>
              </a:cxn>
              <a:cxn ang="0">
                <a:pos x="20" y="72"/>
              </a:cxn>
              <a:cxn ang="0">
                <a:pos x="15" y="79"/>
              </a:cxn>
              <a:cxn ang="0">
                <a:pos x="17" y="84"/>
              </a:cxn>
              <a:cxn ang="0">
                <a:pos x="10" y="89"/>
              </a:cxn>
              <a:cxn ang="0">
                <a:pos x="15" y="91"/>
              </a:cxn>
              <a:cxn ang="0">
                <a:pos x="20" y="94"/>
              </a:cxn>
              <a:cxn ang="0">
                <a:pos x="27" y="94"/>
              </a:cxn>
              <a:cxn ang="0">
                <a:pos x="34" y="101"/>
              </a:cxn>
              <a:cxn ang="0">
                <a:pos x="49" y="74"/>
              </a:cxn>
              <a:cxn ang="0">
                <a:pos x="66" y="67"/>
              </a:cxn>
              <a:cxn ang="0">
                <a:pos x="83" y="52"/>
              </a:cxn>
              <a:cxn ang="0">
                <a:pos x="91" y="42"/>
              </a:cxn>
              <a:cxn ang="0">
                <a:pos x="91" y="37"/>
              </a:cxn>
              <a:cxn ang="0">
                <a:pos x="88" y="27"/>
              </a:cxn>
              <a:cxn ang="0">
                <a:pos x="88" y="23"/>
              </a:cxn>
              <a:cxn ang="0">
                <a:pos x="88" y="23"/>
              </a:cxn>
              <a:cxn ang="0">
                <a:pos x="12" y="74"/>
              </a:cxn>
              <a:cxn ang="0">
                <a:pos x="12" y="69"/>
              </a:cxn>
              <a:cxn ang="0">
                <a:pos x="15" y="67"/>
              </a:cxn>
              <a:cxn ang="0">
                <a:pos x="15" y="72"/>
              </a:cxn>
              <a:cxn ang="0">
                <a:pos x="12" y="74"/>
              </a:cxn>
              <a:cxn ang="0">
                <a:pos x="12" y="74"/>
              </a:cxn>
            </a:cxnLst>
            <a:rect l="0" t="0" r="r" b="b"/>
            <a:pathLst>
              <a:path w="91" h="101">
                <a:moveTo>
                  <a:pt x="88" y="23"/>
                </a:moveTo>
                <a:lnTo>
                  <a:pt x="88" y="23"/>
                </a:lnTo>
                <a:lnTo>
                  <a:pt x="86" y="23"/>
                </a:lnTo>
                <a:lnTo>
                  <a:pt x="83" y="20"/>
                </a:lnTo>
                <a:lnTo>
                  <a:pt x="81" y="20"/>
                </a:lnTo>
                <a:lnTo>
                  <a:pt x="79" y="18"/>
                </a:lnTo>
                <a:lnTo>
                  <a:pt x="76" y="18"/>
                </a:lnTo>
                <a:lnTo>
                  <a:pt x="74" y="20"/>
                </a:lnTo>
                <a:lnTo>
                  <a:pt x="74" y="23"/>
                </a:lnTo>
                <a:lnTo>
                  <a:pt x="74" y="25"/>
                </a:lnTo>
                <a:lnTo>
                  <a:pt x="69" y="23"/>
                </a:lnTo>
                <a:lnTo>
                  <a:pt x="66" y="23"/>
                </a:lnTo>
                <a:lnTo>
                  <a:pt x="61" y="20"/>
                </a:lnTo>
                <a:lnTo>
                  <a:pt x="56" y="18"/>
                </a:lnTo>
                <a:lnTo>
                  <a:pt x="54" y="18"/>
                </a:lnTo>
                <a:lnTo>
                  <a:pt x="56" y="15"/>
                </a:lnTo>
                <a:lnTo>
                  <a:pt x="51" y="10"/>
                </a:lnTo>
                <a:lnTo>
                  <a:pt x="49" y="10"/>
                </a:lnTo>
                <a:lnTo>
                  <a:pt x="42" y="5"/>
                </a:lnTo>
                <a:lnTo>
                  <a:pt x="37" y="3"/>
                </a:lnTo>
                <a:lnTo>
                  <a:pt x="32" y="0"/>
                </a:lnTo>
                <a:lnTo>
                  <a:pt x="32" y="5"/>
                </a:lnTo>
                <a:lnTo>
                  <a:pt x="27" y="5"/>
                </a:lnTo>
                <a:lnTo>
                  <a:pt x="20" y="10"/>
                </a:lnTo>
                <a:lnTo>
                  <a:pt x="17" y="10"/>
                </a:lnTo>
                <a:lnTo>
                  <a:pt x="12" y="13"/>
                </a:lnTo>
                <a:lnTo>
                  <a:pt x="15" y="15"/>
                </a:lnTo>
                <a:lnTo>
                  <a:pt x="15" y="18"/>
                </a:lnTo>
                <a:lnTo>
                  <a:pt x="15" y="20"/>
                </a:lnTo>
                <a:lnTo>
                  <a:pt x="15" y="25"/>
                </a:lnTo>
                <a:lnTo>
                  <a:pt x="10" y="30"/>
                </a:lnTo>
                <a:lnTo>
                  <a:pt x="10" y="32"/>
                </a:lnTo>
                <a:lnTo>
                  <a:pt x="10" y="35"/>
                </a:lnTo>
                <a:lnTo>
                  <a:pt x="7" y="40"/>
                </a:lnTo>
                <a:lnTo>
                  <a:pt x="5" y="40"/>
                </a:lnTo>
                <a:lnTo>
                  <a:pt x="2" y="42"/>
                </a:lnTo>
                <a:lnTo>
                  <a:pt x="2" y="45"/>
                </a:lnTo>
                <a:lnTo>
                  <a:pt x="2" y="50"/>
                </a:lnTo>
                <a:lnTo>
                  <a:pt x="2" y="52"/>
                </a:lnTo>
                <a:lnTo>
                  <a:pt x="5" y="57"/>
                </a:lnTo>
                <a:lnTo>
                  <a:pt x="2" y="59"/>
                </a:lnTo>
                <a:lnTo>
                  <a:pt x="0" y="59"/>
                </a:lnTo>
                <a:lnTo>
                  <a:pt x="2" y="62"/>
                </a:lnTo>
                <a:lnTo>
                  <a:pt x="5" y="64"/>
                </a:lnTo>
                <a:lnTo>
                  <a:pt x="10" y="67"/>
                </a:lnTo>
                <a:lnTo>
                  <a:pt x="12" y="69"/>
                </a:lnTo>
                <a:lnTo>
                  <a:pt x="12" y="67"/>
                </a:lnTo>
                <a:lnTo>
                  <a:pt x="15" y="64"/>
                </a:lnTo>
                <a:lnTo>
                  <a:pt x="15" y="62"/>
                </a:lnTo>
                <a:lnTo>
                  <a:pt x="17" y="59"/>
                </a:lnTo>
                <a:lnTo>
                  <a:pt x="17" y="62"/>
                </a:lnTo>
                <a:lnTo>
                  <a:pt x="17" y="64"/>
                </a:lnTo>
                <a:lnTo>
                  <a:pt x="17" y="64"/>
                </a:lnTo>
                <a:lnTo>
                  <a:pt x="17" y="62"/>
                </a:lnTo>
                <a:lnTo>
                  <a:pt x="20" y="62"/>
                </a:lnTo>
                <a:lnTo>
                  <a:pt x="20" y="64"/>
                </a:lnTo>
                <a:lnTo>
                  <a:pt x="20" y="69"/>
                </a:lnTo>
                <a:lnTo>
                  <a:pt x="20" y="72"/>
                </a:lnTo>
                <a:lnTo>
                  <a:pt x="17" y="77"/>
                </a:lnTo>
                <a:lnTo>
                  <a:pt x="15" y="79"/>
                </a:lnTo>
                <a:lnTo>
                  <a:pt x="15" y="79"/>
                </a:lnTo>
                <a:lnTo>
                  <a:pt x="17" y="84"/>
                </a:lnTo>
                <a:lnTo>
                  <a:pt x="12" y="87"/>
                </a:lnTo>
                <a:lnTo>
                  <a:pt x="10" y="89"/>
                </a:lnTo>
                <a:lnTo>
                  <a:pt x="12" y="91"/>
                </a:lnTo>
                <a:lnTo>
                  <a:pt x="15" y="91"/>
                </a:lnTo>
                <a:lnTo>
                  <a:pt x="17" y="91"/>
                </a:lnTo>
                <a:lnTo>
                  <a:pt x="20" y="94"/>
                </a:lnTo>
                <a:lnTo>
                  <a:pt x="24" y="94"/>
                </a:lnTo>
                <a:lnTo>
                  <a:pt x="27" y="94"/>
                </a:lnTo>
                <a:lnTo>
                  <a:pt x="32" y="101"/>
                </a:lnTo>
                <a:lnTo>
                  <a:pt x="34" y="101"/>
                </a:lnTo>
                <a:lnTo>
                  <a:pt x="37" y="99"/>
                </a:lnTo>
                <a:lnTo>
                  <a:pt x="49" y="74"/>
                </a:lnTo>
                <a:lnTo>
                  <a:pt x="49" y="72"/>
                </a:lnTo>
                <a:lnTo>
                  <a:pt x="66" y="67"/>
                </a:lnTo>
                <a:lnTo>
                  <a:pt x="74" y="62"/>
                </a:lnTo>
                <a:lnTo>
                  <a:pt x="83" y="52"/>
                </a:lnTo>
                <a:lnTo>
                  <a:pt x="88" y="42"/>
                </a:lnTo>
                <a:lnTo>
                  <a:pt x="91" y="42"/>
                </a:lnTo>
                <a:lnTo>
                  <a:pt x="91" y="40"/>
                </a:lnTo>
                <a:lnTo>
                  <a:pt x="91" y="37"/>
                </a:lnTo>
                <a:lnTo>
                  <a:pt x="91" y="32"/>
                </a:lnTo>
                <a:lnTo>
                  <a:pt x="88" y="27"/>
                </a:lnTo>
                <a:lnTo>
                  <a:pt x="88" y="25"/>
                </a:lnTo>
                <a:lnTo>
                  <a:pt x="88" y="23"/>
                </a:lnTo>
                <a:lnTo>
                  <a:pt x="88" y="23"/>
                </a:lnTo>
                <a:lnTo>
                  <a:pt x="88" y="23"/>
                </a:lnTo>
                <a:lnTo>
                  <a:pt x="88" y="23"/>
                </a:lnTo>
                <a:close/>
                <a:moveTo>
                  <a:pt x="12" y="74"/>
                </a:moveTo>
                <a:lnTo>
                  <a:pt x="12" y="72"/>
                </a:lnTo>
                <a:lnTo>
                  <a:pt x="12" y="69"/>
                </a:lnTo>
                <a:lnTo>
                  <a:pt x="15" y="67"/>
                </a:lnTo>
                <a:lnTo>
                  <a:pt x="15" y="67"/>
                </a:lnTo>
                <a:lnTo>
                  <a:pt x="15" y="69"/>
                </a:lnTo>
                <a:lnTo>
                  <a:pt x="15" y="72"/>
                </a:lnTo>
                <a:lnTo>
                  <a:pt x="15" y="74"/>
                </a:lnTo>
                <a:lnTo>
                  <a:pt x="12" y="74"/>
                </a:lnTo>
                <a:lnTo>
                  <a:pt x="12" y="74"/>
                </a:lnTo>
                <a:lnTo>
                  <a:pt x="12" y="7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6" name="Freeform 195"/>
          <p:cNvSpPr>
            <a:spLocks/>
          </p:cNvSpPr>
          <p:nvPr/>
        </p:nvSpPr>
        <p:spPr bwMode="auto">
          <a:xfrm>
            <a:off x="2720221" y="4452449"/>
            <a:ext cx="324562" cy="453132"/>
          </a:xfrm>
          <a:custGeom>
            <a:avLst/>
            <a:gdLst/>
            <a:ahLst/>
            <a:cxnLst>
              <a:cxn ang="0">
                <a:pos x="182" y="174"/>
              </a:cxn>
              <a:cxn ang="0">
                <a:pos x="172" y="174"/>
              </a:cxn>
              <a:cxn ang="0">
                <a:pos x="172" y="155"/>
              </a:cxn>
              <a:cxn ang="0">
                <a:pos x="157" y="157"/>
              </a:cxn>
              <a:cxn ang="0">
                <a:pos x="140" y="147"/>
              </a:cxn>
              <a:cxn ang="0">
                <a:pos x="123" y="130"/>
              </a:cxn>
              <a:cxn ang="0">
                <a:pos x="118" y="120"/>
              </a:cxn>
              <a:cxn ang="0">
                <a:pos x="120" y="108"/>
              </a:cxn>
              <a:cxn ang="0">
                <a:pos x="128" y="100"/>
              </a:cxn>
              <a:cxn ang="0">
                <a:pos x="130" y="86"/>
              </a:cxn>
              <a:cxn ang="0">
                <a:pos x="140" y="76"/>
              </a:cxn>
              <a:cxn ang="0">
                <a:pos x="162" y="68"/>
              </a:cxn>
              <a:cxn ang="0">
                <a:pos x="170" y="66"/>
              </a:cxn>
              <a:cxn ang="0">
                <a:pos x="177" y="68"/>
              </a:cxn>
              <a:cxn ang="0">
                <a:pos x="167" y="61"/>
              </a:cxn>
              <a:cxn ang="0">
                <a:pos x="172" y="41"/>
              </a:cxn>
              <a:cxn ang="0">
                <a:pos x="165" y="36"/>
              </a:cxn>
              <a:cxn ang="0">
                <a:pos x="148" y="36"/>
              </a:cxn>
              <a:cxn ang="0">
                <a:pos x="135" y="39"/>
              </a:cxn>
              <a:cxn ang="0">
                <a:pos x="130" y="34"/>
              </a:cxn>
              <a:cxn ang="0">
                <a:pos x="125" y="24"/>
              </a:cxn>
              <a:cxn ang="0">
                <a:pos x="111" y="14"/>
              </a:cxn>
              <a:cxn ang="0">
                <a:pos x="101" y="4"/>
              </a:cxn>
              <a:cxn ang="0">
                <a:pos x="93" y="2"/>
              </a:cxn>
              <a:cxn ang="0">
                <a:pos x="96" y="17"/>
              </a:cxn>
              <a:cxn ang="0">
                <a:pos x="79" y="39"/>
              </a:cxn>
              <a:cxn ang="0">
                <a:pos x="42" y="76"/>
              </a:cxn>
              <a:cxn ang="0">
                <a:pos x="29" y="71"/>
              </a:cxn>
              <a:cxn ang="0">
                <a:pos x="17" y="68"/>
              </a:cxn>
              <a:cxn ang="0">
                <a:pos x="20" y="56"/>
              </a:cxn>
              <a:cxn ang="0">
                <a:pos x="7" y="64"/>
              </a:cxn>
              <a:cxn ang="0">
                <a:pos x="0" y="76"/>
              </a:cxn>
              <a:cxn ang="0">
                <a:pos x="2" y="83"/>
              </a:cxn>
              <a:cxn ang="0">
                <a:pos x="5" y="93"/>
              </a:cxn>
              <a:cxn ang="0">
                <a:pos x="7" y="100"/>
              </a:cxn>
              <a:cxn ang="0">
                <a:pos x="25" y="110"/>
              </a:cxn>
              <a:cxn ang="0">
                <a:pos x="32" y="125"/>
              </a:cxn>
              <a:cxn ang="0">
                <a:pos x="44" y="140"/>
              </a:cxn>
              <a:cxn ang="0">
                <a:pos x="52" y="155"/>
              </a:cxn>
              <a:cxn ang="0">
                <a:pos x="59" y="172"/>
              </a:cxn>
              <a:cxn ang="0">
                <a:pos x="61" y="179"/>
              </a:cxn>
              <a:cxn ang="0">
                <a:pos x="71" y="194"/>
              </a:cxn>
              <a:cxn ang="0">
                <a:pos x="81" y="209"/>
              </a:cxn>
              <a:cxn ang="0">
                <a:pos x="84" y="218"/>
              </a:cxn>
              <a:cxn ang="0">
                <a:pos x="86" y="226"/>
              </a:cxn>
              <a:cxn ang="0">
                <a:pos x="93" y="233"/>
              </a:cxn>
              <a:cxn ang="0">
                <a:pos x="103" y="241"/>
              </a:cxn>
              <a:cxn ang="0">
                <a:pos x="111" y="246"/>
              </a:cxn>
              <a:cxn ang="0">
                <a:pos x="120" y="253"/>
              </a:cxn>
              <a:cxn ang="0">
                <a:pos x="128" y="260"/>
              </a:cxn>
              <a:cxn ang="0">
                <a:pos x="143" y="265"/>
              </a:cxn>
              <a:cxn ang="0">
                <a:pos x="152" y="273"/>
              </a:cxn>
              <a:cxn ang="0">
                <a:pos x="160" y="280"/>
              </a:cxn>
              <a:cxn ang="0">
                <a:pos x="167" y="285"/>
              </a:cxn>
              <a:cxn ang="0">
                <a:pos x="179" y="295"/>
              </a:cxn>
              <a:cxn ang="0">
                <a:pos x="192" y="290"/>
              </a:cxn>
              <a:cxn ang="0">
                <a:pos x="192" y="277"/>
              </a:cxn>
              <a:cxn ang="0">
                <a:pos x="189" y="275"/>
              </a:cxn>
              <a:cxn ang="0">
                <a:pos x="199" y="260"/>
              </a:cxn>
              <a:cxn ang="0">
                <a:pos x="197" y="241"/>
              </a:cxn>
              <a:cxn ang="0">
                <a:pos x="197" y="221"/>
              </a:cxn>
              <a:cxn ang="0">
                <a:pos x="199" y="196"/>
              </a:cxn>
            </a:cxnLst>
            <a:rect l="0" t="0" r="r" b="b"/>
            <a:pathLst>
              <a:path w="199" h="295">
                <a:moveTo>
                  <a:pt x="187" y="174"/>
                </a:moveTo>
                <a:lnTo>
                  <a:pt x="184" y="174"/>
                </a:lnTo>
                <a:lnTo>
                  <a:pt x="184" y="174"/>
                </a:lnTo>
                <a:lnTo>
                  <a:pt x="182" y="174"/>
                </a:lnTo>
                <a:lnTo>
                  <a:pt x="179" y="174"/>
                </a:lnTo>
                <a:lnTo>
                  <a:pt x="177" y="174"/>
                </a:lnTo>
                <a:lnTo>
                  <a:pt x="172" y="174"/>
                </a:lnTo>
                <a:lnTo>
                  <a:pt x="172" y="174"/>
                </a:lnTo>
                <a:lnTo>
                  <a:pt x="170" y="169"/>
                </a:lnTo>
                <a:lnTo>
                  <a:pt x="170" y="159"/>
                </a:lnTo>
                <a:lnTo>
                  <a:pt x="170" y="155"/>
                </a:lnTo>
                <a:lnTo>
                  <a:pt x="172" y="155"/>
                </a:lnTo>
                <a:lnTo>
                  <a:pt x="172" y="150"/>
                </a:lnTo>
                <a:lnTo>
                  <a:pt x="170" y="150"/>
                </a:lnTo>
                <a:lnTo>
                  <a:pt x="165" y="152"/>
                </a:lnTo>
                <a:lnTo>
                  <a:pt x="157" y="157"/>
                </a:lnTo>
                <a:lnTo>
                  <a:pt x="150" y="157"/>
                </a:lnTo>
                <a:lnTo>
                  <a:pt x="145" y="157"/>
                </a:lnTo>
                <a:lnTo>
                  <a:pt x="143" y="152"/>
                </a:lnTo>
                <a:lnTo>
                  <a:pt x="140" y="147"/>
                </a:lnTo>
                <a:lnTo>
                  <a:pt x="135" y="147"/>
                </a:lnTo>
                <a:lnTo>
                  <a:pt x="125" y="147"/>
                </a:lnTo>
                <a:lnTo>
                  <a:pt x="130" y="142"/>
                </a:lnTo>
                <a:lnTo>
                  <a:pt x="123" y="130"/>
                </a:lnTo>
                <a:lnTo>
                  <a:pt x="118" y="127"/>
                </a:lnTo>
                <a:lnTo>
                  <a:pt x="118" y="125"/>
                </a:lnTo>
                <a:lnTo>
                  <a:pt x="118" y="123"/>
                </a:lnTo>
                <a:lnTo>
                  <a:pt x="118" y="120"/>
                </a:lnTo>
                <a:lnTo>
                  <a:pt x="118" y="115"/>
                </a:lnTo>
                <a:lnTo>
                  <a:pt x="118" y="113"/>
                </a:lnTo>
                <a:lnTo>
                  <a:pt x="120" y="113"/>
                </a:lnTo>
                <a:lnTo>
                  <a:pt x="120" y="108"/>
                </a:lnTo>
                <a:lnTo>
                  <a:pt x="123" y="105"/>
                </a:lnTo>
                <a:lnTo>
                  <a:pt x="125" y="105"/>
                </a:lnTo>
                <a:lnTo>
                  <a:pt x="128" y="103"/>
                </a:lnTo>
                <a:lnTo>
                  <a:pt x="128" y="100"/>
                </a:lnTo>
                <a:lnTo>
                  <a:pt x="125" y="95"/>
                </a:lnTo>
                <a:lnTo>
                  <a:pt x="130" y="91"/>
                </a:lnTo>
                <a:lnTo>
                  <a:pt x="130" y="88"/>
                </a:lnTo>
                <a:lnTo>
                  <a:pt x="130" y="86"/>
                </a:lnTo>
                <a:lnTo>
                  <a:pt x="130" y="83"/>
                </a:lnTo>
                <a:lnTo>
                  <a:pt x="133" y="81"/>
                </a:lnTo>
                <a:lnTo>
                  <a:pt x="138" y="78"/>
                </a:lnTo>
                <a:lnTo>
                  <a:pt x="140" y="76"/>
                </a:lnTo>
                <a:lnTo>
                  <a:pt x="143" y="76"/>
                </a:lnTo>
                <a:lnTo>
                  <a:pt x="145" y="73"/>
                </a:lnTo>
                <a:lnTo>
                  <a:pt x="152" y="71"/>
                </a:lnTo>
                <a:lnTo>
                  <a:pt x="162" y="68"/>
                </a:lnTo>
                <a:lnTo>
                  <a:pt x="165" y="66"/>
                </a:lnTo>
                <a:lnTo>
                  <a:pt x="165" y="66"/>
                </a:lnTo>
                <a:lnTo>
                  <a:pt x="167" y="66"/>
                </a:lnTo>
                <a:lnTo>
                  <a:pt x="170" y="66"/>
                </a:lnTo>
                <a:lnTo>
                  <a:pt x="172" y="68"/>
                </a:lnTo>
                <a:lnTo>
                  <a:pt x="172" y="68"/>
                </a:lnTo>
                <a:lnTo>
                  <a:pt x="175" y="71"/>
                </a:lnTo>
                <a:lnTo>
                  <a:pt x="177" y="68"/>
                </a:lnTo>
                <a:lnTo>
                  <a:pt x="177" y="64"/>
                </a:lnTo>
                <a:lnTo>
                  <a:pt x="175" y="61"/>
                </a:lnTo>
                <a:lnTo>
                  <a:pt x="170" y="61"/>
                </a:lnTo>
                <a:lnTo>
                  <a:pt x="167" y="61"/>
                </a:lnTo>
                <a:lnTo>
                  <a:pt x="165" y="59"/>
                </a:lnTo>
                <a:lnTo>
                  <a:pt x="175" y="41"/>
                </a:lnTo>
                <a:lnTo>
                  <a:pt x="175" y="41"/>
                </a:lnTo>
                <a:lnTo>
                  <a:pt x="172" y="41"/>
                </a:lnTo>
                <a:lnTo>
                  <a:pt x="172" y="39"/>
                </a:lnTo>
                <a:lnTo>
                  <a:pt x="167" y="36"/>
                </a:lnTo>
                <a:lnTo>
                  <a:pt x="165" y="36"/>
                </a:lnTo>
                <a:lnTo>
                  <a:pt x="165" y="36"/>
                </a:lnTo>
                <a:lnTo>
                  <a:pt x="162" y="36"/>
                </a:lnTo>
                <a:lnTo>
                  <a:pt x="157" y="39"/>
                </a:lnTo>
                <a:lnTo>
                  <a:pt x="152" y="36"/>
                </a:lnTo>
                <a:lnTo>
                  <a:pt x="148" y="36"/>
                </a:lnTo>
                <a:lnTo>
                  <a:pt x="143" y="39"/>
                </a:lnTo>
                <a:lnTo>
                  <a:pt x="143" y="39"/>
                </a:lnTo>
                <a:lnTo>
                  <a:pt x="138" y="39"/>
                </a:lnTo>
                <a:lnTo>
                  <a:pt x="135" y="39"/>
                </a:lnTo>
                <a:lnTo>
                  <a:pt x="133" y="39"/>
                </a:lnTo>
                <a:lnTo>
                  <a:pt x="130" y="39"/>
                </a:lnTo>
                <a:lnTo>
                  <a:pt x="128" y="36"/>
                </a:lnTo>
                <a:lnTo>
                  <a:pt x="130" y="34"/>
                </a:lnTo>
                <a:lnTo>
                  <a:pt x="128" y="32"/>
                </a:lnTo>
                <a:lnTo>
                  <a:pt x="125" y="29"/>
                </a:lnTo>
                <a:lnTo>
                  <a:pt x="125" y="29"/>
                </a:lnTo>
                <a:lnTo>
                  <a:pt x="125" y="24"/>
                </a:lnTo>
                <a:lnTo>
                  <a:pt x="120" y="22"/>
                </a:lnTo>
                <a:lnTo>
                  <a:pt x="113" y="19"/>
                </a:lnTo>
                <a:lnTo>
                  <a:pt x="113" y="19"/>
                </a:lnTo>
                <a:lnTo>
                  <a:pt x="111" y="14"/>
                </a:lnTo>
                <a:lnTo>
                  <a:pt x="108" y="9"/>
                </a:lnTo>
                <a:lnTo>
                  <a:pt x="106" y="7"/>
                </a:lnTo>
                <a:lnTo>
                  <a:pt x="106" y="4"/>
                </a:lnTo>
                <a:lnTo>
                  <a:pt x="101" y="4"/>
                </a:lnTo>
                <a:lnTo>
                  <a:pt x="96" y="2"/>
                </a:lnTo>
                <a:lnTo>
                  <a:pt x="93" y="0"/>
                </a:lnTo>
                <a:lnTo>
                  <a:pt x="93" y="0"/>
                </a:lnTo>
                <a:lnTo>
                  <a:pt x="93" y="2"/>
                </a:lnTo>
                <a:lnTo>
                  <a:pt x="93" y="4"/>
                </a:lnTo>
                <a:lnTo>
                  <a:pt x="96" y="9"/>
                </a:lnTo>
                <a:lnTo>
                  <a:pt x="96" y="14"/>
                </a:lnTo>
                <a:lnTo>
                  <a:pt x="96" y="17"/>
                </a:lnTo>
                <a:lnTo>
                  <a:pt x="96" y="19"/>
                </a:lnTo>
                <a:lnTo>
                  <a:pt x="93" y="19"/>
                </a:lnTo>
                <a:lnTo>
                  <a:pt x="88" y="29"/>
                </a:lnTo>
                <a:lnTo>
                  <a:pt x="79" y="39"/>
                </a:lnTo>
                <a:lnTo>
                  <a:pt x="71" y="44"/>
                </a:lnTo>
                <a:lnTo>
                  <a:pt x="54" y="49"/>
                </a:lnTo>
                <a:lnTo>
                  <a:pt x="54" y="51"/>
                </a:lnTo>
                <a:lnTo>
                  <a:pt x="42" y="76"/>
                </a:lnTo>
                <a:lnTo>
                  <a:pt x="39" y="78"/>
                </a:lnTo>
                <a:lnTo>
                  <a:pt x="37" y="78"/>
                </a:lnTo>
                <a:lnTo>
                  <a:pt x="32" y="71"/>
                </a:lnTo>
                <a:lnTo>
                  <a:pt x="29" y="71"/>
                </a:lnTo>
                <a:lnTo>
                  <a:pt x="25" y="71"/>
                </a:lnTo>
                <a:lnTo>
                  <a:pt x="22" y="68"/>
                </a:lnTo>
                <a:lnTo>
                  <a:pt x="20" y="68"/>
                </a:lnTo>
                <a:lnTo>
                  <a:pt x="17" y="68"/>
                </a:lnTo>
                <a:lnTo>
                  <a:pt x="15" y="66"/>
                </a:lnTo>
                <a:lnTo>
                  <a:pt x="17" y="64"/>
                </a:lnTo>
                <a:lnTo>
                  <a:pt x="22" y="61"/>
                </a:lnTo>
                <a:lnTo>
                  <a:pt x="20" y="56"/>
                </a:lnTo>
                <a:lnTo>
                  <a:pt x="20" y="56"/>
                </a:lnTo>
                <a:lnTo>
                  <a:pt x="20" y="56"/>
                </a:lnTo>
                <a:lnTo>
                  <a:pt x="12" y="61"/>
                </a:lnTo>
                <a:lnTo>
                  <a:pt x="7" y="64"/>
                </a:lnTo>
                <a:lnTo>
                  <a:pt x="2" y="68"/>
                </a:lnTo>
                <a:lnTo>
                  <a:pt x="2" y="71"/>
                </a:lnTo>
                <a:lnTo>
                  <a:pt x="0" y="76"/>
                </a:lnTo>
                <a:lnTo>
                  <a:pt x="0" y="76"/>
                </a:lnTo>
                <a:lnTo>
                  <a:pt x="2" y="78"/>
                </a:lnTo>
                <a:lnTo>
                  <a:pt x="5" y="81"/>
                </a:lnTo>
                <a:lnTo>
                  <a:pt x="2" y="81"/>
                </a:lnTo>
                <a:lnTo>
                  <a:pt x="2" y="83"/>
                </a:lnTo>
                <a:lnTo>
                  <a:pt x="5" y="86"/>
                </a:lnTo>
                <a:lnTo>
                  <a:pt x="7" y="91"/>
                </a:lnTo>
                <a:lnTo>
                  <a:pt x="7" y="93"/>
                </a:lnTo>
                <a:lnTo>
                  <a:pt x="5" y="93"/>
                </a:lnTo>
                <a:lnTo>
                  <a:pt x="2" y="95"/>
                </a:lnTo>
                <a:lnTo>
                  <a:pt x="0" y="98"/>
                </a:lnTo>
                <a:lnTo>
                  <a:pt x="5" y="100"/>
                </a:lnTo>
                <a:lnTo>
                  <a:pt x="7" y="100"/>
                </a:lnTo>
                <a:lnTo>
                  <a:pt x="12" y="105"/>
                </a:lnTo>
                <a:lnTo>
                  <a:pt x="15" y="105"/>
                </a:lnTo>
                <a:lnTo>
                  <a:pt x="22" y="110"/>
                </a:lnTo>
                <a:lnTo>
                  <a:pt x="25" y="110"/>
                </a:lnTo>
                <a:lnTo>
                  <a:pt x="27" y="113"/>
                </a:lnTo>
                <a:lnTo>
                  <a:pt x="29" y="118"/>
                </a:lnTo>
                <a:lnTo>
                  <a:pt x="29" y="123"/>
                </a:lnTo>
                <a:lnTo>
                  <a:pt x="32" y="125"/>
                </a:lnTo>
                <a:lnTo>
                  <a:pt x="37" y="127"/>
                </a:lnTo>
                <a:lnTo>
                  <a:pt x="42" y="132"/>
                </a:lnTo>
                <a:lnTo>
                  <a:pt x="42" y="137"/>
                </a:lnTo>
                <a:lnTo>
                  <a:pt x="44" y="140"/>
                </a:lnTo>
                <a:lnTo>
                  <a:pt x="44" y="145"/>
                </a:lnTo>
                <a:lnTo>
                  <a:pt x="47" y="150"/>
                </a:lnTo>
                <a:lnTo>
                  <a:pt x="49" y="150"/>
                </a:lnTo>
                <a:lnTo>
                  <a:pt x="52" y="155"/>
                </a:lnTo>
                <a:lnTo>
                  <a:pt x="52" y="159"/>
                </a:lnTo>
                <a:lnTo>
                  <a:pt x="52" y="159"/>
                </a:lnTo>
                <a:lnTo>
                  <a:pt x="54" y="164"/>
                </a:lnTo>
                <a:lnTo>
                  <a:pt x="59" y="172"/>
                </a:lnTo>
                <a:lnTo>
                  <a:pt x="59" y="174"/>
                </a:lnTo>
                <a:lnTo>
                  <a:pt x="59" y="177"/>
                </a:lnTo>
                <a:lnTo>
                  <a:pt x="59" y="179"/>
                </a:lnTo>
                <a:lnTo>
                  <a:pt x="61" y="179"/>
                </a:lnTo>
                <a:lnTo>
                  <a:pt x="66" y="184"/>
                </a:lnTo>
                <a:lnTo>
                  <a:pt x="69" y="186"/>
                </a:lnTo>
                <a:lnTo>
                  <a:pt x="69" y="191"/>
                </a:lnTo>
                <a:lnTo>
                  <a:pt x="71" y="194"/>
                </a:lnTo>
                <a:lnTo>
                  <a:pt x="74" y="196"/>
                </a:lnTo>
                <a:lnTo>
                  <a:pt x="76" y="199"/>
                </a:lnTo>
                <a:lnTo>
                  <a:pt x="79" y="206"/>
                </a:lnTo>
                <a:lnTo>
                  <a:pt x="81" y="209"/>
                </a:lnTo>
                <a:lnTo>
                  <a:pt x="86" y="216"/>
                </a:lnTo>
                <a:lnTo>
                  <a:pt x="86" y="218"/>
                </a:lnTo>
                <a:lnTo>
                  <a:pt x="84" y="221"/>
                </a:lnTo>
                <a:lnTo>
                  <a:pt x="84" y="218"/>
                </a:lnTo>
                <a:lnTo>
                  <a:pt x="84" y="221"/>
                </a:lnTo>
                <a:lnTo>
                  <a:pt x="84" y="223"/>
                </a:lnTo>
                <a:lnTo>
                  <a:pt x="84" y="226"/>
                </a:lnTo>
                <a:lnTo>
                  <a:pt x="86" y="226"/>
                </a:lnTo>
                <a:lnTo>
                  <a:pt x="88" y="226"/>
                </a:lnTo>
                <a:lnTo>
                  <a:pt x="88" y="228"/>
                </a:lnTo>
                <a:lnTo>
                  <a:pt x="86" y="231"/>
                </a:lnTo>
                <a:lnTo>
                  <a:pt x="93" y="233"/>
                </a:lnTo>
                <a:lnTo>
                  <a:pt x="98" y="236"/>
                </a:lnTo>
                <a:lnTo>
                  <a:pt x="98" y="238"/>
                </a:lnTo>
                <a:lnTo>
                  <a:pt x="101" y="241"/>
                </a:lnTo>
                <a:lnTo>
                  <a:pt x="103" y="241"/>
                </a:lnTo>
                <a:lnTo>
                  <a:pt x="103" y="243"/>
                </a:lnTo>
                <a:lnTo>
                  <a:pt x="106" y="246"/>
                </a:lnTo>
                <a:lnTo>
                  <a:pt x="106" y="248"/>
                </a:lnTo>
                <a:lnTo>
                  <a:pt x="111" y="246"/>
                </a:lnTo>
                <a:lnTo>
                  <a:pt x="113" y="246"/>
                </a:lnTo>
                <a:lnTo>
                  <a:pt x="113" y="248"/>
                </a:lnTo>
                <a:lnTo>
                  <a:pt x="116" y="250"/>
                </a:lnTo>
                <a:lnTo>
                  <a:pt x="120" y="253"/>
                </a:lnTo>
                <a:lnTo>
                  <a:pt x="123" y="255"/>
                </a:lnTo>
                <a:lnTo>
                  <a:pt x="123" y="258"/>
                </a:lnTo>
                <a:lnTo>
                  <a:pt x="125" y="258"/>
                </a:lnTo>
                <a:lnTo>
                  <a:pt x="128" y="260"/>
                </a:lnTo>
                <a:lnTo>
                  <a:pt x="130" y="260"/>
                </a:lnTo>
                <a:lnTo>
                  <a:pt x="133" y="260"/>
                </a:lnTo>
                <a:lnTo>
                  <a:pt x="138" y="265"/>
                </a:lnTo>
                <a:lnTo>
                  <a:pt x="143" y="265"/>
                </a:lnTo>
                <a:lnTo>
                  <a:pt x="145" y="265"/>
                </a:lnTo>
                <a:lnTo>
                  <a:pt x="148" y="268"/>
                </a:lnTo>
                <a:lnTo>
                  <a:pt x="148" y="268"/>
                </a:lnTo>
                <a:lnTo>
                  <a:pt x="152" y="273"/>
                </a:lnTo>
                <a:lnTo>
                  <a:pt x="155" y="273"/>
                </a:lnTo>
                <a:lnTo>
                  <a:pt x="157" y="277"/>
                </a:lnTo>
                <a:lnTo>
                  <a:pt x="160" y="277"/>
                </a:lnTo>
                <a:lnTo>
                  <a:pt x="160" y="280"/>
                </a:lnTo>
                <a:lnTo>
                  <a:pt x="160" y="280"/>
                </a:lnTo>
                <a:lnTo>
                  <a:pt x="160" y="282"/>
                </a:lnTo>
                <a:lnTo>
                  <a:pt x="165" y="285"/>
                </a:lnTo>
                <a:lnTo>
                  <a:pt x="167" y="285"/>
                </a:lnTo>
                <a:lnTo>
                  <a:pt x="172" y="290"/>
                </a:lnTo>
                <a:lnTo>
                  <a:pt x="175" y="292"/>
                </a:lnTo>
                <a:lnTo>
                  <a:pt x="177" y="295"/>
                </a:lnTo>
                <a:lnTo>
                  <a:pt x="179" y="295"/>
                </a:lnTo>
                <a:lnTo>
                  <a:pt x="182" y="292"/>
                </a:lnTo>
                <a:lnTo>
                  <a:pt x="187" y="290"/>
                </a:lnTo>
                <a:lnTo>
                  <a:pt x="187" y="290"/>
                </a:lnTo>
                <a:lnTo>
                  <a:pt x="192" y="290"/>
                </a:lnTo>
                <a:lnTo>
                  <a:pt x="192" y="287"/>
                </a:lnTo>
                <a:lnTo>
                  <a:pt x="189" y="285"/>
                </a:lnTo>
                <a:lnTo>
                  <a:pt x="189" y="280"/>
                </a:lnTo>
                <a:lnTo>
                  <a:pt x="192" y="277"/>
                </a:lnTo>
                <a:lnTo>
                  <a:pt x="194" y="280"/>
                </a:lnTo>
                <a:lnTo>
                  <a:pt x="194" y="277"/>
                </a:lnTo>
                <a:lnTo>
                  <a:pt x="192" y="277"/>
                </a:lnTo>
                <a:lnTo>
                  <a:pt x="189" y="275"/>
                </a:lnTo>
                <a:lnTo>
                  <a:pt x="192" y="270"/>
                </a:lnTo>
                <a:lnTo>
                  <a:pt x="197" y="268"/>
                </a:lnTo>
                <a:lnTo>
                  <a:pt x="199" y="263"/>
                </a:lnTo>
                <a:lnTo>
                  <a:pt x="199" y="260"/>
                </a:lnTo>
                <a:lnTo>
                  <a:pt x="194" y="250"/>
                </a:lnTo>
                <a:lnTo>
                  <a:pt x="197" y="248"/>
                </a:lnTo>
                <a:lnTo>
                  <a:pt x="197" y="243"/>
                </a:lnTo>
                <a:lnTo>
                  <a:pt x="197" y="241"/>
                </a:lnTo>
                <a:lnTo>
                  <a:pt x="194" y="238"/>
                </a:lnTo>
                <a:lnTo>
                  <a:pt x="197" y="236"/>
                </a:lnTo>
                <a:lnTo>
                  <a:pt x="197" y="231"/>
                </a:lnTo>
                <a:lnTo>
                  <a:pt x="197" y="221"/>
                </a:lnTo>
                <a:lnTo>
                  <a:pt x="197" y="216"/>
                </a:lnTo>
                <a:lnTo>
                  <a:pt x="197" y="211"/>
                </a:lnTo>
                <a:lnTo>
                  <a:pt x="197" y="201"/>
                </a:lnTo>
                <a:lnTo>
                  <a:pt x="199" y="196"/>
                </a:lnTo>
                <a:lnTo>
                  <a:pt x="199" y="194"/>
                </a:lnTo>
                <a:lnTo>
                  <a:pt x="187" y="174"/>
                </a:lnTo>
                <a:lnTo>
                  <a:pt x="187" y="174"/>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7" name="Freeform 196"/>
          <p:cNvSpPr>
            <a:spLocks/>
          </p:cNvSpPr>
          <p:nvPr/>
        </p:nvSpPr>
        <p:spPr bwMode="auto">
          <a:xfrm>
            <a:off x="3025210" y="4685927"/>
            <a:ext cx="313144" cy="331784"/>
          </a:xfrm>
          <a:custGeom>
            <a:avLst/>
            <a:gdLst/>
            <a:ahLst/>
            <a:cxnLst>
              <a:cxn ang="0">
                <a:pos x="184" y="160"/>
              </a:cxn>
              <a:cxn ang="0">
                <a:pos x="182" y="123"/>
              </a:cxn>
              <a:cxn ang="0">
                <a:pos x="175" y="103"/>
              </a:cxn>
              <a:cxn ang="0">
                <a:pos x="143" y="86"/>
              </a:cxn>
              <a:cxn ang="0">
                <a:pos x="143" y="71"/>
              </a:cxn>
              <a:cxn ang="0">
                <a:pos x="125" y="64"/>
              </a:cxn>
              <a:cxn ang="0">
                <a:pos x="118" y="57"/>
              </a:cxn>
              <a:cxn ang="0">
                <a:pos x="106" y="54"/>
              </a:cxn>
              <a:cxn ang="0">
                <a:pos x="91" y="44"/>
              </a:cxn>
              <a:cxn ang="0">
                <a:pos x="79" y="44"/>
              </a:cxn>
              <a:cxn ang="0">
                <a:pos x="69" y="34"/>
              </a:cxn>
              <a:cxn ang="0">
                <a:pos x="64" y="22"/>
              </a:cxn>
              <a:cxn ang="0">
                <a:pos x="64" y="7"/>
              </a:cxn>
              <a:cxn ang="0">
                <a:pos x="59" y="3"/>
              </a:cxn>
              <a:cxn ang="0">
                <a:pos x="47" y="3"/>
              </a:cxn>
              <a:cxn ang="0">
                <a:pos x="32" y="17"/>
              </a:cxn>
              <a:cxn ang="0">
                <a:pos x="20" y="20"/>
              </a:cxn>
              <a:cxn ang="0">
                <a:pos x="10" y="22"/>
              </a:cxn>
              <a:cxn ang="0">
                <a:pos x="12" y="44"/>
              </a:cxn>
              <a:cxn ang="0">
                <a:pos x="10" y="64"/>
              </a:cxn>
              <a:cxn ang="0">
                <a:pos x="10" y="84"/>
              </a:cxn>
              <a:cxn ang="0">
                <a:pos x="10" y="91"/>
              </a:cxn>
              <a:cxn ang="0">
                <a:pos x="12" y="108"/>
              </a:cxn>
              <a:cxn ang="0">
                <a:pos x="5" y="118"/>
              </a:cxn>
              <a:cxn ang="0">
                <a:pos x="7" y="125"/>
              </a:cxn>
              <a:cxn ang="0">
                <a:pos x="7" y="130"/>
              </a:cxn>
              <a:cxn ang="0">
                <a:pos x="12" y="138"/>
              </a:cxn>
              <a:cxn ang="0">
                <a:pos x="15" y="148"/>
              </a:cxn>
              <a:cxn ang="0">
                <a:pos x="24" y="160"/>
              </a:cxn>
              <a:cxn ang="0">
                <a:pos x="20" y="175"/>
              </a:cxn>
              <a:cxn ang="0">
                <a:pos x="42" y="216"/>
              </a:cxn>
              <a:cxn ang="0">
                <a:pos x="49" y="214"/>
              </a:cxn>
              <a:cxn ang="0">
                <a:pos x="54" y="207"/>
              </a:cxn>
              <a:cxn ang="0">
                <a:pos x="66" y="202"/>
              </a:cxn>
              <a:cxn ang="0">
                <a:pos x="79" y="202"/>
              </a:cxn>
              <a:cxn ang="0">
                <a:pos x="86" y="204"/>
              </a:cxn>
              <a:cxn ang="0">
                <a:pos x="91" y="212"/>
              </a:cxn>
              <a:cxn ang="0">
                <a:pos x="93" y="202"/>
              </a:cxn>
              <a:cxn ang="0">
                <a:pos x="113" y="199"/>
              </a:cxn>
              <a:cxn ang="0">
                <a:pos x="120" y="189"/>
              </a:cxn>
              <a:cxn ang="0">
                <a:pos x="118" y="177"/>
              </a:cxn>
              <a:cxn ang="0">
                <a:pos x="125" y="162"/>
              </a:cxn>
              <a:cxn ang="0">
                <a:pos x="167" y="155"/>
              </a:cxn>
              <a:cxn ang="0">
                <a:pos x="182" y="165"/>
              </a:cxn>
            </a:cxnLst>
            <a:rect l="0" t="0" r="r" b="b"/>
            <a:pathLst>
              <a:path w="192" h="216">
                <a:moveTo>
                  <a:pt x="182" y="165"/>
                </a:moveTo>
                <a:lnTo>
                  <a:pt x="184" y="160"/>
                </a:lnTo>
                <a:lnTo>
                  <a:pt x="184" y="160"/>
                </a:lnTo>
                <a:lnTo>
                  <a:pt x="192" y="143"/>
                </a:lnTo>
                <a:lnTo>
                  <a:pt x="192" y="135"/>
                </a:lnTo>
                <a:lnTo>
                  <a:pt x="182" y="123"/>
                </a:lnTo>
                <a:lnTo>
                  <a:pt x="175" y="121"/>
                </a:lnTo>
                <a:lnTo>
                  <a:pt x="175" y="113"/>
                </a:lnTo>
                <a:lnTo>
                  <a:pt x="175" y="103"/>
                </a:lnTo>
                <a:lnTo>
                  <a:pt x="147" y="103"/>
                </a:lnTo>
                <a:lnTo>
                  <a:pt x="147" y="96"/>
                </a:lnTo>
                <a:lnTo>
                  <a:pt x="143" y="86"/>
                </a:lnTo>
                <a:lnTo>
                  <a:pt x="143" y="84"/>
                </a:lnTo>
                <a:lnTo>
                  <a:pt x="143" y="76"/>
                </a:lnTo>
                <a:lnTo>
                  <a:pt x="143" y="71"/>
                </a:lnTo>
                <a:lnTo>
                  <a:pt x="143" y="66"/>
                </a:lnTo>
                <a:lnTo>
                  <a:pt x="135" y="64"/>
                </a:lnTo>
                <a:lnTo>
                  <a:pt x="125" y="64"/>
                </a:lnTo>
                <a:lnTo>
                  <a:pt x="123" y="62"/>
                </a:lnTo>
                <a:lnTo>
                  <a:pt x="120" y="62"/>
                </a:lnTo>
                <a:lnTo>
                  <a:pt x="118" y="57"/>
                </a:lnTo>
                <a:lnTo>
                  <a:pt x="113" y="57"/>
                </a:lnTo>
                <a:lnTo>
                  <a:pt x="108" y="54"/>
                </a:lnTo>
                <a:lnTo>
                  <a:pt x="106" y="54"/>
                </a:lnTo>
                <a:lnTo>
                  <a:pt x="98" y="47"/>
                </a:lnTo>
                <a:lnTo>
                  <a:pt x="96" y="49"/>
                </a:lnTo>
                <a:lnTo>
                  <a:pt x="91" y="44"/>
                </a:lnTo>
                <a:lnTo>
                  <a:pt x="84" y="44"/>
                </a:lnTo>
                <a:lnTo>
                  <a:pt x="84" y="47"/>
                </a:lnTo>
                <a:lnTo>
                  <a:pt x="79" y="44"/>
                </a:lnTo>
                <a:lnTo>
                  <a:pt x="74" y="39"/>
                </a:lnTo>
                <a:lnTo>
                  <a:pt x="71" y="39"/>
                </a:lnTo>
                <a:lnTo>
                  <a:pt x="69" y="34"/>
                </a:lnTo>
                <a:lnTo>
                  <a:pt x="66" y="32"/>
                </a:lnTo>
                <a:lnTo>
                  <a:pt x="64" y="27"/>
                </a:lnTo>
                <a:lnTo>
                  <a:pt x="64" y="22"/>
                </a:lnTo>
                <a:lnTo>
                  <a:pt x="61" y="17"/>
                </a:lnTo>
                <a:lnTo>
                  <a:pt x="64" y="12"/>
                </a:lnTo>
                <a:lnTo>
                  <a:pt x="64" y="7"/>
                </a:lnTo>
                <a:lnTo>
                  <a:pt x="64" y="3"/>
                </a:lnTo>
                <a:lnTo>
                  <a:pt x="61" y="0"/>
                </a:lnTo>
                <a:lnTo>
                  <a:pt x="59" y="3"/>
                </a:lnTo>
                <a:lnTo>
                  <a:pt x="54" y="0"/>
                </a:lnTo>
                <a:lnTo>
                  <a:pt x="52" y="0"/>
                </a:lnTo>
                <a:lnTo>
                  <a:pt x="47" y="3"/>
                </a:lnTo>
                <a:lnTo>
                  <a:pt x="42" y="5"/>
                </a:lnTo>
                <a:lnTo>
                  <a:pt x="34" y="10"/>
                </a:lnTo>
                <a:lnTo>
                  <a:pt x="32" y="17"/>
                </a:lnTo>
                <a:lnTo>
                  <a:pt x="27" y="17"/>
                </a:lnTo>
                <a:lnTo>
                  <a:pt x="24" y="17"/>
                </a:lnTo>
                <a:lnTo>
                  <a:pt x="20" y="20"/>
                </a:lnTo>
                <a:lnTo>
                  <a:pt x="17" y="20"/>
                </a:lnTo>
                <a:lnTo>
                  <a:pt x="12" y="22"/>
                </a:lnTo>
                <a:lnTo>
                  <a:pt x="10" y="22"/>
                </a:lnTo>
                <a:lnTo>
                  <a:pt x="0" y="22"/>
                </a:lnTo>
                <a:lnTo>
                  <a:pt x="12" y="42"/>
                </a:lnTo>
                <a:lnTo>
                  <a:pt x="12" y="44"/>
                </a:lnTo>
                <a:lnTo>
                  <a:pt x="10" y="49"/>
                </a:lnTo>
                <a:lnTo>
                  <a:pt x="10" y="59"/>
                </a:lnTo>
                <a:lnTo>
                  <a:pt x="10" y="64"/>
                </a:lnTo>
                <a:lnTo>
                  <a:pt x="10" y="69"/>
                </a:lnTo>
                <a:lnTo>
                  <a:pt x="10" y="79"/>
                </a:lnTo>
                <a:lnTo>
                  <a:pt x="10" y="84"/>
                </a:lnTo>
                <a:lnTo>
                  <a:pt x="7" y="86"/>
                </a:lnTo>
                <a:lnTo>
                  <a:pt x="10" y="89"/>
                </a:lnTo>
                <a:lnTo>
                  <a:pt x="10" y="91"/>
                </a:lnTo>
                <a:lnTo>
                  <a:pt x="10" y="96"/>
                </a:lnTo>
                <a:lnTo>
                  <a:pt x="7" y="98"/>
                </a:lnTo>
                <a:lnTo>
                  <a:pt x="12" y="108"/>
                </a:lnTo>
                <a:lnTo>
                  <a:pt x="12" y="111"/>
                </a:lnTo>
                <a:lnTo>
                  <a:pt x="10" y="116"/>
                </a:lnTo>
                <a:lnTo>
                  <a:pt x="5" y="118"/>
                </a:lnTo>
                <a:lnTo>
                  <a:pt x="2" y="123"/>
                </a:lnTo>
                <a:lnTo>
                  <a:pt x="5" y="125"/>
                </a:lnTo>
                <a:lnTo>
                  <a:pt x="7" y="125"/>
                </a:lnTo>
                <a:lnTo>
                  <a:pt x="7" y="128"/>
                </a:lnTo>
                <a:lnTo>
                  <a:pt x="7" y="128"/>
                </a:lnTo>
                <a:lnTo>
                  <a:pt x="7" y="130"/>
                </a:lnTo>
                <a:lnTo>
                  <a:pt x="12" y="133"/>
                </a:lnTo>
                <a:lnTo>
                  <a:pt x="12" y="135"/>
                </a:lnTo>
                <a:lnTo>
                  <a:pt x="12" y="138"/>
                </a:lnTo>
                <a:lnTo>
                  <a:pt x="12" y="140"/>
                </a:lnTo>
                <a:lnTo>
                  <a:pt x="12" y="143"/>
                </a:lnTo>
                <a:lnTo>
                  <a:pt x="15" y="148"/>
                </a:lnTo>
                <a:lnTo>
                  <a:pt x="17" y="153"/>
                </a:lnTo>
                <a:lnTo>
                  <a:pt x="24" y="157"/>
                </a:lnTo>
                <a:lnTo>
                  <a:pt x="24" y="160"/>
                </a:lnTo>
                <a:lnTo>
                  <a:pt x="22" y="165"/>
                </a:lnTo>
                <a:lnTo>
                  <a:pt x="24" y="167"/>
                </a:lnTo>
                <a:lnTo>
                  <a:pt x="20" y="175"/>
                </a:lnTo>
                <a:lnTo>
                  <a:pt x="22" y="180"/>
                </a:lnTo>
                <a:lnTo>
                  <a:pt x="29" y="187"/>
                </a:lnTo>
                <a:lnTo>
                  <a:pt x="42" y="216"/>
                </a:lnTo>
                <a:lnTo>
                  <a:pt x="44" y="216"/>
                </a:lnTo>
                <a:lnTo>
                  <a:pt x="47" y="214"/>
                </a:lnTo>
                <a:lnTo>
                  <a:pt x="49" y="214"/>
                </a:lnTo>
                <a:lnTo>
                  <a:pt x="49" y="214"/>
                </a:lnTo>
                <a:lnTo>
                  <a:pt x="52" y="212"/>
                </a:lnTo>
                <a:lnTo>
                  <a:pt x="54" y="207"/>
                </a:lnTo>
                <a:lnTo>
                  <a:pt x="59" y="199"/>
                </a:lnTo>
                <a:lnTo>
                  <a:pt x="64" y="199"/>
                </a:lnTo>
                <a:lnTo>
                  <a:pt x="66" y="202"/>
                </a:lnTo>
                <a:lnTo>
                  <a:pt x="71" y="202"/>
                </a:lnTo>
                <a:lnTo>
                  <a:pt x="74" y="202"/>
                </a:lnTo>
                <a:lnTo>
                  <a:pt x="79" y="202"/>
                </a:lnTo>
                <a:lnTo>
                  <a:pt x="84" y="199"/>
                </a:lnTo>
                <a:lnTo>
                  <a:pt x="86" y="202"/>
                </a:lnTo>
                <a:lnTo>
                  <a:pt x="86" y="204"/>
                </a:lnTo>
                <a:lnTo>
                  <a:pt x="88" y="212"/>
                </a:lnTo>
                <a:lnTo>
                  <a:pt x="91" y="214"/>
                </a:lnTo>
                <a:lnTo>
                  <a:pt x="91" y="212"/>
                </a:lnTo>
                <a:lnTo>
                  <a:pt x="91" y="209"/>
                </a:lnTo>
                <a:lnTo>
                  <a:pt x="93" y="207"/>
                </a:lnTo>
                <a:lnTo>
                  <a:pt x="93" y="202"/>
                </a:lnTo>
                <a:lnTo>
                  <a:pt x="96" y="199"/>
                </a:lnTo>
                <a:lnTo>
                  <a:pt x="103" y="199"/>
                </a:lnTo>
                <a:lnTo>
                  <a:pt x="113" y="199"/>
                </a:lnTo>
                <a:lnTo>
                  <a:pt x="115" y="202"/>
                </a:lnTo>
                <a:lnTo>
                  <a:pt x="115" y="197"/>
                </a:lnTo>
                <a:lnTo>
                  <a:pt x="120" y="189"/>
                </a:lnTo>
                <a:lnTo>
                  <a:pt x="120" y="185"/>
                </a:lnTo>
                <a:lnTo>
                  <a:pt x="120" y="180"/>
                </a:lnTo>
                <a:lnTo>
                  <a:pt x="118" y="177"/>
                </a:lnTo>
                <a:lnTo>
                  <a:pt x="123" y="170"/>
                </a:lnTo>
                <a:lnTo>
                  <a:pt x="125" y="165"/>
                </a:lnTo>
                <a:lnTo>
                  <a:pt x="125" y="162"/>
                </a:lnTo>
                <a:lnTo>
                  <a:pt x="130" y="160"/>
                </a:lnTo>
                <a:lnTo>
                  <a:pt x="150" y="155"/>
                </a:lnTo>
                <a:lnTo>
                  <a:pt x="167" y="155"/>
                </a:lnTo>
                <a:lnTo>
                  <a:pt x="177" y="162"/>
                </a:lnTo>
                <a:lnTo>
                  <a:pt x="179" y="162"/>
                </a:lnTo>
                <a:lnTo>
                  <a:pt x="182" y="165"/>
                </a:lnTo>
                <a:lnTo>
                  <a:pt x="182" y="16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8" name="Freeform 197"/>
          <p:cNvSpPr>
            <a:spLocks/>
          </p:cNvSpPr>
          <p:nvPr/>
        </p:nvSpPr>
        <p:spPr bwMode="auto">
          <a:xfrm>
            <a:off x="3212770" y="4924012"/>
            <a:ext cx="216918" cy="211973"/>
          </a:xfrm>
          <a:custGeom>
            <a:avLst/>
            <a:gdLst/>
            <a:ahLst/>
            <a:cxnLst>
              <a:cxn ang="0">
                <a:pos x="0" y="42"/>
              </a:cxn>
              <a:cxn ang="0">
                <a:pos x="5" y="30"/>
              </a:cxn>
              <a:cxn ang="0">
                <a:pos x="3" y="22"/>
              </a:cxn>
              <a:cxn ang="0">
                <a:pos x="10" y="10"/>
              </a:cxn>
              <a:cxn ang="0">
                <a:pos x="15" y="5"/>
              </a:cxn>
              <a:cxn ang="0">
                <a:pos x="52" y="0"/>
              </a:cxn>
              <a:cxn ang="0">
                <a:pos x="64" y="7"/>
              </a:cxn>
              <a:cxn ang="0">
                <a:pos x="67" y="15"/>
              </a:cxn>
              <a:cxn ang="0">
                <a:pos x="72" y="22"/>
              </a:cxn>
              <a:cxn ang="0">
                <a:pos x="74" y="34"/>
              </a:cxn>
              <a:cxn ang="0">
                <a:pos x="74" y="42"/>
              </a:cxn>
              <a:cxn ang="0">
                <a:pos x="79" y="47"/>
              </a:cxn>
              <a:cxn ang="0">
                <a:pos x="89" y="47"/>
              </a:cxn>
              <a:cxn ang="0">
                <a:pos x="101" y="44"/>
              </a:cxn>
              <a:cxn ang="0">
                <a:pos x="109" y="49"/>
              </a:cxn>
              <a:cxn ang="0">
                <a:pos x="114" y="69"/>
              </a:cxn>
              <a:cxn ang="0">
                <a:pos x="119" y="76"/>
              </a:cxn>
              <a:cxn ang="0">
                <a:pos x="128" y="74"/>
              </a:cxn>
              <a:cxn ang="0">
                <a:pos x="133" y="76"/>
              </a:cxn>
              <a:cxn ang="0">
                <a:pos x="131" y="93"/>
              </a:cxn>
              <a:cxn ang="0">
                <a:pos x="128" y="96"/>
              </a:cxn>
              <a:cxn ang="0">
                <a:pos x="128" y="98"/>
              </a:cxn>
              <a:cxn ang="0">
                <a:pos x="128" y="101"/>
              </a:cxn>
              <a:cxn ang="0">
                <a:pos x="128" y="108"/>
              </a:cxn>
              <a:cxn ang="0">
                <a:pos x="126" y="116"/>
              </a:cxn>
              <a:cxn ang="0">
                <a:pos x="121" y="123"/>
              </a:cxn>
              <a:cxn ang="0">
                <a:pos x="114" y="130"/>
              </a:cxn>
              <a:cxn ang="0">
                <a:pos x="109" y="133"/>
              </a:cxn>
              <a:cxn ang="0">
                <a:pos x="104" y="138"/>
              </a:cxn>
              <a:cxn ang="0">
                <a:pos x="99" y="138"/>
              </a:cxn>
              <a:cxn ang="0">
                <a:pos x="89" y="135"/>
              </a:cxn>
              <a:cxn ang="0">
                <a:pos x="69" y="133"/>
              </a:cxn>
              <a:cxn ang="0">
                <a:pos x="67" y="130"/>
              </a:cxn>
              <a:cxn ang="0">
                <a:pos x="74" y="118"/>
              </a:cxn>
              <a:cxn ang="0">
                <a:pos x="74" y="113"/>
              </a:cxn>
              <a:cxn ang="0">
                <a:pos x="82" y="108"/>
              </a:cxn>
              <a:cxn ang="0">
                <a:pos x="79" y="101"/>
              </a:cxn>
              <a:cxn ang="0">
                <a:pos x="72" y="93"/>
              </a:cxn>
              <a:cxn ang="0">
                <a:pos x="55" y="89"/>
              </a:cxn>
              <a:cxn ang="0">
                <a:pos x="45" y="81"/>
              </a:cxn>
              <a:cxn ang="0">
                <a:pos x="30" y="76"/>
              </a:cxn>
              <a:cxn ang="0">
                <a:pos x="25" y="69"/>
              </a:cxn>
              <a:cxn ang="0">
                <a:pos x="10" y="59"/>
              </a:cxn>
              <a:cxn ang="0">
                <a:pos x="3" y="52"/>
              </a:cxn>
              <a:cxn ang="0">
                <a:pos x="0" y="47"/>
              </a:cxn>
            </a:cxnLst>
            <a:rect l="0" t="0" r="r" b="b"/>
            <a:pathLst>
              <a:path w="133" h="138">
                <a:moveTo>
                  <a:pt x="0" y="47"/>
                </a:moveTo>
                <a:lnTo>
                  <a:pt x="0" y="42"/>
                </a:lnTo>
                <a:lnTo>
                  <a:pt x="5" y="34"/>
                </a:lnTo>
                <a:lnTo>
                  <a:pt x="5" y="30"/>
                </a:lnTo>
                <a:lnTo>
                  <a:pt x="5" y="25"/>
                </a:lnTo>
                <a:lnTo>
                  <a:pt x="3" y="22"/>
                </a:lnTo>
                <a:lnTo>
                  <a:pt x="8" y="15"/>
                </a:lnTo>
                <a:lnTo>
                  <a:pt x="10" y="10"/>
                </a:lnTo>
                <a:lnTo>
                  <a:pt x="10" y="7"/>
                </a:lnTo>
                <a:lnTo>
                  <a:pt x="15" y="5"/>
                </a:lnTo>
                <a:lnTo>
                  <a:pt x="35" y="0"/>
                </a:lnTo>
                <a:lnTo>
                  <a:pt x="52" y="0"/>
                </a:lnTo>
                <a:lnTo>
                  <a:pt x="62" y="7"/>
                </a:lnTo>
                <a:lnTo>
                  <a:pt x="64" y="7"/>
                </a:lnTo>
                <a:lnTo>
                  <a:pt x="69" y="10"/>
                </a:lnTo>
                <a:lnTo>
                  <a:pt x="67" y="15"/>
                </a:lnTo>
                <a:lnTo>
                  <a:pt x="72" y="17"/>
                </a:lnTo>
                <a:lnTo>
                  <a:pt x="72" y="22"/>
                </a:lnTo>
                <a:lnTo>
                  <a:pt x="74" y="27"/>
                </a:lnTo>
                <a:lnTo>
                  <a:pt x="74" y="34"/>
                </a:lnTo>
                <a:lnTo>
                  <a:pt x="74" y="39"/>
                </a:lnTo>
                <a:lnTo>
                  <a:pt x="74" y="42"/>
                </a:lnTo>
                <a:lnTo>
                  <a:pt x="74" y="47"/>
                </a:lnTo>
                <a:lnTo>
                  <a:pt x="79" y="47"/>
                </a:lnTo>
                <a:lnTo>
                  <a:pt x="82" y="47"/>
                </a:lnTo>
                <a:lnTo>
                  <a:pt x="89" y="47"/>
                </a:lnTo>
                <a:lnTo>
                  <a:pt x="94" y="47"/>
                </a:lnTo>
                <a:lnTo>
                  <a:pt x="101" y="44"/>
                </a:lnTo>
                <a:lnTo>
                  <a:pt x="106" y="47"/>
                </a:lnTo>
                <a:lnTo>
                  <a:pt x="109" y="49"/>
                </a:lnTo>
                <a:lnTo>
                  <a:pt x="109" y="52"/>
                </a:lnTo>
                <a:lnTo>
                  <a:pt x="114" y="69"/>
                </a:lnTo>
                <a:lnTo>
                  <a:pt x="116" y="74"/>
                </a:lnTo>
                <a:lnTo>
                  <a:pt x="119" y="76"/>
                </a:lnTo>
                <a:lnTo>
                  <a:pt x="123" y="71"/>
                </a:lnTo>
                <a:lnTo>
                  <a:pt x="128" y="74"/>
                </a:lnTo>
                <a:lnTo>
                  <a:pt x="131" y="76"/>
                </a:lnTo>
                <a:lnTo>
                  <a:pt x="133" y="76"/>
                </a:lnTo>
                <a:lnTo>
                  <a:pt x="131" y="79"/>
                </a:lnTo>
                <a:lnTo>
                  <a:pt x="131" y="93"/>
                </a:lnTo>
                <a:lnTo>
                  <a:pt x="131" y="96"/>
                </a:lnTo>
                <a:lnTo>
                  <a:pt x="128" y="96"/>
                </a:lnTo>
                <a:lnTo>
                  <a:pt x="128" y="98"/>
                </a:lnTo>
                <a:lnTo>
                  <a:pt x="128" y="98"/>
                </a:lnTo>
                <a:lnTo>
                  <a:pt x="128" y="101"/>
                </a:lnTo>
                <a:lnTo>
                  <a:pt x="128" y="101"/>
                </a:lnTo>
                <a:lnTo>
                  <a:pt x="128" y="106"/>
                </a:lnTo>
                <a:lnTo>
                  <a:pt x="128" y="108"/>
                </a:lnTo>
                <a:lnTo>
                  <a:pt x="128" y="113"/>
                </a:lnTo>
                <a:lnTo>
                  <a:pt x="126" y="116"/>
                </a:lnTo>
                <a:lnTo>
                  <a:pt x="123" y="118"/>
                </a:lnTo>
                <a:lnTo>
                  <a:pt x="121" y="123"/>
                </a:lnTo>
                <a:lnTo>
                  <a:pt x="116" y="128"/>
                </a:lnTo>
                <a:lnTo>
                  <a:pt x="114" y="130"/>
                </a:lnTo>
                <a:lnTo>
                  <a:pt x="111" y="135"/>
                </a:lnTo>
                <a:lnTo>
                  <a:pt x="109" y="133"/>
                </a:lnTo>
                <a:lnTo>
                  <a:pt x="106" y="135"/>
                </a:lnTo>
                <a:lnTo>
                  <a:pt x="104" y="138"/>
                </a:lnTo>
                <a:lnTo>
                  <a:pt x="101" y="138"/>
                </a:lnTo>
                <a:lnTo>
                  <a:pt x="99" y="138"/>
                </a:lnTo>
                <a:lnTo>
                  <a:pt x="96" y="138"/>
                </a:lnTo>
                <a:lnTo>
                  <a:pt x="89" y="135"/>
                </a:lnTo>
                <a:lnTo>
                  <a:pt x="82" y="133"/>
                </a:lnTo>
                <a:lnTo>
                  <a:pt x="69" y="133"/>
                </a:lnTo>
                <a:lnTo>
                  <a:pt x="67" y="133"/>
                </a:lnTo>
                <a:lnTo>
                  <a:pt x="67" y="130"/>
                </a:lnTo>
                <a:lnTo>
                  <a:pt x="72" y="125"/>
                </a:lnTo>
                <a:lnTo>
                  <a:pt x="74" y="118"/>
                </a:lnTo>
                <a:lnTo>
                  <a:pt x="74" y="116"/>
                </a:lnTo>
                <a:lnTo>
                  <a:pt x="74" y="113"/>
                </a:lnTo>
                <a:lnTo>
                  <a:pt x="79" y="111"/>
                </a:lnTo>
                <a:lnTo>
                  <a:pt x="82" y="108"/>
                </a:lnTo>
                <a:lnTo>
                  <a:pt x="82" y="103"/>
                </a:lnTo>
                <a:lnTo>
                  <a:pt x="79" y="101"/>
                </a:lnTo>
                <a:lnTo>
                  <a:pt x="74" y="96"/>
                </a:lnTo>
                <a:lnTo>
                  <a:pt x="72" y="93"/>
                </a:lnTo>
                <a:lnTo>
                  <a:pt x="62" y="91"/>
                </a:lnTo>
                <a:lnTo>
                  <a:pt x="55" y="89"/>
                </a:lnTo>
                <a:lnTo>
                  <a:pt x="50" y="81"/>
                </a:lnTo>
                <a:lnTo>
                  <a:pt x="45" y="81"/>
                </a:lnTo>
                <a:lnTo>
                  <a:pt x="40" y="79"/>
                </a:lnTo>
                <a:lnTo>
                  <a:pt x="30" y="76"/>
                </a:lnTo>
                <a:lnTo>
                  <a:pt x="28" y="71"/>
                </a:lnTo>
                <a:lnTo>
                  <a:pt x="25" y="69"/>
                </a:lnTo>
                <a:lnTo>
                  <a:pt x="20" y="69"/>
                </a:lnTo>
                <a:lnTo>
                  <a:pt x="10" y="59"/>
                </a:lnTo>
                <a:lnTo>
                  <a:pt x="8" y="52"/>
                </a:lnTo>
                <a:lnTo>
                  <a:pt x="3" y="52"/>
                </a:lnTo>
                <a:lnTo>
                  <a:pt x="0" y="47"/>
                </a:lnTo>
                <a:lnTo>
                  <a:pt x="0" y="47"/>
                </a:lnTo>
                <a:lnTo>
                  <a:pt x="0" y="47"/>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99" name="Freeform 198"/>
          <p:cNvSpPr>
            <a:spLocks/>
          </p:cNvSpPr>
          <p:nvPr/>
        </p:nvSpPr>
        <p:spPr bwMode="auto">
          <a:xfrm>
            <a:off x="3346509" y="5200499"/>
            <a:ext cx="127214" cy="135171"/>
          </a:xfrm>
          <a:custGeom>
            <a:avLst/>
            <a:gdLst/>
            <a:ahLst/>
            <a:cxnLst>
              <a:cxn ang="0">
                <a:pos x="10" y="2"/>
              </a:cxn>
              <a:cxn ang="0">
                <a:pos x="19" y="0"/>
              </a:cxn>
              <a:cxn ang="0">
                <a:pos x="27" y="7"/>
              </a:cxn>
              <a:cxn ang="0">
                <a:pos x="32" y="12"/>
              </a:cxn>
              <a:cxn ang="0">
                <a:pos x="37" y="19"/>
              </a:cxn>
              <a:cxn ang="0">
                <a:pos x="41" y="14"/>
              </a:cxn>
              <a:cxn ang="0">
                <a:pos x="49" y="22"/>
              </a:cxn>
              <a:cxn ang="0">
                <a:pos x="56" y="27"/>
              </a:cxn>
              <a:cxn ang="0">
                <a:pos x="59" y="32"/>
              </a:cxn>
              <a:cxn ang="0">
                <a:pos x="69" y="39"/>
              </a:cxn>
              <a:cxn ang="0">
                <a:pos x="76" y="46"/>
              </a:cxn>
              <a:cxn ang="0">
                <a:pos x="73" y="54"/>
              </a:cxn>
              <a:cxn ang="0">
                <a:pos x="73" y="61"/>
              </a:cxn>
              <a:cxn ang="0">
                <a:pos x="76" y="63"/>
              </a:cxn>
              <a:cxn ang="0">
                <a:pos x="76" y="66"/>
              </a:cxn>
              <a:cxn ang="0">
                <a:pos x="73" y="73"/>
              </a:cxn>
              <a:cxn ang="0">
                <a:pos x="69" y="78"/>
              </a:cxn>
              <a:cxn ang="0">
                <a:pos x="69" y="81"/>
              </a:cxn>
              <a:cxn ang="0">
                <a:pos x="59" y="86"/>
              </a:cxn>
              <a:cxn ang="0">
                <a:pos x="56" y="86"/>
              </a:cxn>
              <a:cxn ang="0">
                <a:pos x="56" y="88"/>
              </a:cxn>
              <a:cxn ang="0">
                <a:pos x="51" y="88"/>
              </a:cxn>
              <a:cxn ang="0">
                <a:pos x="46" y="86"/>
              </a:cxn>
              <a:cxn ang="0">
                <a:pos x="39" y="86"/>
              </a:cxn>
              <a:cxn ang="0">
                <a:pos x="34" y="88"/>
              </a:cxn>
              <a:cxn ang="0">
                <a:pos x="34" y="86"/>
              </a:cxn>
              <a:cxn ang="0">
                <a:pos x="32" y="86"/>
              </a:cxn>
              <a:cxn ang="0">
                <a:pos x="24" y="81"/>
              </a:cxn>
              <a:cxn ang="0">
                <a:pos x="14" y="81"/>
              </a:cxn>
              <a:cxn ang="0">
                <a:pos x="7" y="78"/>
              </a:cxn>
              <a:cxn ang="0">
                <a:pos x="2" y="71"/>
              </a:cxn>
              <a:cxn ang="0">
                <a:pos x="0" y="59"/>
              </a:cxn>
              <a:cxn ang="0">
                <a:pos x="0" y="56"/>
              </a:cxn>
              <a:cxn ang="0">
                <a:pos x="2" y="51"/>
              </a:cxn>
              <a:cxn ang="0">
                <a:pos x="0" y="41"/>
              </a:cxn>
              <a:cxn ang="0">
                <a:pos x="0" y="34"/>
              </a:cxn>
              <a:cxn ang="0">
                <a:pos x="2" y="29"/>
              </a:cxn>
              <a:cxn ang="0">
                <a:pos x="2" y="19"/>
              </a:cxn>
              <a:cxn ang="0">
                <a:pos x="5" y="14"/>
              </a:cxn>
              <a:cxn ang="0">
                <a:pos x="5" y="4"/>
              </a:cxn>
              <a:cxn ang="0">
                <a:pos x="7" y="2"/>
              </a:cxn>
            </a:cxnLst>
            <a:rect l="0" t="0" r="r" b="b"/>
            <a:pathLst>
              <a:path w="78" h="88">
                <a:moveTo>
                  <a:pt x="7" y="2"/>
                </a:moveTo>
                <a:lnTo>
                  <a:pt x="10" y="2"/>
                </a:lnTo>
                <a:lnTo>
                  <a:pt x="12" y="2"/>
                </a:lnTo>
                <a:lnTo>
                  <a:pt x="19" y="0"/>
                </a:lnTo>
                <a:lnTo>
                  <a:pt x="22" y="2"/>
                </a:lnTo>
                <a:lnTo>
                  <a:pt x="27" y="7"/>
                </a:lnTo>
                <a:lnTo>
                  <a:pt x="29" y="7"/>
                </a:lnTo>
                <a:lnTo>
                  <a:pt x="32" y="12"/>
                </a:lnTo>
                <a:lnTo>
                  <a:pt x="34" y="19"/>
                </a:lnTo>
                <a:lnTo>
                  <a:pt x="37" y="19"/>
                </a:lnTo>
                <a:lnTo>
                  <a:pt x="39" y="14"/>
                </a:lnTo>
                <a:lnTo>
                  <a:pt x="41" y="14"/>
                </a:lnTo>
                <a:lnTo>
                  <a:pt x="44" y="22"/>
                </a:lnTo>
                <a:lnTo>
                  <a:pt x="49" y="22"/>
                </a:lnTo>
                <a:lnTo>
                  <a:pt x="51" y="24"/>
                </a:lnTo>
                <a:lnTo>
                  <a:pt x="56" y="27"/>
                </a:lnTo>
                <a:lnTo>
                  <a:pt x="56" y="32"/>
                </a:lnTo>
                <a:lnTo>
                  <a:pt x="59" y="32"/>
                </a:lnTo>
                <a:lnTo>
                  <a:pt x="66" y="34"/>
                </a:lnTo>
                <a:lnTo>
                  <a:pt x="69" y="39"/>
                </a:lnTo>
                <a:lnTo>
                  <a:pt x="73" y="44"/>
                </a:lnTo>
                <a:lnTo>
                  <a:pt x="76" y="46"/>
                </a:lnTo>
                <a:lnTo>
                  <a:pt x="76" y="51"/>
                </a:lnTo>
                <a:lnTo>
                  <a:pt x="73" y="54"/>
                </a:lnTo>
                <a:lnTo>
                  <a:pt x="73" y="59"/>
                </a:lnTo>
                <a:lnTo>
                  <a:pt x="73" y="61"/>
                </a:lnTo>
                <a:lnTo>
                  <a:pt x="73" y="61"/>
                </a:lnTo>
                <a:lnTo>
                  <a:pt x="76" y="63"/>
                </a:lnTo>
                <a:lnTo>
                  <a:pt x="78" y="63"/>
                </a:lnTo>
                <a:lnTo>
                  <a:pt x="76" y="66"/>
                </a:lnTo>
                <a:lnTo>
                  <a:pt x="73" y="68"/>
                </a:lnTo>
                <a:lnTo>
                  <a:pt x="73" y="73"/>
                </a:lnTo>
                <a:lnTo>
                  <a:pt x="71" y="76"/>
                </a:lnTo>
                <a:lnTo>
                  <a:pt x="69" y="78"/>
                </a:lnTo>
                <a:lnTo>
                  <a:pt x="69" y="78"/>
                </a:lnTo>
                <a:lnTo>
                  <a:pt x="69" y="81"/>
                </a:lnTo>
                <a:lnTo>
                  <a:pt x="66" y="83"/>
                </a:lnTo>
                <a:lnTo>
                  <a:pt x="59" y="86"/>
                </a:lnTo>
                <a:lnTo>
                  <a:pt x="59" y="86"/>
                </a:lnTo>
                <a:lnTo>
                  <a:pt x="56" y="86"/>
                </a:lnTo>
                <a:lnTo>
                  <a:pt x="56" y="88"/>
                </a:lnTo>
                <a:lnTo>
                  <a:pt x="56" y="88"/>
                </a:lnTo>
                <a:lnTo>
                  <a:pt x="54" y="88"/>
                </a:lnTo>
                <a:lnTo>
                  <a:pt x="51" y="88"/>
                </a:lnTo>
                <a:lnTo>
                  <a:pt x="49" y="88"/>
                </a:lnTo>
                <a:lnTo>
                  <a:pt x="46" y="86"/>
                </a:lnTo>
                <a:lnTo>
                  <a:pt x="44" y="86"/>
                </a:lnTo>
                <a:lnTo>
                  <a:pt x="39" y="86"/>
                </a:lnTo>
                <a:lnTo>
                  <a:pt x="37" y="88"/>
                </a:lnTo>
                <a:lnTo>
                  <a:pt x="34" y="88"/>
                </a:lnTo>
                <a:lnTo>
                  <a:pt x="34" y="86"/>
                </a:lnTo>
                <a:lnTo>
                  <a:pt x="34" y="86"/>
                </a:lnTo>
                <a:lnTo>
                  <a:pt x="34" y="86"/>
                </a:lnTo>
                <a:lnTo>
                  <a:pt x="32" y="86"/>
                </a:lnTo>
                <a:lnTo>
                  <a:pt x="29" y="83"/>
                </a:lnTo>
                <a:lnTo>
                  <a:pt x="24" y="81"/>
                </a:lnTo>
                <a:lnTo>
                  <a:pt x="19" y="81"/>
                </a:lnTo>
                <a:lnTo>
                  <a:pt x="14" y="81"/>
                </a:lnTo>
                <a:lnTo>
                  <a:pt x="12" y="81"/>
                </a:lnTo>
                <a:lnTo>
                  <a:pt x="7" y="78"/>
                </a:lnTo>
                <a:lnTo>
                  <a:pt x="5" y="76"/>
                </a:lnTo>
                <a:lnTo>
                  <a:pt x="2" y="71"/>
                </a:lnTo>
                <a:lnTo>
                  <a:pt x="0" y="66"/>
                </a:lnTo>
                <a:lnTo>
                  <a:pt x="0" y="59"/>
                </a:lnTo>
                <a:lnTo>
                  <a:pt x="0" y="59"/>
                </a:lnTo>
                <a:lnTo>
                  <a:pt x="0" y="56"/>
                </a:lnTo>
                <a:lnTo>
                  <a:pt x="2" y="54"/>
                </a:lnTo>
                <a:lnTo>
                  <a:pt x="2" y="51"/>
                </a:lnTo>
                <a:lnTo>
                  <a:pt x="2" y="46"/>
                </a:lnTo>
                <a:lnTo>
                  <a:pt x="0" y="41"/>
                </a:lnTo>
                <a:lnTo>
                  <a:pt x="2" y="39"/>
                </a:lnTo>
                <a:lnTo>
                  <a:pt x="0" y="34"/>
                </a:lnTo>
                <a:lnTo>
                  <a:pt x="2" y="32"/>
                </a:lnTo>
                <a:lnTo>
                  <a:pt x="2" y="29"/>
                </a:lnTo>
                <a:lnTo>
                  <a:pt x="2" y="27"/>
                </a:lnTo>
                <a:lnTo>
                  <a:pt x="2" y="19"/>
                </a:lnTo>
                <a:lnTo>
                  <a:pt x="2" y="17"/>
                </a:lnTo>
                <a:lnTo>
                  <a:pt x="5" y="14"/>
                </a:lnTo>
                <a:lnTo>
                  <a:pt x="2" y="9"/>
                </a:lnTo>
                <a:lnTo>
                  <a:pt x="5" y="4"/>
                </a:lnTo>
                <a:lnTo>
                  <a:pt x="7" y="2"/>
                </a:lnTo>
                <a:lnTo>
                  <a:pt x="7" y="2"/>
                </a:lnTo>
                <a:lnTo>
                  <a:pt x="7" y="2"/>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0" name="Freeform 199"/>
          <p:cNvSpPr>
            <a:spLocks noEditPoints="1"/>
          </p:cNvSpPr>
          <p:nvPr/>
        </p:nvSpPr>
        <p:spPr bwMode="auto">
          <a:xfrm>
            <a:off x="3041523" y="4991598"/>
            <a:ext cx="404478" cy="983064"/>
          </a:xfrm>
          <a:custGeom>
            <a:avLst/>
            <a:gdLst/>
            <a:ahLst/>
            <a:cxnLst>
              <a:cxn ang="0">
                <a:pos x="64" y="3"/>
              </a:cxn>
              <a:cxn ang="0">
                <a:pos x="81" y="10"/>
              </a:cxn>
              <a:cxn ang="0">
                <a:pos x="113" y="8"/>
              </a:cxn>
              <a:cxn ang="0">
                <a:pos x="155" y="37"/>
              </a:cxn>
              <a:cxn ang="0">
                <a:pos x="184" y="67"/>
              </a:cxn>
              <a:cxn ang="0">
                <a:pos x="187" y="89"/>
              </a:cxn>
              <a:cxn ang="0">
                <a:pos x="216" y="91"/>
              </a:cxn>
              <a:cxn ang="0">
                <a:pos x="233" y="62"/>
              </a:cxn>
              <a:cxn ang="0">
                <a:pos x="248" y="81"/>
              </a:cxn>
              <a:cxn ang="0">
                <a:pos x="228" y="96"/>
              </a:cxn>
              <a:cxn ang="0">
                <a:pos x="209" y="113"/>
              </a:cxn>
              <a:cxn ang="0">
                <a:pos x="194" y="136"/>
              </a:cxn>
              <a:cxn ang="0">
                <a:pos x="189" y="165"/>
              </a:cxn>
              <a:cxn ang="0">
                <a:pos x="187" y="192"/>
              </a:cxn>
              <a:cxn ang="0">
                <a:pos x="187" y="212"/>
              </a:cxn>
              <a:cxn ang="0">
                <a:pos x="206" y="244"/>
              </a:cxn>
              <a:cxn ang="0">
                <a:pos x="219" y="259"/>
              </a:cxn>
              <a:cxn ang="0">
                <a:pos x="211" y="281"/>
              </a:cxn>
              <a:cxn ang="0">
                <a:pos x="167" y="300"/>
              </a:cxn>
              <a:cxn ang="0">
                <a:pos x="142" y="295"/>
              </a:cxn>
              <a:cxn ang="0">
                <a:pos x="147" y="313"/>
              </a:cxn>
              <a:cxn ang="0">
                <a:pos x="147" y="327"/>
              </a:cxn>
              <a:cxn ang="0">
                <a:pos x="128" y="345"/>
              </a:cxn>
              <a:cxn ang="0">
                <a:pos x="103" y="337"/>
              </a:cxn>
              <a:cxn ang="0">
                <a:pos x="118" y="364"/>
              </a:cxn>
              <a:cxn ang="0">
                <a:pos x="120" y="362"/>
              </a:cxn>
              <a:cxn ang="0">
                <a:pos x="133" y="374"/>
              </a:cxn>
              <a:cxn ang="0">
                <a:pos x="115" y="372"/>
              </a:cxn>
              <a:cxn ang="0">
                <a:pos x="113" y="386"/>
              </a:cxn>
              <a:cxn ang="0">
                <a:pos x="110" y="404"/>
              </a:cxn>
              <a:cxn ang="0">
                <a:pos x="110" y="421"/>
              </a:cxn>
              <a:cxn ang="0">
                <a:pos x="91" y="431"/>
              </a:cxn>
              <a:cxn ang="0">
                <a:pos x="88" y="453"/>
              </a:cxn>
              <a:cxn ang="0">
                <a:pos x="115" y="465"/>
              </a:cxn>
              <a:cxn ang="0">
                <a:pos x="118" y="482"/>
              </a:cxn>
              <a:cxn ang="0">
                <a:pos x="108" y="497"/>
              </a:cxn>
              <a:cxn ang="0">
                <a:pos x="96" y="514"/>
              </a:cxn>
              <a:cxn ang="0">
                <a:pos x="88" y="527"/>
              </a:cxn>
              <a:cxn ang="0">
                <a:pos x="81" y="546"/>
              </a:cxn>
              <a:cxn ang="0">
                <a:pos x="88" y="566"/>
              </a:cxn>
              <a:cxn ang="0">
                <a:pos x="91" y="573"/>
              </a:cxn>
              <a:cxn ang="0">
                <a:pos x="42" y="561"/>
              </a:cxn>
              <a:cxn ang="0">
                <a:pos x="17" y="536"/>
              </a:cxn>
              <a:cxn ang="0">
                <a:pos x="27" y="477"/>
              </a:cxn>
              <a:cxn ang="0">
                <a:pos x="24" y="438"/>
              </a:cxn>
              <a:cxn ang="0">
                <a:pos x="14" y="418"/>
              </a:cxn>
              <a:cxn ang="0">
                <a:pos x="14" y="399"/>
              </a:cxn>
              <a:cxn ang="0">
                <a:pos x="10" y="362"/>
              </a:cxn>
              <a:cxn ang="0">
                <a:pos x="10" y="305"/>
              </a:cxn>
              <a:cxn ang="0">
                <a:pos x="14" y="251"/>
              </a:cxn>
              <a:cxn ang="0">
                <a:pos x="17" y="212"/>
              </a:cxn>
              <a:cxn ang="0">
                <a:pos x="0" y="165"/>
              </a:cxn>
              <a:cxn ang="0">
                <a:pos x="7" y="121"/>
              </a:cxn>
              <a:cxn ang="0">
                <a:pos x="22" y="81"/>
              </a:cxn>
              <a:cxn ang="0">
                <a:pos x="22" y="57"/>
              </a:cxn>
              <a:cxn ang="0">
                <a:pos x="39" y="15"/>
              </a:cxn>
              <a:cxn ang="0">
                <a:pos x="167" y="630"/>
              </a:cxn>
              <a:cxn ang="0">
                <a:pos x="105" y="598"/>
              </a:cxn>
              <a:cxn ang="0">
                <a:pos x="103" y="603"/>
              </a:cxn>
              <a:cxn ang="0">
                <a:pos x="135" y="623"/>
              </a:cxn>
              <a:cxn ang="0">
                <a:pos x="152" y="632"/>
              </a:cxn>
              <a:cxn ang="0">
                <a:pos x="128" y="635"/>
              </a:cxn>
              <a:cxn ang="0">
                <a:pos x="123" y="630"/>
              </a:cxn>
            </a:cxnLst>
            <a:rect l="0" t="0" r="r" b="b"/>
            <a:pathLst>
              <a:path w="248" h="640">
                <a:moveTo>
                  <a:pt x="39" y="15"/>
                </a:moveTo>
                <a:lnTo>
                  <a:pt x="42" y="13"/>
                </a:lnTo>
                <a:lnTo>
                  <a:pt x="44" y="8"/>
                </a:lnTo>
                <a:lnTo>
                  <a:pt x="49" y="0"/>
                </a:lnTo>
                <a:lnTo>
                  <a:pt x="54" y="0"/>
                </a:lnTo>
                <a:lnTo>
                  <a:pt x="56" y="3"/>
                </a:lnTo>
                <a:lnTo>
                  <a:pt x="61" y="3"/>
                </a:lnTo>
                <a:lnTo>
                  <a:pt x="64" y="3"/>
                </a:lnTo>
                <a:lnTo>
                  <a:pt x="69" y="3"/>
                </a:lnTo>
                <a:lnTo>
                  <a:pt x="74" y="0"/>
                </a:lnTo>
                <a:lnTo>
                  <a:pt x="76" y="3"/>
                </a:lnTo>
                <a:lnTo>
                  <a:pt x="76" y="5"/>
                </a:lnTo>
                <a:lnTo>
                  <a:pt x="78" y="13"/>
                </a:lnTo>
                <a:lnTo>
                  <a:pt x="81" y="15"/>
                </a:lnTo>
                <a:lnTo>
                  <a:pt x="81" y="13"/>
                </a:lnTo>
                <a:lnTo>
                  <a:pt x="81" y="10"/>
                </a:lnTo>
                <a:lnTo>
                  <a:pt x="83" y="8"/>
                </a:lnTo>
                <a:lnTo>
                  <a:pt x="83" y="3"/>
                </a:lnTo>
                <a:lnTo>
                  <a:pt x="86" y="0"/>
                </a:lnTo>
                <a:lnTo>
                  <a:pt x="93" y="0"/>
                </a:lnTo>
                <a:lnTo>
                  <a:pt x="103" y="0"/>
                </a:lnTo>
                <a:lnTo>
                  <a:pt x="105" y="3"/>
                </a:lnTo>
                <a:lnTo>
                  <a:pt x="108" y="8"/>
                </a:lnTo>
                <a:lnTo>
                  <a:pt x="113" y="8"/>
                </a:lnTo>
                <a:lnTo>
                  <a:pt x="115" y="15"/>
                </a:lnTo>
                <a:lnTo>
                  <a:pt x="125" y="25"/>
                </a:lnTo>
                <a:lnTo>
                  <a:pt x="130" y="25"/>
                </a:lnTo>
                <a:lnTo>
                  <a:pt x="133" y="27"/>
                </a:lnTo>
                <a:lnTo>
                  <a:pt x="135" y="32"/>
                </a:lnTo>
                <a:lnTo>
                  <a:pt x="145" y="35"/>
                </a:lnTo>
                <a:lnTo>
                  <a:pt x="150" y="37"/>
                </a:lnTo>
                <a:lnTo>
                  <a:pt x="155" y="37"/>
                </a:lnTo>
                <a:lnTo>
                  <a:pt x="160" y="45"/>
                </a:lnTo>
                <a:lnTo>
                  <a:pt x="167" y="47"/>
                </a:lnTo>
                <a:lnTo>
                  <a:pt x="177" y="49"/>
                </a:lnTo>
                <a:lnTo>
                  <a:pt x="179" y="52"/>
                </a:lnTo>
                <a:lnTo>
                  <a:pt x="184" y="57"/>
                </a:lnTo>
                <a:lnTo>
                  <a:pt x="187" y="59"/>
                </a:lnTo>
                <a:lnTo>
                  <a:pt x="187" y="64"/>
                </a:lnTo>
                <a:lnTo>
                  <a:pt x="184" y="67"/>
                </a:lnTo>
                <a:lnTo>
                  <a:pt x="179" y="69"/>
                </a:lnTo>
                <a:lnTo>
                  <a:pt x="179" y="72"/>
                </a:lnTo>
                <a:lnTo>
                  <a:pt x="179" y="74"/>
                </a:lnTo>
                <a:lnTo>
                  <a:pt x="177" y="81"/>
                </a:lnTo>
                <a:lnTo>
                  <a:pt x="172" y="86"/>
                </a:lnTo>
                <a:lnTo>
                  <a:pt x="172" y="89"/>
                </a:lnTo>
                <a:lnTo>
                  <a:pt x="174" y="89"/>
                </a:lnTo>
                <a:lnTo>
                  <a:pt x="187" y="89"/>
                </a:lnTo>
                <a:lnTo>
                  <a:pt x="194" y="91"/>
                </a:lnTo>
                <a:lnTo>
                  <a:pt x="201" y="94"/>
                </a:lnTo>
                <a:lnTo>
                  <a:pt x="204" y="94"/>
                </a:lnTo>
                <a:lnTo>
                  <a:pt x="206" y="94"/>
                </a:lnTo>
                <a:lnTo>
                  <a:pt x="209" y="94"/>
                </a:lnTo>
                <a:lnTo>
                  <a:pt x="211" y="91"/>
                </a:lnTo>
                <a:lnTo>
                  <a:pt x="214" y="89"/>
                </a:lnTo>
                <a:lnTo>
                  <a:pt x="216" y="91"/>
                </a:lnTo>
                <a:lnTo>
                  <a:pt x="219" y="86"/>
                </a:lnTo>
                <a:lnTo>
                  <a:pt x="221" y="84"/>
                </a:lnTo>
                <a:lnTo>
                  <a:pt x="226" y="79"/>
                </a:lnTo>
                <a:lnTo>
                  <a:pt x="228" y="74"/>
                </a:lnTo>
                <a:lnTo>
                  <a:pt x="231" y="72"/>
                </a:lnTo>
                <a:lnTo>
                  <a:pt x="233" y="69"/>
                </a:lnTo>
                <a:lnTo>
                  <a:pt x="233" y="64"/>
                </a:lnTo>
                <a:lnTo>
                  <a:pt x="233" y="62"/>
                </a:lnTo>
                <a:lnTo>
                  <a:pt x="233" y="57"/>
                </a:lnTo>
                <a:lnTo>
                  <a:pt x="236" y="54"/>
                </a:lnTo>
                <a:lnTo>
                  <a:pt x="243" y="57"/>
                </a:lnTo>
                <a:lnTo>
                  <a:pt x="243" y="59"/>
                </a:lnTo>
                <a:lnTo>
                  <a:pt x="248" y="67"/>
                </a:lnTo>
                <a:lnTo>
                  <a:pt x="246" y="72"/>
                </a:lnTo>
                <a:lnTo>
                  <a:pt x="248" y="77"/>
                </a:lnTo>
                <a:lnTo>
                  <a:pt x="248" y="81"/>
                </a:lnTo>
                <a:lnTo>
                  <a:pt x="248" y="84"/>
                </a:lnTo>
                <a:lnTo>
                  <a:pt x="243" y="84"/>
                </a:lnTo>
                <a:lnTo>
                  <a:pt x="241" y="86"/>
                </a:lnTo>
                <a:lnTo>
                  <a:pt x="241" y="89"/>
                </a:lnTo>
                <a:lnTo>
                  <a:pt x="238" y="89"/>
                </a:lnTo>
                <a:lnTo>
                  <a:pt x="236" y="89"/>
                </a:lnTo>
                <a:lnTo>
                  <a:pt x="231" y="94"/>
                </a:lnTo>
                <a:lnTo>
                  <a:pt x="228" y="96"/>
                </a:lnTo>
                <a:lnTo>
                  <a:pt x="226" y="96"/>
                </a:lnTo>
                <a:lnTo>
                  <a:pt x="221" y="101"/>
                </a:lnTo>
                <a:lnTo>
                  <a:pt x="219" y="101"/>
                </a:lnTo>
                <a:lnTo>
                  <a:pt x="219" y="106"/>
                </a:lnTo>
                <a:lnTo>
                  <a:pt x="216" y="106"/>
                </a:lnTo>
                <a:lnTo>
                  <a:pt x="214" y="106"/>
                </a:lnTo>
                <a:lnTo>
                  <a:pt x="209" y="111"/>
                </a:lnTo>
                <a:lnTo>
                  <a:pt x="209" y="113"/>
                </a:lnTo>
                <a:lnTo>
                  <a:pt x="209" y="118"/>
                </a:lnTo>
                <a:lnTo>
                  <a:pt x="206" y="118"/>
                </a:lnTo>
                <a:lnTo>
                  <a:pt x="206" y="121"/>
                </a:lnTo>
                <a:lnTo>
                  <a:pt x="201" y="126"/>
                </a:lnTo>
                <a:lnTo>
                  <a:pt x="199" y="128"/>
                </a:lnTo>
                <a:lnTo>
                  <a:pt x="197" y="133"/>
                </a:lnTo>
                <a:lnTo>
                  <a:pt x="197" y="133"/>
                </a:lnTo>
                <a:lnTo>
                  <a:pt x="194" y="136"/>
                </a:lnTo>
                <a:lnTo>
                  <a:pt x="194" y="138"/>
                </a:lnTo>
                <a:lnTo>
                  <a:pt x="192" y="140"/>
                </a:lnTo>
                <a:lnTo>
                  <a:pt x="189" y="145"/>
                </a:lnTo>
                <a:lnTo>
                  <a:pt x="192" y="150"/>
                </a:lnTo>
                <a:lnTo>
                  <a:pt x="189" y="153"/>
                </a:lnTo>
                <a:lnTo>
                  <a:pt x="189" y="155"/>
                </a:lnTo>
                <a:lnTo>
                  <a:pt x="189" y="163"/>
                </a:lnTo>
                <a:lnTo>
                  <a:pt x="189" y="165"/>
                </a:lnTo>
                <a:lnTo>
                  <a:pt x="189" y="168"/>
                </a:lnTo>
                <a:lnTo>
                  <a:pt x="187" y="170"/>
                </a:lnTo>
                <a:lnTo>
                  <a:pt x="189" y="175"/>
                </a:lnTo>
                <a:lnTo>
                  <a:pt x="187" y="177"/>
                </a:lnTo>
                <a:lnTo>
                  <a:pt x="189" y="182"/>
                </a:lnTo>
                <a:lnTo>
                  <a:pt x="189" y="187"/>
                </a:lnTo>
                <a:lnTo>
                  <a:pt x="189" y="190"/>
                </a:lnTo>
                <a:lnTo>
                  <a:pt x="187" y="192"/>
                </a:lnTo>
                <a:lnTo>
                  <a:pt x="187" y="195"/>
                </a:lnTo>
                <a:lnTo>
                  <a:pt x="187" y="195"/>
                </a:lnTo>
                <a:lnTo>
                  <a:pt x="187" y="195"/>
                </a:lnTo>
                <a:lnTo>
                  <a:pt x="184" y="199"/>
                </a:lnTo>
                <a:lnTo>
                  <a:pt x="187" y="207"/>
                </a:lnTo>
                <a:lnTo>
                  <a:pt x="187" y="207"/>
                </a:lnTo>
                <a:lnTo>
                  <a:pt x="187" y="209"/>
                </a:lnTo>
                <a:lnTo>
                  <a:pt x="187" y="212"/>
                </a:lnTo>
                <a:lnTo>
                  <a:pt x="187" y="214"/>
                </a:lnTo>
                <a:lnTo>
                  <a:pt x="189" y="217"/>
                </a:lnTo>
                <a:lnTo>
                  <a:pt x="194" y="222"/>
                </a:lnTo>
                <a:lnTo>
                  <a:pt x="201" y="224"/>
                </a:lnTo>
                <a:lnTo>
                  <a:pt x="209" y="229"/>
                </a:lnTo>
                <a:lnTo>
                  <a:pt x="211" y="231"/>
                </a:lnTo>
                <a:lnTo>
                  <a:pt x="211" y="236"/>
                </a:lnTo>
                <a:lnTo>
                  <a:pt x="206" y="244"/>
                </a:lnTo>
                <a:lnTo>
                  <a:pt x="206" y="246"/>
                </a:lnTo>
                <a:lnTo>
                  <a:pt x="209" y="249"/>
                </a:lnTo>
                <a:lnTo>
                  <a:pt x="214" y="251"/>
                </a:lnTo>
                <a:lnTo>
                  <a:pt x="216" y="251"/>
                </a:lnTo>
                <a:lnTo>
                  <a:pt x="219" y="251"/>
                </a:lnTo>
                <a:lnTo>
                  <a:pt x="219" y="251"/>
                </a:lnTo>
                <a:lnTo>
                  <a:pt x="219" y="254"/>
                </a:lnTo>
                <a:lnTo>
                  <a:pt x="219" y="259"/>
                </a:lnTo>
                <a:lnTo>
                  <a:pt x="219" y="263"/>
                </a:lnTo>
                <a:lnTo>
                  <a:pt x="216" y="268"/>
                </a:lnTo>
                <a:lnTo>
                  <a:pt x="216" y="273"/>
                </a:lnTo>
                <a:lnTo>
                  <a:pt x="214" y="273"/>
                </a:lnTo>
                <a:lnTo>
                  <a:pt x="214" y="271"/>
                </a:lnTo>
                <a:lnTo>
                  <a:pt x="211" y="273"/>
                </a:lnTo>
                <a:lnTo>
                  <a:pt x="211" y="278"/>
                </a:lnTo>
                <a:lnTo>
                  <a:pt x="211" y="281"/>
                </a:lnTo>
                <a:lnTo>
                  <a:pt x="211" y="286"/>
                </a:lnTo>
                <a:lnTo>
                  <a:pt x="201" y="290"/>
                </a:lnTo>
                <a:lnTo>
                  <a:pt x="197" y="293"/>
                </a:lnTo>
                <a:lnTo>
                  <a:pt x="194" y="290"/>
                </a:lnTo>
                <a:lnTo>
                  <a:pt x="194" y="293"/>
                </a:lnTo>
                <a:lnTo>
                  <a:pt x="184" y="295"/>
                </a:lnTo>
                <a:lnTo>
                  <a:pt x="174" y="298"/>
                </a:lnTo>
                <a:lnTo>
                  <a:pt x="167" y="300"/>
                </a:lnTo>
                <a:lnTo>
                  <a:pt x="162" y="298"/>
                </a:lnTo>
                <a:lnTo>
                  <a:pt x="157" y="300"/>
                </a:lnTo>
                <a:lnTo>
                  <a:pt x="155" y="300"/>
                </a:lnTo>
                <a:lnTo>
                  <a:pt x="150" y="298"/>
                </a:lnTo>
                <a:lnTo>
                  <a:pt x="147" y="295"/>
                </a:lnTo>
                <a:lnTo>
                  <a:pt x="145" y="295"/>
                </a:lnTo>
                <a:lnTo>
                  <a:pt x="142" y="293"/>
                </a:lnTo>
                <a:lnTo>
                  <a:pt x="142" y="295"/>
                </a:lnTo>
                <a:lnTo>
                  <a:pt x="142" y="298"/>
                </a:lnTo>
                <a:lnTo>
                  <a:pt x="142" y="300"/>
                </a:lnTo>
                <a:lnTo>
                  <a:pt x="142" y="305"/>
                </a:lnTo>
                <a:lnTo>
                  <a:pt x="145" y="308"/>
                </a:lnTo>
                <a:lnTo>
                  <a:pt x="145" y="308"/>
                </a:lnTo>
                <a:lnTo>
                  <a:pt x="147" y="308"/>
                </a:lnTo>
                <a:lnTo>
                  <a:pt x="147" y="310"/>
                </a:lnTo>
                <a:lnTo>
                  <a:pt x="147" y="313"/>
                </a:lnTo>
                <a:lnTo>
                  <a:pt x="145" y="313"/>
                </a:lnTo>
                <a:lnTo>
                  <a:pt x="145" y="315"/>
                </a:lnTo>
                <a:lnTo>
                  <a:pt x="142" y="318"/>
                </a:lnTo>
                <a:lnTo>
                  <a:pt x="142" y="320"/>
                </a:lnTo>
                <a:lnTo>
                  <a:pt x="142" y="320"/>
                </a:lnTo>
                <a:lnTo>
                  <a:pt x="142" y="325"/>
                </a:lnTo>
                <a:lnTo>
                  <a:pt x="145" y="327"/>
                </a:lnTo>
                <a:lnTo>
                  <a:pt x="147" y="327"/>
                </a:lnTo>
                <a:lnTo>
                  <a:pt x="145" y="330"/>
                </a:lnTo>
                <a:lnTo>
                  <a:pt x="145" y="332"/>
                </a:lnTo>
                <a:lnTo>
                  <a:pt x="145" y="335"/>
                </a:lnTo>
                <a:lnTo>
                  <a:pt x="145" y="337"/>
                </a:lnTo>
                <a:lnTo>
                  <a:pt x="142" y="340"/>
                </a:lnTo>
                <a:lnTo>
                  <a:pt x="142" y="340"/>
                </a:lnTo>
                <a:lnTo>
                  <a:pt x="137" y="345"/>
                </a:lnTo>
                <a:lnTo>
                  <a:pt x="128" y="345"/>
                </a:lnTo>
                <a:lnTo>
                  <a:pt x="123" y="342"/>
                </a:lnTo>
                <a:lnTo>
                  <a:pt x="118" y="340"/>
                </a:lnTo>
                <a:lnTo>
                  <a:pt x="113" y="337"/>
                </a:lnTo>
                <a:lnTo>
                  <a:pt x="108" y="337"/>
                </a:lnTo>
                <a:lnTo>
                  <a:pt x="108" y="337"/>
                </a:lnTo>
                <a:lnTo>
                  <a:pt x="108" y="335"/>
                </a:lnTo>
                <a:lnTo>
                  <a:pt x="105" y="335"/>
                </a:lnTo>
                <a:lnTo>
                  <a:pt x="103" y="337"/>
                </a:lnTo>
                <a:lnTo>
                  <a:pt x="103" y="345"/>
                </a:lnTo>
                <a:lnTo>
                  <a:pt x="105" y="347"/>
                </a:lnTo>
                <a:lnTo>
                  <a:pt x="108" y="352"/>
                </a:lnTo>
                <a:lnTo>
                  <a:pt x="108" y="359"/>
                </a:lnTo>
                <a:lnTo>
                  <a:pt x="108" y="362"/>
                </a:lnTo>
                <a:lnTo>
                  <a:pt x="113" y="364"/>
                </a:lnTo>
                <a:lnTo>
                  <a:pt x="118" y="364"/>
                </a:lnTo>
                <a:lnTo>
                  <a:pt x="118" y="364"/>
                </a:lnTo>
                <a:lnTo>
                  <a:pt x="118" y="367"/>
                </a:lnTo>
                <a:lnTo>
                  <a:pt x="115" y="367"/>
                </a:lnTo>
                <a:lnTo>
                  <a:pt x="118" y="369"/>
                </a:lnTo>
                <a:lnTo>
                  <a:pt x="123" y="367"/>
                </a:lnTo>
                <a:lnTo>
                  <a:pt x="123" y="364"/>
                </a:lnTo>
                <a:lnTo>
                  <a:pt x="120" y="364"/>
                </a:lnTo>
                <a:lnTo>
                  <a:pt x="120" y="364"/>
                </a:lnTo>
                <a:lnTo>
                  <a:pt x="120" y="362"/>
                </a:lnTo>
                <a:lnTo>
                  <a:pt x="123" y="362"/>
                </a:lnTo>
                <a:lnTo>
                  <a:pt x="128" y="359"/>
                </a:lnTo>
                <a:lnTo>
                  <a:pt x="128" y="359"/>
                </a:lnTo>
                <a:lnTo>
                  <a:pt x="130" y="364"/>
                </a:lnTo>
                <a:lnTo>
                  <a:pt x="130" y="367"/>
                </a:lnTo>
                <a:lnTo>
                  <a:pt x="130" y="367"/>
                </a:lnTo>
                <a:lnTo>
                  <a:pt x="130" y="369"/>
                </a:lnTo>
                <a:lnTo>
                  <a:pt x="133" y="374"/>
                </a:lnTo>
                <a:lnTo>
                  <a:pt x="133" y="377"/>
                </a:lnTo>
                <a:lnTo>
                  <a:pt x="125" y="379"/>
                </a:lnTo>
                <a:lnTo>
                  <a:pt x="123" y="379"/>
                </a:lnTo>
                <a:lnTo>
                  <a:pt x="123" y="377"/>
                </a:lnTo>
                <a:lnTo>
                  <a:pt x="123" y="374"/>
                </a:lnTo>
                <a:lnTo>
                  <a:pt x="123" y="372"/>
                </a:lnTo>
                <a:lnTo>
                  <a:pt x="118" y="372"/>
                </a:lnTo>
                <a:lnTo>
                  <a:pt x="115" y="372"/>
                </a:lnTo>
                <a:lnTo>
                  <a:pt x="113" y="374"/>
                </a:lnTo>
                <a:lnTo>
                  <a:pt x="110" y="377"/>
                </a:lnTo>
                <a:lnTo>
                  <a:pt x="113" y="379"/>
                </a:lnTo>
                <a:lnTo>
                  <a:pt x="115" y="379"/>
                </a:lnTo>
                <a:lnTo>
                  <a:pt x="120" y="379"/>
                </a:lnTo>
                <a:lnTo>
                  <a:pt x="120" y="381"/>
                </a:lnTo>
                <a:lnTo>
                  <a:pt x="118" y="384"/>
                </a:lnTo>
                <a:lnTo>
                  <a:pt x="113" y="386"/>
                </a:lnTo>
                <a:lnTo>
                  <a:pt x="110" y="389"/>
                </a:lnTo>
                <a:lnTo>
                  <a:pt x="113" y="389"/>
                </a:lnTo>
                <a:lnTo>
                  <a:pt x="110" y="391"/>
                </a:lnTo>
                <a:lnTo>
                  <a:pt x="108" y="394"/>
                </a:lnTo>
                <a:lnTo>
                  <a:pt x="108" y="399"/>
                </a:lnTo>
                <a:lnTo>
                  <a:pt x="110" y="401"/>
                </a:lnTo>
                <a:lnTo>
                  <a:pt x="110" y="404"/>
                </a:lnTo>
                <a:lnTo>
                  <a:pt x="110" y="404"/>
                </a:lnTo>
                <a:lnTo>
                  <a:pt x="113" y="409"/>
                </a:lnTo>
                <a:lnTo>
                  <a:pt x="113" y="409"/>
                </a:lnTo>
                <a:lnTo>
                  <a:pt x="113" y="411"/>
                </a:lnTo>
                <a:lnTo>
                  <a:pt x="113" y="413"/>
                </a:lnTo>
                <a:lnTo>
                  <a:pt x="108" y="416"/>
                </a:lnTo>
                <a:lnTo>
                  <a:pt x="108" y="418"/>
                </a:lnTo>
                <a:lnTo>
                  <a:pt x="108" y="418"/>
                </a:lnTo>
                <a:lnTo>
                  <a:pt x="110" y="421"/>
                </a:lnTo>
                <a:lnTo>
                  <a:pt x="113" y="421"/>
                </a:lnTo>
                <a:lnTo>
                  <a:pt x="110" y="423"/>
                </a:lnTo>
                <a:lnTo>
                  <a:pt x="105" y="423"/>
                </a:lnTo>
                <a:lnTo>
                  <a:pt x="103" y="423"/>
                </a:lnTo>
                <a:lnTo>
                  <a:pt x="101" y="423"/>
                </a:lnTo>
                <a:lnTo>
                  <a:pt x="96" y="428"/>
                </a:lnTo>
                <a:lnTo>
                  <a:pt x="93" y="428"/>
                </a:lnTo>
                <a:lnTo>
                  <a:pt x="91" y="431"/>
                </a:lnTo>
                <a:lnTo>
                  <a:pt x="88" y="431"/>
                </a:lnTo>
                <a:lnTo>
                  <a:pt x="88" y="436"/>
                </a:lnTo>
                <a:lnTo>
                  <a:pt x="86" y="438"/>
                </a:lnTo>
                <a:lnTo>
                  <a:pt x="83" y="441"/>
                </a:lnTo>
                <a:lnTo>
                  <a:pt x="83" y="443"/>
                </a:lnTo>
                <a:lnTo>
                  <a:pt x="83" y="445"/>
                </a:lnTo>
                <a:lnTo>
                  <a:pt x="83" y="448"/>
                </a:lnTo>
                <a:lnTo>
                  <a:pt x="88" y="453"/>
                </a:lnTo>
                <a:lnTo>
                  <a:pt x="91" y="455"/>
                </a:lnTo>
                <a:lnTo>
                  <a:pt x="93" y="458"/>
                </a:lnTo>
                <a:lnTo>
                  <a:pt x="98" y="460"/>
                </a:lnTo>
                <a:lnTo>
                  <a:pt x="103" y="465"/>
                </a:lnTo>
                <a:lnTo>
                  <a:pt x="108" y="465"/>
                </a:lnTo>
                <a:lnTo>
                  <a:pt x="110" y="465"/>
                </a:lnTo>
                <a:lnTo>
                  <a:pt x="113" y="465"/>
                </a:lnTo>
                <a:lnTo>
                  <a:pt x="115" y="465"/>
                </a:lnTo>
                <a:lnTo>
                  <a:pt x="115" y="468"/>
                </a:lnTo>
                <a:lnTo>
                  <a:pt x="115" y="468"/>
                </a:lnTo>
                <a:lnTo>
                  <a:pt x="115" y="470"/>
                </a:lnTo>
                <a:lnTo>
                  <a:pt x="115" y="475"/>
                </a:lnTo>
                <a:lnTo>
                  <a:pt x="115" y="477"/>
                </a:lnTo>
                <a:lnTo>
                  <a:pt x="113" y="480"/>
                </a:lnTo>
                <a:lnTo>
                  <a:pt x="115" y="480"/>
                </a:lnTo>
                <a:lnTo>
                  <a:pt x="118" y="482"/>
                </a:lnTo>
                <a:lnTo>
                  <a:pt x="115" y="482"/>
                </a:lnTo>
                <a:lnTo>
                  <a:pt x="115" y="485"/>
                </a:lnTo>
                <a:lnTo>
                  <a:pt x="118" y="485"/>
                </a:lnTo>
                <a:lnTo>
                  <a:pt x="115" y="490"/>
                </a:lnTo>
                <a:lnTo>
                  <a:pt x="113" y="490"/>
                </a:lnTo>
                <a:lnTo>
                  <a:pt x="110" y="492"/>
                </a:lnTo>
                <a:lnTo>
                  <a:pt x="110" y="492"/>
                </a:lnTo>
                <a:lnTo>
                  <a:pt x="108" y="497"/>
                </a:lnTo>
                <a:lnTo>
                  <a:pt x="105" y="500"/>
                </a:lnTo>
                <a:lnTo>
                  <a:pt x="103" y="500"/>
                </a:lnTo>
                <a:lnTo>
                  <a:pt x="101" y="502"/>
                </a:lnTo>
                <a:lnTo>
                  <a:pt x="98" y="507"/>
                </a:lnTo>
                <a:lnTo>
                  <a:pt x="98" y="509"/>
                </a:lnTo>
                <a:lnTo>
                  <a:pt x="96" y="512"/>
                </a:lnTo>
                <a:lnTo>
                  <a:pt x="96" y="514"/>
                </a:lnTo>
                <a:lnTo>
                  <a:pt x="96" y="514"/>
                </a:lnTo>
                <a:lnTo>
                  <a:pt x="98" y="514"/>
                </a:lnTo>
                <a:lnTo>
                  <a:pt x="101" y="519"/>
                </a:lnTo>
                <a:lnTo>
                  <a:pt x="98" y="522"/>
                </a:lnTo>
                <a:lnTo>
                  <a:pt x="96" y="524"/>
                </a:lnTo>
                <a:lnTo>
                  <a:pt x="96" y="527"/>
                </a:lnTo>
                <a:lnTo>
                  <a:pt x="93" y="529"/>
                </a:lnTo>
                <a:lnTo>
                  <a:pt x="91" y="529"/>
                </a:lnTo>
                <a:lnTo>
                  <a:pt x="88" y="527"/>
                </a:lnTo>
                <a:lnTo>
                  <a:pt x="86" y="524"/>
                </a:lnTo>
                <a:lnTo>
                  <a:pt x="88" y="527"/>
                </a:lnTo>
                <a:lnTo>
                  <a:pt x="88" y="529"/>
                </a:lnTo>
                <a:lnTo>
                  <a:pt x="88" y="532"/>
                </a:lnTo>
                <a:lnTo>
                  <a:pt x="86" y="534"/>
                </a:lnTo>
                <a:lnTo>
                  <a:pt x="83" y="536"/>
                </a:lnTo>
                <a:lnTo>
                  <a:pt x="81" y="541"/>
                </a:lnTo>
                <a:lnTo>
                  <a:pt x="81" y="546"/>
                </a:lnTo>
                <a:lnTo>
                  <a:pt x="86" y="551"/>
                </a:lnTo>
                <a:lnTo>
                  <a:pt x="88" y="559"/>
                </a:lnTo>
                <a:lnTo>
                  <a:pt x="88" y="561"/>
                </a:lnTo>
                <a:lnTo>
                  <a:pt x="88" y="561"/>
                </a:lnTo>
                <a:lnTo>
                  <a:pt x="88" y="563"/>
                </a:lnTo>
                <a:lnTo>
                  <a:pt x="86" y="563"/>
                </a:lnTo>
                <a:lnTo>
                  <a:pt x="88" y="566"/>
                </a:lnTo>
                <a:lnTo>
                  <a:pt x="88" y="566"/>
                </a:lnTo>
                <a:lnTo>
                  <a:pt x="91" y="568"/>
                </a:lnTo>
                <a:lnTo>
                  <a:pt x="93" y="571"/>
                </a:lnTo>
                <a:lnTo>
                  <a:pt x="98" y="573"/>
                </a:lnTo>
                <a:lnTo>
                  <a:pt x="101" y="576"/>
                </a:lnTo>
                <a:lnTo>
                  <a:pt x="101" y="578"/>
                </a:lnTo>
                <a:lnTo>
                  <a:pt x="101" y="578"/>
                </a:lnTo>
                <a:lnTo>
                  <a:pt x="96" y="578"/>
                </a:lnTo>
                <a:lnTo>
                  <a:pt x="91" y="573"/>
                </a:lnTo>
                <a:lnTo>
                  <a:pt x="88" y="573"/>
                </a:lnTo>
                <a:lnTo>
                  <a:pt x="88" y="571"/>
                </a:lnTo>
                <a:lnTo>
                  <a:pt x="69" y="571"/>
                </a:lnTo>
                <a:lnTo>
                  <a:pt x="56" y="573"/>
                </a:lnTo>
                <a:lnTo>
                  <a:pt x="54" y="573"/>
                </a:lnTo>
                <a:lnTo>
                  <a:pt x="46" y="571"/>
                </a:lnTo>
                <a:lnTo>
                  <a:pt x="44" y="566"/>
                </a:lnTo>
                <a:lnTo>
                  <a:pt x="42" y="561"/>
                </a:lnTo>
                <a:lnTo>
                  <a:pt x="39" y="556"/>
                </a:lnTo>
                <a:lnTo>
                  <a:pt x="39" y="549"/>
                </a:lnTo>
                <a:lnTo>
                  <a:pt x="39" y="544"/>
                </a:lnTo>
                <a:lnTo>
                  <a:pt x="34" y="544"/>
                </a:lnTo>
                <a:lnTo>
                  <a:pt x="29" y="546"/>
                </a:lnTo>
                <a:lnTo>
                  <a:pt x="27" y="549"/>
                </a:lnTo>
                <a:lnTo>
                  <a:pt x="24" y="549"/>
                </a:lnTo>
                <a:lnTo>
                  <a:pt x="17" y="536"/>
                </a:lnTo>
                <a:lnTo>
                  <a:pt x="17" y="532"/>
                </a:lnTo>
                <a:lnTo>
                  <a:pt x="19" y="517"/>
                </a:lnTo>
                <a:lnTo>
                  <a:pt x="22" y="512"/>
                </a:lnTo>
                <a:lnTo>
                  <a:pt x="27" y="507"/>
                </a:lnTo>
                <a:lnTo>
                  <a:pt x="29" y="500"/>
                </a:lnTo>
                <a:lnTo>
                  <a:pt x="27" y="492"/>
                </a:lnTo>
                <a:lnTo>
                  <a:pt x="24" y="485"/>
                </a:lnTo>
                <a:lnTo>
                  <a:pt x="27" y="477"/>
                </a:lnTo>
                <a:lnTo>
                  <a:pt x="29" y="475"/>
                </a:lnTo>
                <a:lnTo>
                  <a:pt x="27" y="468"/>
                </a:lnTo>
                <a:lnTo>
                  <a:pt x="27" y="463"/>
                </a:lnTo>
                <a:lnTo>
                  <a:pt x="29" y="460"/>
                </a:lnTo>
                <a:lnTo>
                  <a:pt x="27" y="453"/>
                </a:lnTo>
                <a:lnTo>
                  <a:pt x="27" y="445"/>
                </a:lnTo>
                <a:lnTo>
                  <a:pt x="24" y="441"/>
                </a:lnTo>
                <a:lnTo>
                  <a:pt x="24" y="438"/>
                </a:lnTo>
                <a:lnTo>
                  <a:pt x="29" y="436"/>
                </a:lnTo>
                <a:lnTo>
                  <a:pt x="29" y="431"/>
                </a:lnTo>
                <a:lnTo>
                  <a:pt x="24" y="426"/>
                </a:lnTo>
                <a:lnTo>
                  <a:pt x="19" y="423"/>
                </a:lnTo>
                <a:lnTo>
                  <a:pt x="17" y="423"/>
                </a:lnTo>
                <a:lnTo>
                  <a:pt x="17" y="423"/>
                </a:lnTo>
                <a:lnTo>
                  <a:pt x="14" y="421"/>
                </a:lnTo>
                <a:lnTo>
                  <a:pt x="14" y="418"/>
                </a:lnTo>
                <a:lnTo>
                  <a:pt x="22" y="418"/>
                </a:lnTo>
                <a:lnTo>
                  <a:pt x="24" y="413"/>
                </a:lnTo>
                <a:lnTo>
                  <a:pt x="24" y="411"/>
                </a:lnTo>
                <a:lnTo>
                  <a:pt x="24" y="411"/>
                </a:lnTo>
                <a:lnTo>
                  <a:pt x="22" y="411"/>
                </a:lnTo>
                <a:lnTo>
                  <a:pt x="17" y="411"/>
                </a:lnTo>
                <a:lnTo>
                  <a:pt x="17" y="404"/>
                </a:lnTo>
                <a:lnTo>
                  <a:pt x="14" y="399"/>
                </a:lnTo>
                <a:lnTo>
                  <a:pt x="14" y="394"/>
                </a:lnTo>
                <a:lnTo>
                  <a:pt x="14" y="389"/>
                </a:lnTo>
                <a:lnTo>
                  <a:pt x="10" y="386"/>
                </a:lnTo>
                <a:lnTo>
                  <a:pt x="7" y="381"/>
                </a:lnTo>
                <a:lnTo>
                  <a:pt x="7" y="369"/>
                </a:lnTo>
                <a:lnTo>
                  <a:pt x="10" y="367"/>
                </a:lnTo>
                <a:lnTo>
                  <a:pt x="12" y="364"/>
                </a:lnTo>
                <a:lnTo>
                  <a:pt x="10" y="362"/>
                </a:lnTo>
                <a:lnTo>
                  <a:pt x="7" y="359"/>
                </a:lnTo>
                <a:lnTo>
                  <a:pt x="5" y="352"/>
                </a:lnTo>
                <a:lnTo>
                  <a:pt x="5" y="342"/>
                </a:lnTo>
                <a:lnTo>
                  <a:pt x="5" y="330"/>
                </a:lnTo>
                <a:lnTo>
                  <a:pt x="2" y="325"/>
                </a:lnTo>
                <a:lnTo>
                  <a:pt x="2" y="320"/>
                </a:lnTo>
                <a:lnTo>
                  <a:pt x="7" y="313"/>
                </a:lnTo>
                <a:lnTo>
                  <a:pt x="10" y="305"/>
                </a:lnTo>
                <a:lnTo>
                  <a:pt x="12" y="303"/>
                </a:lnTo>
                <a:lnTo>
                  <a:pt x="14" y="300"/>
                </a:lnTo>
                <a:lnTo>
                  <a:pt x="5" y="281"/>
                </a:lnTo>
                <a:lnTo>
                  <a:pt x="7" y="276"/>
                </a:lnTo>
                <a:lnTo>
                  <a:pt x="7" y="271"/>
                </a:lnTo>
                <a:lnTo>
                  <a:pt x="7" y="261"/>
                </a:lnTo>
                <a:lnTo>
                  <a:pt x="10" y="254"/>
                </a:lnTo>
                <a:lnTo>
                  <a:pt x="14" y="251"/>
                </a:lnTo>
                <a:lnTo>
                  <a:pt x="12" y="244"/>
                </a:lnTo>
                <a:lnTo>
                  <a:pt x="10" y="239"/>
                </a:lnTo>
                <a:lnTo>
                  <a:pt x="7" y="236"/>
                </a:lnTo>
                <a:lnTo>
                  <a:pt x="12" y="231"/>
                </a:lnTo>
                <a:lnTo>
                  <a:pt x="10" y="227"/>
                </a:lnTo>
                <a:lnTo>
                  <a:pt x="12" y="219"/>
                </a:lnTo>
                <a:lnTo>
                  <a:pt x="17" y="219"/>
                </a:lnTo>
                <a:lnTo>
                  <a:pt x="17" y="212"/>
                </a:lnTo>
                <a:lnTo>
                  <a:pt x="14" y="199"/>
                </a:lnTo>
                <a:lnTo>
                  <a:pt x="12" y="197"/>
                </a:lnTo>
                <a:lnTo>
                  <a:pt x="12" y="190"/>
                </a:lnTo>
                <a:lnTo>
                  <a:pt x="10" y="185"/>
                </a:lnTo>
                <a:lnTo>
                  <a:pt x="5" y="177"/>
                </a:lnTo>
                <a:lnTo>
                  <a:pt x="5" y="175"/>
                </a:lnTo>
                <a:lnTo>
                  <a:pt x="2" y="172"/>
                </a:lnTo>
                <a:lnTo>
                  <a:pt x="0" y="165"/>
                </a:lnTo>
                <a:lnTo>
                  <a:pt x="2" y="158"/>
                </a:lnTo>
                <a:lnTo>
                  <a:pt x="5" y="155"/>
                </a:lnTo>
                <a:lnTo>
                  <a:pt x="5" y="148"/>
                </a:lnTo>
                <a:lnTo>
                  <a:pt x="7" y="145"/>
                </a:lnTo>
                <a:lnTo>
                  <a:pt x="7" y="138"/>
                </a:lnTo>
                <a:lnTo>
                  <a:pt x="5" y="133"/>
                </a:lnTo>
                <a:lnTo>
                  <a:pt x="5" y="123"/>
                </a:lnTo>
                <a:lnTo>
                  <a:pt x="7" y="121"/>
                </a:lnTo>
                <a:lnTo>
                  <a:pt x="7" y="111"/>
                </a:lnTo>
                <a:lnTo>
                  <a:pt x="12" y="106"/>
                </a:lnTo>
                <a:lnTo>
                  <a:pt x="14" y="96"/>
                </a:lnTo>
                <a:lnTo>
                  <a:pt x="19" y="91"/>
                </a:lnTo>
                <a:lnTo>
                  <a:pt x="22" y="91"/>
                </a:lnTo>
                <a:lnTo>
                  <a:pt x="24" y="86"/>
                </a:lnTo>
                <a:lnTo>
                  <a:pt x="22" y="86"/>
                </a:lnTo>
                <a:lnTo>
                  <a:pt x="22" y="81"/>
                </a:lnTo>
                <a:lnTo>
                  <a:pt x="22" y="79"/>
                </a:lnTo>
                <a:lnTo>
                  <a:pt x="19" y="77"/>
                </a:lnTo>
                <a:lnTo>
                  <a:pt x="19" y="74"/>
                </a:lnTo>
                <a:lnTo>
                  <a:pt x="24" y="72"/>
                </a:lnTo>
                <a:lnTo>
                  <a:pt x="24" y="69"/>
                </a:lnTo>
                <a:lnTo>
                  <a:pt x="19" y="64"/>
                </a:lnTo>
                <a:lnTo>
                  <a:pt x="19" y="59"/>
                </a:lnTo>
                <a:lnTo>
                  <a:pt x="22" y="57"/>
                </a:lnTo>
                <a:lnTo>
                  <a:pt x="19" y="52"/>
                </a:lnTo>
                <a:lnTo>
                  <a:pt x="17" y="49"/>
                </a:lnTo>
                <a:lnTo>
                  <a:pt x="19" y="47"/>
                </a:lnTo>
                <a:lnTo>
                  <a:pt x="37" y="37"/>
                </a:lnTo>
                <a:lnTo>
                  <a:pt x="42" y="20"/>
                </a:lnTo>
                <a:lnTo>
                  <a:pt x="39" y="15"/>
                </a:lnTo>
                <a:lnTo>
                  <a:pt x="39" y="15"/>
                </a:lnTo>
                <a:lnTo>
                  <a:pt x="39" y="15"/>
                </a:lnTo>
                <a:close/>
                <a:moveTo>
                  <a:pt x="165" y="632"/>
                </a:moveTo>
                <a:lnTo>
                  <a:pt x="167" y="635"/>
                </a:lnTo>
                <a:lnTo>
                  <a:pt x="172" y="632"/>
                </a:lnTo>
                <a:lnTo>
                  <a:pt x="174" y="632"/>
                </a:lnTo>
                <a:lnTo>
                  <a:pt x="177" y="627"/>
                </a:lnTo>
                <a:lnTo>
                  <a:pt x="174" y="627"/>
                </a:lnTo>
                <a:lnTo>
                  <a:pt x="172" y="630"/>
                </a:lnTo>
                <a:lnTo>
                  <a:pt x="167" y="630"/>
                </a:lnTo>
                <a:lnTo>
                  <a:pt x="165" y="632"/>
                </a:lnTo>
                <a:lnTo>
                  <a:pt x="165" y="632"/>
                </a:lnTo>
                <a:lnTo>
                  <a:pt x="165" y="632"/>
                </a:lnTo>
                <a:close/>
                <a:moveTo>
                  <a:pt x="96" y="583"/>
                </a:moveTo>
                <a:lnTo>
                  <a:pt x="98" y="583"/>
                </a:lnTo>
                <a:lnTo>
                  <a:pt x="98" y="586"/>
                </a:lnTo>
                <a:lnTo>
                  <a:pt x="103" y="591"/>
                </a:lnTo>
                <a:lnTo>
                  <a:pt x="105" y="598"/>
                </a:lnTo>
                <a:lnTo>
                  <a:pt x="103" y="598"/>
                </a:lnTo>
                <a:lnTo>
                  <a:pt x="103" y="598"/>
                </a:lnTo>
                <a:lnTo>
                  <a:pt x="101" y="600"/>
                </a:lnTo>
                <a:lnTo>
                  <a:pt x="96" y="583"/>
                </a:lnTo>
                <a:lnTo>
                  <a:pt x="96" y="583"/>
                </a:lnTo>
                <a:lnTo>
                  <a:pt x="96" y="583"/>
                </a:lnTo>
                <a:close/>
                <a:moveTo>
                  <a:pt x="101" y="600"/>
                </a:moveTo>
                <a:lnTo>
                  <a:pt x="103" y="603"/>
                </a:lnTo>
                <a:lnTo>
                  <a:pt x="108" y="603"/>
                </a:lnTo>
                <a:lnTo>
                  <a:pt x="110" y="605"/>
                </a:lnTo>
                <a:lnTo>
                  <a:pt x="110" y="610"/>
                </a:lnTo>
                <a:lnTo>
                  <a:pt x="115" y="610"/>
                </a:lnTo>
                <a:lnTo>
                  <a:pt x="120" y="613"/>
                </a:lnTo>
                <a:lnTo>
                  <a:pt x="120" y="618"/>
                </a:lnTo>
                <a:lnTo>
                  <a:pt x="123" y="618"/>
                </a:lnTo>
                <a:lnTo>
                  <a:pt x="135" y="623"/>
                </a:lnTo>
                <a:lnTo>
                  <a:pt x="137" y="625"/>
                </a:lnTo>
                <a:lnTo>
                  <a:pt x="140" y="625"/>
                </a:lnTo>
                <a:lnTo>
                  <a:pt x="145" y="627"/>
                </a:lnTo>
                <a:lnTo>
                  <a:pt x="147" y="630"/>
                </a:lnTo>
                <a:lnTo>
                  <a:pt x="155" y="627"/>
                </a:lnTo>
                <a:lnTo>
                  <a:pt x="157" y="627"/>
                </a:lnTo>
                <a:lnTo>
                  <a:pt x="157" y="632"/>
                </a:lnTo>
                <a:lnTo>
                  <a:pt x="152" y="632"/>
                </a:lnTo>
                <a:lnTo>
                  <a:pt x="152" y="632"/>
                </a:lnTo>
                <a:lnTo>
                  <a:pt x="147" y="632"/>
                </a:lnTo>
                <a:lnTo>
                  <a:pt x="147" y="635"/>
                </a:lnTo>
                <a:lnTo>
                  <a:pt x="145" y="640"/>
                </a:lnTo>
                <a:lnTo>
                  <a:pt x="142" y="640"/>
                </a:lnTo>
                <a:lnTo>
                  <a:pt x="137" y="637"/>
                </a:lnTo>
                <a:lnTo>
                  <a:pt x="135" y="637"/>
                </a:lnTo>
                <a:lnTo>
                  <a:pt x="128" y="635"/>
                </a:lnTo>
                <a:lnTo>
                  <a:pt x="123" y="637"/>
                </a:lnTo>
                <a:lnTo>
                  <a:pt x="118" y="635"/>
                </a:lnTo>
                <a:lnTo>
                  <a:pt x="113" y="637"/>
                </a:lnTo>
                <a:lnTo>
                  <a:pt x="110" y="637"/>
                </a:lnTo>
                <a:lnTo>
                  <a:pt x="108" y="632"/>
                </a:lnTo>
                <a:lnTo>
                  <a:pt x="115" y="632"/>
                </a:lnTo>
                <a:lnTo>
                  <a:pt x="120" y="630"/>
                </a:lnTo>
                <a:lnTo>
                  <a:pt x="123" y="630"/>
                </a:lnTo>
                <a:lnTo>
                  <a:pt x="123" y="627"/>
                </a:lnTo>
                <a:lnTo>
                  <a:pt x="118" y="630"/>
                </a:lnTo>
                <a:lnTo>
                  <a:pt x="115" y="630"/>
                </a:lnTo>
                <a:lnTo>
                  <a:pt x="110" y="630"/>
                </a:lnTo>
                <a:lnTo>
                  <a:pt x="108" y="630"/>
                </a:lnTo>
                <a:lnTo>
                  <a:pt x="101" y="600"/>
                </a:lnTo>
                <a:lnTo>
                  <a:pt x="101" y="60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1" name="Freeform 200"/>
          <p:cNvSpPr>
            <a:spLocks noEditPoints="1"/>
          </p:cNvSpPr>
          <p:nvPr/>
        </p:nvSpPr>
        <p:spPr bwMode="auto">
          <a:xfrm>
            <a:off x="2984439" y="4877932"/>
            <a:ext cx="277263" cy="1130524"/>
          </a:xfrm>
          <a:custGeom>
            <a:avLst/>
            <a:gdLst/>
            <a:ahLst/>
            <a:cxnLst>
              <a:cxn ang="0">
                <a:pos x="116" y="706"/>
              </a:cxn>
              <a:cxn ang="0">
                <a:pos x="116" y="714"/>
              </a:cxn>
              <a:cxn ang="0">
                <a:pos x="143" y="714"/>
              </a:cxn>
              <a:cxn ang="0">
                <a:pos x="116" y="684"/>
              </a:cxn>
              <a:cxn ang="0">
                <a:pos x="136" y="674"/>
              </a:cxn>
              <a:cxn ang="0">
                <a:pos x="59" y="623"/>
              </a:cxn>
              <a:cxn ang="0">
                <a:pos x="59" y="500"/>
              </a:cxn>
              <a:cxn ang="0">
                <a:pos x="47" y="438"/>
              </a:cxn>
              <a:cxn ang="0">
                <a:pos x="42" y="310"/>
              </a:cxn>
              <a:cxn ang="0">
                <a:pos x="40" y="207"/>
              </a:cxn>
              <a:cxn ang="0">
                <a:pos x="52" y="123"/>
              </a:cxn>
              <a:cxn ang="0">
                <a:pos x="37" y="13"/>
              </a:cxn>
              <a:cxn ang="0">
                <a:pos x="20" y="52"/>
              </a:cxn>
              <a:cxn ang="0">
                <a:pos x="20" y="141"/>
              </a:cxn>
              <a:cxn ang="0">
                <a:pos x="17" y="210"/>
              </a:cxn>
              <a:cxn ang="0">
                <a:pos x="25" y="278"/>
              </a:cxn>
              <a:cxn ang="0">
                <a:pos x="13" y="333"/>
              </a:cxn>
              <a:cxn ang="0">
                <a:pos x="15" y="382"/>
              </a:cxn>
              <a:cxn ang="0">
                <a:pos x="27" y="436"/>
              </a:cxn>
              <a:cxn ang="0">
                <a:pos x="35" y="451"/>
              </a:cxn>
              <a:cxn ang="0">
                <a:pos x="40" y="490"/>
              </a:cxn>
              <a:cxn ang="0">
                <a:pos x="27" y="527"/>
              </a:cxn>
              <a:cxn ang="0">
                <a:pos x="10" y="529"/>
              </a:cxn>
              <a:cxn ang="0">
                <a:pos x="30" y="542"/>
              </a:cxn>
              <a:cxn ang="0">
                <a:pos x="40" y="561"/>
              </a:cxn>
              <a:cxn ang="0">
                <a:pos x="37" y="591"/>
              </a:cxn>
              <a:cxn ang="0">
                <a:pos x="35" y="610"/>
              </a:cxn>
              <a:cxn ang="0">
                <a:pos x="57" y="640"/>
              </a:cxn>
              <a:cxn ang="0">
                <a:pos x="62" y="642"/>
              </a:cxn>
              <a:cxn ang="0">
                <a:pos x="72" y="650"/>
              </a:cxn>
              <a:cxn ang="0">
                <a:pos x="67" y="667"/>
              </a:cxn>
              <a:cxn ang="0">
                <a:pos x="81" y="662"/>
              </a:cxn>
              <a:cxn ang="0">
                <a:pos x="79" y="682"/>
              </a:cxn>
              <a:cxn ang="0">
                <a:pos x="96" y="682"/>
              </a:cxn>
              <a:cxn ang="0">
                <a:pos x="106" y="682"/>
              </a:cxn>
              <a:cxn ang="0">
                <a:pos x="163" y="733"/>
              </a:cxn>
              <a:cxn ang="0">
                <a:pos x="10" y="443"/>
              </a:cxn>
              <a:cxn ang="0">
                <a:pos x="10" y="473"/>
              </a:cxn>
              <a:cxn ang="0">
                <a:pos x="15" y="478"/>
              </a:cxn>
              <a:cxn ang="0">
                <a:pos x="25" y="490"/>
              </a:cxn>
              <a:cxn ang="0">
                <a:pos x="3" y="495"/>
              </a:cxn>
              <a:cxn ang="0">
                <a:pos x="40" y="495"/>
              </a:cxn>
              <a:cxn ang="0">
                <a:pos x="22" y="500"/>
              </a:cxn>
              <a:cxn ang="0">
                <a:pos x="25" y="571"/>
              </a:cxn>
              <a:cxn ang="0">
                <a:pos x="22" y="576"/>
              </a:cxn>
              <a:cxn ang="0">
                <a:pos x="17" y="583"/>
              </a:cxn>
              <a:cxn ang="0">
                <a:pos x="25" y="593"/>
              </a:cxn>
              <a:cxn ang="0">
                <a:pos x="32" y="608"/>
              </a:cxn>
              <a:cxn ang="0">
                <a:pos x="32" y="620"/>
              </a:cxn>
              <a:cxn ang="0">
                <a:pos x="40" y="633"/>
              </a:cxn>
              <a:cxn ang="0">
                <a:pos x="37" y="647"/>
              </a:cxn>
              <a:cxn ang="0">
                <a:pos x="49" y="650"/>
              </a:cxn>
              <a:cxn ang="0">
                <a:pos x="57" y="650"/>
              </a:cxn>
              <a:cxn ang="0">
                <a:pos x="54" y="662"/>
              </a:cxn>
              <a:cxn ang="0">
                <a:pos x="64" y="679"/>
              </a:cxn>
              <a:cxn ang="0">
                <a:pos x="84" y="697"/>
              </a:cxn>
              <a:cxn ang="0">
                <a:pos x="89" y="694"/>
              </a:cxn>
              <a:cxn ang="0">
                <a:pos x="101" y="699"/>
              </a:cxn>
              <a:cxn ang="0">
                <a:pos x="111" y="684"/>
              </a:cxn>
              <a:cxn ang="0">
                <a:pos x="165" y="731"/>
              </a:cxn>
              <a:cxn ang="0">
                <a:pos x="168" y="719"/>
              </a:cxn>
              <a:cxn ang="0">
                <a:pos x="150" y="726"/>
              </a:cxn>
              <a:cxn ang="0">
                <a:pos x="131" y="719"/>
              </a:cxn>
            </a:cxnLst>
            <a:rect l="0" t="0" r="r" b="b"/>
            <a:pathLst>
              <a:path w="170" h="736">
                <a:moveTo>
                  <a:pt x="145" y="711"/>
                </a:moveTo>
                <a:lnTo>
                  <a:pt x="145" y="711"/>
                </a:lnTo>
                <a:lnTo>
                  <a:pt x="143" y="706"/>
                </a:lnTo>
                <a:lnTo>
                  <a:pt x="143" y="706"/>
                </a:lnTo>
                <a:lnTo>
                  <a:pt x="143" y="706"/>
                </a:lnTo>
                <a:lnTo>
                  <a:pt x="138" y="704"/>
                </a:lnTo>
                <a:lnTo>
                  <a:pt x="138" y="704"/>
                </a:lnTo>
                <a:lnTo>
                  <a:pt x="133" y="701"/>
                </a:lnTo>
                <a:lnTo>
                  <a:pt x="133" y="701"/>
                </a:lnTo>
                <a:lnTo>
                  <a:pt x="126" y="699"/>
                </a:lnTo>
                <a:lnTo>
                  <a:pt x="126" y="699"/>
                </a:lnTo>
                <a:lnTo>
                  <a:pt x="123" y="699"/>
                </a:lnTo>
                <a:lnTo>
                  <a:pt x="123" y="699"/>
                </a:lnTo>
                <a:lnTo>
                  <a:pt x="121" y="699"/>
                </a:lnTo>
                <a:lnTo>
                  <a:pt x="121" y="699"/>
                </a:lnTo>
                <a:lnTo>
                  <a:pt x="123" y="701"/>
                </a:lnTo>
                <a:lnTo>
                  <a:pt x="123" y="701"/>
                </a:lnTo>
                <a:lnTo>
                  <a:pt x="121" y="701"/>
                </a:lnTo>
                <a:lnTo>
                  <a:pt x="121" y="701"/>
                </a:lnTo>
                <a:lnTo>
                  <a:pt x="121" y="701"/>
                </a:lnTo>
                <a:lnTo>
                  <a:pt x="116" y="699"/>
                </a:lnTo>
                <a:lnTo>
                  <a:pt x="116" y="699"/>
                </a:lnTo>
                <a:lnTo>
                  <a:pt x="113" y="697"/>
                </a:lnTo>
                <a:lnTo>
                  <a:pt x="113" y="697"/>
                </a:lnTo>
                <a:lnTo>
                  <a:pt x="111" y="699"/>
                </a:lnTo>
                <a:lnTo>
                  <a:pt x="111" y="699"/>
                </a:lnTo>
                <a:lnTo>
                  <a:pt x="113" y="699"/>
                </a:lnTo>
                <a:lnTo>
                  <a:pt x="113" y="699"/>
                </a:lnTo>
                <a:lnTo>
                  <a:pt x="118" y="704"/>
                </a:lnTo>
                <a:lnTo>
                  <a:pt x="118" y="704"/>
                </a:lnTo>
                <a:lnTo>
                  <a:pt x="121" y="704"/>
                </a:lnTo>
                <a:lnTo>
                  <a:pt x="121" y="704"/>
                </a:lnTo>
                <a:lnTo>
                  <a:pt x="118" y="704"/>
                </a:lnTo>
                <a:lnTo>
                  <a:pt x="118" y="704"/>
                </a:lnTo>
                <a:lnTo>
                  <a:pt x="118" y="704"/>
                </a:lnTo>
                <a:lnTo>
                  <a:pt x="118" y="706"/>
                </a:lnTo>
                <a:lnTo>
                  <a:pt x="118" y="706"/>
                </a:lnTo>
                <a:lnTo>
                  <a:pt x="116" y="706"/>
                </a:lnTo>
                <a:lnTo>
                  <a:pt x="116" y="706"/>
                </a:lnTo>
                <a:lnTo>
                  <a:pt x="116" y="704"/>
                </a:lnTo>
                <a:lnTo>
                  <a:pt x="116" y="704"/>
                </a:lnTo>
                <a:lnTo>
                  <a:pt x="111" y="701"/>
                </a:lnTo>
                <a:lnTo>
                  <a:pt x="111" y="701"/>
                </a:lnTo>
                <a:lnTo>
                  <a:pt x="111" y="704"/>
                </a:lnTo>
                <a:lnTo>
                  <a:pt x="111" y="704"/>
                </a:lnTo>
                <a:lnTo>
                  <a:pt x="111" y="704"/>
                </a:lnTo>
                <a:lnTo>
                  <a:pt x="109" y="706"/>
                </a:lnTo>
                <a:lnTo>
                  <a:pt x="109" y="706"/>
                </a:lnTo>
                <a:lnTo>
                  <a:pt x="104" y="706"/>
                </a:lnTo>
                <a:lnTo>
                  <a:pt x="104" y="706"/>
                </a:lnTo>
                <a:lnTo>
                  <a:pt x="104" y="706"/>
                </a:lnTo>
                <a:lnTo>
                  <a:pt x="104" y="706"/>
                </a:lnTo>
                <a:lnTo>
                  <a:pt x="104" y="709"/>
                </a:lnTo>
                <a:lnTo>
                  <a:pt x="104" y="709"/>
                </a:lnTo>
                <a:lnTo>
                  <a:pt x="101" y="709"/>
                </a:lnTo>
                <a:lnTo>
                  <a:pt x="101" y="709"/>
                </a:lnTo>
                <a:lnTo>
                  <a:pt x="99" y="709"/>
                </a:lnTo>
                <a:lnTo>
                  <a:pt x="99" y="709"/>
                </a:lnTo>
                <a:lnTo>
                  <a:pt x="99" y="711"/>
                </a:lnTo>
                <a:lnTo>
                  <a:pt x="99" y="711"/>
                </a:lnTo>
                <a:lnTo>
                  <a:pt x="101" y="711"/>
                </a:lnTo>
                <a:lnTo>
                  <a:pt x="101" y="711"/>
                </a:lnTo>
                <a:lnTo>
                  <a:pt x="106" y="711"/>
                </a:lnTo>
                <a:lnTo>
                  <a:pt x="106" y="711"/>
                </a:lnTo>
                <a:lnTo>
                  <a:pt x="106" y="709"/>
                </a:lnTo>
                <a:lnTo>
                  <a:pt x="106" y="709"/>
                </a:lnTo>
                <a:lnTo>
                  <a:pt x="106" y="709"/>
                </a:lnTo>
                <a:lnTo>
                  <a:pt x="109" y="709"/>
                </a:lnTo>
                <a:lnTo>
                  <a:pt x="109" y="709"/>
                </a:lnTo>
                <a:lnTo>
                  <a:pt x="111" y="711"/>
                </a:lnTo>
                <a:lnTo>
                  <a:pt x="111" y="711"/>
                </a:lnTo>
                <a:lnTo>
                  <a:pt x="113" y="711"/>
                </a:lnTo>
                <a:lnTo>
                  <a:pt x="113" y="711"/>
                </a:lnTo>
                <a:lnTo>
                  <a:pt x="113" y="711"/>
                </a:lnTo>
                <a:lnTo>
                  <a:pt x="113" y="714"/>
                </a:lnTo>
                <a:lnTo>
                  <a:pt x="113" y="714"/>
                </a:lnTo>
                <a:lnTo>
                  <a:pt x="116" y="714"/>
                </a:lnTo>
                <a:lnTo>
                  <a:pt x="116" y="714"/>
                </a:lnTo>
                <a:lnTo>
                  <a:pt x="113" y="716"/>
                </a:lnTo>
                <a:lnTo>
                  <a:pt x="113" y="716"/>
                </a:lnTo>
                <a:lnTo>
                  <a:pt x="113" y="719"/>
                </a:lnTo>
                <a:lnTo>
                  <a:pt x="113" y="719"/>
                </a:lnTo>
                <a:lnTo>
                  <a:pt x="113" y="721"/>
                </a:lnTo>
                <a:lnTo>
                  <a:pt x="113" y="721"/>
                </a:lnTo>
                <a:lnTo>
                  <a:pt x="116" y="721"/>
                </a:lnTo>
                <a:lnTo>
                  <a:pt x="116" y="721"/>
                </a:lnTo>
                <a:lnTo>
                  <a:pt x="118" y="721"/>
                </a:lnTo>
                <a:lnTo>
                  <a:pt x="118" y="721"/>
                </a:lnTo>
                <a:lnTo>
                  <a:pt x="121" y="724"/>
                </a:lnTo>
                <a:lnTo>
                  <a:pt x="121" y="724"/>
                </a:lnTo>
                <a:lnTo>
                  <a:pt x="123" y="724"/>
                </a:lnTo>
                <a:lnTo>
                  <a:pt x="123" y="724"/>
                </a:lnTo>
                <a:lnTo>
                  <a:pt x="123" y="724"/>
                </a:lnTo>
                <a:lnTo>
                  <a:pt x="121" y="721"/>
                </a:lnTo>
                <a:lnTo>
                  <a:pt x="121" y="721"/>
                </a:lnTo>
                <a:lnTo>
                  <a:pt x="118" y="719"/>
                </a:lnTo>
                <a:lnTo>
                  <a:pt x="118" y="719"/>
                </a:lnTo>
                <a:lnTo>
                  <a:pt x="118" y="719"/>
                </a:lnTo>
                <a:lnTo>
                  <a:pt x="118" y="719"/>
                </a:lnTo>
                <a:lnTo>
                  <a:pt x="121" y="719"/>
                </a:lnTo>
                <a:lnTo>
                  <a:pt x="121" y="719"/>
                </a:lnTo>
                <a:lnTo>
                  <a:pt x="123" y="719"/>
                </a:lnTo>
                <a:lnTo>
                  <a:pt x="123" y="719"/>
                </a:lnTo>
                <a:lnTo>
                  <a:pt x="123" y="716"/>
                </a:lnTo>
                <a:lnTo>
                  <a:pt x="123" y="716"/>
                </a:lnTo>
                <a:lnTo>
                  <a:pt x="121" y="716"/>
                </a:lnTo>
                <a:lnTo>
                  <a:pt x="121" y="716"/>
                </a:lnTo>
                <a:lnTo>
                  <a:pt x="118" y="714"/>
                </a:lnTo>
                <a:lnTo>
                  <a:pt x="118" y="714"/>
                </a:lnTo>
                <a:lnTo>
                  <a:pt x="126" y="711"/>
                </a:lnTo>
                <a:lnTo>
                  <a:pt x="126" y="711"/>
                </a:lnTo>
                <a:lnTo>
                  <a:pt x="128" y="711"/>
                </a:lnTo>
                <a:lnTo>
                  <a:pt x="128" y="711"/>
                </a:lnTo>
                <a:lnTo>
                  <a:pt x="140" y="714"/>
                </a:lnTo>
                <a:lnTo>
                  <a:pt x="140" y="714"/>
                </a:lnTo>
                <a:lnTo>
                  <a:pt x="143" y="714"/>
                </a:lnTo>
                <a:lnTo>
                  <a:pt x="143" y="714"/>
                </a:lnTo>
                <a:lnTo>
                  <a:pt x="140" y="711"/>
                </a:lnTo>
                <a:lnTo>
                  <a:pt x="140" y="711"/>
                </a:lnTo>
                <a:lnTo>
                  <a:pt x="145" y="711"/>
                </a:lnTo>
                <a:lnTo>
                  <a:pt x="145" y="711"/>
                </a:lnTo>
                <a:close/>
                <a:moveTo>
                  <a:pt x="143" y="704"/>
                </a:moveTo>
                <a:lnTo>
                  <a:pt x="143" y="704"/>
                </a:lnTo>
                <a:lnTo>
                  <a:pt x="140" y="704"/>
                </a:lnTo>
                <a:lnTo>
                  <a:pt x="140" y="704"/>
                </a:lnTo>
                <a:lnTo>
                  <a:pt x="133" y="699"/>
                </a:lnTo>
                <a:lnTo>
                  <a:pt x="133" y="699"/>
                </a:lnTo>
                <a:lnTo>
                  <a:pt x="128" y="697"/>
                </a:lnTo>
                <a:lnTo>
                  <a:pt x="128" y="697"/>
                </a:lnTo>
                <a:lnTo>
                  <a:pt x="123" y="697"/>
                </a:lnTo>
                <a:lnTo>
                  <a:pt x="123" y="697"/>
                </a:lnTo>
                <a:lnTo>
                  <a:pt x="121" y="694"/>
                </a:lnTo>
                <a:lnTo>
                  <a:pt x="121" y="694"/>
                </a:lnTo>
                <a:lnTo>
                  <a:pt x="118" y="692"/>
                </a:lnTo>
                <a:lnTo>
                  <a:pt x="118" y="692"/>
                </a:lnTo>
                <a:lnTo>
                  <a:pt x="118" y="689"/>
                </a:lnTo>
                <a:lnTo>
                  <a:pt x="118" y="689"/>
                </a:lnTo>
                <a:lnTo>
                  <a:pt x="118" y="689"/>
                </a:lnTo>
                <a:lnTo>
                  <a:pt x="123" y="687"/>
                </a:lnTo>
                <a:lnTo>
                  <a:pt x="123" y="687"/>
                </a:lnTo>
                <a:lnTo>
                  <a:pt x="123" y="684"/>
                </a:lnTo>
                <a:lnTo>
                  <a:pt x="123" y="684"/>
                </a:lnTo>
                <a:lnTo>
                  <a:pt x="126" y="684"/>
                </a:lnTo>
                <a:lnTo>
                  <a:pt x="126" y="684"/>
                </a:lnTo>
                <a:lnTo>
                  <a:pt x="128" y="682"/>
                </a:lnTo>
                <a:lnTo>
                  <a:pt x="128" y="682"/>
                </a:lnTo>
                <a:lnTo>
                  <a:pt x="128" y="677"/>
                </a:lnTo>
                <a:lnTo>
                  <a:pt x="128" y="677"/>
                </a:lnTo>
                <a:lnTo>
                  <a:pt x="123" y="677"/>
                </a:lnTo>
                <a:lnTo>
                  <a:pt x="123" y="677"/>
                </a:lnTo>
                <a:lnTo>
                  <a:pt x="121" y="679"/>
                </a:lnTo>
                <a:lnTo>
                  <a:pt x="121" y="679"/>
                </a:lnTo>
                <a:lnTo>
                  <a:pt x="118" y="682"/>
                </a:lnTo>
                <a:lnTo>
                  <a:pt x="118" y="682"/>
                </a:lnTo>
                <a:lnTo>
                  <a:pt x="116" y="684"/>
                </a:lnTo>
                <a:lnTo>
                  <a:pt x="116" y="684"/>
                </a:lnTo>
                <a:lnTo>
                  <a:pt x="113" y="679"/>
                </a:lnTo>
                <a:lnTo>
                  <a:pt x="113" y="679"/>
                </a:lnTo>
                <a:lnTo>
                  <a:pt x="111" y="677"/>
                </a:lnTo>
                <a:lnTo>
                  <a:pt x="111" y="677"/>
                </a:lnTo>
                <a:lnTo>
                  <a:pt x="111" y="674"/>
                </a:lnTo>
                <a:lnTo>
                  <a:pt x="111" y="674"/>
                </a:lnTo>
                <a:lnTo>
                  <a:pt x="113" y="672"/>
                </a:lnTo>
                <a:lnTo>
                  <a:pt x="113" y="672"/>
                </a:lnTo>
                <a:lnTo>
                  <a:pt x="113" y="669"/>
                </a:lnTo>
                <a:lnTo>
                  <a:pt x="113" y="669"/>
                </a:lnTo>
                <a:lnTo>
                  <a:pt x="111" y="669"/>
                </a:lnTo>
                <a:lnTo>
                  <a:pt x="111" y="669"/>
                </a:lnTo>
                <a:lnTo>
                  <a:pt x="111" y="667"/>
                </a:lnTo>
                <a:lnTo>
                  <a:pt x="111" y="667"/>
                </a:lnTo>
                <a:lnTo>
                  <a:pt x="111" y="665"/>
                </a:lnTo>
                <a:lnTo>
                  <a:pt x="111" y="665"/>
                </a:lnTo>
                <a:lnTo>
                  <a:pt x="113" y="667"/>
                </a:lnTo>
                <a:lnTo>
                  <a:pt x="113" y="667"/>
                </a:lnTo>
                <a:lnTo>
                  <a:pt x="116" y="667"/>
                </a:lnTo>
                <a:lnTo>
                  <a:pt x="116" y="667"/>
                </a:lnTo>
                <a:lnTo>
                  <a:pt x="118" y="667"/>
                </a:lnTo>
                <a:lnTo>
                  <a:pt x="118" y="667"/>
                </a:lnTo>
                <a:lnTo>
                  <a:pt x="121" y="665"/>
                </a:lnTo>
                <a:lnTo>
                  <a:pt x="121" y="665"/>
                </a:lnTo>
                <a:lnTo>
                  <a:pt x="121" y="662"/>
                </a:lnTo>
                <a:lnTo>
                  <a:pt x="121" y="662"/>
                </a:lnTo>
                <a:lnTo>
                  <a:pt x="121" y="660"/>
                </a:lnTo>
                <a:lnTo>
                  <a:pt x="121" y="660"/>
                </a:lnTo>
                <a:lnTo>
                  <a:pt x="121" y="657"/>
                </a:lnTo>
                <a:lnTo>
                  <a:pt x="121" y="657"/>
                </a:lnTo>
                <a:lnTo>
                  <a:pt x="123" y="657"/>
                </a:lnTo>
                <a:lnTo>
                  <a:pt x="123" y="657"/>
                </a:lnTo>
                <a:lnTo>
                  <a:pt x="126" y="660"/>
                </a:lnTo>
                <a:lnTo>
                  <a:pt x="126" y="660"/>
                </a:lnTo>
                <a:lnTo>
                  <a:pt x="128" y="660"/>
                </a:lnTo>
                <a:lnTo>
                  <a:pt x="128" y="660"/>
                </a:lnTo>
                <a:lnTo>
                  <a:pt x="131" y="657"/>
                </a:lnTo>
                <a:lnTo>
                  <a:pt x="131" y="657"/>
                </a:lnTo>
                <a:lnTo>
                  <a:pt x="136" y="674"/>
                </a:lnTo>
                <a:lnTo>
                  <a:pt x="136" y="674"/>
                </a:lnTo>
                <a:lnTo>
                  <a:pt x="136" y="674"/>
                </a:lnTo>
                <a:lnTo>
                  <a:pt x="136" y="674"/>
                </a:lnTo>
                <a:lnTo>
                  <a:pt x="143" y="704"/>
                </a:lnTo>
                <a:lnTo>
                  <a:pt x="143" y="704"/>
                </a:lnTo>
                <a:close/>
                <a:moveTo>
                  <a:pt x="131" y="652"/>
                </a:moveTo>
                <a:lnTo>
                  <a:pt x="131" y="652"/>
                </a:lnTo>
                <a:lnTo>
                  <a:pt x="126" y="647"/>
                </a:lnTo>
                <a:lnTo>
                  <a:pt x="126" y="647"/>
                </a:lnTo>
                <a:lnTo>
                  <a:pt x="123" y="647"/>
                </a:lnTo>
                <a:lnTo>
                  <a:pt x="123" y="647"/>
                </a:lnTo>
                <a:lnTo>
                  <a:pt x="123" y="645"/>
                </a:lnTo>
                <a:lnTo>
                  <a:pt x="123" y="645"/>
                </a:lnTo>
                <a:lnTo>
                  <a:pt x="104" y="645"/>
                </a:lnTo>
                <a:lnTo>
                  <a:pt x="104" y="645"/>
                </a:lnTo>
                <a:lnTo>
                  <a:pt x="91" y="647"/>
                </a:lnTo>
                <a:lnTo>
                  <a:pt x="91" y="647"/>
                </a:lnTo>
                <a:lnTo>
                  <a:pt x="89" y="647"/>
                </a:lnTo>
                <a:lnTo>
                  <a:pt x="89" y="647"/>
                </a:lnTo>
                <a:lnTo>
                  <a:pt x="81" y="645"/>
                </a:lnTo>
                <a:lnTo>
                  <a:pt x="81" y="645"/>
                </a:lnTo>
                <a:lnTo>
                  <a:pt x="79" y="640"/>
                </a:lnTo>
                <a:lnTo>
                  <a:pt x="79" y="640"/>
                </a:lnTo>
                <a:lnTo>
                  <a:pt x="77" y="635"/>
                </a:lnTo>
                <a:lnTo>
                  <a:pt x="77" y="635"/>
                </a:lnTo>
                <a:lnTo>
                  <a:pt x="74" y="630"/>
                </a:lnTo>
                <a:lnTo>
                  <a:pt x="74" y="630"/>
                </a:lnTo>
                <a:lnTo>
                  <a:pt x="74" y="623"/>
                </a:lnTo>
                <a:lnTo>
                  <a:pt x="74" y="623"/>
                </a:lnTo>
                <a:lnTo>
                  <a:pt x="74" y="618"/>
                </a:lnTo>
                <a:lnTo>
                  <a:pt x="74" y="618"/>
                </a:lnTo>
                <a:lnTo>
                  <a:pt x="69" y="618"/>
                </a:lnTo>
                <a:lnTo>
                  <a:pt x="69" y="618"/>
                </a:lnTo>
                <a:lnTo>
                  <a:pt x="64" y="620"/>
                </a:lnTo>
                <a:lnTo>
                  <a:pt x="64" y="620"/>
                </a:lnTo>
                <a:lnTo>
                  <a:pt x="62" y="623"/>
                </a:lnTo>
                <a:lnTo>
                  <a:pt x="62" y="623"/>
                </a:lnTo>
                <a:lnTo>
                  <a:pt x="59" y="623"/>
                </a:lnTo>
                <a:lnTo>
                  <a:pt x="59" y="623"/>
                </a:lnTo>
                <a:lnTo>
                  <a:pt x="52" y="610"/>
                </a:lnTo>
                <a:lnTo>
                  <a:pt x="52" y="610"/>
                </a:lnTo>
                <a:lnTo>
                  <a:pt x="52" y="606"/>
                </a:lnTo>
                <a:lnTo>
                  <a:pt x="52" y="606"/>
                </a:lnTo>
                <a:lnTo>
                  <a:pt x="54" y="591"/>
                </a:lnTo>
                <a:lnTo>
                  <a:pt x="54" y="591"/>
                </a:lnTo>
                <a:lnTo>
                  <a:pt x="57" y="586"/>
                </a:lnTo>
                <a:lnTo>
                  <a:pt x="57" y="586"/>
                </a:lnTo>
                <a:lnTo>
                  <a:pt x="62" y="581"/>
                </a:lnTo>
                <a:lnTo>
                  <a:pt x="62" y="581"/>
                </a:lnTo>
                <a:lnTo>
                  <a:pt x="64" y="574"/>
                </a:lnTo>
                <a:lnTo>
                  <a:pt x="64" y="574"/>
                </a:lnTo>
                <a:lnTo>
                  <a:pt x="62" y="566"/>
                </a:lnTo>
                <a:lnTo>
                  <a:pt x="62" y="566"/>
                </a:lnTo>
                <a:lnTo>
                  <a:pt x="59" y="559"/>
                </a:lnTo>
                <a:lnTo>
                  <a:pt x="59" y="559"/>
                </a:lnTo>
                <a:lnTo>
                  <a:pt x="62" y="551"/>
                </a:lnTo>
                <a:lnTo>
                  <a:pt x="62" y="551"/>
                </a:lnTo>
                <a:lnTo>
                  <a:pt x="64" y="549"/>
                </a:lnTo>
                <a:lnTo>
                  <a:pt x="64" y="549"/>
                </a:lnTo>
                <a:lnTo>
                  <a:pt x="62" y="542"/>
                </a:lnTo>
                <a:lnTo>
                  <a:pt x="62" y="542"/>
                </a:lnTo>
                <a:lnTo>
                  <a:pt x="62" y="537"/>
                </a:lnTo>
                <a:lnTo>
                  <a:pt x="62" y="537"/>
                </a:lnTo>
                <a:lnTo>
                  <a:pt x="64" y="534"/>
                </a:lnTo>
                <a:lnTo>
                  <a:pt x="64" y="534"/>
                </a:lnTo>
                <a:lnTo>
                  <a:pt x="62" y="527"/>
                </a:lnTo>
                <a:lnTo>
                  <a:pt x="62" y="527"/>
                </a:lnTo>
                <a:lnTo>
                  <a:pt x="62" y="519"/>
                </a:lnTo>
                <a:lnTo>
                  <a:pt x="62" y="519"/>
                </a:lnTo>
                <a:lnTo>
                  <a:pt x="59" y="515"/>
                </a:lnTo>
                <a:lnTo>
                  <a:pt x="59" y="515"/>
                </a:lnTo>
                <a:lnTo>
                  <a:pt x="59" y="512"/>
                </a:lnTo>
                <a:lnTo>
                  <a:pt x="59" y="512"/>
                </a:lnTo>
                <a:lnTo>
                  <a:pt x="64" y="510"/>
                </a:lnTo>
                <a:lnTo>
                  <a:pt x="64" y="510"/>
                </a:lnTo>
                <a:lnTo>
                  <a:pt x="64" y="505"/>
                </a:lnTo>
                <a:lnTo>
                  <a:pt x="64" y="505"/>
                </a:lnTo>
                <a:lnTo>
                  <a:pt x="59" y="500"/>
                </a:lnTo>
                <a:lnTo>
                  <a:pt x="59" y="500"/>
                </a:lnTo>
                <a:lnTo>
                  <a:pt x="54" y="497"/>
                </a:lnTo>
                <a:lnTo>
                  <a:pt x="54" y="497"/>
                </a:lnTo>
                <a:lnTo>
                  <a:pt x="52" y="497"/>
                </a:lnTo>
                <a:lnTo>
                  <a:pt x="52" y="497"/>
                </a:lnTo>
                <a:lnTo>
                  <a:pt x="52" y="497"/>
                </a:lnTo>
                <a:lnTo>
                  <a:pt x="49" y="495"/>
                </a:lnTo>
                <a:lnTo>
                  <a:pt x="49" y="495"/>
                </a:lnTo>
                <a:lnTo>
                  <a:pt x="49" y="492"/>
                </a:lnTo>
                <a:lnTo>
                  <a:pt x="49" y="492"/>
                </a:lnTo>
                <a:lnTo>
                  <a:pt x="57" y="492"/>
                </a:lnTo>
                <a:lnTo>
                  <a:pt x="57" y="492"/>
                </a:lnTo>
                <a:lnTo>
                  <a:pt x="59" y="487"/>
                </a:lnTo>
                <a:lnTo>
                  <a:pt x="59" y="487"/>
                </a:lnTo>
                <a:lnTo>
                  <a:pt x="59" y="485"/>
                </a:lnTo>
                <a:lnTo>
                  <a:pt x="59" y="485"/>
                </a:lnTo>
                <a:lnTo>
                  <a:pt x="59" y="485"/>
                </a:lnTo>
                <a:lnTo>
                  <a:pt x="57" y="485"/>
                </a:lnTo>
                <a:lnTo>
                  <a:pt x="57" y="485"/>
                </a:lnTo>
                <a:lnTo>
                  <a:pt x="52" y="485"/>
                </a:lnTo>
                <a:lnTo>
                  <a:pt x="52" y="485"/>
                </a:lnTo>
                <a:lnTo>
                  <a:pt x="52" y="478"/>
                </a:lnTo>
                <a:lnTo>
                  <a:pt x="52" y="478"/>
                </a:lnTo>
                <a:lnTo>
                  <a:pt x="49" y="473"/>
                </a:lnTo>
                <a:lnTo>
                  <a:pt x="49" y="473"/>
                </a:lnTo>
                <a:lnTo>
                  <a:pt x="49" y="468"/>
                </a:lnTo>
                <a:lnTo>
                  <a:pt x="49" y="468"/>
                </a:lnTo>
                <a:lnTo>
                  <a:pt x="49" y="463"/>
                </a:lnTo>
                <a:lnTo>
                  <a:pt x="49" y="463"/>
                </a:lnTo>
                <a:lnTo>
                  <a:pt x="45" y="460"/>
                </a:lnTo>
                <a:lnTo>
                  <a:pt x="45" y="460"/>
                </a:lnTo>
                <a:lnTo>
                  <a:pt x="42" y="455"/>
                </a:lnTo>
                <a:lnTo>
                  <a:pt x="42" y="455"/>
                </a:lnTo>
                <a:lnTo>
                  <a:pt x="42" y="443"/>
                </a:lnTo>
                <a:lnTo>
                  <a:pt x="42" y="443"/>
                </a:lnTo>
                <a:lnTo>
                  <a:pt x="45" y="441"/>
                </a:lnTo>
                <a:lnTo>
                  <a:pt x="45" y="441"/>
                </a:lnTo>
                <a:lnTo>
                  <a:pt x="47" y="438"/>
                </a:lnTo>
                <a:lnTo>
                  <a:pt x="47" y="438"/>
                </a:lnTo>
                <a:lnTo>
                  <a:pt x="45" y="436"/>
                </a:lnTo>
                <a:lnTo>
                  <a:pt x="45" y="436"/>
                </a:lnTo>
                <a:lnTo>
                  <a:pt x="42" y="433"/>
                </a:lnTo>
                <a:lnTo>
                  <a:pt x="42" y="433"/>
                </a:lnTo>
                <a:lnTo>
                  <a:pt x="40" y="426"/>
                </a:lnTo>
                <a:lnTo>
                  <a:pt x="40" y="426"/>
                </a:lnTo>
                <a:lnTo>
                  <a:pt x="40" y="416"/>
                </a:lnTo>
                <a:lnTo>
                  <a:pt x="40" y="416"/>
                </a:lnTo>
                <a:lnTo>
                  <a:pt x="40" y="404"/>
                </a:lnTo>
                <a:lnTo>
                  <a:pt x="40" y="404"/>
                </a:lnTo>
                <a:lnTo>
                  <a:pt x="37" y="399"/>
                </a:lnTo>
                <a:lnTo>
                  <a:pt x="37" y="399"/>
                </a:lnTo>
                <a:lnTo>
                  <a:pt x="37" y="394"/>
                </a:lnTo>
                <a:lnTo>
                  <a:pt x="37" y="394"/>
                </a:lnTo>
                <a:lnTo>
                  <a:pt x="42" y="387"/>
                </a:lnTo>
                <a:lnTo>
                  <a:pt x="42" y="387"/>
                </a:lnTo>
                <a:lnTo>
                  <a:pt x="45" y="379"/>
                </a:lnTo>
                <a:lnTo>
                  <a:pt x="45" y="379"/>
                </a:lnTo>
                <a:lnTo>
                  <a:pt x="47" y="377"/>
                </a:lnTo>
                <a:lnTo>
                  <a:pt x="47" y="377"/>
                </a:lnTo>
                <a:lnTo>
                  <a:pt x="49" y="374"/>
                </a:lnTo>
                <a:lnTo>
                  <a:pt x="49" y="374"/>
                </a:lnTo>
                <a:lnTo>
                  <a:pt x="40" y="355"/>
                </a:lnTo>
                <a:lnTo>
                  <a:pt x="40" y="355"/>
                </a:lnTo>
                <a:lnTo>
                  <a:pt x="42" y="350"/>
                </a:lnTo>
                <a:lnTo>
                  <a:pt x="42" y="350"/>
                </a:lnTo>
                <a:lnTo>
                  <a:pt x="42" y="345"/>
                </a:lnTo>
                <a:lnTo>
                  <a:pt x="42" y="345"/>
                </a:lnTo>
                <a:lnTo>
                  <a:pt x="42" y="335"/>
                </a:lnTo>
                <a:lnTo>
                  <a:pt x="42" y="335"/>
                </a:lnTo>
                <a:lnTo>
                  <a:pt x="45" y="328"/>
                </a:lnTo>
                <a:lnTo>
                  <a:pt x="45" y="328"/>
                </a:lnTo>
                <a:lnTo>
                  <a:pt x="49" y="325"/>
                </a:lnTo>
                <a:lnTo>
                  <a:pt x="49" y="325"/>
                </a:lnTo>
                <a:lnTo>
                  <a:pt x="47" y="318"/>
                </a:lnTo>
                <a:lnTo>
                  <a:pt x="47" y="318"/>
                </a:lnTo>
                <a:lnTo>
                  <a:pt x="45" y="313"/>
                </a:lnTo>
                <a:lnTo>
                  <a:pt x="45" y="313"/>
                </a:lnTo>
                <a:lnTo>
                  <a:pt x="42" y="310"/>
                </a:lnTo>
                <a:lnTo>
                  <a:pt x="42" y="310"/>
                </a:lnTo>
                <a:lnTo>
                  <a:pt x="47" y="305"/>
                </a:lnTo>
                <a:lnTo>
                  <a:pt x="47" y="305"/>
                </a:lnTo>
                <a:lnTo>
                  <a:pt x="45" y="301"/>
                </a:lnTo>
                <a:lnTo>
                  <a:pt x="45" y="301"/>
                </a:lnTo>
                <a:lnTo>
                  <a:pt x="47" y="293"/>
                </a:lnTo>
                <a:lnTo>
                  <a:pt x="47" y="293"/>
                </a:lnTo>
                <a:lnTo>
                  <a:pt x="52" y="293"/>
                </a:lnTo>
                <a:lnTo>
                  <a:pt x="52" y="293"/>
                </a:lnTo>
                <a:lnTo>
                  <a:pt x="52" y="286"/>
                </a:lnTo>
                <a:lnTo>
                  <a:pt x="52" y="286"/>
                </a:lnTo>
                <a:lnTo>
                  <a:pt x="49" y="273"/>
                </a:lnTo>
                <a:lnTo>
                  <a:pt x="49" y="273"/>
                </a:lnTo>
                <a:lnTo>
                  <a:pt x="47" y="271"/>
                </a:lnTo>
                <a:lnTo>
                  <a:pt x="47" y="271"/>
                </a:lnTo>
                <a:lnTo>
                  <a:pt x="47" y="264"/>
                </a:lnTo>
                <a:lnTo>
                  <a:pt x="47" y="264"/>
                </a:lnTo>
                <a:lnTo>
                  <a:pt x="45" y="259"/>
                </a:lnTo>
                <a:lnTo>
                  <a:pt x="45" y="259"/>
                </a:lnTo>
                <a:lnTo>
                  <a:pt x="40" y="251"/>
                </a:lnTo>
                <a:lnTo>
                  <a:pt x="40" y="251"/>
                </a:lnTo>
                <a:lnTo>
                  <a:pt x="40" y="249"/>
                </a:lnTo>
                <a:lnTo>
                  <a:pt x="40" y="249"/>
                </a:lnTo>
                <a:lnTo>
                  <a:pt x="37" y="246"/>
                </a:lnTo>
                <a:lnTo>
                  <a:pt x="37" y="246"/>
                </a:lnTo>
                <a:lnTo>
                  <a:pt x="35" y="239"/>
                </a:lnTo>
                <a:lnTo>
                  <a:pt x="35" y="239"/>
                </a:lnTo>
                <a:lnTo>
                  <a:pt x="37" y="232"/>
                </a:lnTo>
                <a:lnTo>
                  <a:pt x="37" y="232"/>
                </a:lnTo>
                <a:lnTo>
                  <a:pt x="40" y="229"/>
                </a:lnTo>
                <a:lnTo>
                  <a:pt x="40" y="229"/>
                </a:lnTo>
                <a:lnTo>
                  <a:pt x="40" y="222"/>
                </a:lnTo>
                <a:lnTo>
                  <a:pt x="40" y="222"/>
                </a:lnTo>
                <a:lnTo>
                  <a:pt x="42" y="219"/>
                </a:lnTo>
                <a:lnTo>
                  <a:pt x="42" y="219"/>
                </a:lnTo>
                <a:lnTo>
                  <a:pt x="42" y="212"/>
                </a:lnTo>
                <a:lnTo>
                  <a:pt x="42" y="212"/>
                </a:lnTo>
                <a:lnTo>
                  <a:pt x="40" y="207"/>
                </a:lnTo>
                <a:lnTo>
                  <a:pt x="40" y="207"/>
                </a:lnTo>
                <a:lnTo>
                  <a:pt x="40" y="197"/>
                </a:lnTo>
                <a:lnTo>
                  <a:pt x="40" y="197"/>
                </a:lnTo>
                <a:lnTo>
                  <a:pt x="42" y="195"/>
                </a:lnTo>
                <a:lnTo>
                  <a:pt x="42" y="195"/>
                </a:lnTo>
                <a:lnTo>
                  <a:pt x="42" y="185"/>
                </a:lnTo>
                <a:lnTo>
                  <a:pt x="42" y="185"/>
                </a:lnTo>
                <a:lnTo>
                  <a:pt x="47" y="180"/>
                </a:lnTo>
                <a:lnTo>
                  <a:pt x="47" y="180"/>
                </a:lnTo>
                <a:lnTo>
                  <a:pt x="49" y="170"/>
                </a:lnTo>
                <a:lnTo>
                  <a:pt x="49" y="170"/>
                </a:lnTo>
                <a:lnTo>
                  <a:pt x="54" y="165"/>
                </a:lnTo>
                <a:lnTo>
                  <a:pt x="54" y="165"/>
                </a:lnTo>
                <a:lnTo>
                  <a:pt x="57" y="165"/>
                </a:lnTo>
                <a:lnTo>
                  <a:pt x="57" y="165"/>
                </a:lnTo>
                <a:lnTo>
                  <a:pt x="59" y="160"/>
                </a:lnTo>
                <a:lnTo>
                  <a:pt x="59" y="160"/>
                </a:lnTo>
                <a:lnTo>
                  <a:pt x="57" y="160"/>
                </a:lnTo>
                <a:lnTo>
                  <a:pt x="57" y="160"/>
                </a:lnTo>
                <a:lnTo>
                  <a:pt x="57" y="155"/>
                </a:lnTo>
                <a:lnTo>
                  <a:pt x="57" y="155"/>
                </a:lnTo>
                <a:lnTo>
                  <a:pt x="57" y="153"/>
                </a:lnTo>
                <a:lnTo>
                  <a:pt x="57" y="153"/>
                </a:lnTo>
                <a:lnTo>
                  <a:pt x="54" y="151"/>
                </a:lnTo>
                <a:lnTo>
                  <a:pt x="54" y="151"/>
                </a:lnTo>
                <a:lnTo>
                  <a:pt x="54" y="148"/>
                </a:lnTo>
                <a:lnTo>
                  <a:pt x="54" y="148"/>
                </a:lnTo>
                <a:lnTo>
                  <a:pt x="59" y="146"/>
                </a:lnTo>
                <a:lnTo>
                  <a:pt x="59" y="146"/>
                </a:lnTo>
                <a:lnTo>
                  <a:pt x="59" y="143"/>
                </a:lnTo>
                <a:lnTo>
                  <a:pt x="59" y="143"/>
                </a:lnTo>
                <a:lnTo>
                  <a:pt x="54" y="138"/>
                </a:lnTo>
                <a:lnTo>
                  <a:pt x="54" y="138"/>
                </a:lnTo>
                <a:lnTo>
                  <a:pt x="54" y="133"/>
                </a:lnTo>
                <a:lnTo>
                  <a:pt x="54" y="133"/>
                </a:lnTo>
                <a:lnTo>
                  <a:pt x="57" y="131"/>
                </a:lnTo>
                <a:lnTo>
                  <a:pt x="57" y="131"/>
                </a:lnTo>
                <a:lnTo>
                  <a:pt x="54" y="126"/>
                </a:lnTo>
                <a:lnTo>
                  <a:pt x="54" y="126"/>
                </a:lnTo>
                <a:lnTo>
                  <a:pt x="52" y="123"/>
                </a:lnTo>
                <a:lnTo>
                  <a:pt x="52" y="123"/>
                </a:lnTo>
                <a:lnTo>
                  <a:pt x="54" y="121"/>
                </a:lnTo>
                <a:lnTo>
                  <a:pt x="54" y="121"/>
                </a:lnTo>
                <a:lnTo>
                  <a:pt x="72" y="111"/>
                </a:lnTo>
                <a:lnTo>
                  <a:pt x="72" y="111"/>
                </a:lnTo>
                <a:lnTo>
                  <a:pt x="77" y="94"/>
                </a:lnTo>
                <a:lnTo>
                  <a:pt x="77" y="94"/>
                </a:lnTo>
                <a:lnTo>
                  <a:pt x="74" y="89"/>
                </a:lnTo>
                <a:lnTo>
                  <a:pt x="74" y="89"/>
                </a:lnTo>
                <a:lnTo>
                  <a:pt x="72" y="89"/>
                </a:lnTo>
                <a:lnTo>
                  <a:pt x="72" y="89"/>
                </a:lnTo>
                <a:lnTo>
                  <a:pt x="69" y="91"/>
                </a:lnTo>
                <a:lnTo>
                  <a:pt x="69" y="91"/>
                </a:lnTo>
                <a:lnTo>
                  <a:pt x="67" y="91"/>
                </a:lnTo>
                <a:lnTo>
                  <a:pt x="67" y="91"/>
                </a:lnTo>
                <a:lnTo>
                  <a:pt x="54" y="62"/>
                </a:lnTo>
                <a:lnTo>
                  <a:pt x="54" y="62"/>
                </a:lnTo>
                <a:lnTo>
                  <a:pt x="47" y="55"/>
                </a:lnTo>
                <a:lnTo>
                  <a:pt x="47" y="55"/>
                </a:lnTo>
                <a:lnTo>
                  <a:pt x="45" y="50"/>
                </a:lnTo>
                <a:lnTo>
                  <a:pt x="45" y="50"/>
                </a:lnTo>
                <a:lnTo>
                  <a:pt x="49" y="42"/>
                </a:lnTo>
                <a:lnTo>
                  <a:pt x="49" y="42"/>
                </a:lnTo>
                <a:lnTo>
                  <a:pt x="47" y="40"/>
                </a:lnTo>
                <a:lnTo>
                  <a:pt x="47" y="40"/>
                </a:lnTo>
                <a:lnTo>
                  <a:pt x="49" y="35"/>
                </a:lnTo>
                <a:lnTo>
                  <a:pt x="49" y="35"/>
                </a:lnTo>
                <a:lnTo>
                  <a:pt x="49" y="32"/>
                </a:lnTo>
                <a:lnTo>
                  <a:pt x="49" y="32"/>
                </a:lnTo>
                <a:lnTo>
                  <a:pt x="42" y="28"/>
                </a:lnTo>
                <a:lnTo>
                  <a:pt x="42" y="28"/>
                </a:lnTo>
                <a:lnTo>
                  <a:pt x="40" y="23"/>
                </a:lnTo>
                <a:lnTo>
                  <a:pt x="40" y="23"/>
                </a:lnTo>
                <a:lnTo>
                  <a:pt x="37" y="18"/>
                </a:lnTo>
                <a:lnTo>
                  <a:pt x="37" y="18"/>
                </a:lnTo>
                <a:lnTo>
                  <a:pt x="37" y="15"/>
                </a:lnTo>
                <a:lnTo>
                  <a:pt x="37" y="15"/>
                </a:lnTo>
                <a:lnTo>
                  <a:pt x="37" y="13"/>
                </a:lnTo>
                <a:lnTo>
                  <a:pt x="37" y="13"/>
                </a:lnTo>
                <a:lnTo>
                  <a:pt x="37" y="10"/>
                </a:lnTo>
                <a:lnTo>
                  <a:pt x="37" y="10"/>
                </a:lnTo>
                <a:lnTo>
                  <a:pt x="37" y="8"/>
                </a:lnTo>
                <a:lnTo>
                  <a:pt x="37" y="8"/>
                </a:lnTo>
                <a:lnTo>
                  <a:pt x="32" y="5"/>
                </a:lnTo>
                <a:lnTo>
                  <a:pt x="32" y="5"/>
                </a:lnTo>
                <a:lnTo>
                  <a:pt x="32" y="3"/>
                </a:lnTo>
                <a:lnTo>
                  <a:pt x="32" y="3"/>
                </a:lnTo>
                <a:lnTo>
                  <a:pt x="30" y="0"/>
                </a:lnTo>
                <a:lnTo>
                  <a:pt x="30" y="0"/>
                </a:lnTo>
                <a:lnTo>
                  <a:pt x="27" y="3"/>
                </a:lnTo>
                <a:lnTo>
                  <a:pt x="27" y="3"/>
                </a:lnTo>
                <a:lnTo>
                  <a:pt x="27" y="8"/>
                </a:lnTo>
                <a:lnTo>
                  <a:pt x="27" y="8"/>
                </a:lnTo>
                <a:lnTo>
                  <a:pt x="30" y="10"/>
                </a:lnTo>
                <a:lnTo>
                  <a:pt x="30" y="10"/>
                </a:lnTo>
                <a:lnTo>
                  <a:pt x="30" y="13"/>
                </a:lnTo>
                <a:lnTo>
                  <a:pt x="30" y="13"/>
                </a:lnTo>
                <a:lnTo>
                  <a:pt x="25" y="13"/>
                </a:lnTo>
                <a:lnTo>
                  <a:pt x="25" y="13"/>
                </a:lnTo>
                <a:lnTo>
                  <a:pt x="25" y="13"/>
                </a:lnTo>
                <a:lnTo>
                  <a:pt x="20" y="15"/>
                </a:lnTo>
                <a:lnTo>
                  <a:pt x="20" y="15"/>
                </a:lnTo>
                <a:lnTo>
                  <a:pt x="17" y="18"/>
                </a:lnTo>
                <a:lnTo>
                  <a:pt x="17" y="18"/>
                </a:lnTo>
                <a:lnTo>
                  <a:pt x="17" y="18"/>
                </a:lnTo>
                <a:lnTo>
                  <a:pt x="17" y="23"/>
                </a:lnTo>
                <a:lnTo>
                  <a:pt x="17" y="23"/>
                </a:lnTo>
                <a:lnTo>
                  <a:pt x="17" y="28"/>
                </a:lnTo>
                <a:lnTo>
                  <a:pt x="17" y="28"/>
                </a:lnTo>
                <a:lnTo>
                  <a:pt x="20" y="30"/>
                </a:lnTo>
                <a:lnTo>
                  <a:pt x="20" y="30"/>
                </a:lnTo>
                <a:lnTo>
                  <a:pt x="22" y="42"/>
                </a:lnTo>
                <a:lnTo>
                  <a:pt x="22" y="42"/>
                </a:lnTo>
                <a:lnTo>
                  <a:pt x="22" y="47"/>
                </a:lnTo>
                <a:lnTo>
                  <a:pt x="22" y="47"/>
                </a:lnTo>
                <a:lnTo>
                  <a:pt x="20" y="50"/>
                </a:lnTo>
                <a:lnTo>
                  <a:pt x="20" y="50"/>
                </a:lnTo>
                <a:lnTo>
                  <a:pt x="20" y="52"/>
                </a:lnTo>
                <a:lnTo>
                  <a:pt x="20" y="52"/>
                </a:lnTo>
                <a:lnTo>
                  <a:pt x="20" y="57"/>
                </a:lnTo>
                <a:lnTo>
                  <a:pt x="20" y="57"/>
                </a:lnTo>
                <a:lnTo>
                  <a:pt x="22" y="62"/>
                </a:lnTo>
                <a:lnTo>
                  <a:pt x="22" y="62"/>
                </a:lnTo>
                <a:lnTo>
                  <a:pt x="25" y="67"/>
                </a:lnTo>
                <a:lnTo>
                  <a:pt x="25" y="67"/>
                </a:lnTo>
                <a:lnTo>
                  <a:pt x="25" y="77"/>
                </a:lnTo>
                <a:lnTo>
                  <a:pt x="25" y="77"/>
                </a:lnTo>
                <a:lnTo>
                  <a:pt x="22" y="79"/>
                </a:lnTo>
                <a:lnTo>
                  <a:pt x="22" y="79"/>
                </a:lnTo>
                <a:lnTo>
                  <a:pt x="22" y="79"/>
                </a:lnTo>
                <a:lnTo>
                  <a:pt x="22" y="91"/>
                </a:lnTo>
                <a:lnTo>
                  <a:pt x="22" y="91"/>
                </a:lnTo>
                <a:lnTo>
                  <a:pt x="22" y="94"/>
                </a:lnTo>
                <a:lnTo>
                  <a:pt x="22" y="94"/>
                </a:lnTo>
                <a:lnTo>
                  <a:pt x="20" y="94"/>
                </a:lnTo>
                <a:lnTo>
                  <a:pt x="20" y="94"/>
                </a:lnTo>
                <a:lnTo>
                  <a:pt x="17" y="96"/>
                </a:lnTo>
                <a:lnTo>
                  <a:pt x="17" y="96"/>
                </a:lnTo>
                <a:lnTo>
                  <a:pt x="20" y="101"/>
                </a:lnTo>
                <a:lnTo>
                  <a:pt x="20" y="101"/>
                </a:lnTo>
                <a:lnTo>
                  <a:pt x="20" y="104"/>
                </a:lnTo>
                <a:lnTo>
                  <a:pt x="20" y="104"/>
                </a:lnTo>
                <a:lnTo>
                  <a:pt x="22" y="101"/>
                </a:lnTo>
                <a:lnTo>
                  <a:pt x="22" y="101"/>
                </a:lnTo>
                <a:lnTo>
                  <a:pt x="22" y="104"/>
                </a:lnTo>
                <a:lnTo>
                  <a:pt x="22" y="104"/>
                </a:lnTo>
                <a:lnTo>
                  <a:pt x="20" y="106"/>
                </a:lnTo>
                <a:lnTo>
                  <a:pt x="20" y="106"/>
                </a:lnTo>
                <a:lnTo>
                  <a:pt x="22" y="121"/>
                </a:lnTo>
                <a:lnTo>
                  <a:pt x="22" y="121"/>
                </a:lnTo>
                <a:lnTo>
                  <a:pt x="22" y="128"/>
                </a:lnTo>
                <a:lnTo>
                  <a:pt x="22" y="128"/>
                </a:lnTo>
                <a:lnTo>
                  <a:pt x="25" y="133"/>
                </a:lnTo>
                <a:lnTo>
                  <a:pt x="25" y="133"/>
                </a:lnTo>
                <a:lnTo>
                  <a:pt x="22" y="136"/>
                </a:lnTo>
                <a:lnTo>
                  <a:pt x="22" y="136"/>
                </a:lnTo>
                <a:lnTo>
                  <a:pt x="20" y="141"/>
                </a:lnTo>
                <a:lnTo>
                  <a:pt x="20" y="141"/>
                </a:lnTo>
                <a:lnTo>
                  <a:pt x="20" y="146"/>
                </a:lnTo>
                <a:lnTo>
                  <a:pt x="20" y="146"/>
                </a:lnTo>
                <a:lnTo>
                  <a:pt x="25" y="151"/>
                </a:lnTo>
                <a:lnTo>
                  <a:pt x="25" y="151"/>
                </a:lnTo>
                <a:lnTo>
                  <a:pt x="22" y="153"/>
                </a:lnTo>
                <a:lnTo>
                  <a:pt x="22" y="153"/>
                </a:lnTo>
                <a:lnTo>
                  <a:pt x="22" y="160"/>
                </a:lnTo>
                <a:lnTo>
                  <a:pt x="22" y="160"/>
                </a:lnTo>
                <a:lnTo>
                  <a:pt x="20" y="163"/>
                </a:lnTo>
                <a:lnTo>
                  <a:pt x="20" y="163"/>
                </a:lnTo>
                <a:lnTo>
                  <a:pt x="20" y="168"/>
                </a:lnTo>
                <a:lnTo>
                  <a:pt x="20" y="168"/>
                </a:lnTo>
                <a:lnTo>
                  <a:pt x="22" y="170"/>
                </a:lnTo>
                <a:lnTo>
                  <a:pt x="22" y="170"/>
                </a:lnTo>
                <a:lnTo>
                  <a:pt x="22" y="173"/>
                </a:lnTo>
                <a:lnTo>
                  <a:pt x="22" y="173"/>
                </a:lnTo>
                <a:lnTo>
                  <a:pt x="20" y="175"/>
                </a:lnTo>
                <a:lnTo>
                  <a:pt x="20" y="175"/>
                </a:lnTo>
                <a:lnTo>
                  <a:pt x="20" y="180"/>
                </a:lnTo>
                <a:lnTo>
                  <a:pt x="20" y="180"/>
                </a:lnTo>
                <a:lnTo>
                  <a:pt x="17" y="182"/>
                </a:lnTo>
                <a:lnTo>
                  <a:pt x="17" y="182"/>
                </a:lnTo>
                <a:lnTo>
                  <a:pt x="17" y="187"/>
                </a:lnTo>
                <a:lnTo>
                  <a:pt x="17" y="187"/>
                </a:lnTo>
                <a:lnTo>
                  <a:pt x="17" y="190"/>
                </a:lnTo>
                <a:lnTo>
                  <a:pt x="17" y="190"/>
                </a:lnTo>
                <a:lnTo>
                  <a:pt x="15" y="195"/>
                </a:lnTo>
                <a:lnTo>
                  <a:pt x="15" y="195"/>
                </a:lnTo>
                <a:lnTo>
                  <a:pt x="15" y="197"/>
                </a:lnTo>
                <a:lnTo>
                  <a:pt x="15" y="197"/>
                </a:lnTo>
                <a:lnTo>
                  <a:pt x="17" y="202"/>
                </a:lnTo>
                <a:lnTo>
                  <a:pt x="17" y="202"/>
                </a:lnTo>
                <a:lnTo>
                  <a:pt x="17" y="207"/>
                </a:lnTo>
                <a:lnTo>
                  <a:pt x="17" y="207"/>
                </a:lnTo>
                <a:lnTo>
                  <a:pt x="20" y="210"/>
                </a:lnTo>
                <a:lnTo>
                  <a:pt x="20" y="210"/>
                </a:lnTo>
                <a:lnTo>
                  <a:pt x="17" y="210"/>
                </a:lnTo>
                <a:lnTo>
                  <a:pt x="17" y="210"/>
                </a:lnTo>
                <a:lnTo>
                  <a:pt x="17" y="214"/>
                </a:lnTo>
                <a:lnTo>
                  <a:pt x="17" y="214"/>
                </a:lnTo>
                <a:lnTo>
                  <a:pt x="20" y="217"/>
                </a:lnTo>
                <a:lnTo>
                  <a:pt x="20" y="217"/>
                </a:lnTo>
                <a:lnTo>
                  <a:pt x="17" y="219"/>
                </a:lnTo>
                <a:lnTo>
                  <a:pt x="17" y="219"/>
                </a:lnTo>
                <a:lnTo>
                  <a:pt x="15" y="219"/>
                </a:lnTo>
                <a:lnTo>
                  <a:pt x="15" y="219"/>
                </a:lnTo>
                <a:lnTo>
                  <a:pt x="15" y="224"/>
                </a:lnTo>
                <a:lnTo>
                  <a:pt x="15" y="224"/>
                </a:lnTo>
                <a:lnTo>
                  <a:pt x="15" y="227"/>
                </a:lnTo>
                <a:lnTo>
                  <a:pt x="15" y="227"/>
                </a:lnTo>
                <a:lnTo>
                  <a:pt x="15" y="232"/>
                </a:lnTo>
                <a:lnTo>
                  <a:pt x="15" y="232"/>
                </a:lnTo>
                <a:lnTo>
                  <a:pt x="20" y="242"/>
                </a:lnTo>
                <a:lnTo>
                  <a:pt x="20" y="242"/>
                </a:lnTo>
                <a:lnTo>
                  <a:pt x="20" y="246"/>
                </a:lnTo>
                <a:lnTo>
                  <a:pt x="20" y="246"/>
                </a:lnTo>
                <a:lnTo>
                  <a:pt x="17" y="246"/>
                </a:lnTo>
                <a:lnTo>
                  <a:pt x="17" y="246"/>
                </a:lnTo>
                <a:lnTo>
                  <a:pt x="17" y="249"/>
                </a:lnTo>
                <a:lnTo>
                  <a:pt x="17" y="249"/>
                </a:lnTo>
                <a:lnTo>
                  <a:pt x="20" y="254"/>
                </a:lnTo>
                <a:lnTo>
                  <a:pt x="20" y="254"/>
                </a:lnTo>
                <a:lnTo>
                  <a:pt x="22" y="261"/>
                </a:lnTo>
                <a:lnTo>
                  <a:pt x="22" y="261"/>
                </a:lnTo>
                <a:lnTo>
                  <a:pt x="20" y="264"/>
                </a:lnTo>
                <a:lnTo>
                  <a:pt x="20" y="264"/>
                </a:lnTo>
                <a:lnTo>
                  <a:pt x="20" y="266"/>
                </a:lnTo>
                <a:lnTo>
                  <a:pt x="20" y="266"/>
                </a:lnTo>
                <a:lnTo>
                  <a:pt x="22" y="269"/>
                </a:lnTo>
                <a:lnTo>
                  <a:pt x="22" y="269"/>
                </a:lnTo>
                <a:lnTo>
                  <a:pt x="20" y="271"/>
                </a:lnTo>
                <a:lnTo>
                  <a:pt x="20" y="271"/>
                </a:lnTo>
                <a:lnTo>
                  <a:pt x="20" y="273"/>
                </a:lnTo>
                <a:lnTo>
                  <a:pt x="20" y="273"/>
                </a:lnTo>
                <a:lnTo>
                  <a:pt x="20" y="273"/>
                </a:lnTo>
                <a:lnTo>
                  <a:pt x="25" y="278"/>
                </a:lnTo>
                <a:lnTo>
                  <a:pt x="25" y="278"/>
                </a:lnTo>
                <a:lnTo>
                  <a:pt x="25" y="281"/>
                </a:lnTo>
                <a:lnTo>
                  <a:pt x="25" y="281"/>
                </a:lnTo>
                <a:lnTo>
                  <a:pt x="22" y="286"/>
                </a:lnTo>
                <a:lnTo>
                  <a:pt x="22" y="286"/>
                </a:lnTo>
                <a:lnTo>
                  <a:pt x="20" y="286"/>
                </a:lnTo>
                <a:lnTo>
                  <a:pt x="20" y="286"/>
                </a:lnTo>
                <a:lnTo>
                  <a:pt x="20" y="291"/>
                </a:lnTo>
                <a:lnTo>
                  <a:pt x="20" y="291"/>
                </a:lnTo>
                <a:lnTo>
                  <a:pt x="20" y="291"/>
                </a:lnTo>
                <a:lnTo>
                  <a:pt x="20" y="293"/>
                </a:lnTo>
                <a:lnTo>
                  <a:pt x="20" y="293"/>
                </a:lnTo>
                <a:lnTo>
                  <a:pt x="20" y="298"/>
                </a:lnTo>
                <a:lnTo>
                  <a:pt x="20" y="298"/>
                </a:lnTo>
                <a:lnTo>
                  <a:pt x="17" y="298"/>
                </a:lnTo>
                <a:lnTo>
                  <a:pt x="17" y="298"/>
                </a:lnTo>
                <a:lnTo>
                  <a:pt x="17" y="301"/>
                </a:lnTo>
                <a:lnTo>
                  <a:pt x="17" y="301"/>
                </a:lnTo>
                <a:lnTo>
                  <a:pt x="17" y="305"/>
                </a:lnTo>
                <a:lnTo>
                  <a:pt x="17" y="305"/>
                </a:lnTo>
                <a:lnTo>
                  <a:pt x="15" y="308"/>
                </a:lnTo>
                <a:lnTo>
                  <a:pt x="15" y="308"/>
                </a:lnTo>
                <a:lnTo>
                  <a:pt x="15" y="310"/>
                </a:lnTo>
                <a:lnTo>
                  <a:pt x="15" y="310"/>
                </a:lnTo>
                <a:lnTo>
                  <a:pt x="15" y="313"/>
                </a:lnTo>
                <a:lnTo>
                  <a:pt x="15" y="313"/>
                </a:lnTo>
                <a:lnTo>
                  <a:pt x="15" y="318"/>
                </a:lnTo>
                <a:lnTo>
                  <a:pt x="15" y="318"/>
                </a:lnTo>
                <a:lnTo>
                  <a:pt x="13" y="318"/>
                </a:lnTo>
                <a:lnTo>
                  <a:pt x="13" y="318"/>
                </a:lnTo>
                <a:lnTo>
                  <a:pt x="13" y="320"/>
                </a:lnTo>
                <a:lnTo>
                  <a:pt x="13" y="320"/>
                </a:lnTo>
                <a:lnTo>
                  <a:pt x="15" y="323"/>
                </a:lnTo>
                <a:lnTo>
                  <a:pt x="15" y="323"/>
                </a:lnTo>
                <a:lnTo>
                  <a:pt x="13" y="325"/>
                </a:lnTo>
                <a:lnTo>
                  <a:pt x="13" y="325"/>
                </a:lnTo>
                <a:lnTo>
                  <a:pt x="13" y="330"/>
                </a:lnTo>
                <a:lnTo>
                  <a:pt x="13" y="330"/>
                </a:lnTo>
                <a:lnTo>
                  <a:pt x="13" y="333"/>
                </a:lnTo>
                <a:lnTo>
                  <a:pt x="13" y="333"/>
                </a:lnTo>
                <a:lnTo>
                  <a:pt x="10" y="333"/>
                </a:lnTo>
                <a:lnTo>
                  <a:pt x="10" y="333"/>
                </a:lnTo>
                <a:lnTo>
                  <a:pt x="10" y="335"/>
                </a:lnTo>
                <a:lnTo>
                  <a:pt x="10" y="335"/>
                </a:lnTo>
                <a:lnTo>
                  <a:pt x="8" y="337"/>
                </a:lnTo>
                <a:lnTo>
                  <a:pt x="8" y="337"/>
                </a:lnTo>
                <a:lnTo>
                  <a:pt x="8" y="340"/>
                </a:lnTo>
                <a:lnTo>
                  <a:pt x="8" y="340"/>
                </a:lnTo>
                <a:lnTo>
                  <a:pt x="10" y="342"/>
                </a:lnTo>
                <a:lnTo>
                  <a:pt x="10" y="342"/>
                </a:lnTo>
                <a:lnTo>
                  <a:pt x="10" y="345"/>
                </a:lnTo>
                <a:lnTo>
                  <a:pt x="10" y="345"/>
                </a:lnTo>
                <a:lnTo>
                  <a:pt x="8" y="347"/>
                </a:lnTo>
                <a:lnTo>
                  <a:pt x="8" y="347"/>
                </a:lnTo>
                <a:lnTo>
                  <a:pt x="5" y="347"/>
                </a:lnTo>
                <a:lnTo>
                  <a:pt x="5" y="347"/>
                </a:lnTo>
                <a:lnTo>
                  <a:pt x="3" y="347"/>
                </a:lnTo>
                <a:lnTo>
                  <a:pt x="3" y="347"/>
                </a:lnTo>
                <a:lnTo>
                  <a:pt x="3" y="347"/>
                </a:lnTo>
                <a:lnTo>
                  <a:pt x="0" y="350"/>
                </a:lnTo>
                <a:lnTo>
                  <a:pt x="0" y="350"/>
                </a:lnTo>
                <a:lnTo>
                  <a:pt x="3" y="352"/>
                </a:lnTo>
                <a:lnTo>
                  <a:pt x="3" y="352"/>
                </a:lnTo>
                <a:lnTo>
                  <a:pt x="3" y="357"/>
                </a:lnTo>
                <a:lnTo>
                  <a:pt x="3" y="357"/>
                </a:lnTo>
                <a:lnTo>
                  <a:pt x="5" y="360"/>
                </a:lnTo>
                <a:lnTo>
                  <a:pt x="5" y="360"/>
                </a:lnTo>
                <a:lnTo>
                  <a:pt x="8" y="364"/>
                </a:lnTo>
                <a:lnTo>
                  <a:pt x="8" y="364"/>
                </a:lnTo>
                <a:lnTo>
                  <a:pt x="8" y="367"/>
                </a:lnTo>
                <a:lnTo>
                  <a:pt x="8" y="367"/>
                </a:lnTo>
                <a:lnTo>
                  <a:pt x="8" y="372"/>
                </a:lnTo>
                <a:lnTo>
                  <a:pt x="8" y="372"/>
                </a:lnTo>
                <a:lnTo>
                  <a:pt x="13" y="379"/>
                </a:lnTo>
                <a:lnTo>
                  <a:pt x="13" y="379"/>
                </a:lnTo>
                <a:lnTo>
                  <a:pt x="13" y="382"/>
                </a:lnTo>
                <a:lnTo>
                  <a:pt x="13" y="382"/>
                </a:lnTo>
                <a:lnTo>
                  <a:pt x="15" y="382"/>
                </a:lnTo>
                <a:lnTo>
                  <a:pt x="15" y="382"/>
                </a:lnTo>
                <a:lnTo>
                  <a:pt x="15" y="389"/>
                </a:lnTo>
                <a:lnTo>
                  <a:pt x="15" y="389"/>
                </a:lnTo>
                <a:lnTo>
                  <a:pt x="13" y="394"/>
                </a:lnTo>
                <a:lnTo>
                  <a:pt x="13" y="394"/>
                </a:lnTo>
                <a:lnTo>
                  <a:pt x="13" y="396"/>
                </a:lnTo>
                <a:lnTo>
                  <a:pt x="13" y="396"/>
                </a:lnTo>
                <a:lnTo>
                  <a:pt x="13" y="399"/>
                </a:lnTo>
                <a:lnTo>
                  <a:pt x="13" y="399"/>
                </a:lnTo>
                <a:lnTo>
                  <a:pt x="13" y="399"/>
                </a:lnTo>
                <a:lnTo>
                  <a:pt x="10" y="399"/>
                </a:lnTo>
                <a:lnTo>
                  <a:pt x="10" y="399"/>
                </a:lnTo>
                <a:lnTo>
                  <a:pt x="10" y="399"/>
                </a:lnTo>
                <a:lnTo>
                  <a:pt x="8" y="401"/>
                </a:lnTo>
                <a:lnTo>
                  <a:pt x="8" y="401"/>
                </a:lnTo>
                <a:lnTo>
                  <a:pt x="10" y="406"/>
                </a:lnTo>
                <a:lnTo>
                  <a:pt x="10" y="406"/>
                </a:lnTo>
                <a:lnTo>
                  <a:pt x="10" y="406"/>
                </a:lnTo>
                <a:lnTo>
                  <a:pt x="10" y="414"/>
                </a:lnTo>
                <a:lnTo>
                  <a:pt x="10" y="414"/>
                </a:lnTo>
                <a:lnTo>
                  <a:pt x="10" y="416"/>
                </a:lnTo>
                <a:lnTo>
                  <a:pt x="10" y="416"/>
                </a:lnTo>
                <a:lnTo>
                  <a:pt x="8" y="419"/>
                </a:lnTo>
                <a:lnTo>
                  <a:pt x="8" y="419"/>
                </a:lnTo>
                <a:lnTo>
                  <a:pt x="10" y="419"/>
                </a:lnTo>
                <a:lnTo>
                  <a:pt x="10" y="419"/>
                </a:lnTo>
                <a:lnTo>
                  <a:pt x="10" y="421"/>
                </a:lnTo>
                <a:lnTo>
                  <a:pt x="10" y="421"/>
                </a:lnTo>
                <a:lnTo>
                  <a:pt x="10" y="424"/>
                </a:lnTo>
                <a:lnTo>
                  <a:pt x="10" y="424"/>
                </a:lnTo>
                <a:lnTo>
                  <a:pt x="10" y="424"/>
                </a:lnTo>
                <a:lnTo>
                  <a:pt x="15" y="431"/>
                </a:lnTo>
                <a:lnTo>
                  <a:pt x="15" y="431"/>
                </a:lnTo>
                <a:lnTo>
                  <a:pt x="17" y="433"/>
                </a:lnTo>
                <a:lnTo>
                  <a:pt x="17" y="433"/>
                </a:lnTo>
                <a:lnTo>
                  <a:pt x="17" y="436"/>
                </a:lnTo>
                <a:lnTo>
                  <a:pt x="17" y="436"/>
                </a:lnTo>
                <a:lnTo>
                  <a:pt x="22" y="436"/>
                </a:lnTo>
                <a:lnTo>
                  <a:pt x="22" y="436"/>
                </a:lnTo>
                <a:lnTo>
                  <a:pt x="27" y="436"/>
                </a:lnTo>
                <a:lnTo>
                  <a:pt x="27" y="436"/>
                </a:lnTo>
                <a:lnTo>
                  <a:pt x="27" y="431"/>
                </a:lnTo>
                <a:lnTo>
                  <a:pt x="27" y="431"/>
                </a:lnTo>
                <a:lnTo>
                  <a:pt x="27" y="431"/>
                </a:lnTo>
                <a:lnTo>
                  <a:pt x="30" y="431"/>
                </a:lnTo>
                <a:lnTo>
                  <a:pt x="30" y="431"/>
                </a:lnTo>
                <a:lnTo>
                  <a:pt x="32" y="433"/>
                </a:lnTo>
                <a:lnTo>
                  <a:pt x="32" y="433"/>
                </a:lnTo>
                <a:lnTo>
                  <a:pt x="32" y="433"/>
                </a:lnTo>
                <a:lnTo>
                  <a:pt x="35" y="433"/>
                </a:lnTo>
                <a:lnTo>
                  <a:pt x="35" y="433"/>
                </a:lnTo>
                <a:lnTo>
                  <a:pt x="35" y="436"/>
                </a:lnTo>
                <a:lnTo>
                  <a:pt x="35" y="436"/>
                </a:lnTo>
                <a:lnTo>
                  <a:pt x="30" y="438"/>
                </a:lnTo>
                <a:lnTo>
                  <a:pt x="30" y="438"/>
                </a:lnTo>
                <a:lnTo>
                  <a:pt x="30" y="441"/>
                </a:lnTo>
                <a:lnTo>
                  <a:pt x="30" y="441"/>
                </a:lnTo>
                <a:lnTo>
                  <a:pt x="32" y="441"/>
                </a:lnTo>
                <a:lnTo>
                  <a:pt x="32" y="441"/>
                </a:lnTo>
                <a:lnTo>
                  <a:pt x="35" y="441"/>
                </a:lnTo>
                <a:lnTo>
                  <a:pt x="35" y="441"/>
                </a:lnTo>
                <a:lnTo>
                  <a:pt x="35" y="443"/>
                </a:lnTo>
                <a:lnTo>
                  <a:pt x="35" y="443"/>
                </a:lnTo>
                <a:lnTo>
                  <a:pt x="35" y="448"/>
                </a:lnTo>
                <a:lnTo>
                  <a:pt x="35" y="448"/>
                </a:lnTo>
                <a:lnTo>
                  <a:pt x="37" y="451"/>
                </a:lnTo>
                <a:lnTo>
                  <a:pt x="37" y="451"/>
                </a:lnTo>
                <a:lnTo>
                  <a:pt x="37" y="451"/>
                </a:lnTo>
                <a:lnTo>
                  <a:pt x="35" y="448"/>
                </a:lnTo>
                <a:lnTo>
                  <a:pt x="35" y="448"/>
                </a:lnTo>
                <a:lnTo>
                  <a:pt x="32" y="446"/>
                </a:lnTo>
                <a:lnTo>
                  <a:pt x="32" y="446"/>
                </a:lnTo>
                <a:lnTo>
                  <a:pt x="32" y="446"/>
                </a:lnTo>
                <a:lnTo>
                  <a:pt x="30" y="446"/>
                </a:lnTo>
                <a:lnTo>
                  <a:pt x="30" y="446"/>
                </a:lnTo>
                <a:lnTo>
                  <a:pt x="30" y="448"/>
                </a:lnTo>
                <a:lnTo>
                  <a:pt x="30" y="448"/>
                </a:lnTo>
                <a:lnTo>
                  <a:pt x="35" y="451"/>
                </a:lnTo>
                <a:lnTo>
                  <a:pt x="35" y="451"/>
                </a:lnTo>
                <a:lnTo>
                  <a:pt x="35" y="453"/>
                </a:lnTo>
                <a:lnTo>
                  <a:pt x="35" y="453"/>
                </a:lnTo>
                <a:lnTo>
                  <a:pt x="32" y="453"/>
                </a:lnTo>
                <a:lnTo>
                  <a:pt x="32" y="453"/>
                </a:lnTo>
                <a:lnTo>
                  <a:pt x="32" y="453"/>
                </a:lnTo>
                <a:lnTo>
                  <a:pt x="32" y="458"/>
                </a:lnTo>
                <a:lnTo>
                  <a:pt x="32" y="458"/>
                </a:lnTo>
                <a:lnTo>
                  <a:pt x="35" y="460"/>
                </a:lnTo>
                <a:lnTo>
                  <a:pt x="35" y="460"/>
                </a:lnTo>
                <a:lnTo>
                  <a:pt x="32" y="463"/>
                </a:lnTo>
                <a:lnTo>
                  <a:pt x="32" y="463"/>
                </a:lnTo>
                <a:lnTo>
                  <a:pt x="32" y="465"/>
                </a:lnTo>
                <a:lnTo>
                  <a:pt x="32" y="465"/>
                </a:lnTo>
                <a:lnTo>
                  <a:pt x="32" y="465"/>
                </a:lnTo>
                <a:lnTo>
                  <a:pt x="30" y="468"/>
                </a:lnTo>
                <a:lnTo>
                  <a:pt x="30" y="468"/>
                </a:lnTo>
                <a:lnTo>
                  <a:pt x="30" y="470"/>
                </a:lnTo>
                <a:lnTo>
                  <a:pt x="30" y="470"/>
                </a:lnTo>
                <a:lnTo>
                  <a:pt x="35" y="473"/>
                </a:lnTo>
                <a:lnTo>
                  <a:pt x="35" y="473"/>
                </a:lnTo>
                <a:lnTo>
                  <a:pt x="32" y="475"/>
                </a:lnTo>
                <a:lnTo>
                  <a:pt x="32" y="475"/>
                </a:lnTo>
                <a:lnTo>
                  <a:pt x="32" y="478"/>
                </a:lnTo>
                <a:lnTo>
                  <a:pt x="32" y="478"/>
                </a:lnTo>
                <a:lnTo>
                  <a:pt x="30" y="480"/>
                </a:lnTo>
                <a:lnTo>
                  <a:pt x="30" y="480"/>
                </a:lnTo>
                <a:lnTo>
                  <a:pt x="30" y="483"/>
                </a:lnTo>
                <a:lnTo>
                  <a:pt x="30" y="483"/>
                </a:lnTo>
                <a:lnTo>
                  <a:pt x="32" y="485"/>
                </a:lnTo>
                <a:lnTo>
                  <a:pt x="32" y="485"/>
                </a:lnTo>
                <a:lnTo>
                  <a:pt x="35" y="485"/>
                </a:lnTo>
                <a:lnTo>
                  <a:pt x="35" y="485"/>
                </a:lnTo>
                <a:lnTo>
                  <a:pt x="37" y="487"/>
                </a:lnTo>
                <a:lnTo>
                  <a:pt x="37" y="487"/>
                </a:lnTo>
                <a:lnTo>
                  <a:pt x="37" y="490"/>
                </a:lnTo>
                <a:lnTo>
                  <a:pt x="37" y="490"/>
                </a:lnTo>
                <a:lnTo>
                  <a:pt x="40" y="490"/>
                </a:lnTo>
                <a:lnTo>
                  <a:pt x="40" y="490"/>
                </a:lnTo>
                <a:lnTo>
                  <a:pt x="40" y="490"/>
                </a:lnTo>
                <a:lnTo>
                  <a:pt x="40" y="495"/>
                </a:lnTo>
                <a:lnTo>
                  <a:pt x="40" y="495"/>
                </a:lnTo>
                <a:lnTo>
                  <a:pt x="37" y="500"/>
                </a:lnTo>
                <a:lnTo>
                  <a:pt x="37" y="500"/>
                </a:lnTo>
                <a:lnTo>
                  <a:pt x="35" y="502"/>
                </a:lnTo>
                <a:lnTo>
                  <a:pt x="35" y="502"/>
                </a:lnTo>
                <a:lnTo>
                  <a:pt x="32" y="502"/>
                </a:lnTo>
                <a:lnTo>
                  <a:pt x="32" y="502"/>
                </a:lnTo>
                <a:lnTo>
                  <a:pt x="32" y="505"/>
                </a:lnTo>
                <a:lnTo>
                  <a:pt x="32" y="505"/>
                </a:lnTo>
                <a:lnTo>
                  <a:pt x="32" y="507"/>
                </a:lnTo>
                <a:lnTo>
                  <a:pt x="32" y="507"/>
                </a:lnTo>
                <a:lnTo>
                  <a:pt x="32" y="510"/>
                </a:lnTo>
                <a:lnTo>
                  <a:pt x="32" y="510"/>
                </a:lnTo>
                <a:lnTo>
                  <a:pt x="32" y="512"/>
                </a:lnTo>
                <a:lnTo>
                  <a:pt x="32" y="512"/>
                </a:lnTo>
                <a:lnTo>
                  <a:pt x="35" y="512"/>
                </a:lnTo>
                <a:lnTo>
                  <a:pt x="35" y="512"/>
                </a:lnTo>
                <a:lnTo>
                  <a:pt x="32" y="515"/>
                </a:lnTo>
                <a:lnTo>
                  <a:pt x="32" y="515"/>
                </a:lnTo>
                <a:lnTo>
                  <a:pt x="30" y="519"/>
                </a:lnTo>
                <a:lnTo>
                  <a:pt x="30" y="519"/>
                </a:lnTo>
                <a:lnTo>
                  <a:pt x="30" y="524"/>
                </a:lnTo>
                <a:lnTo>
                  <a:pt x="30" y="524"/>
                </a:lnTo>
                <a:lnTo>
                  <a:pt x="32" y="524"/>
                </a:lnTo>
                <a:lnTo>
                  <a:pt x="32" y="524"/>
                </a:lnTo>
                <a:lnTo>
                  <a:pt x="30" y="527"/>
                </a:lnTo>
                <a:lnTo>
                  <a:pt x="30" y="527"/>
                </a:lnTo>
                <a:lnTo>
                  <a:pt x="30" y="532"/>
                </a:lnTo>
                <a:lnTo>
                  <a:pt x="30" y="532"/>
                </a:lnTo>
                <a:lnTo>
                  <a:pt x="27" y="532"/>
                </a:lnTo>
                <a:lnTo>
                  <a:pt x="27" y="532"/>
                </a:lnTo>
                <a:lnTo>
                  <a:pt x="27" y="537"/>
                </a:lnTo>
                <a:lnTo>
                  <a:pt x="27" y="537"/>
                </a:lnTo>
                <a:lnTo>
                  <a:pt x="27" y="534"/>
                </a:lnTo>
                <a:lnTo>
                  <a:pt x="27" y="534"/>
                </a:lnTo>
                <a:lnTo>
                  <a:pt x="27" y="532"/>
                </a:lnTo>
                <a:lnTo>
                  <a:pt x="27" y="532"/>
                </a:lnTo>
                <a:lnTo>
                  <a:pt x="27" y="527"/>
                </a:lnTo>
                <a:lnTo>
                  <a:pt x="27" y="527"/>
                </a:lnTo>
                <a:lnTo>
                  <a:pt x="27" y="524"/>
                </a:lnTo>
                <a:lnTo>
                  <a:pt x="27" y="524"/>
                </a:lnTo>
                <a:lnTo>
                  <a:pt x="27" y="524"/>
                </a:lnTo>
                <a:lnTo>
                  <a:pt x="27" y="522"/>
                </a:lnTo>
                <a:lnTo>
                  <a:pt x="27" y="522"/>
                </a:lnTo>
                <a:lnTo>
                  <a:pt x="22" y="524"/>
                </a:lnTo>
                <a:lnTo>
                  <a:pt x="22" y="524"/>
                </a:lnTo>
                <a:lnTo>
                  <a:pt x="20" y="527"/>
                </a:lnTo>
                <a:lnTo>
                  <a:pt x="20" y="527"/>
                </a:lnTo>
                <a:lnTo>
                  <a:pt x="17" y="527"/>
                </a:lnTo>
                <a:lnTo>
                  <a:pt x="17" y="527"/>
                </a:lnTo>
                <a:lnTo>
                  <a:pt x="20" y="524"/>
                </a:lnTo>
                <a:lnTo>
                  <a:pt x="20" y="524"/>
                </a:lnTo>
                <a:lnTo>
                  <a:pt x="22" y="524"/>
                </a:lnTo>
                <a:lnTo>
                  <a:pt x="22" y="524"/>
                </a:lnTo>
                <a:lnTo>
                  <a:pt x="22" y="522"/>
                </a:lnTo>
                <a:lnTo>
                  <a:pt x="22" y="522"/>
                </a:lnTo>
                <a:lnTo>
                  <a:pt x="22" y="517"/>
                </a:lnTo>
                <a:lnTo>
                  <a:pt x="22" y="517"/>
                </a:lnTo>
                <a:lnTo>
                  <a:pt x="22" y="517"/>
                </a:lnTo>
                <a:lnTo>
                  <a:pt x="20" y="519"/>
                </a:lnTo>
                <a:lnTo>
                  <a:pt x="20" y="519"/>
                </a:lnTo>
                <a:lnTo>
                  <a:pt x="13" y="519"/>
                </a:lnTo>
                <a:lnTo>
                  <a:pt x="13" y="519"/>
                </a:lnTo>
                <a:lnTo>
                  <a:pt x="13" y="517"/>
                </a:lnTo>
                <a:lnTo>
                  <a:pt x="13" y="517"/>
                </a:lnTo>
                <a:lnTo>
                  <a:pt x="10" y="519"/>
                </a:lnTo>
                <a:lnTo>
                  <a:pt x="10" y="519"/>
                </a:lnTo>
                <a:lnTo>
                  <a:pt x="10" y="519"/>
                </a:lnTo>
                <a:lnTo>
                  <a:pt x="10" y="524"/>
                </a:lnTo>
                <a:lnTo>
                  <a:pt x="10" y="524"/>
                </a:lnTo>
                <a:lnTo>
                  <a:pt x="13" y="524"/>
                </a:lnTo>
                <a:lnTo>
                  <a:pt x="13" y="524"/>
                </a:lnTo>
                <a:lnTo>
                  <a:pt x="13" y="527"/>
                </a:lnTo>
                <a:lnTo>
                  <a:pt x="13" y="527"/>
                </a:lnTo>
                <a:lnTo>
                  <a:pt x="10" y="527"/>
                </a:lnTo>
                <a:lnTo>
                  <a:pt x="10" y="527"/>
                </a:lnTo>
                <a:lnTo>
                  <a:pt x="10" y="529"/>
                </a:lnTo>
                <a:lnTo>
                  <a:pt x="10" y="529"/>
                </a:lnTo>
                <a:lnTo>
                  <a:pt x="8" y="532"/>
                </a:lnTo>
                <a:lnTo>
                  <a:pt x="8" y="532"/>
                </a:lnTo>
                <a:lnTo>
                  <a:pt x="8" y="534"/>
                </a:lnTo>
                <a:lnTo>
                  <a:pt x="8" y="534"/>
                </a:lnTo>
                <a:lnTo>
                  <a:pt x="3" y="537"/>
                </a:lnTo>
                <a:lnTo>
                  <a:pt x="3" y="537"/>
                </a:lnTo>
                <a:lnTo>
                  <a:pt x="3" y="539"/>
                </a:lnTo>
                <a:lnTo>
                  <a:pt x="3" y="539"/>
                </a:lnTo>
                <a:lnTo>
                  <a:pt x="8" y="544"/>
                </a:lnTo>
                <a:lnTo>
                  <a:pt x="8" y="544"/>
                </a:lnTo>
                <a:lnTo>
                  <a:pt x="10" y="544"/>
                </a:lnTo>
                <a:lnTo>
                  <a:pt x="10" y="544"/>
                </a:lnTo>
                <a:lnTo>
                  <a:pt x="10" y="542"/>
                </a:lnTo>
                <a:lnTo>
                  <a:pt x="10" y="542"/>
                </a:lnTo>
                <a:lnTo>
                  <a:pt x="10" y="539"/>
                </a:lnTo>
                <a:lnTo>
                  <a:pt x="10" y="539"/>
                </a:lnTo>
                <a:lnTo>
                  <a:pt x="8" y="539"/>
                </a:lnTo>
                <a:lnTo>
                  <a:pt x="8" y="539"/>
                </a:lnTo>
                <a:lnTo>
                  <a:pt x="8" y="537"/>
                </a:lnTo>
                <a:lnTo>
                  <a:pt x="8" y="537"/>
                </a:lnTo>
                <a:lnTo>
                  <a:pt x="8" y="534"/>
                </a:lnTo>
                <a:lnTo>
                  <a:pt x="8" y="534"/>
                </a:lnTo>
                <a:lnTo>
                  <a:pt x="13" y="534"/>
                </a:lnTo>
                <a:lnTo>
                  <a:pt x="13" y="534"/>
                </a:lnTo>
                <a:lnTo>
                  <a:pt x="13" y="534"/>
                </a:lnTo>
                <a:lnTo>
                  <a:pt x="15" y="537"/>
                </a:lnTo>
                <a:lnTo>
                  <a:pt x="15" y="537"/>
                </a:lnTo>
                <a:lnTo>
                  <a:pt x="17" y="539"/>
                </a:lnTo>
                <a:lnTo>
                  <a:pt x="17" y="539"/>
                </a:lnTo>
                <a:lnTo>
                  <a:pt x="20" y="539"/>
                </a:lnTo>
                <a:lnTo>
                  <a:pt x="20" y="539"/>
                </a:lnTo>
                <a:lnTo>
                  <a:pt x="22" y="537"/>
                </a:lnTo>
                <a:lnTo>
                  <a:pt x="22" y="537"/>
                </a:lnTo>
                <a:lnTo>
                  <a:pt x="25" y="537"/>
                </a:lnTo>
                <a:lnTo>
                  <a:pt x="25" y="537"/>
                </a:lnTo>
                <a:lnTo>
                  <a:pt x="25" y="539"/>
                </a:lnTo>
                <a:lnTo>
                  <a:pt x="25" y="539"/>
                </a:lnTo>
                <a:lnTo>
                  <a:pt x="30" y="542"/>
                </a:lnTo>
                <a:lnTo>
                  <a:pt x="30" y="542"/>
                </a:lnTo>
                <a:lnTo>
                  <a:pt x="30" y="544"/>
                </a:lnTo>
                <a:lnTo>
                  <a:pt x="30" y="544"/>
                </a:lnTo>
                <a:lnTo>
                  <a:pt x="30" y="544"/>
                </a:lnTo>
                <a:lnTo>
                  <a:pt x="27" y="544"/>
                </a:lnTo>
                <a:lnTo>
                  <a:pt x="27" y="544"/>
                </a:lnTo>
                <a:lnTo>
                  <a:pt x="30" y="546"/>
                </a:lnTo>
                <a:lnTo>
                  <a:pt x="30" y="546"/>
                </a:lnTo>
                <a:lnTo>
                  <a:pt x="27" y="549"/>
                </a:lnTo>
                <a:lnTo>
                  <a:pt x="27" y="549"/>
                </a:lnTo>
                <a:lnTo>
                  <a:pt x="27" y="551"/>
                </a:lnTo>
                <a:lnTo>
                  <a:pt x="27" y="551"/>
                </a:lnTo>
                <a:lnTo>
                  <a:pt x="27" y="551"/>
                </a:lnTo>
                <a:lnTo>
                  <a:pt x="30" y="554"/>
                </a:lnTo>
                <a:lnTo>
                  <a:pt x="30" y="554"/>
                </a:lnTo>
                <a:lnTo>
                  <a:pt x="30" y="554"/>
                </a:lnTo>
                <a:lnTo>
                  <a:pt x="27" y="554"/>
                </a:lnTo>
                <a:lnTo>
                  <a:pt x="27" y="554"/>
                </a:lnTo>
                <a:lnTo>
                  <a:pt x="25" y="551"/>
                </a:lnTo>
                <a:lnTo>
                  <a:pt x="25" y="551"/>
                </a:lnTo>
                <a:lnTo>
                  <a:pt x="25" y="551"/>
                </a:lnTo>
                <a:lnTo>
                  <a:pt x="25" y="554"/>
                </a:lnTo>
                <a:lnTo>
                  <a:pt x="25" y="554"/>
                </a:lnTo>
                <a:lnTo>
                  <a:pt x="27" y="556"/>
                </a:lnTo>
                <a:lnTo>
                  <a:pt x="27" y="556"/>
                </a:lnTo>
                <a:lnTo>
                  <a:pt x="27" y="559"/>
                </a:lnTo>
                <a:lnTo>
                  <a:pt x="27" y="559"/>
                </a:lnTo>
                <a:lnTo>
                  <a:pt x="32" y="559"/>
                </a:lnTo>
                <a:lnTo>
                  <a:pt x="32" y="559"/>
                </a:lnTo>
                <a:lnTo>
                  <a:pt x="35" y="559"/>
                </a:lnTo>
                <a:lnTo>
                  <a:pt x="35" y="559"/>
                </a:lnTo>
                <a:lnTo>
                  <a:pt x="37" y="559"/>
                </a:lnTo>
                <a:lnTo>
                  <a:pt x="37" y="559"/>
                </a:lnTo>
                <a:lnTo>
                  <a:pt x="40" y="559"/>
                </a:lnTo>
                <a:lnTo>
                  <a:pt x="40" y="559"/>
                </a:lnTo>
                <a:lnTo>
                  <a:pt x="42" y="559"/>
                </a:lnTo>
                <a:lnTo>
                  <a:pt x="42" y="559"/>
                </a:lnTo>
                <a:lnTo>
                  <a:pt x="40" y="561"/>
                </a:lnTo>
                <a:lnTo>
                  <a:pt x="40" y="561"/>
                </a:lnTo>
                <a:lnTo>
                  <a:pt x="42" y="561"/>
                </a:lnTo>
                <a:lnTo>
                  <a:pt x="42" y="561"/>
                </a:lnTo>
                <a:lnTo>
                  <a:pt x="40" y="561"/>
                </a:lnTo>
                <a:lnTo>
                  <a:pt x="40" y="561"/>
                </a:lnTo>
                <a:lnTo>
                  <a:pt x="37" y="561"/>
                </a:lnTo>
                <a:lnTo>
                  <a:pt x="37" y="561"/>
                </a:lnTo>
                <a:lnTo>
                  <a:pt x="37" y="564"/>
                </a:lnTo>
                <a:lnTo>
                  <a:pt x="37" y="564"/>
                </a:lnTo>
                <a:lnTo>
                  <a:pt x="35" y="561"/>
                </a:lnTo>
                <a:lnTo>
                  <a:pt x="35" y="561"/>
                </a:lnTo>
                <a:lnTo>
                  <a:pt x="30" y="564"/>
                </a:lnTo>
                <a:lnTo>
                  <a:pt x="30" y="564"/>
                </a:lnTo>
                <a:lnTo>
                  <a:pt x="27" y="564"/>
                </a:lnTo>
                <a:lnTo>
                  <a:pt x="27" y="564"/>
                </a:lnTo>
                <a:lnTo>
                  <a:pt x="30" y="566"/>
                </a:lnTo>
                <a:lnTo>
                  <a:pt x="30" y="566"/>
                </a:lnTo>
                <a:lnTo>
                  <a:pt x="32" y="569"/>
                </a:lnTo>
                <a:lnTo>
                  <a:pt x="32" y="569"/>
                </a:lnTo>
                <a:lnTo>
                  <a:pt x="32" y="571"/>
                </a:lnTo>
                <a:lnTo>
                  <a:pt x="32" y="571"/>
                </a:lnTo>
                <a:lnTo>
                  <a:pt x="35" y="571"/>
                </a:lnTo>
                <a:lnTo>
                  <a:pt x="35" y="571"/>
                </a:lnTo>
                <a:lnTo>
                  <a:pt x="37" y="571"/>
                </a:lnTo>
                <a:lnTo>
                  <a:pt x="37" y="571"/>
                </a:lnTo>
                <a:lnTo>
                  <a:pt x="37" y="571"/>
                </a:lnTo>
                <a:lnTo>
                  <a:pt x="35" y="574"/>
                </a:lnTo>
                <a:lnTo>
                  <a:pt x="35" y="574"/>
                </a:lnTo>
                <a:lnTo>
                  <a:pt x="35" y="576"/>
                </a:lnTo>
                <a:lnTo>
                  <a:pt x="35" y="576"/>
                </a:lnTo>
                <a:lnTo>
                  <a:pt x="35" y="576"/>
                </a:lnTo>
                <a:lnTo>
                  <a:pt x="35" y="578"/>
                </a:lnTo>
                <a:lnTo>
                  <a:pt x="35" y="578"/>
                </a:lnTo>
                <a:lnTo>
                  <a:pt x="32" y="578"/>
                </a:lnTo>
                <a:lnTo>
                  <a:pt x="32" y="578"/>
                </a:lnTo>
                <a:lnTo>
                  <a:pt x="32" y="581"/>
                </a:lnTo>
                <a:lnTo>
                  <a:pt x="32" y="581"/>
                </a:lnTo>
                <a:lnTo>
                  <a:pt x="35" y="588"/>
                </a:lnTo>
                <a:lnTo>
                  <a:pt x="35" y="588"/>
                </a:lnTo>
                <a:lnTo>
                  <a:pt x="37" y="591"/>
                </a:lnTo>
                <a:lnTo>
                  <a:pt x="37" y="591"/>
                </a:lnTo>
                <a:lnTo>
                  <a:pt x="35" y="593"/>
                </a:lnTo>
                <a:lnTo>
                  <a:pt x="35" y="593"/>
                </a:lnTo>
                <a:lnTo>
                  <a:pt x="37" y="598"/>
                </a:lnTo>
                <a:lnTo>
                  <a:pt x="37" y="598"/>
                </a:lnTo>
                <a:lnTo>
                  <a:pt x="40" y="598"/>
                </a:lnTo>
                <a:lnTo>
                  <a:pt x="40" y="598"/>
                </a:lnTo>
                <a:lnTo>
                  <a:pt x="40" y="593"/>
                </a:lnTo>
                <a:lnTo>
                  <a:pt x="40" y="593"/>
                </a:lnTo>
                <a:lnTo>
                  <a:pt x="42" y="588"/>
                </a:lnTo>
                <a:lnTo>
                  <a:pt x="42" y="588"/>
                </a:lnTo>
                <a:lnTo>
                  <a:pt x="45" y="586"/>
                </a:lnTo>
                <a:lnTo>
                  <a:pt x="45" y="586"/>
                </a:lnTo>
                <a:lnTo>
                  <a:pt x="45" y="586"/>
                </a:lnTo>
                <a:lnTo>
                  <a:pt x="42" y="588"/>
                </a:lnTo>
                <a:lnTo>
                  <a:pt x="42" y="588"/>
                </a:lnTo>
                <a:lnTo>
                  <a:pt x="42" y="593"/>
                </a:lnTo>
                <a:lnTo>
                  <a:pt x="42" y="593"/>
                </a:lnTo>
                <a:lnTo>
                  <a:pt x="42" y="596"/>
                </a:lnTo>
                <a:lnTo>
                  <a:pt x="42" y="596"/>
                </a:lnTo>
                <a:lnTo>
                  <a:pt x="45" y="596"/>
                </a:lnTo>
                <a:lnTo>
                  <a:pt x="45" y="596"/>
                </a:lnTo>
                <a:lnTo>
                  <a:pt x="47" y="596"/>
                </a:lnTo>
                <a:lnTo>
                  <a:pt x="47" y="596"/>
                </a:lnTo>
                <a:lnTo>
                  <a:pt x="45" y="598"/>
                </a:lnTo>
                <a:lnTo>
                  <a:pt x="45" y="598"/>
                </a:lnTo>
                <a:lnTo>
                  <a:pt x="42" y="598"/>
                </a:lnTo>
                <a:lnTo>
                  <a:pt x="42" y="598"/>
                </a:lnTo>
                <a:lnTo>
                  <a:pt x="40" y="601"/>
                </a:lnTo>
                <a:lnTo>
                  <a:pt x="40" y="601"/>
                </a:lnTo>
                <a:lnTo>
                  <a:pt x="40" y="603"/>
                </a:lnTo>
                <a:lnTo>
                  <a:pt x="40" y="603"/>
                </a:lnTo>
                <a:lnTo>
                  <a:pt x="40" y="606"/>
                </a:lnTo>
                <a:lnTo>
                  <a:pt x="40" y="606"/>
                </a:lnTo>
                <a:lnTo>
                  <a:pt x="40" y="608"/>
                </a:lnTo>
                <a:lnTo>
                  <a:pt x="40" y="608"/>
                </a:lnTo>
                <a:lnTo>
                  <a:pt x="37" y="608"/>
                </a:lnTo>
                <a:lnTo>
                  <a:pt x="37" y="608"/>
                </a:lnTo>
                <a:lnTo>
                  <a:pt x="35" y="610"/>
                </a:lnTo>
                <a:lnTo>
                  <a:pt x="35" y="610"/>
                </a:lnTo>
                <a:lnTo>
                  <a:pt x="37" y="613"/>
                </a:lnTo>
                <a:lnTo>
                  <a:pt x="37" y="613"/>
                </a:lnTo>
                <a:lnTo>
                  <a:pt x="40" y="618"/>
                </a:lnTo>
                <a:lnTo>
                  <a:pt x="40" y="618"/>
                </a:lnTo>
                <a:lnTo>
                  <a:pt x="47" y="618"/>
                </a:lnTo>
                <a:lnTo>
                  <a:pt x="47" y="618"/>
                </a:lnTo>
                <a:lnTo>
                  <a:pt x="49" y="620"/>
                </a:lnTo>
                <a:lnTo>
                  <a:pt x="49" y="620"/>
                </a:lnTo>
                <a:lnTo>
                  <a:pt x="47" y="620"/>
                </a:lnTo>
                <a:lnTo>
                  <a:pt x="47" y="620"/>
                </a:lnTo>
                <a:lnTo>
                  <a:pt x="47" y="620"/>
                </a:lnTo>
                <a:lnTo>
                  <a:pt x="47" y="625"/>
                </a:lnTo>
                <a:lnTo>
                  <a:pt x="47" y="625"/>
                </a:lnTo>
                <a:lnTo>
                  <a:pt x="49" y="625"/>
                </a:lnTo>
                <a:lnTo>
                  <a:pt x="49" y="625"/>
                </a:lnTo>
                <a:lnTo>
                  <a:pt x="52" y="623"/>
                </a:lnTo>
                <a:lnTo>
                  <a:pt x="52" y="623"/>
                </a:lnTo>
                <a:lnTo>
                  <a:pt x="52" y="625"/>
                </a:lnTo>
                <a:lnTo>
                  <a:pt x="52" y="625"/>
                </a:lnTo>
                <a:lnTo>
                  <a:pt x="49" y="628"/>
                </a:lnTo>
                <a:lnTo>
                  <a:pt x="49" y="628"/>
                </a:lnTo>
                <a:lnTo>
                  <a:pt x="47" y="628"/>
                </a:lnTo>
                <a:lnTo>
                  <a:pt x="47" y="628"/>
                </a:lnTo>
                <a:lnTo>
                  <a:pt x="47" y="630"/>
                </a:lnTo>
                <a:lnTo>
                  <a:pt x="47" y="630"/>
                </a:lnTo>
                <a:lnTo>
                  <a:pt x="47" y="633"/>
                </a:lnTo>
                <a:lnTo>
                  <a:pt x="47" y="633"/>
                </a:lnTo>
                <a:lnTo>
                  <a:pt x="49" y="633"/>
                </a:lnTo>
                <a:lnTo>
                  <a:pt x="49" y="633"/>
                </a:lnTo>
                <a:lnTo>
                  <a:pt x="49" y="633"/>
                </a:lnTo>
                <a:lnTo>
                  <a:pt x="52" y="635"/>
                </a:lnTo>
                <a:lnTo>
                  <a:pt x="52" y="635"/>
                </a:lnTo>
                <a:lnTo>
                  <a:pt x="54" y="635"/>
                </a:lnTo>
                <a:lnTo>
                  <a:pt x="54" y="635"/>
                </a:lnTo>
                <a:lnTo>
                  <a:pt x="54" y="635"/>
                </a:lnTo>
                <a:lnTo>
                  <a:pt x="54" y="637"/>
                </a:lnTo>
                <a:lnTo>
                  <a:pt x="54" y="637"/>
                </a:lnTo>
                <a:lnTo>
                  <a:pt x="57" y="640"/>
                </a:lnTo>
                <a:lnTo>
                  <a:pt x="57" y="640"/>
                </a:lnTo>
                <a:lnTo>
                  <a:pt x="54" y="640"/>
                </a:lnTo>
                <a:lnTo>
                  <a:pt x="54" y="640"/>
                </a:lnTo>
                <a:lnTo>
                  <a:pt x="54" y="640"/>
                </a:lnTo>
                <a:lnTo>
                  <a:pt x="52" y="640"/>
                </a:lnTo>
                <a:lnTo>
                  <a:pt x="52" y="640"/>
                </a:lnTo>
                <a:lnTo>
                  <a:pt x="52" y="640"/>
                </a:lnTo>
                <a:lnTo>
                  <a:pt x="54" y="645"/>
                </a:lnTo>
                <a:lnTo>
                  <a:pt x="54" y="645"/>
                </a:lnTo>
                <a:lnTo>
                  <a:pt x="54" y="645"/>
                </a:lnTo>
                <a:lnTo>
                  <a:pt x="57" y="647"/>
                </a:lnTo>
                <a:lnTo>
                  <a:pt x="57" y="647"/>
                </a:lnTo>
                <a:lnTo>
                  <a:pt x="57" y="650"/>
                </a:lnTo>
                <a:lnTo>
                  <a:pt x="57" y="650"/>
                </a:lnTo>
                <a:lnTo>
                  <a:pt x="59" y="652"/>
                </a:lnTo>
                <a:lnTo>
                  <a:pt x="59" y="652"/>
                </a:lnTo>
                <a:lnTo>
                  <a:pt x="62" y="652"/>
                </a:lnTo>
                <a:lnTo>
                  <a:pt x="62" y="652"/>
                </a:lnTo>
                <a:lnTo>
                  <a:pt x="62" y="647"/>
                </a:lnTo>
                <a:lnTo>
                  <a:pt x="62" y="647"/>
                </a:lnTo>
                <a:lnTo>
                  <a:pt x="62" y="645"/>
                </a:lnTo>
                <a:lnTo>
                  <a:pt x="62" y="645"/>
                </a:lnTo>
                <a:lnTo>
                  <a:pt x="62" y="645"/>
                </a:lnTo>
                <a:lnTo>
                  <a:pt x="64" y="645"/>
                </a:lnTo>
                <a:lnTo>
                  <a:pt x="64" y="645"/>
                </a:lnTo>
                <a:lnTo>
                  <a:pt x="64" y="647"/>
                </a:lnTo>
                <a:lnTo>
                  <a:pt x="64" y="647"/>
                </a:lnTo>
                <a:lnTo>
                  <a:pt x="64" y="650"/>
                </a:lnTo>
                <a:lnTo>
                  <a:pt x="64" y="650"/>
                </a:lnTo>
                <a:lnTo>
                  <a:pt x="67" y="647"/>
                </a:lnTo>
                <a:lnTo>
                  <a:pt x="67" y="647"/>
                </a:lnTo>
                <a:lnTo>
                  <a:pt x="69" y="645"/>
                </a:lnTo>
                <a:lnTo>
                  <a:pt x="69" y="645"/>
                </a:lnTo>
                <a:lnTo>
                  <a:pt x="69" y="642"/>
                </a:lnTo>
                <a:lnTo>
                  <a:pt x="69" y="642"/>
                </a:lnTo>
                <a:lnTo>
                  <a:pt x="67" y="642"/>
                </a:lnTo>
                <a:lnTo>
                  <a:pt x="67" y="642"/>
                </a:lnTo>
                <a:lnTo>
                  <a:pt x="62" y="642"/>
                </a:lnTo>
                <a:lnTo>
                  <a:pt x="62" y="642"/>
                </a:lnTo>
                <a:lnTo>
                  <a:pt x="62" y="640"/>
                </a:lnTo>
                <a:lnTo>
                  <a:pt x="62" y="640"/>
                </a:lnTo>
                <a:lnTo>
                  <a:pt x="64" y="640"/>
                </a:lnTo>
                <a:lnTo>
                  <a:pt x="64" y="640"/>
                </a:lnTo>
                <a:lnTo>
                  <a:pt x="69" y="642"/>
                </a:lnTo>
                <a:lnTo>
                  <a:pt x="69" y="642"/>
                </a:lnTo>
                <a:lnTo>
                  <a:pt x="72" y="642"/>
                </a:lnTo>
                <a:lnTo>
                  <a:pt x="72" y="642"/>
                </a:lnTo>
                <a:lnTo>
                  <a:pt x="74" y="645"/>
                </a:lnTo>
                <a:lnTo>
                  <a:pt x="74" y="645"/>
                </a:lnTo>
                <a:lnTo>
                  <a:pt x="74" y="640"/>
                </a:lnTo>
                <a:lnTo>
                  <a:pt x="74" y="640"/>
                </a:lnTo>
                <a:lnTo>
                  <a:pt x="69" y="640"/>
                </a:lnTo>
                <a:lnTo>
                  <a:pt x="69" y="640"/>
                </a:lnTo>
                <a:lnTo>
                  <a:pt x="64" y="640"/>
                </a:lnTo>
                <a:lnTo>
                  <a:pt x="64" y="640"/>
                </a:lnTo>
                <a:lnTo>
                  <a:pt x="64" y="637"/>
                </a:lnTo>
                <a:lnTo>
                  <a:pt x="64" y="637"/>
                </a:lnTo>
                <a:lnTo>
                  <a:pt x="67" y="637"/>
                </a:lnTo>
                <a:lnTo>
                  <a:pt x="67" y="637"/>
                </a:lnTo>
                <a:lnTo>
                  <a:pt x="72" y="640"/>
                </a:lnTo>
                <a:lnTo>
                  <a:pt x="72" y="640"/>
                </a:lnTo>
                <a:lnTo>
                  <a:pt x="77" y="642"/>
                </a:lnTo>
                <a:lnTo>
                  <a:pt x="77" y="642"/>
                </a:lnTo>
                <a:lnTo>
                  <a:pt x="77" y="645"/>
                </a:lnTo>
                <a:lnTo>
                  <a:pt x="77" y="645"/>
                </a:lnTo>
                <a:lnTo>
                  <a:pt x="74" y="647"/>
                </a:lnTo>
                <a:lnTo>
                  <a:pt x="74" y="647"/>
                </a:lnTo>
                <a:lnTo>
                  <a:pt x="74" y="650"/>
                </a:lnTo>
                <a:lnTo>
                  <a:pt x="74" y="650"/>
                </a:lnTo>
                <a:lnTo>
                  <a:pt x="77" y="655"/>
                </a:lnTo>
                <a:lnTo>
                  <a:pt x="77" y="655"/>
                </a:lnTo>
                <a:lnTo>
                  <a:pt x="77" y="657"/>
                </a:lnTo>
                <a:lnTo>
                  <a:pt x="77" y="657"/>
                </a:lnTo>
                <a:lnTo>
                  <a:pt x="74" y="657"/>
                </a:lnTo>
                <a:lnTo>
                  <a:pt x="74" y="657"/>
                </a:lnTo>
                <a:lnTo>
                  <a:pt x="74" y="655"/>
                </a:lnTo>
                <a:lnTo>
                  <a:pt x="74" y="655"/>
                </a:lnTo>
                <a:lnTo>
                  <a:pt x="72" y="650"/>
                </a:lnTo>
                <a:lnTo>
                  <a:pt x="72" y="650"/>
                </a:lnTo>
                <a:lnTo>
                  <a:pt x="72" y="647"/>
                </a:lnTo>
                <a:lnTo>
                  <a:pt x="72" y="647"/>
                </a:lnTo>
                <a:lnTo>
                  <a:pt x="69" y="650"/>
                </a:lnTo>
                <a:lnTo>
                  <a:pt x="69" y="650"/>
                </a:lnTo>
                <a:lnTo>
                  <a:pt x="69" y="652"/>
                </a:lnTo>
                <a:lnTo>
                  <a:pt x="69" y="652"/>
                </a:lnTo>
                <a:lnTo>
                  <a:pt x="72" y="655"/>
                </a:lnTo>
                <a:lnTo>
                  <a:pt x="72" y="655"/>
                </a:lnTo>
                <a:lnTo>
                  <a:pt x="69" y="657"/>
                </a:lnTo>
                <a:lnTo>
                  <a:pt x="69" y="657"/>
                </a:lnTo>
                <a:lnTo>
                  <a:pt x="69" y="655"/>
                </a:lnTo>
                <a:lnTo>
                  <a:pt x="69" y="655"/>
                </a:lnTo>
                <a:lnTo>
                  <a:pt x="67" y="652"/>
                </a:lnTo>
                <a:lnTo>
                  <a:pt x="67" y="652"/>
                </a:lnTo>
                <a:lnTo>
                  <a:pt x="67" y="652"/>
                </a:lnTo>
                <a:lnTo>
                  <a:pt x="64" y="655"/>
                </a:lnTo>
                <a:lnTo>
                  <a:pt x="64" y="655"/>
                </a:lnTo>
                <a:lnTo>
                  <a:pt x="59" y="655"/>
                </a:lnTo>
                <a:lnTo>
                  <a:pt x="59" y="655"/>
                </a:lnTo>
                <a:lnTo>
                  <a:pt x="57" y="655"/>
                </a:lnTo>
                <a:lnTo>
                  <a:pt x="57" y="655"/>
                </a:lnTo>
                <a:lnTo>
                  <a:pt x="59" y="657"/>
                </a:lnTo>
                <a:lnTo>
                  <a:pt x="59" y="657"/>
                </a:lnTo>
                <a:lnTo>
                  <a:pt x="59" y="662"/>
                </a:lnTo>
                <a:lnTo>
                  <a:pt x="59" y="662"/>
                </a:lnTo>
                <a:lnTo>
                  <a:pt x="62" y="662"/>
                </a:lnTo>
                <a:lnTo>
                  <a:pt x="62" y="662"/>
                </a:lnTo>
                <a:lnTo>
                  <a:pt x="62" y="665"/>
                </a:lnTo>
                <a:lnTo>
                  <a:pt x="62" y="665"/>
                </a:lnTo>
                <a:lnTo>
                  <a:pt x="62" y="667"/>
                </a:lnTo>
                <a:lnTo>
                  <a:pt x="62" y="667"/>
                </a:lnTo>
                <a:lnTo>
                  <a:pt x="62" y="667"/>
                </a:lnTo>
                <a:lnTo>
                  <a:pt x="64" y="667"/>
                </a:lnTo>
                <a:lnTo>
                  <a:pt x="64" y="667"/>
                </a:lnTo>
                <a:lnTo>
                  <a:pt x="64" y="665"/>
                </a:lnTo>
                <a:lnTo>
                  <a:pt x="64" y="665"/>
                </a:lnTo>
                <a:lnTo>
                  <a:pt x="67" y="667"/>
                </a:lnTo>
                <a:lnTo>
                  <a:pt x="67" y="667"/>
                </a:lnTo>
                <a:lnTo>
                  <a:pt x="69" y="667"/>
                </a:lnTo>
                <a:lnTo>
                  <a:pt x="69" y="667"/>
                </a:lnTo>
                <a:lnTo>
                  <a:pt x="69" y="669"/>
                </a:lnTo>
                <a:lnTo>
                  <a:pt x="69" y="669"/>
                </a:lnTo>
                <a:lnTo>
                  <a:pt x="67" y="669"/>
                </a:lnTo>
                <a:lnTo>
                  <a:pt x="67" y="669"/>
                </a:lnTo>
                <a:lnTo>
                  <a:pt x="64" y="672"/>
                </a:lnTo>
                <a:lnTo>
                  <a:pt x="64" y="672"/>
                </a:lnTo>
                <a:lnTo>
                  <a:pt x="64" y="672"/>
                </a:lnTo>
                <a:lnTo>
                  <a:pt x="69" y="672"/>
                </a:lnTo>
                <a:lnTo>
                  <a:pt x="69" y="672"/>
                </a:lnTo>
                <a:lnTo>
                  <a:pt x="72" y="674"/>
                </a:lnTo>
                <a:lnTo>
                  <a:pt x="72" y="674"/>
                </a:lnTo>
                <a:lnTo>
                  <a:pt x="74" y="674"/>
                </a:lnTo>
                <a:lnTo>
                  <a:pt x="74" y="674"/>
                </a:lnTo>
                <a:lnTo>
                  <a:pt x="77" y="672"/>
                </a:lnTo>
                <a:lnTo>
                  <a:pt x="77" y="672"/>
                </a:lnTo>
                <a:lnTo>
                  <a:pt x="74" y="669"/>
                </a:lnTo>
                <a:lnTo>
                  <a:pt x="74" y="669"/>
                </a:lnTo>
                <a:lnTo>
                  <a:pt x="74" y="667"/>
                </a:lnTo>
                <a:lnTo>
                  <a:pt x="74" y="667"/>
                </a:lnTo>
                <a:lnTo>
                  <a:pt x="74" y="665"/>
                </a:lnTo>
                <a:lnTo>
                  <a:pt x="74" y="665"/>
                </a:lnTo>
                <a:lnTo>
                  <a:pt x="74" y="665"/>
                </a:lnTo>
                <a:lnTo>
                  <a:pt x="72" y="665"/>
                </a:lnTo>
                <a:lnTo>
                  <a:pt x="72" y="665"/>
                </a:lnTo>
                <a:lnTo>
                  <a:pt x="72" y="665"/>
                </a:lnTo>
                <a:lnTo>
                  <a:pt x="74" y="662"/>
                </a:lnTo>
                <a:lnTo>
                  <a:pt x="74" y="662"/>
                </a:lnTo>
                <a:lnTo>
                  <a:pt x="74" y="662"/>
                </a:lnTo>
                <a:lnTo>
                  <a:pt x="74" y="660"/>
                </a:lnTo>
                <a:lnTo>
                  <a:pt x="74" y="660"/>
                </a:lnTo>
                <a:lnTo>
                  <a:pt x="79" y="662"/>
                </a:lnTo>
                <a:lnTo>
                  <a:pt x="79" y="662"/>
                </a:lnTo>
                <a:lnTo>
                  <a:pt x="79" y="662"/>
                </a:lnTo>
                <a:lnTo>
                  <a:pt x="79" y="662"/>
                </a:lnTo>
                <a:lnTo>
                  <a:pt x="81" y="662"/>
                </a:lnTo>
                <a:lnTo>
                  <a:pt x="81" y="662"/>
                </a:lnTo>
                <a:lnTo>
                  <a:pt x="81" y="662"/>
                </a:lnTo>
                <a:lnTo>
                  <a:pt x="86" y="662"/>
                </a:lnTo>
                <a:lnTo>
                  <a:pt x="86" y="662"/>
                </a:lnTo>
                <a:lnTo>
                  <a:pt x="89" y="662"/>
                </a:lnTo>
                <a:lnTo>
                  <a:pt x="89" y="662"/>
                </a:lnTo>
                <a:lnTo>
                  <a:pt x="91" y="662"/>
                </a:lnTo>
                <a:lnTo>
                  <a:pt x="91" y="662"/>
                </a:lnTo>
                <a:lnTo>
                  <a:pt x="94" y="662"/>
                </a:lnTo>
                <a:lnTo>
                  <a:pt x="94" y="662"/>
                </a:lnTo>
                <a:lnTo>
                  <a:pt x="94" y="662"/>
                </a:lnTo>
                <a:lnTo>
                  <a:pt x="91" y="665"/>
                </a:lnTo>
                <a:lnTo>
                  <a:pt x="91" y="665"/>
                </a:lnTo>
                <a:lnTo>
                  <a:pt x="91" y="665"/>
                </a:lnTo>
                <a:lnTo>
                  <a:pt x="89" y="665"/>
                </a:lnTo>
                <a:lnTo>
                  <a:pt x="89" y="665"/>
                </a:lnTo>
                <a:lnTo>
                  <a:pt x="86" y="665"/>
                </a:lnTo>
                <a:lnTo>
                  <a:pt x="86" y="665"/>
                </a:lnTo>
                <a:lnTo>
                  <a:pt x="86" y="665"/>
                </a:lnTo>
                <a:lnTo>
                  <a:pt x="81" y="669"/>
                </a:lnTo>
                <a:lnTo>
                  <a:pt x="81" y="669"/>
                </a:lnTo>
                <a:lnTo>
                  <a:pt x="79" y="669"/>
                </a:lnTo>
                <a:lnTo>
                  <a:pt x="79" y="669"/>
                </a:lnTo>
                <a:lnTo>
                  <a:pt x="79" y="669"/>
                </a:lnTo>
                <a:lnTo>
                  <a:pt x="77" y="669"/>
                </a:lnTo>
                <a:lnTo>
                  <a:pt x="77" y="669"/>
                </a:lnTo>
                <a:lnTo>
                  <a:pt x="77" y="672"/>
                </a:lnTo>
                <a:lnTo>
                  <a:pt x="77" y="672"/>
                </a:lnTo>
                <a:lnTo>
                  <a:pt x="77" y="674"/>
                </a:lnTo>
                <a:lnTo>
                  <a:pt x="77" y="674"/>
                </a:lnTo>
                <a:lnTo>
                  <a:pt x="74" y="674"/>
                </a:lnTo>
                <a:lnTo>
                  <a:pt x="74" y="674"/>
                </a:lnTo>
                <a:lnTo>
                  <a:pt x="74" y="677"/>
                </a:lnTo>
                <a:lnTo>
                  <a:pt x="74" y="677"/>
                </a:lnTo>
                <a:lnTo>
                  <a:pt x="77" y="677"/>
                </a:lnTo>
                <a:lnTo>
                  <a:pt x="77" y="677"/>
                </a:lnTo>
                <a:lnTo>
                  <a:pt x="74" y="679"/>
                </a:lnTo>
                <a:lnTo>
                  <a:pt x="74" y="679"/>
                </a:lnTo>
                <a:lnTo>
                  <a:pt x="74" y="679"/>
                </a:lnTo>
                <a:lnTo>
                  <a:pt x="79" y="682"/>
                </a:lnTo>
                <a:lnTo>
                  <a:pt x="79" y="682"/>
                </a:lnTo>
                <a:lnTo>
                  <a:pt x="84" y="684"/>
                </a:lnTo>
                <a:lnTo>
                  <a:pt x="84" y="684"/>
                </a:lnTo>
                <a:lnTo>
                  <a:pt x="84" y="684"/>
                </a:lnTo>
                <a:lnTo>
                  <a:pt x="84" y="684"/>
                </a:lnTo>
                <a:lnTo>
                  <a:pt x="84" y="682"/>
                </a:lnTo>
                <a:lnTo>
                  <a:pt x="84" y="682"/>
                </a:lnTo>
                <a:lnTo>
                  <a:pt x="86" y="679"/>
                </a:lnTo>
                <a:lnTo>
                  <a:pt x="86" y="679"/>
                </a:lnTo>
                <a:lnTo>
                  <a:pt x="86" y="679"/>
                </a:lnTo>
                <a:lnTo>
                  <a:pt x="89" y="677"/>
                </a:lnTo>
                <a:lnTo>
                  <a:pt x="89" y="677"/>
                </a:lnTo>
                <a:lnTo>
                  <a:pt x="86" y="674"/>
                </a:lnTo>
                <a:lnTo>
                  <a:pt x="86" y="674"/>
                </a:lnTo>
                <a:lnTo>
                  <a:pt x="89" y="674"/>
                </a:lnTo>
                <a:lnTo>
                  <a:pt x="89" y="674"/>
                </a:lnTo>
                <a:lnTo>
                  <a:pt x="91" y="672"/>
                </a:lnTo>
                <a:lnTo>
                  <a:pt x="91" y="672"/>
                </a:lnTo>
                <a:lnTo>
                  <a:pt x="94" y="667"/>
                </a:lnTo>
                <a:lnTo>
                  <a:pt x="94" y="667"/>
                </a:lnTo>
                <a:lnTo>
                  <a:pt x="96" y="667"/>
                </a:lnTo>
                <a:lnTo>
                  <a:pt x="96" y="667"/>
                </a:lnTo>
                <a:lnTo>
                  <a:pt x="96" y="667"/>
                </a:lnTo>
                <a:lnTo>
                  <a:pt x="99" y="667"/>
                </a:lnTo>
                <a:lnTo>
                  <a:pt x="99" y="667"/>
                </a:lnTo>
                <a:lnTo>
                  <a:pt x="101" y="667"/>
                </a:lnTo>
                <a:lnTo>
                  <a:pt x="101" y="667"/>
                </a:lnTo>
                <a:lnTo>
                  <a:pt x="101" y="669"/>
                </a:lnTo>
                <a:lnTo>
                  <a:pt x="101" y="669"/>
                </a:lnTo>
                <a:lnTo>
                  <a:pt x="99" y="669"/>
                </a:lnTo>
                <a:lnTo>
                  <a:pt x="99" y="669"/>
                </a:lnTo>
                <a:lnTo>
                  <a:pt x="99" y="672"/>
                </a:lnTo>
                <a:lnTo>
                  <a:pt x="99" y="672"/>
                </a:lnTo>
                <a:lnTo>
                  <a:pt x="96" y="674"/>
                </a:lnTo>
                <a:lnTo>
                  <a:pt x="96" y="674"/>
                </a:lnTo>
                <a:lnTo>
                  <a:pt x="94" y="677"/>
                </a:lnTo>
                <a:lnTo>
                  <a:pt x="94" y="677"/>
                </a:lnTo>
                <a:lnTo>
                  <a:pt x="94" y="679"/>
                </a:lnTo>
                <a:lnTo>
                  <a:pt x="94" y="679"/>
                </a:lnTo>
                <a:lnTo>
                  <a:pt x="96" y="682"/>
                </a:lnTo>
                <a:lnTo>
                  <a:pt x="96" y="682"/>
                </a:lnTo>
                <a:lnTo>
                  <a:pt x="94" y="684"/>
                </a:lnTo>
                <a:lnTo>
                  <a:pt x="94" y="684"/>
                </a:lnTo>
                <a:lnTo>
                  <a:pt x="91" y="684"/>
                </a:lnTo>
                <a:lnTo>
                  <a:pt x="91" y="684"/>
                </a:lnTo>
                <a:lnTo>
                  <a:pt x="91" y="684"/>
                </a:lnTo>
                <a:lnTo>
                  <a:pt x="94" y="682"/>
                </a:lnTo>
                <a:lnTo>
                  <a:pt x="94" y="682"/>
                </a:lnTo>
                <a:lnTo>
                  <a:pt x="94" y="679"/>
                </a:lnTo>
                <a:lnTo>
                  <a:pt x="94" y="679"/>
                </a:lnTo>
                <a:lnTo>
                  <a:pt x="91" y="679"/>
                </a:lnTo>
                <a:lnTo>
                  <a:pt x="91" y="679"/>
                </a:lnTo>
                <a:lnTo>
                  <a:pt x="91" y="679"/>
                </a:lnTo>
                <a:lnTo>
                  <a:pt x="89" y="682"/>
                </a:lnTo>
                <a:lnTo>
                  <a:pt x="89" y="682"/>
                </a:lnTo>
                <a:lnTo>
                  <a:pt x="89" y="682"/>
                </a:lnTo>
                <a:lnTo>
                  <a:pt x="86" y="682"/>
                </a:lnTo>
                <a:lnTo>
                  <a:pt x="86" y="682"/>
                </a:lnTo>
                <a:lnTo>
                  <a:pt x="86" y="682"/>
                </a:lnTo>
                <a:lnTo>
                  <a:pt x="86" y="684"/>
                </a:lnTo>
                <a:lnTo>
                  <a:pt x="86" y="684"/>
                </a:lnTo>
                <a:lnTo>
                  <a:pt x="91" y="689"/>
                </a:lnTo>
                <a:lnTo>
                  <a:pt x="91" y="689"/>
                </a:lnTo>
                <a:lnTo>
                  <a:pt x="96" y="692"/>
                </a:lnTo>
                <a:lnTo>
                  <a:pt x="96" y="692"/>
                </a:lnTo>
                <a:lnTo>
                  <a:pt x="99" y="692"/>
                </a:lnTo>
                <a:lnTo>
                  <a:pt x="99" y="692"/>
                </a:lnTo>
                <a:lnTo>
                  <a:pt x="101" y="692"/>
                </a:lnTo>
                <a:lnTo>
                  <a:pt x="101" y="692"/>
                </a:lnTo>
                <a:lnTo>
                  <a:pt x="104" y="694"/>
                </a:lnTo>
                <a:lnTo>
                  <a:pt x="104" y="694"/>
                </a:lnTo>
                <a:lnTo>
                  <a:pt x="106" y="692"/>
                </a:lnTo>
                <a:lnTo>
                  <a:pt x="106" y="692"/>
                </a:lnTo>
                <a:lnTo>
                  <a:pt x="106" y="689"/>
                </a:lnTo>
                <a:lnTo>
                  <a:pt x="106" y="689"/>
                </a:lnTo>
                <a:lnTo>
                  <a:pt x="106" y="684"/>
                </a:lnTo>
                <a:lnTo>
                  <a:pt x="106" y="684"/>
                </a:lnTo>
                <a:lnTo>
                  <a:pt x="106" y="682"/>
                </a:lnTo>
                <a:lnTo>
                  <a:pt x="106" y="682"/>
                </a:lnTo>
                <a:lnTo>
                  <a:pt x="106" y="679"/>
                </a:lnTo>
                <a:lnTo>
                  <a:pt x="106" y="679"/>
                </a:lnTo>
                <a:lnTo>
                  <a:pt x="106" y="674"/>
                </a:lnTo>
                <a:lnTo>
                  <a:pt x="106" y="674"/>
                </a:lnTo>
                <a:lnTo>
                  <a:pt x="106" y="669"/>
                </a:lnTo>
                <a:lnTo>
                  <a:pt x="106" y="669"/>
                </a:lnTo>
                <a:lnTo>
                  <a:pt x="106" y="667"/>
                </a:lnTo>
                <a:lnTo>
                  <a:pt x="106" y="667"/>
                </a:lnTo>
                <a:lnTo>
                  <a:pt x="106" y="665"/>
                </a:lnTo>
                <a:lnTo>
                  <a:pt x="106" y="665"/>
                </a:lnTo>
                <a:lnTo>
                  <a:pt x="109" y="662"/>
                </a:lnTo>
                <a:lnTo>
                  <a:pt x="109" y="662"/>
                </a:lnTo>
                <a:lnTo>
                  <a:pt x="113" y="660"/>
                </a:lnTo>
                <a:lnTo>
                  <a:pt x="113" y="660"/>
                </a:lnTo>
                <a:lnTo>
                  <a:pt x="116" y="657"/>
                </a:lnTo>
                <a:lnTo>
                  <a:pt x="116" y="657"/>
                </a:lnTo>
                <a:lnTo>
                  <a:pt x="118" y="657"/>
                </a:lnTo>
                <a:lnTo>
                  <a:pt x="118" y="657"/>
                </a:lnTo>
                <a:lnTo>
                  <a:pt x="121" y="657"/>
                </a:lnTo>
                <a:lnTo>
                  <a:pt x="121" y="657"/>
                </a:lnTo>
                <a:lnTo>
                  <a:pt x="118" y="652"/>
                </a:lnTo>
                <a:lnTo>
                  <a:pt x="118" y="652"/>
                </a:lnTo>
                <a:lnTo>
                  <a:pt x="121" y="652"/>
                </a:lnTo>
                <a:lnTo>
                  <a:pt x="121" y="652"/>
                </a:lnTo>
                <a:lnTo>
                  <a:pt x="126" y="650"/>
                </a:lnTo>
                <a:lnTo>
                  <a:pt x="126" y="650"/>
                </a:lnTo>
                <a:lnTo>
                  <a:pt x="128" y="652"/>
                </a:lnTo>
                <a:lnTo>
                  <a:pt x="128" y="652"/>
                </a:lnTo>
                <a:lnTo>
                  <a:pt x="131" y="652"/>
                </a:lnTo>
                <a:lnTo>
                  <a:pt x="131" y="652"/>
                </a:lnTo>
                <a:lnTo>
                  <a:pt x="131" y="652"/>
                </a:lnTo>
                <a:close/>
                <a:moveTo>
                  <a:pt x="163" y="733"/>
                </a:moveTo>
                <a:lnTo>
                  <a:pt x="163" y="733"/>
                </a:lnTo>
                <a:lnTo>
                  <a:pt x="163" y="736"/>
                </a:lnTo>
                <a:lnTo>
                  <a:pt x="163" y="736"/>
                </a:lnTo>
                <a:lnTo>
                  <a:pt x="165" y="733"/>
                </a:lnTo>
                <a:lnTo>
                  <a:pt x="165" y="733"/>
                </a:lnTo>
                <a:lnTo>
                  <a:pt x="163" y="733"/>
                </a:lnTo>
                <a:lnTo>
                  <a:pt x="163" y="733"/>
                </a:lnTo>
                <a:lnTo>
                  <a:pt x="163" y="733"/>
                </a:lnTo>
                <a:close/>
                <a:moveTo>
                  <a:pt x="22" y="453"/>
                </a:moveTo>
                <a:lnTo>
                  <a:pt x="22" y="453"/>
                </a:lnTo>
                <a:lnTo>
                  <a:pt x="20" y="453"/>
                </a:lnTo>
                <a:lnTo>
                  <a:pt x="20" y="453"/>
                </a:lnTo>
                <a:lnTo>
                  <a:pt x="17" y="453"/>
                </a:lnTo>
                <a:lnTo>
                  <a:pt x="17" y="453"/>
                </a:lnTo>
                <a:lnTo>
                  <a:pt x="17" y="453"/>
                </a:lnTo>
                <a:lnTo>
                  <a:pt x="20" y="458"/>
                </a:lnTo>
                <a:lnTo>
                  <a:pt x="20" y="458"/>
                </a:lnTo>
                <a:lnTo>
                  <a:pt x="20" y="458"/>
                </a:lnTo>
                <a:lnTo>
                  <a:pt x="22" y="463"/>
                </a:lnTo>
                <a:lnTo>
                  <a:pt x="22" y="463"/>
                </a:lnTo>
                <a:lnTo>
                  <a:pt x="22" y="463"/>
                </a:lnTo>
                <a:lnTo>
                  <a:pt x="20" y="460"/>
                </a:lnTo>
                <a:lnTo>
                  <a:pt x="20" y="460"/>
                </a:lnTo>
                <a:lnTo>
                  <a:pt x="17" y="463"/>
                </a:lnTo>
                <a:lnTo>
                  <a:pt x="17" y="463"/>
                </a:lnTo>
                <a:lnTo>
                  <a:pt x="17" y="468"/>
                </a:lnTo>
                <a:lnTo>
                  <a:pt x="17" y="468"/>
                </a:lnTo>
                <a:lnTo>
                  <a:pt x="17" y="468"/>
                </a:lnTo>
                <a:lnTo>
                  <a:pt x="13" y="468"/>
                </a:lnTo>
                <a:lnTo>
                  <a:pt x="13" y="468"/>
                </a:lnTo>
                <a:lnTo>
                  <a:pt x="10" y="468"/>
                </a:lnTo>
                <a:lnTo>
                  <a:pt x="10" y="468"/>
                </a:lnTo>
                <a:lnTo>
                  <a:pt x="10" y="463"/>
                </a:lnTo>
                <a:lnTo>
                  <a:pt x="10" y="463"/>
                </a:lnTo>
                <a:lnTo>
                  <a:pt x="10" y="453"/>
                </a:lnTo>
                <a:lnTo>
                  <a:pt x="10" y="453"/>
                </a:lnTo>
                <a:lnTo>
                  <a:pt x="10" y="451"/>
                </a:lnTo>
                <a:lnTo>
                  <a:pt x="10" y="451"/>
                </a:lnTo>
                <a:lnTo>
                  <a:pt x="8" y="451"/>
                </a:lnTo>
                <a:lnTo>
                  <a:pt x="8" y="451"/>
                </a:lnTo>
                <a:lnTo>
                  <a:pt x="8" y="448"/>
                </a:lnTo>
                <a:lnTo>
                  <a:pt x="8" y="448"/>
                </a:lnTo>
                <a:lnTo>
                  <a:pt x="8" y="446"/>
                </a:lnTo>
                <a:lnTo>
                  <a:pt x="8" y="446"/>
                </a:lnTo>
                <a:lnTo>
                  <a:pt x="10" y="443"/>
                </a:lnTo>
                <a:lnTo>
                  <a:pt x="10" y="443"/>
                </a:lnTo>
                <a:lnTo>
                  <a:pt x="10" y="441"/>
                </a:lnTo>
                <a:lnTo>
                  <a:pt x="10" y="441"/>
                </a:lnTo>
                <a:lnTo>
                  <a:pt x="10" y="441"/>
                </a:lnTo>
                <a:lnTo>
                  <a:pt x="10" y="438"/>
                </a:lnTo>
                <a:lnTo>
                  <a:pt x="10" y="438"/>
                </a:lnTo>
                <a:lnTo>
                  <a:pt x="13" y="436"/>
                </a:lnTo>
                <a:lnTo>
                  <a:pt x="13" y="436"/>
                </a:lnTo>
                <a:lnTo>
                  <a:pt x="15" y="436"/>
                </a:lnTo>
                <a:lnTo>
                  <a:pt x="15" y="436"/>
                </a:lnTo>
                <a:lnTo>
                  <a:pt x="17" y="438"/>
                </a:lnTo>
                <a:lnTo>
                  <a:pt x="17" y="438"/>
                </a:lnTo>
                <a:lnTo>
                  <a:pt x="20" y="441"/>
                </a:lnTo>
                <a:lnTo>
                  <a:pt x="20" y="441"/>
                </a:lnTo>
                <a:lnTo>
                  <a:pt x="20" y="446"/>
                </a:lnTo>
                <a:lnTo>
                  <a:pt x="20" y="446"/>
                </a:lnTo>
                <a:lnTo>
                  <a:pt x="20" y="446"/>
                </a:lnTo>
                <a:lnTo>
                  <a:pt x="20" y="451"/>
                </a:lnTo>
                <a:lnTo>
                  <a:pt x="20" y="451"/>
                </a:lnTo>
                <a:lnTo>
                  <a:pt x="17" y="448"/>
                </a:lnTo>
                <a:lnTo>
                  <a:pt x="17" y="448"/>
                </a:lnTo>
                <a:lnTo>
                  <a:pt x="20" y="451"/>
                </a:lnTo>
                <a:lnTo>
                  <a:pt x="20" y="451"/>
                </a:lnTo>
                <a:lnTo>
                  <a:pt x="22" y="453"/>
                </a:lnTo>
                <a:lnTo>
                  <a:pt x="22" y="453"/>
                </a:lnTo>
                <a:lnTo>
                  <a:pt x="22" y="453"/>
                </a:lnTo>
                <a:close/>
                <a:moveTo>
                  <a:pt x="25" y="446"/>
                </a:moveTo>
                <a:lnTo>
                  <a:pt x="25" y="446"/>
                </a:lnTo>
                <a:lnTo>
                  <a:pt x="27" y="446"/>
                </a:lnTo>
                <a:lnTo>
                  <a:pt x="27" y="446"/>
                </a:lnTo>
                <a:lnTo>
                  <a:pt x="27" y="446"/>
                </a:lnTo>
                <a:lnTo>
                  <a:pt x="27" y="448"/>
                </a:lnTo>
                <a:lnTo>
                  <a:pt x="27" y="448"/>
                </a:lnTo>
                <a:lnTo>
                  <a:pt x="25" y="446"/>
                </a:lnTo>
                <a:lnTo>
                  <a:pt x="25" y="446"/>
                </a:lnTo>
                <a:close/>
                <a:moveTo>
                  <a:pt x="5" y="475"/>
                </a:moveTo>
                <a:lnTo>
                  <a:pt x="5" y="475"/>
                </a:lnTo>
                <a:lnTo>
                  <a:pt x="8" y="473"/>
                </a:lnTo>
                <a:lnTo>
                  <a:pt x="8" y="473"/>
                </a:lnTo>
                <a:lnTo>
                  <a:pt x="10" y="473"/>
                </a:lnTo>
                <a:lnTo>
                  <a:pt x="10" y="473"/>
                </a:lnTo>
                <a:lnTo>
                  <a:pt x="13" y="475"/>
                </a:lnTo>
                <a:lnTo>
                  <a:pt x="13" y="475"/>
                </a:lnTo>
                <a:lnTo>
                  <a:pt x="8" y="478"/>
                </a:lnTo>
                <a:lnTo>
                  <a:pt x="8" y="478"/>
                </a:lnTo>
                <a:lnTo>
                  <a:pt x="5" y="475"/>
                </a:lnTo>
                <a:lnTo>
                  <a:pt x="5" y="475"/>
                </a:lnTo>
                <a:close/>
                <a:moveTo>
                  <a:pt x="27" y="478"/>
                </a:moveTo>
                <a:lnTo>
                  <a:pt x="27" y="478"/>
                </a:lnTo>
                <a:lnTo>
                  <a:pt x="30" y="478"/>
                </a:lnTo>
                <a:lnTo>
                  <a:pt x="30" y="478"/>
                </a:lnTo>
                <a:lnTo>
                  <a:pt x="30" y="478"/>
                </a:lnTo>
                <a:lnTo>
                  <a:pt x="27" y="480"/>
                </a:lnTo>
                <a:lnTo>
                  <a:pt x="27" y="480"/>
                </a:lnTo>
                <a:lnTo>
                  <a:pt x="27" y="478"/>
                </a:lnTo>
                <a:lnTo>
                  <a:pt x="27" y="478"/>
                </a:lnTo>
                <a:close/>
                <a:moveTo>
                  <a:pt x="22" y="478"/>
                </a:moveTo>
                <a:lnTo>
                  <a:pt x="22" y="478"/>
                </a:lnTo>
                <a:lnTo>
                  <a:pt x="25" y="478"/>
                </a:lnTo>
                <a:lnTo>
                  <a:pt x="25" y="478"/>
                </a:lnTo>
                <a:lnTo>
                  <a:pt x="25" y="483"/>
                </a:lnTo>
                <a:lnTo>
                  <a:pt x="25" y="483"/>
                </a:lnTo>
                <a:lnTo>
                  <a:pt x="22" y="483"/>
                </a:lnTo>
                <a:lnTo>
                  <a:pt x="22" y="483"/>
                </a:lnTo>
                <a:lnTo>
                  <a:pt x="22" y="480"/>
                </a:lnTo>
                <a:lnTo>
                  <a:pt x="22" y="480"/>
                </a:lnTo>
                <a:lnTo>
                  <a:pt x="20" y="480"/>
                </a:lnTo>
                <a:lnTo>
                  <a:pt x="20" y="480"/>
                </a:lnTo>
                <a:lnTo>
                  <a:pt x="22" y="478"/>
                </a:lnTo>
                <a:lnTo>
                  <a:pt x="22" y="478"/>
                </a:lnTo>
                <a:close/>
                <a:moveTo>
                  <a:pt x="15" y="478"/>
                </a:moveTo>
                <a:lnTo>
                  <a:pt x="15" y="478"/>
                </a:lnTo>
                <a:lnTo>
                  <a:pt x="17" y="475"/>
                </a:lnTo>
                <a:lnTo>
                  <a:pt x="17" y="475"/>
                </a:lnTo>
                <a:lnTo>
                  <a:pt x="20" y="478"/>
                </a:lnTo>
                <a:lnTo>
                  <a:pt x="20" y="478"/>
                </a:lnTo>
                <a:lnTo>
                  <a:pt x="17" y="478"/>
                </a:lnTo>
                <a:lnTo>
                  <a:pt x="17" y="478"/>
                </a:lnTo>
                <a:lnTo>
                  <a:pt x="15" y="478"/>
                </a:lnTo>
                <a:lnTo>
                  <a:pt x="15" y="478"/>
                </a:lnTo>
                <a:close/>
                <a:moveTo>
                  <a:pt x="17" y="483"/>
                </a:moveTo>
                <a:lnTo>
                  <a:pt x="17" y="483"/>
                </a:lnTo>
                <a:lnTo>
                  <a:pt x="17" y="483"/>
                </a:lnTo>
                <a:lnTo>
                  <a:pt x="20" y="483"/>
                </a:lnTo>
                <a:lnTo>
                  <a:pt x="20" y="483"/>
                </a:lnTo>
                <a:lnTo>
                  <a:pt x="17" y="485"/>
                </a:lnTo>
                <a:lnTo>
                  <a:pt x="17" y="485"/>
                </a:lnTo>
                <a:lnTo>
                  <a:pt x="17" y="483"/>
                </a:lnTo>
                <a:lnTo>
                  <a:pt x="17" y="483"/>
                </a:lnTo>
                <a:close/>
                <a:moveTo>
                  <a:pt x="13" y="487"/>
                </a:moveTo>
                <a:lnTo>
                  <a:pt x="13" y="487"/>
                </a:lnTo>
                <a:lnTo>
                  <a:pt x="15" y="485"/>
                </a:lnTo>
                <a:lnTo>
                  <a:pt x="15" y="485"/>
                </a:lnTo>
                <a:lnTo>
                  <a:pt x="15" y="485"/>
                </a:lnTo>
                <a:lnTo>
                  <a:pt x="17" y="487"/>
                </a:lnTo>
                <a:lnTo>
                  <a:pt x="17" y="487"/>
                </a:lnTo>
                <a:lnTo>
                  <a:pt x="17" y="487"/>
                </a:lnTo>
                <a:lnTo>
                  <a:pt x="15" y="487"/>
                </a:lnTo>
                <a:lnTo>
                  <a:pt x="15" y="487"/>
                </a:lnTo>
                <a:lnTo>
                  <a:pt x="13" y="487"/>
                </a:lnTo>
                <a:lnTo>
                  <a:pt x="13" y="487"/>
                </a:lnTo>
                <a:lnTo>
                  <a:pt x="13" y="487"/>
                </a:lnTo>
                <a:close/>
                <a:moveTo>
                  <a:pt x="10" y="492"/>
                </a:moveTo>
                <a:lnTo>
                  <a:pt x="10" y="492"/>
                </a:lnTo>
                <a:lnTo>
                  <a:pt x="13" y="492"/>
                </a:lnTo>
                <a:lnTo>
                  <a:pt x="13" y="492"/>
                </a:lnTo>
                <a:lnTo>
                  <a:pt x="10" y="495"/>
                </a:lnTo>
                <a:lnTo>
                  <a:pt x="10" y="495"/>
                </a:lnTo>
                <a:lnTo>
                  <a:pt x="8" y="495"/>
                </a:lnTo>
                <a:lnTo>
                  <a:pt x="8" y="495"/>
                </a:lnTo>
                <a:lnTo>
                  <a:pt x="10" y="492"/>
                </a:lnTo>
                <a:lnTo>
                  <a:pt x="10" y="492"/>
                </a:lnTo>
                <a:close/>
                <a:moveTo>
                  <a:pt x="25" y="490"/>
                </a:moveTo>
                <a:lnTo>
                  <a:pt x="25" y="490"/>
                </a:lnTo>
                <a:lnTo>
                  <a:pt x="25" y="495"/>
                </a:lnTo>
                <a:lnTo>
                  <a:pt x="25" y="495"/>
                </a:lnTo>
                <a:lnTo>
                  <a:pt x="25" y="495"/>
                </a:lnTo>
                <a:lnTo>
                  <a:pt x="25" y="490"/>
                </a:lnTo>
                <a:lnTo>
                  <a:pt x="25" y="490"/>
                </a:lnTo>
                <a:close/>
                <a:moveTo>
                  <a:pt x="20" y="490"/>
                </a:moveTo>
                <a:lnTo>
                  <a:pt x="20" y="490"/>
                </a:lnTo>
                <a:lnTo>
                  <a:pt x="22" y="487"/>
                </a:lnTo>
                <a:lnTo>
                  <a:pt x="22" y="487"/>
                </a:lnTo>
                <a:lnTo>
                  <a:pt x="22" y="492"/>
                </a:lnTo>
                <a:lnTo>
                  <a:pt x="22" y="492"/>
                </a:lnTo>
                <a:lnTo>
                  <a:pt x="20" y="490"/>
                </a:lnTo>
                <a:lnTo>
                  <a:pt x="20" y="490"/>
                </a:lnTo>
                <a:close/>
                <a:moveTo>
                  <a:pt x="13" y="515"/>
                </a:moveTo>
                <a:lnTo>
                  <a:pt x="13" y="515"/>
                </a:lnTo>
                <a:lnTo>
                  <a:pt x="15" y="515"/>
                </a:lnTo>
                <a:lnTo>
                  <a:pt x="15" y="515"/>
                </a:lnTo>
                <a:lnTo>
                  <a:pt x="15" y="517"/>
                </a:lnTo>
                <a:lnTo>
                  <a:pt x="15" y="517"/>
                </a:lnTo>
                <a:lnTo>
                  <a:pt x="13" y="517"/>
                </a:lnTo>
                <a:lnTo>
                  <a:pt x="13" y="517"/>
                </a:lnTo>
                <a:lnTo>
                  <a:pt x="13" y="515"/>
                </a:lnTo>
                <a:lnTo>
                  <a:pt x="13" y="515"/>
                </a:lnTo>
                <a:close/>
                <a:moveTo>
                  <a:pt x="13" y="495"/>
                </a:moveTo>
                <a:lnTo>
                  <a:pt x="13" y="495"/>
                </a:lnTo>
                <a:lnTo>
                  <a:pt x="13" y="492"/>
                </a:lnTo>
                <a:lnTo>
                  <a:pt x="13" y="492"/>
                </a:lnTo>
                <a:lnTo>
                  <a:pt x="13" y="490"/>
                </a:lnTo>
                <a:lnTo>
                  <a:pt x="13" y="490"/>
                </a:lnTo>
                <a:lnTo>
                  <a:pt x="15" y="490"/>
                </a:lnTo>
                <a:lnTo>
                  <a:pt x="15" y="490"/>
                </a:lnTo>
                <a:lnTo>
                  <a:pt x="17" y="492"/>
                </a:lnTo>
                <a:lnTo>
                  <a:pt x="17" y="492"/>
                </a:lnTo>
                <a:lnTo>
                  <a:pt x="15" y="492"/>
                </a:lnTo>
                <a:lnTo>
                  <a:pt x="15" y="492"/>
                </a:lnTo>
                <a:lnTo>
                  <a:pt x="13" y="495"/>
                </a:lnTo>
                <a:lnTo>
                  <a:pt x="13" y="495"/>
                </a:lnTo>
                <a:close/>
                <a:moveTo>
                  <a:pt x="8" y="500"/>
                </a:moveTo>
                <a:lnTo>
                  <a:pt x="8" y="500"/>
                </a:lnTo>
                <a:lnTo>
                  <a:pt x="3" y="497"/>
                </a:lnTo>
                <a:lnTo>
                  <a:pt x="3" y="497"/>
                </a:lnTo>
                <a:lnTo>
                  <a:pt x="3" y="495"/>
                </a:lnTo>
                <a:lnTo>
                  <a:pt x="3" y="495"/>
                </a:lnTo>
                <a:lnTo>
                  <a:pt x="8" y="495"/>
                </a:lnTo>
                <a:lnTo>
                  <a:pt x="8" y="495"/>
                </a:lnTo>
                <a:lnTo>
                  <a:pt x="8" y="497"/>
                </a:lnTo>
                <a:lnTo>
                  <a:pt x="8" y="497"/>
                </a:lnTo>
                <a:lnTo>
                  <a:pt x="8" y="500"/>
                </a:lnTo>
                <a:lnTo>
                  <a:pt x="8" y="500"/>
                </a:lnTo>
                <a:close/>
                <a:moveTo>
                  <a:pt x="17" y="510"/>
                </a:moveTo>
                <a:lnTo>
                  <a:pt x="17" y="510"/>
                </a:lnTo>
                <a:lnTo>
                  <a:pt x="20" y="510"/>
                </a:lnTo>
                <a:lnTo>
                  <a:pt x="20" y="510"/>
                </a:lnTo>
                <a:lnTo>
                  <a:pt x="20" y="512"/>
                </a:lnTo>
                <a:lnTo>
                  <a:pt x="20" y="512"/>
                </a:lnTo>
                <a:lnTo>
                  <a:pt x="17" y="510"/>
                </a:lnTo>
                <a:lnTo>
                  <a:pt x="17" y="510"/>
                </a:lnTo>
                <a:close/>
                <a:moveTo>
                  <a:pt x="22" y="512"/>
                </a:moveTo>
                <a:lnTo>
                  <a:pt x="22" y="512"/>
                </a:lnTo>
                <a:lnTo>
                  <a:pt x="25" y="512"/>
                </a:lnTo>
                <a:lnTo>
                  <a:pt x="25" y="512"/>
                </a:lnTo>
                <a:lnTo>
                  <a:pt x="22" y="515"/>
                </a:lnTo>
                <a:lnTo>
                  <a:pt x="22" y="515"/>
                </a:lnTo>
                <a:lnTo>
                  <a:pt x="22" y="512"/>
                </a:lnTo>
                <a:lnTo>
                  <a:pt x="22" y="512"/>
                </a:lnTo>
                <a:close/>
                <a:moveTo>
                  <a:pt x="27" y="485"/>
                </a:moveTo>
                <a:lnTo>
                  <a:pt x="27" y="485"/>
                </a:lnTo>
                <a:lnTo>
                  <a:pt x="30" y="485"/>
                </a:lnTo>
                <a:lnTo>
                  <a:pt x="30" y="485"/>
                </a:lnTo>
                <a:lnTo>
                  <a:pt x="32" y="487"/>
                </a:lnTo>
                <a:lnTo>
                  <a:pt x="32" y="487"/>
                </a:lnTo>
                <a:lnTo>
                  <a:pt x="27" y="487"/>
                </a:lnTo>
                <a:lnTo>
                  <a:pt x="27" y="487"/>
                </a:lnTo>
                <a:lnTo>
                  <a:pt x="27" y="485"/>
                </a:lnTo>
                <a:lnTo>
                  <a:pt x="27" y="485"/>
                </a:lnTo>
                <a:close/>
                <a:moveTo>
                  <a:pt x="32" y="487"/>
                </a:moveTo>
                <a:lnTo>
                  <a:pt x="32" y="487"/>
                </a:lnTo>
                <a:lnTo>
                  <a:pt x="35" y="490"/>
                </a:lnTo>
                <a:lnTo>
                  <a:pt x="35" y="490"/>
                </a:lnTo>
                <a:lnTo>
                  <a:pt x="37" y="490"/>
                </a:lnTo>
                <a:lnTo>
                  <a:pt x="37" y="490"/>
                </a:lnTo>
                <a:lnTo>
                  <a:pt x="40" y="495"/>
                </a:lnTo>
                <a:lnTo>
                  <a:pt x="40" y="495"/>
                </a:lnTo>
                <a:lnTo>
                  <a:pt x="37" y="497"/>
                </a:lnTo>
                <a:lnTo>
                  <a:pt x="37" y="497"/>
                </a:lnTo>
                <a:lnTo>
                  <a:pt x="37" y="497"/>
                </a:lnTo>
                <a:lnTo>
                  <a:pt x="35" y="500"/>
                </a:lnTo>
                <a:lnTo>
                  <a:pt x="35" y="500"/>
                </a:lnTo>
                <a:lnTo>
                  <a:pt x="32" y="497"/>
                </a:lnTo>
                <a:lnTo>
                  <a:pt x="32" y="497"/>
                </a:lnTo>
                <a:lnTo>
                  <a:pt x="32" y="497"/>
                </a:lnTo>
                <a:lnTo>
                  <a:pt x="30" y="500"/>
                </a:lnTo>
                <a:lnTo>
                  <a:pt x="30" y="500"/>
                </a:lnTo>
                <a:lnTo>
                  <a:pt x="30" y="497"/>
                </a:lnTo>
                <a:lnTo>
                  <a:pt x="30" y="497"/>
                </a:lnTo>
                <a:lnTo>
                  <a:pt x="27" y="495"/>
                </a:lnTo>
                <a:lnTo>
                  <a:pt x="27" y="495"/>
                </a:lnTo>
                <a:lnTo>
                  <a:pt x="30" y="490"/>
                </a:lnTo>
                <a:lnTo>
                  <a:pt x="30" y="490"/>
                </a:lnTo>
                <a:lnTo>
                  <a:pt x="32" y="487"/>
                </a:lnTo>
                <a:lnTo>
                  <a:pt x="32" y="487"/>
                </a:lnTo>
                <a:close/>
                <a:moveTo>
                  <a:pt x="15" y="497"/>
                </a:moveTo>
                <a:lnTo>
                  <a:pt x="15" y="497"/>
                </a:lnTo>
                <a:lnTo>
                  <a:pt x="17" y="495"/>
                </a:lnTo>
                <a:lnTo>
                  <a:pt x="17" y="495"/>
                </a:lnTo>
                <a:lnTo>
                  <a:pt x="22" y="495"/>
                </a:lnTo>
                <a:lnTo>
                  <a:pt x="22" y="495"/>
                </a:lnTo>
                <a:lnTo>
                  <a:pt x="22" y="497"/>
                </a:lnTo>
                <a:lnTo>
                  <a:pt x="22" y="497"/>
                </a:lnTo>
                <a:lnTo>
                  <a:pt x="17" y="497"/>
                </a:lnTo>
                <a:lnTo>
                  <a:pt x="17" y="497"/>
                </a:lnTo>
                <a:lnTo>
                  <a:pt x="17" y="500"/>
                </a:lnTo>
                <a:lnTo>
                  <a:pt x="15" y="497"/>
                </a:lnTo>
                <a:lnTo>
                  <a:pt x="15" y="497"/>
                </a:lnTo>
                <a:close/>
                <a:moveTo>
                  <a:pt x="20" y="502"/>
                </a:moveTo>
                <a:lnTo>
                  <a:pt x="20" y="502"/>
                </a:lnTo>
                <a:lnTo>
                  <a:pt x="17" y="502"/>
                </a:lnTo>
                <a:lnTo>
                  <a:pt x="17" y="502"/>
                </a:lnTo>
                <a:lnTo>
                  <a:pt x="20" y="500"/>
                </a:lnTo>
                <a:lnTo>
                  <a:pt x="20" y="500"/>
                </a:lnTo>
                <a:lnTo>
                  <a:pt x="22" y="500"/>
                </a:lnTo>
                <a:lnTo>
                  <a:pt x="22" y="500"/>
                </a:lnTo>
                <a:lnTo>
                  <a:pt x="22" y="502"/>
                </a:lnTo>
                <a:lnTo>
                  <a:pt x="22" y="502"/>
                </a:lnTo>
                <a:lnTo>
                  <a:pt x="20" y="502"/>
                </a:lnTo>
                <a:lnTo>
                  <a:pt x="20" y="502"/>
                </a:lnTo>
                <a:close/>
                <a:moveTo>
                  <a:pt x="20" y="505"/>
                </a:moveTo>
                <a:lnTo>
                  <a:pt x="20" y="505"/>
                </a:lnTo>
                <a:lnTo>
                  <a:pt x="22" y="505"/>
                </a:lnTo>
                <a:lnTo>
                  <a:pt x="22" y="505"/>
                </a:lnTo>
                <a:lnTo>
                  <a:pt x="27" y="505"/>
                </a:lnTo>
                <a:lnTo>
                  <a:pt x="27" y="505"/>
                </a:lnTo>
                <a:lnTo>
                  <a:pt x="27" y="510"/>
                </a:lnTo>
                <a:lnTo>
                  <a:pt x="27" y="510"/>
                </a:lnTo>
                <a:lnTo>
                  <a:pt x="25" y="512"/>
                </a:lnTo>
                <a:lnTo>
                  <a:pt x="25" y="512"/>
                </a:lnTo>
                <a:lnTo>
                  <a:pt x="22" y="510"/>
                </a:lnTo>
                <a:lnTo>
                  <a:pt x="22" y="510"/>
                </a:lnTo>
                <a:lnTo>
                  <a:pt x="22" y="507"/>
                </a:lnTo>
                <a:lnTo>
                  <a:pt x="22" y="507"/>
                </a:lnTo>
                <a:lnTo>
                  <a:pt x="20" y="505"/>
                </a:lnTo>
                <a:lnTo>
                  <a:pt x="20" y="505"/>
                </a:lnTo>
                <a:close/>
                <a:moveTo>
                  <a:pt x="15" y="515"/>
                </a:moveTo>
                <a:lnTo>
                  <a:pt x="15" y="515"/>
                </a:lnTo>
                <a:lnTo>
                  <a:pt x="17" y="512"/>
                </a:lnTo>
                <a:lnTo>
                  <a:pt x="17" y="512"/>
                </a:lnTo>
                <a:lnTo>
                  <a:pt x="17" y="512"/>
                </a:lnTo>
                <a:lnTo>
                  <a:pt x="20" y="515"/>
                </a:lnTo>
                <a:lnTo>
                  <a:pt x="20" y="515"/>
                </a:lnTo>
                <a:lnTo>
                  <a:pt x="22" y="517"/>
                </a:lnTo>
                <a:lnTo>
                  <a:pt x="22" y="517"/>
                </a:lnTo>
                <a:lnTo>
                  <a:pt x="20" y="517"/>
                </a:lnTo>
                <a:lnTo>
                  <a:pt x="20" y="517"/>
                </a:lnTo>
                <a:lnTo>
                  <a:pt x="15" y="515"/>
                </a:lnTo>
                <a:lnTo>
                  <a:pt x="15" y="515"/>
                </a:lnTo>
                <a:close/>
                <a:moveTo>
                  <a:pt x="25" y="574"/>
                </a:moveTo>
                <a:lnTo>
                  <a:pt x="25" y="574"/>
                </a:lnTo>
                <a:lnTo>
                  <a:pt x="25" y="571"/>
                </a:lnTo>
                <a:lnTo>
                  <a:pt x="25" y="571"/>
                </a:lnTo>
                <a:lnTo>
                  <a:pt x="25" y="571"/>
                </a:lnTo>
                <a:lnTo>
                  <a:pt x="25" y="571"/>
                </a:lnTo>
                <a:lnTo>
                  <a:pt x="20" y="566"/>
                </a:lnTo>
                <a:lnTo>
                  <a:pt x="20" y="566"/>
                </a:lnTo>
                <a:lnTo>
                  <a:pt x="17" y="564"/>
                </a:lnTo>
                <a:lnTo>
                  <a:pt x="17" y="564"/>
                </a:lnTo>
                <a:lnTo>
                  <a:pt x="17" y="561"/>
                </a:lnTo>
                <a:lnTo>
                  <a:pt x="17" y="561"/>
                </a:lnTo>
                <a:lnTo>
                  <a:pt x="20" y="561"/>
                </a:lnTo>
                <a:lnTo>
                  <a:pt x="20" y="561"/>
                </a:lnTo>
                <a:lnTo>
                  <a:pt x="22" y="561"/>
                </a:lnTo>
                <a:lnTo>
                  <a:pt x="22" y="561"/>
                </a:lnTo>
                <a:lnTo>
                  <a:pt x="25" y="566"/>
                </a:lnTo>
                <a:lnTo>
                  <a:pt x="25" y="566"/>
                </a:lnTo>
                <a:lnTo>
                  <a:pt x="27" y="566"/>
                </a:lnTo>
                <a:lnTo>
                  <a:pt x="27" y="566"/>
                </a:lnTo>
                <a:lnTo>
                  <a:pt x="27" y="569"/>
                </a:lnTo>
                <a:lnTo>
                  <a:pt x="27" y="569"/>
                </a:lnTo>
                <a:lnTo>
                  <a:pt x="30" y="571"/>
                </a:lnTo>
                <a:lnTo>
                  <a:pt x="30" y="571"/>
                </a:lnTo>
                <a:lnTo>
                  <a:pt x="32" y="576"/>
                </a:lnTo>
                <a:lnTo>
                  <a:pt x="32" y="576"/>
                </a:lnTo>
                <a:lnTo>
                  <a:pt x="27" y="576"/>
                </a:lnTo>
                <a:lnTo>
                  <a:pt x="27" y="576"/>
                </a:lnTo>
                <a:lnTo>
                  <a:pt x="25" y="576"/>
                </a:lnTo>
                <a:lnTo>
                  <a:pt x="25" y="576"/>
                </a:lnTo>
                <a:lnTo>
                  <a:pt x="25" y="574"/>
                </a:lnTo>
                <a:lnTo>
                  <a:pt x="25" y="574"/>
                </a:lnTo>
                <a:close/>
                <a:moveTo>
                  <a:pt x="13" y="569"/>
                </a:moveTo>
                <a:lnTo>
                  <a:pt x="13" y="569"/>
                </a:lnTo>
                <a:lnTo>
                  <a:pt x="13" y="566"/>
                </a:lnTo>
                <a:lnTo>
                  <a:pt x="13" y="566"/>
                </a:lnTo>
                <a:lnTo>
                  <a:pt x="13" y="564"/>
                </a:lnTo>
                <a:lnTo>
                  <a:pt x="13" y="564"/>
                </a:lnTo>
                <a:lnTo>
                  <a:pt x="17" y="566"/>
                </a:lnTo>
                <a:lnTo>
                  <a:pt x="17" y="566"/>
                </a:lnTo>
                <a:lnTo>
                  <a:pt x="20" y="571"/>
                </a:lnTo>
                <a:lnTo>
                  <a:pt x="20" y="571"/>
                </a:lnTo>
                <a:lnTo>
                  <a:pt x="22" y="576"/>
                </a:lnTo>
                <a:lnTo>
                  <a:pt x="22" y="576"/>
                </a:lnTo>
                <a:lnTo>
                  <a:pt x="22" y="578"/>
                </a:lnTo>
                <a:lnTo>
                  <a:pt x="22" y="578"/>
                </a:lnTo>
                <a:lnTo>
                  <a:pt x="22" y="581"/>
                </a:lnTo>
                <a:lnTo>
                  <a:pt x="22" y="581"/>
                </a:lnTo>
                <a:lnTo>
                  <a:pt x="20" y="578"/>
                </a:lnTo>
                <a:lnTo>
                  <a:pt x="20" y="578"/>
                </a:lnTo>
                <a:lnTo>
                  <a:pt x="17" y="574"/>
                </a:lnTo>
                <a:lnTo>
                  <a:pt x="17" y="574"/>
                </a:lnTo>
                <a:lnTo>
                  <a:pt x="17" y="574"/>
                </a:lnTo>
                <a:lnTo>
                  <a:pt x="17" y="571"/>
                </a:lnTo>
                <a:lnTo>
                  <a:pt x="17" y="571"/>
                </a:lnTo>
                <a:lnTo>
                  <a:pt x="13" y="571"/>
                </a:lnTo>
                <a:lnTo>
                  <a:pt x="13" y="571"/>
                </a:lnTo>
                <a:lnTo>
                  <a:pt x="13" y="569"/>
                </a:lnTo>
                <a:lnTo>
                  <a:pt x="13" y="569"/>
                </a:lnTo>
                <a:close/>
                <a:moveTo>
                  <a:pt x="13" y="574"/>
                </a:moveTo>
                <a:lnTo>
                  <a:pt x="13" y="574"/>
                </a:lnTo>
                <a:lnTo>
                  <a:pt x="15" y="574"/>
                </a:lnTo>
                <a:lnTo>
                  <a:pt x="15" y="574"/>
                </a:lnTo>
                <a:lnTo>
                  <a:pt x="17" y="574"/>
                </a:lnTo>
                <a:lnTo>
                  <a:pt x="17" y="574"/>
                </a:lnTo>
                <a:lnTo>
                  <a:pt x="17" y="576"/>
                </a:lnTo>
                <a:lnTo>
                  <a:pt x="17" y="576"/>
                </a:lnTo>
                <a:lnTo>
                  <a:pt x="17" y="578"/>
                </a:lnTo>
                <a:lnTo>
                  <a:pt x="17" y="578"/>
                </a:lnTo>
                <a:lnTo>
                  <a:pt x="15" y="578"/>
                </a:lnTo>
                <a:lnTo>
                  <a:pt x="15" y="578"/>
                </a:lnTo>
                <a:lnTo>
                  <a:pt x="15" y="578"/>
                </a:lnTo>
                <a:lnTo>
                  <a:pt x="13" y="576"/>
                </a:lnTo>
                <a:lnTo>
                  <a:pt x="13" y="576"/>
                </a:lnTo>
                <a:lnTo>
                  <a:pt x="13" y="574"/>
                </a:lnTo>
                <a:lnTo>
                  <a:pt x="13" y="574"/>
                </a:lnTo>
                <a:close/>
                <a:moveTo>
                  <a:pt x="20" y="591"/>
                </a:moveTo>
                <a:lnTo>
                  <a:pt x="20" y="591"/>
                </a:lnTo>
                <a:lnTo>
                  <a:pt x="17" y="591"/>
                </a:lnTo>
                <a:lnTo>
                  <a:pt x="17" y="591"/>
                </a:lnTo>
                <a:lnTo>
                  <a:pt x="17" y="588"/>
                </a:lnTo>
                <a:lnTo>
                  <a:pt x="17" y="588"/>
                </a:lnTo>
                <a:lnTo>
                  <a:pt x="17" y="583"/>
                </a:lnTo>
                <a:lnTo>
                  <a:pt x="17" y="583"/>
                </a:lnTo>
                <a:lnTo>
                  <a:pt x="17" y="581"/>
                </a:lnTo>
                <a:lnTo>
                  <a:pt x="17" y="581"/>
                </a:lnTo>
                <a:lnTo>
                  <a:pt x="17" y="583"/>
                </a:lnTo>
                <a:lnTo>
                  <a:pt x="17" y="583"/>
                </a:lnTo>
                <a:lnTo>
                  <a:pt x="22" y="583"/>
                </a:lnTo>
                <a:lnTo>
                  <a:pt x="22" y="583"/>
                </a:lnTo>
                <a:lnTo>
                  <a:pt x="22" y="586"/>
                </a:lnTo>
                <a:lnTo>
                  <a:pt x="22" y="586"/>
                </a:lnTo>
                <a:lnTo>
                  <a:pt x="22" y="586"/>
                </a:lnTo>
                <a:lnTo>
                  <a:pt x="20" y="591"/>
                </a:lnTo>
                <a:lnTo>
                  <a:pt x="20" y="591"/>
                </a:lnTo>
                <a:close/>
                <a:moveTo>
                  <a:pt x="22" y="603"/>
                </a:moveTo>
                <a:lnTo>
                  <a:pt x="22" y="603"/>
                </a:lnTo>
                <a:lnTo>
                  <a:pt x="20" y="603"/>
                </a:lnTo>
                <a:lnTo>
                  <a:pt x="20" y="603"/>
                </a:lnTo>
                <a:lnTo>
                  <a:pt x="20" y="603"/>
                </a:lnTo>
                <a:lnTo>
                  <a:pt x="20" y="601"/>
                </a:lnTo>
                <a:lnTo>
                  <a:pt x="20" y="601"/>
                </a:lnTo>
                <a:lnTo>
                  <a:pt x="17" y="598"/>
                </a:lnTo>
                <a:lnTo>
                  <a:pt x="17" y="598"/>
                </a:lnTo>
                <a:lnTo>
                  <a:pt x="22" y="598"/>
                </a:lnTo>
                <a:lnTo>
                  <a:pt x="22" y="598"/>
                </a:lnTo>
                <a:lnTo>
                  <a:pt x="25" y="601"/>
                </a:lnTo>
                <a:lnTo>
                  <a:pt x="25" y="601"/>
                </a:lnTo>
                <a:lnTo>
                  <a:pt x="22" y="603"/>
                </a:lnTo>
                <a:lnTo>
                  <a:pt x="22" y="603"/>
                </a:lnTo>
                <a:close/>
                <a:moveTo>
                  <a:pt x="30" y="601"/>
                </a:moveTo>
                <a:lnTo>
                  <a:pt x="30" y="601"/>
                </a:lnTo>
                <a:lnTo>
                  <a:pt x="30" y="606"/>
                </a:lnTo>
                <a:lnTo>
                  <a:pt x="30" y="606"/>
                </a:lnTo>
                <a:lnTo>
                  <a:pt x="30" y="606"/>
                </a:lnTo>
                <a:lnTo>
                  <a:pt x="25" y="603"/>
                </a:lnTo>
                <a:lnTo>
                  <a:pt x="25" y="603"/>
                </a:lnTo>
                <a:lnTo>
                  <a:pt x="25" y="601"/>
                </a:lnTo>
                <a:lnTo>
                  <a:pt x="25" y="601"/>
                </a:lnTo>
                <a:lnTo>
                  <a:pt x="22" y="593"/>
                </a:lnTo>
                <a:lnTo>
                  <a:pt x="22" y="593"/>
                </a:lnTo>
                <a:lnTo>
                  <a:pt x="25" y="593"/>
                </a:lnTo>
                <a:lnTo>
                  <a:pt x="25" y="593"/>
                </a:lnTo>
                <a:lnTo>
                  <a:pt x="27" y="591"/>
                </a:lnTo>
                <a:lnTo>
                  <a:pt x="27" y="591"/>
                </a:lnTo>
                <a:lnTo>
                  <a:pt x="27" y="588"/>
                </a:lnTo>
                <a:lnTo>
                  <a:pt x="27" y="588"/>
                </a:lnTo>
                <a:lnTo>
                  <a:pt x="27" y="591"/>
                </a:lnTo>
                <a:lnTo>
                  <a:pt x="27" y="591"/>
                </a:lnTo>
                <a:lnTo>
                  <a:pt x="25" y="591"/>
                </a:lnTo>
                <a:lnTo>
                  <a:pt x="25" y="591"/>
                </a:lnTo>
                <a:lnTo>
                  <a:pt x="25" y="588"/>
                </a:lnTo>
                <a:lnTo>
                  <a:pt x="25" y="588"/>
                </a:lnTo>
                <a:lnTo>
                  <a:pt x="25" y="586"/>
                </a:lnTo>
                <a:lnTo>
                  <a:pt x="25" y="586"/>
                </a:lnTo>
                <a:lnTo>
                  <a:pt x="22" y="583"/>
                </a:lnTo>
                <a:lnTo>
                  <a:pt x="22" y="583"/>
                </a:lnTo>
                <a:lnTo>
                  <a:pt x="22" y="581"/>
                </a:lnTo>
                <a:lnTo>
                  <a:pt x="22" y="581"/>
                </a:lnTo>
                <a:lnTo>
                  <a:pt x="25" y="578"/>
                </a:lnTo>
                <a:lnTo>
                  <a:pt x="25" y="578"/>
                </a:lnTo>
                <a:lnTo>
                  <a:pt x="30" y="578"/>
                </a:lnTo>
                <a:lnTo>
                  <a:pt x="30" y="578"/>
                </a:lnTo>
                <a:lnTo>
                  <a:pt x="32" y="581"/>
                </a:lnTo>
                <a:lnTo>
                  <a:pt x="32" y="581"/>
                </a:lnTo>
                <a:lnTo>
                  <a:pt x="32" y="588"/>
                </a:lnTo>
                <a:lnTo>
                  <a:pt x="32" y="588"/>
                </a:lnTo>
                <a:lnTo>
                  <a:pt x="35" y="591"/>
                </a:lnTo>
                <a:lnTo>
                  <a:pt x="35" y="591"/>
                </a:lnTo>
                <a:lnTo>
                  <a:pt x="35" y="596"/>
                </a:lnTo>
                <a:lnTo>
                  <a:pt x="35" y="596"/>
                </a:lnTo>
                <a:lnTo>
                  <a:pt x="35" y="598"/>
                </a:lnTo>
                <a:lnTo>
                  <a:pt x="35" y="598"/>
                </a:lnTo>
                <a:lnTo>
                  <a:pt x="37" y="603"/>
                </a:lnTo>
                <a:lnTo>
                  <a:pt x="37" y="603"/>
                </a:lnTo>
                <a:lnTo>
                  <a:pt x="37" y="606"/>
                </a:lnTo>
                <a:lnTo>
                  <a:pt x="37" y="606"/>
                </a:lnTo>
                <a:lnTo>
                  <a:pt x="35" y="608"/>
                </a:lnTo>
                <a:lnTo>
                  <a:pt x="35" y="608"/>
                </a:lnTo>
                <a:lnTo>
                  <a:pt x="32" y="608"/>
                </a:lnTo>
                <a:lnTo>
                  <a:pt x="32" y="608"/>
                </a:lnTo>
                <a:lnTo>
                  <a:pt x="32" y="603"/>
                </a:lnTo>
                <a:lnTo>
                  <a:pt x="32" y="603"/>
                </a:lnTo>
                <a:lnTo>
                  <a:pt x="30" y="601"/>
                </a:lnTo>
                <a:lnTo>
                  <a:pt x="30" y="601"/>
                </a:lnTo>
                <a:close/>
                <a:moveTo>
                  <a:pt x="27" y="618"/>
                </a:moveTo>
                <a:lnTo>
                  <a:pt x="27" y="618"/>
                </a:lnTo>
                <a:lnTo>
                  <a:pt x="27" y="615"/>
                </a:lnTo>
                <a:lnTo>
                  <a:pt x="27" y="615"/>
                </a:lnTo>
                <a:lnTo>
                  <a:pt x="25" y="613"/>
                </a:lnTo>
                <a:lnTo>
                  <a:pt x="25" y="613"/>
                </a:lnTo>
                <a:lnTo>
                  <a:pt x="27" y="613"/>
                </a:lnTo>
                <a:lnTo>
                  <a:pt x="27" y="613"/>
                </a:lnTo>
                <a:lnTo>
                  <a:pt x="27" y="610"/>
                </a:lnTo>
                <a:lnTo>
                  <a:pt x="27" y="610"/>
                </a:lnTo>
                <a:lnTo>
                  <a:pt x="27" y="610"/>
                </a:lnTo>
                <a:lnTo>
                  <a:pt x="30" y="610"/>
                </a:lnTo>
                <a:lnTo>
                  <a:pt x="30" y="610"/>
                </a:lnTo>
                <a:lnTo>
                  <a:pt x="32" y="610"/>
                </a:lnTo>
                <a:lnTo>
                  <a:pt x="32" y="610"/>
                </a:lnTo>
                <a:lnTo>
                  <a:pt x="32" y="613"/>
                </a:lnTo>
                <a:lnTo>
                  <a:pt x="32" y="613"/>
                </a:lnTo>
                <a:lnTo>
                  <a:pt x="32" y="615"/>
                </a:lnTo>
                <a:lnTo>
                  <a:pt x="32" y="615"/>
                </a:lnTo>
                <a:lnTo>
                  <a:pt x="30" y="618"/>
                </a:lnTo>
                <a:lnTo>
                  <a:pt x="30" y="618"/>
                </a:lnTo>
                <a:lnTo>
                  <a:pt x="27" y="618"/>
                </a:lnTo>
                <a:lnTo>
                  <a:pt x="27" y="618"/>
                </a:lnTo>
                <a:close/>
                <a:moveTo>
                  <a:pt x="27" y="623"/>
                </a:moveTo>
                <a:lnTo>
                  <a:pt x="27" y="623"/>
                </a:lnTo>
                <a:lnTo>
                  <a:pt x="27" y="620"/>
                </a:lnTo>
                <a:lnTo>
                  <a:pt x="27" y="620"/>
                </a:lnTo>
                <a:lnTo>
                  <a:pt x="30" y="620"/>
                </a:lnTo>
                <a:lnTo>
                  <a:pt x="30" y="620"/>
                </a:lnTo>
                <a:lnTo>
                  <a:pt x="27" y="620"/>
                </a:lnTo>
                <a:lnTo>
                  <a:pt x="27" y="620"/>
                </a:lnTo>
                <a:lnTo>
                  <a:pt x="27" y="623"/>
                </a:lnTo>
                <a:lnTo>
                  <a:pt x="27" y="623"/>
                </a:lnTo>
                <a:close/>
                <a:moveTo>
                  <a:pt x="32" y="620"/>
                </a:moveTo>
                <a:lnTo>
                  <a:pt x="32" y="620"/>
                </a:lnTo>
                <a:lnTo>
                  <a:pt x="35" y="623"/>
                </a:lnTo>
                <a:lnTo>
                  <a:pt x="35" y="623"/>
                </a:lnTo>
                <a:lnTo>
                  <a:pt x="35" y="625"/>
                </a:lnTo>
                <a:lnTo>
                  <a:pt x="35" y="625"/>
                </a:lnTo>
                <a:lnTo>
                  <a:pt x="32" y="625"/>
                </a:lnTo>
                <a:lnTo>
                  <a:pt x="32" y="625"/>
                </a:lnTo>
                <a:lnTo>
                  <a:pt x="32" y="623"/>
                </a:lnTo>
                <a:lnTo>
                  <a:pt x="32" y="623"/>
                </a:lnTo>
                <a:lnTo>
                  <a:pt x="32" y="620"/>
                </a:lnTo>
                <a:lnTo>
                  <a:pt x="32" y="620"/>
                </a:lnTo>
                <a:close/>
                <a:moveTo>
                  <a:pt x="35" y="618"/>
                </a:moveTo>
                <a:lnTo>
                  <a:pt x="35" y="618"/>
                </a:lnTo>
                <a:lnTo>
                  <a:pt x="35" y="618"/>
                </a:lnTo>
                <a:lnTo>
                  <a:pt x="37" y="618"/>
                </a:lnTo>
                <a:lnTo>
                  <a:pt x="37" y="618"/>
                </a:lnTo>
                <a:lnTo>
                  <a:pt x="40" y="618"/>
                </a:lnTo>
                <a:lnTo>
                  <a:pt x="40" y="618"/>
                </a:lnTo>
                <a:lnTo>
                  <a:pt x="40" y="618"/>
                </a:lnTo>
                <a:lnTo>
                  <a:pt x="42" y="623"/>
                </a:lnTo>
                <a:lnTo>
                  <a:pt x="42" y="623"/>
                </a:lnTo>
                <a:lnTo>
                  <a:pt x="45" y="628"/>
                </a:lnTo>
                <a:lnTo>
                  <a:pt x="45" y="628"/>
                </a:lnTo>
                <a:lnTo>
                  <a:pt x="40" y="623"/>
                </a:lnTo>
                <a:lnTo>
                  <a:pt x="40" y="623"/>
                </a:lnTo>
                <a:lnTo>
                  <a:pt x="37" y="623"/>
                </a:lnTo>
                <a:lnTo>
                  <a:pt x="37" y="623"/>
                </a:lnTo>
                <a:lnTo>
                  <a:pt x="35" y="618"/>
                </a:lnTo>
                <a:lnTo>
                  <a:pt x="35" y="618"/>
                </a:lnTo>
                <a:close/>
                <a:moveTo>
                  <a:pt x="35" y="623"/>
                </a:moveTo>
                <a:lnTo>
                  <a:pt x="35" y="623"/>
                </a:lnTo>
                <a:lnTo>
                  <a:pt x="37" y="623"/>
                </a:lnTo>
                <a:lnTo>
                  <a:pt x="37" y="623"/>
                </a:lnTo>
                <a:lnTo>
                  <a:pt x="40" y="625"/>
                </a:lnTo>
                <a:lnTo>
                  <a:pt x="40" y="625"/>
                </a:lnTo>
                <a:lnTo>
                  <a:pt x="42" y="630"/>
                </a:lnTo>
                <a:lnTo>
                  <a:pt x="42" y="630"/>
                </a:lnTo>
                <a:lnTo>
                  <a:pt x="42" y="633"/>
                </a:lnTo>
                <a:lnTo>
                  <a:pt x="42" y="633"/>
                </a:lnTo>
                <a:lnTo>
                  <a:pt x="40" y="633"/>
                </a:lnTo>
                <a:lnTo>
                  <a:pt x="40" y="633"/>
                </a:lnTo>
                <a:lnTo>
                  <a:pt x="35" y="628"/>
                </a:lnTo>
                <a:lnTo>
                  <a:pt x="35" y="628"/>
                </a:lnTo>
                <a:lnTo>
                  <a:pt x="35" y="623"/>
                </a:lnTo>
                <a:lnTo>
                  <a:pt x="35" y="623"/>
                </a:lnTo>
                <a:close/>
                <a:moveTo>
                  <a:pt x="37" y="640"/>
                </a:moveTo>
                <a:lnTo>
                  <a:pt x="37" y="640"/>
                </a:lnTo>
                <a:lnTo>
                  <a:pt x="35" y="640"/>
                </a:lnTo>
                <a:lnTo>
                  <a:pt x="35" y="640"/>
                </a:lnTo>
                <a:lnTo>
                  <a:pt x="32" y="637"/>
                </a:lnTo>
                <a:lnTo>
                  <a:pt x="32" y="637"/>
                </a:lnTo>
                <a:lnTo>
                  <a:pt x="35" y="637"/>
                </a:lnTo>
                <a:lnTo>
                  <a:pt x="35" y="637"/>
                </a:lnTo>
                <a:lnTo>
                  <a:pt x="35" y="635"/>
                </a:lnTo>
                <a:lnTo>
                  <a:pt x="35" y="635"/>
                </a:lnTo>
                <a:lnTo>
                  <a:pt x="32" y="633"/>
                </a:lnTo>
                <a:lnTo>
                  <a:pt x="32" y="633"/>
                </a:lnTo>
                <a:lnTo>
                  <a:pt x="35" y="630"/>
                </a:lnTo>
                <a:lnTo>
                  <a:pt x="35" y="630"/>
                </a:lnTo>
                <a:lnTo>
                  <a:pt x="37" y="633"/>
                </a:lnTo>
                <a:lnTo>
                  <a:pt x="37" y="633"/>
                </a:lnTo>
                <a:lnTo>
                  <a:pt x="40" y="633"/>
                </a:lnTo>
                <a:lnTo>
                  <a:pt x="40" y="633"/>
                </a:lnTo>
                <a:lnTo>
                  <a:pt x="45" y="635"/>
                </a:lnTo>
                <a:lnTo>
                  <a:pt x="45" y="635"/>
                </a:lnTo>
                <a:lnTo>
                  <a:pt x="45" y="637"/>
                </a:lnTo>
                <a:lnTo>
                  <a:pt x="45" y="637"/>
                </a:lnTo>
                <a:lnTo>
                  <a:pt x="42" y="637"/>
                </a:lnTo>
                <a:lnTo>
                  <a:pt x="42" y="637"/>
                </a:lnTo>
                <a:lnTo>
                  <a:pt x="42" y="637"/>
                </a:lnTo>
                <a:lnTo>
                  <a:pt x="37" y="640"/>
                </a:lnTo>
                <a:lnTo>
                  <a:pt x="37" y="640"/>
                </a:lnTo>
                <a:close/>
                <a:moveTo>
                  <a:pt x="42" y="652"/>
                </a:moveTo>
                <a:lnTo>
                  <a:pt x="42" y="652"/>
                </a:lnTo>
                <a:lnTo>
                  <a:pt x="40" y="652"/>
                </a:lnTo>
                <a:lnTo>
                  <a:pt x="40" y="652"/>
                </a:lnTo>
                <a:lnTo>
                  <a:pt x="37" y="650"/>
                </a:lnTo>
                <a:lnTo>
                  <a:pt x="37" y="650"/>
                </a:lnTo>
                <a:lnTo>
                  <a:pt x="37" y="647"/>
                </a:lnTo>
                <a:lnTo>
                  <a:pt x="37" y="647"/>
                </a:lnTo>
                <a:lnTo>
                  <a:pt x="37" y="647"/>
                </a:lnTo>
                <a:lnTo>
                  <a:pt x="40" y="645"/>
                </a:lnTo>
                <a:lnTo>
                  <a:pt x="40" y="645"/>
                </a:lnTo>
                <a:lnTo>
                  <a:pt x="40" y="645"/>
                </a:lnTo>
                <a:lnTo>
                  <a:pt x="37" y="642"/>
                </a:lnTo>
                <a:lnTo>
                  <a:pt x="37" y="642"/>
                </a:lnTo>
                <a:lnTo>
                  <a:pt x="40" y="642"/>
                </a:lnTo>
                <a:lnTo>
                  <a:pt x="40" y="642"/>
                </a:lnTo>
                <a:lnTo>
                  <a:pt x="42" y="645"/>
                </a:lnTo>
                <a:lnTo>
                  <a:pt x="42" y="645"/>
                </a:lnTo>
                <a:lnTo>
                  <a:pt x="42" y="647"/>
                </a:lnTo>
                <a:lnTo>
                  <a:pt x="42" y="647"/>
                </a:lnTo>
                <a:lnTo>
                  <a:pt x="40" y="650"/>
                </a:lnTo>
                <a:lnTo>
                  <a:pt x="40" y="650"/>
                </a:lnTo>
                <a:lnTo>
                  <a:pt x="42" y="652"/>
                </a:lnTo>
                <a:lnTo>
                  <a:pt x="42" y="652"/>
                </a:lnTo>
                <a:close/>
                <a:moveTo>
                  <a:pt x="42" y="647"/>
                </a:moveTo>
                <a:lnTo>
                  <a:pt x="42" y="647"/>
                </a:lnTo>
                <a:lnTo>
                  <a:pt x="42" y="645"/>
                </a:lnTo>
                <a:lnTo>
                  <a:pt x="42" y="645"/>
                </a:lnTo>
                <a:lnTo>
                  <a:pt x="45" y="645"/>
                </a:lnTo>
                <a:lnTo>
                  <a:pt x="45" y="645"/>
                </a:lnTo>
                <a:lnTo>
                  <a:pt x="45" y="645"/>
                </a:lnTo>
                <a:lnTo>
                  <a:pt x="47" y="647"/>
                </a:lnTo>
                <a:lnTo>
                  <a:pt x="47" y="647"/>
                </a:lnTo>
                <a:lnTo>
                  <a:pt x="47" y="650"/>
                </a:lnTo>
                <a:lnTo>
                  <a:pt x="47" y="650"/>
                </a:lnTo>
                <a:lnTo>
                  <a:pt x="45" y="652"/>
                </a:lnTo>
                <a:lnTo>
                  <a:pt x="45" y="652"/>
                </a:lnTo>
                <a:lnTo>
                  <a:pt x="45" y="652"/>
                </a:lnTo>
                <a:lnTo>
                  <a:pt x="42" y="650"/>
                </a:lnTo>
                <a:lnTo>
                  <a:pt x="42" y="650"/>
                </a:lnTo>
                <a:lnTo>
                  <a:pt x="42" y="650"/>
                </a:lnTo>
                <a:lnTo>
                  <a:pt x="42" y="647"/>
                </a:lnTo>
                <a:lnTo>
                  <a:pt x="42" y="647"/>
                </a:lnTo>
                <a:close/>
                <a:moveTo>
                  <a:pt x="47" y="647"/>
                </a:moveTo>
                <a:lnTo>
                  <a:pt x="47" y="647"/>
                </a:lnTo>
                <a:lnTo>
                  <a:pt x="49" y="650"/>
                </a:lnTo>
                <a:lnTo>
                  <a:pt x="49" y="650"/>
                </a:lnTo>
                <a:lnTo>
                  <a:pt x="52" y="652"/>
                </a:lnTo>
                <a:lnTo>
                  <a:pt x="52" y="652"/>
                </a:lnTo>
                <a:lnTo>
                  <a:pt x="49" y="652"/>
                </a:lnTo>
                <a:lnTo>
                  <a:pt x="49" y="652"/>
                </a:lnTo>
                <a:lnTo>
                  <a:pt x="47" y="650"/>
                </a:lnTo>
                <a:lnTo>
                  <a:pt x="47" y="650"/>
                </a:lnTo>
                <a:lnTo>
                  <a:pt x="47" y="647"/>
                </a:lnTo>
                <a:lnTo>
                  <a:pt x="47" y="647"/>
                </a:lnTo>
                <a:close/>
                <a:moveTo>
                  <a:pt x="47" y="660"/>
                </a:moveTo>
                <a:lnTo>
                  <a:pt x="47" y="660"/>
                </a:lnTo>
                <a:lnTo>
                  <a:pt x="45" y="660"/>
                </a:lnTo>
                <a:lnTo>
                  <a:pt x="45" y="660"/>
                </a:lnTo>
                <a:lnTo>
                  <a:pt x="45" y="657"/>
                </a:lnTo>
                <a:lnTo>
                  <a:pt x="45" y="657"/>
                </a:lnTo>
                <a:lnTo>
                  <a:pt x="45" y="657"/>
                </a:lnTo>
                <a:lnTo>
                  <a:pt x="45" y="655"/>
                </a:lnTo>
                <a:lnTo>
                  <a:pt x="45" y="655"/>
                </a:lnTo>
                <a:lnTo>
                  <a:pt x="47" y="652"/>
                </a:lnTo>
                <a:lnTo>
                  <a:pt x="47" y="652"/>
                </a:lnTo>
                <a:lnTo>
                  <a:pt x="47" y="655"/>
                </a:lnTo>
                <a:lnTo>
                  <a:pt x="47" y="655"/>
                </a:lnTo>
                <a:lnTo>
                  <a:pt x="47" y="660"/>
                </a:lnTo>
                <a:lnTo>
                  <a:pt x="47" y="660"/>
                </a:lnTo>
                <a:close/>
                <a:moveTo>
                  <a:pt x="54" y="650"/>
                </a:moveTo>
                <a:lnTo>
                  <a:pt x="54" y="650"/>
                </a:lnTo>
                <a:lnTo>
                  <a:pt x="52" y="650"/>
                </a:lnTo>
                <a:lnTo>
                  <a:pt x="52" y="650"/>
                </a:lnTo>
                <a:lnTo>
                  <a:pt x="49" y="647"/>
                </a:lnTo>
                <a:lnTo>
                  <a:pt x="49" y="647"/>
                </a:lnTo>
                <a:lnTo>
                  <a:pt x="49" y="642"/>
                </a:lnTo>
                <a:lnTo>
                  <a:pt x="49" y="642"/>
                </a:lnTo>
                <a:lnTo>
                  <a:pt x="52" y="642"/>
                </a:lnTo>
                <a:lnTo>
                  <a:pt x="52" y="642"/>
                </a:lnTo>
                <a:lnTo>
                  <a:pt x="52" y="645"/>
                </a:lnTo>
                <a:lnTo>
                  <a:pt x="52" y="645"/>
                </a:lnTo>
                <a:lnTo>
                  <a:pt x="54" y="650"/>
                </a:lnTo>
                <a:lnTo>
                  <a:pt x="54" y="650"/>
                </a:lnTo>
                <a:lnTo>
                  <a:pt x="57" y="650"/>
                </a:lnTo>
                <a:lnTo>
                  <a:pt x="57" y="650"/>
                </a:lnTo>
                <a:lnTo>
                  <a:pt x="54" y="650"/>
                </a:lnTo>
                <a:lnTo>
                  <a:pt x="54" y="650"/>
                </a:lnTo>
                <a:close/>
                <a:moveTo>
                  <a:pt x="54" y="655"/>
                </a:moveTo>
                <a:lnTo>
                  <a:pt x="54" y="655"/>
                </a:lnTo>
                <a:lnTo>
                  <a:pt x="52" y="652"/>
                </a:lnTo>
                <a:lnTo>
                  <a:pt x="52" y="652"/>
                </a:lnTo>
                <a:lnTo>
                  <a:pt x="52" y="652"/>
                </a:lnTo>
                <a:lnTo>
                  <a:pt x="54" y="652"/>
                </a:lnTo>
                <a:lnTo>
                  <a:pt x="54" y="652"/>
                </a:lnTo>
                <a:lnTo>
                  <a:pt x="57" y="655"/>
                </a:lnTo>
                <a:lnTo>
                  <a:pt x="57" y="655"/>
                </a:lnTo>
                <a:lnTo>
                  <a:pt x="54" y="655"/>
                </a:lnTo>
                <a:lnTo>
                  <a:pt x="54" y="655"/>
                </a:lnTo>
                <a:close/>
                <a:moveTo>
                  <a:pt x="57" y="662"/>
                </a:moveTo>
                <a:lnTo>
                  <a:pt x="57" y="662"/>
                </a:lnTo>
                <a:lnTo>
                  <a:pt x="52" y="657"/>
                </a:lnTo>
                <a:lnTo>
                  <a:pt x="52" y="657"/>
                </a:lnTo>
                <a:lnTo>
                  <a:pt x="52" y="655"/>
                </a:lnTo>
                <a:lnTo>
                  <a:pt x="52" y="655"/>
                </a:lnTo>
                <a:lnTo>
                  <a:pt x="52" y="655"/>
                </a:lnTo>
                <a:lnTo>
                  <a:pt x="57" y="657"/>
                </a:lnTo>
                <a:lnTo>
                  <a:pt x="57" y="657"/>
                </a:lnTo>
                <a:lnTo>
                  <a:pt x="57" y="660"/>
                </a:lnTo>
                <a:lnTo>
                  <a:pt x="57" y="660"/>
                </a:lnTo>
                <a:lnTo>
                  <a:pt x="57" y="662"/>
                </a:lnTo>
                <a:lnTo>
                  <a:pt x="57" y="662"/>
                </a:lnTo>
                <a:close/>
                <a:moveTo>
                  <a:pt x="59" y="667"/>
                </a:moveTo>
                <a:lnTo>
                  <a:pt x="59" y="667"/>
                </a:lnTo>
                <a:lnTo>
                  <a:pt x="57" y="667"/>
                </a:lnTo>
                <a:lnTo>
                  <a:pt x="57" y="667"/>
                </a:lnTo>
                <a:lnTo>
                  <a:pt x="57" y="667"/>
                </a:lnTo>
                <a:lnTo>
                  <a:pt x="57" y="665"/>
                </a:lnTo>
                <a:lnTo>
                  <a:pt x="57" y="665"/>
                </a:lnTo>
                <a:lnTo>
                  <a:pt x="52" y="665"/>
                </a:lnTo>
                <a:lnTo>
                  <a:pt x="52" y="665"/>
                </a:lnTo>
                <a:lnTo>
                  <a:pt x="52" y="665"/>
                </a:lnTo>
                <a:lnTo>
                  <a:pt x="54" y="662"/>
                </a:lnTo>
                <a:lnTo>
                  <a:pt x="54" y="662"/>
                </a:lnTo>
                <a:lnTo>
                  <a:pt x="57" y="662"/>
                </a:lnTo>
                <a:lnTo>
                  <a:pt x="57" y="662"/>
                </a:lnTo>
                <a:lnTo>
                  <a:pt x="59" y="662"/>
                </a:lnTo>
                <a:lnTo>
                  <a:pt x="59" y="662"/>
                </a:lnTo>
                <a:lnTo>
                  <a:pt x="62" y="665"/>
                </a:lnTo>
                <a:lnTo>
                  <a:pt x="62" y="665"/>
                </a:lnTo>
                <a:lnTo>
                  <a:pt x="59" y="667"/>
                </a:lnTo>
                <a:lnTo>
                  <a:pt x="59" y="667"/>
                </a:lnTo>
                <a:close/>
                <a:moveTo>
                  <a:pt x="69" y="684"/>
                </a:moveTo>
                <a:lnTo>
                  <a:pt x="69" y="684"/>
                </a:lnTo>
                <a:lnTo>
                  <a:pt x="64" y="682"/>
                </a:lnTo>
                <a:lnTo>
                  <a:pt x="64" y="682"/>
                </a:lnTo>
                <a:lnTo>
                  <a:pt x="64" y="682"/>
                </a:lnTo>
                <a:lnTo>
                  <a:pt x="62" y="682"/>
                </a:lnTo>
                <a:lnTo>
                  <a:pt x="62" y="682"/>
                </a:lnTo>
                <a:lnTo>
                  <a:pt x="59" y="682"/>
                </a:lnTo>
                <a:lnTo>
                  <a:pt x="59" y="682"/>
                </a:lnTo>
                <a:lnTo>
                  <a:pt x="54" y="679"/>
                </a:lnTo>
                <a:lnTo>
                  <a:pt x="54" y="679"/>
                </a:lnTo>
                <a:lnTo>
                  <a:pt x="52" y="679"/>
                </a:lnTo>
                <a:lnTo>
                  <a:pt x="52" y="679"/>
                </a:lnTo>
                <a:lnTo>
                  <a:pt x="49" y="674"/>
                </a:lnTo>
                <a:lnTo>
                  <a:pt x="49" y="674"/>
                </a:lnTo>
                <a:lnTo>
                  <a:pt x="49" y="672"/>
                </a:lnTo>
                <a:lnTo>
                  <a:pt x="49" y="672"/>
                </a:lnTo>
                <a:lnTo>
                  <a:pt x="49" y="669"/>
                </a:lnTo>
                <a:lnTo>
                  <a:pt x="49" y="669"/>
                </a:lnTo>
                <a:lnTo>
                  <a:pt x="52" y="672"/>
                </a:lnTo>
                <a:lnTo>
                  <a:pt x="52" y="672"/>
                </a:lnTo>
                <a:lnTo>
                  <a:pt x="54" y="674"/>
                </a:lnTo>
                <a:lnTo>
                  <a:pt x="54" y="674"/>
                </a:lnTo>
                <a:lnTo>
                  <a:pt x="57" y="677"/>
                </a:lnTo>
                <a:lnTo>
                  <a:pt x="57" y="677"/>
                </a:lnTo>
                <a:lnTo>
                  <a:pt x="59" y="677"/>
                </a:lnTo>
                <a:lnTo>
                  <a:pt x="59" y="677"/>
                </a:lnTo>
                <a:lnTo>
                  <a:pt x="62" y="677"/>
                </a:lnTo>
                <a:lnTo>
                  <a:pt x="62" y="677"/>
                </a:lnTo>
                <a:lnTo>
                  <a:pt x="64" y="679"/>
                </a:lnTo>
                <a:lnTo>
                  <a:pt x="64" y="679"/>
                </a:lnTo>
                <a:lnTo>
                  <a:pt x="69" y="679"/>
                </a:lnTo>
                <a:lnTo>
                  <a:pt x="69" y="679"/>
                </a:lnTo>
                <a:lnTo>
                  <a:pt x="69" y="679"/>
                </a:lnTo>
                <a:lnTo>
                  <a:pt x="72" y="682"/>
                </a:lnTo>
                <a:lnTo>
                  <a:pt x="72" y="682"/>
                </a:lnTo>
                <a:lnTo>
                  <a:pt x="74" y="682"/>
                </a:lnTo>
                <a:lnTo>
                  <a:pt x="74" y="682"/>
                </a:lnTo>
                <a:lnTo>
                  <a:pt x="74" y="684"/>
                </a:lnTo>
                <a:lnTo>
                  <a:pt x="74" y="684"/>
                </a:lnTo>
                <a:lnTo>
                  <a:pt x="74" y="684"/>
                </a:lnTo>
                <a:lnTo>
                  <a:pt x="72" y="684"/>
                </a:lnTo>
                <a:lnTo>
                  <a:pt x="72" y="684"/>
                </a:lnTo>
                <a:lnTo>
                  <a:pt x="69" y="684"/>
                </a:lnTo>
                <a:lnTo>
                  <a:pt x="69" y="684"/>
                </a:lnTo>
                <a:close/>
                <a:moveTo>
                  <a:pt x="59" y="684"/>
                </a:moveTo>
                <a:lnTo>
                  <a:pt x="62" y="687"/>
                </a:lnTo>
                <a:lnTo>
                  <a:pt x="62" y="687"/>
                </a:lnTo>
                <a:lnTo>
                  <a:pt x="57" y="687"/>
                </a:lnTo>
                <a:lnTo>
                  <a:pt x="57" y="687"/>
                </a:lnTo>
                <a:lnTo>
                  <a:pt x="59" y="684"/>
                </a:lnTo>
                <a:lnTo>
                  <a:pt x="59" y="684"/>
                </a:lnTo>
                <a:close/>
                <a:moveTo>
                  <a:pt x="79" y="699"/>
                </a:moveTo>
                <a:lnTo>
                  <a:pt x="79" y="699"/>
                </a:lnTo>
                <a:lnTo>
                  <a:pt x="81" y="699"/>
                </a:lnTo>
                <a:lnTo>
                  <a:pt x="81" y="699"/>
                </a:lnTo>
                <a:lnTo>
                  <a:pt x="81" y="699"/>
                </a:lnTo>
                <a:lnTo>
                  <a:pt x="81" y="697"/>
                </a:lnTo>
                <a:lnTo>
                  <a:pt x="81" y="697"/>
                </a:lnTo>
                <a:lnTo>
                  <a:pt x="79" y="699"/>
                </a:lnTo>
                <a:lnTo>
                  <a:pt x="79" y="699"/>
                </a:lnTo>
                <a:lnTo>
                  <a:pt x="79" y="699"/>
                </a:lnTo>
                <a:close/>
                <a:moveTo>
                  <a:pt x="89" y="701"/>
                </a:moveTo>
                <a:lnTo>
                  <a:pt x="89" y="701"/>
                </a:lnTo>
                <a:lnTo>
                  <a:pt x="86" y="701"/>
                </a:lnTo>
                <a:lnTo>
                  <a:pt x="86" y="701"/>
                </a:lnTo>
                <a:lnTo>
                  <a:pt x="84" y="699"/>
                </a:lnTo>
                <a:lnTo>
                  <a:pt x="84" y="699"/>
                </a:lnTo>
                <a:lnTo>
                  <a:pt x="84" y="697"/>
                </a:lnTo>
                <a:lnTo>
                  <a:pt x="84" y="697"/>
                </a:lnTo>
                <a:lnTo>
                  <a:pt x="81" y="697"/>
                </a:lnTo>
                <a:lnTo>
                  <a:pt x="81" y="697"/>
                </a:lnTo>
                <a:lnTo>
                  <a:pt x="79" y="697"/>
                </a:lnTo>
                <a:lnTo>
                  <a:pt x="79" y="697"/>
                </a:lnTo>
                <a:lnTo>
                  <a:pt x="77" y="697"/>
                </a:lnTo>
                <a:lnTo>
                  <a:pt x="77" y="697"/>
                </a:lnTo>
                <a:lnTo>
                  <a:pt x="74" y="694"/>
                </a:lnTo>
                <a:lnTo>
                  <a:pt x="74" y="694"/>
                </a:lnTo>
                <a:lnTo>
                  <a:pt x="69" y="692"/>
                </a:lnTo>
                <a:lnTo>
                  <a:pt x="69" y="692"/>
                </a:lnTo>
                <a:lnTo>
                  <a:pt x="69" y="689"/>
                </a:lnTo>
                <a:lnTo>
                  <a:pt x="69" y="689"/>
                </a:lnTo>
                <a:lnTo>
                  <a:pt x="67" y="687"/>
                </a:lnTo>
                <a:lnTo>
                  <a:pt x="67" y="687"/>
                </a:lnTo>
                <a:lnTo>
                  <a:pt x="67" y="687"/>
                </a:lnTo>
                <a:lnTo>
                  <a:pt x="67" y="684"/>
                </a:lnTo>
                <a:lnTo>
                  <a:pt x="67" y="684"/>
                </a:lnTo>
                <a:lnTo>
                  <a:pt x="69" y="684"/>
                </a:lnTo>
                <a:lnTo>
                  <a:pt x="69" y="684"/>
                </a:lnTo>
                <a:lnTo>
                  <a:pt x="72" y="687"/>
                </a:lnTo>
                <a:lnTo>
                  <a:pt x="72" y="687"/>
                </a:lnTo>
                <a:lnTo>
                  <a:pt x="72" y="687"/>
                </a:lnTo>
                <a:lnTo>
                  <a:pt x="74" y="687"/>
                </a:lnTo>
                <a:lnTo>
                  <a:pt x="74" y="687"/>
                </a:lnTo>
                <a:lnTo>
                  <a:pt x="79" y="687"/>
                </a:lnTo>
                <a:lnTo>
                  <a:pt x="79" y="687"/>
                </a:lnTo>
                <a:lnTo>
                  <a:pt x="81" y="689"/>
                </a:lnTo>
                <a:lnTo>
                  <a:pt x="81" y="689"/>
                </a:lnTo>
                <a:lnTo>
                  <a:pt x="84" y="689"/>
                </a:lnTo>
                <a:lnTo>
                  <a:pt x="84" y="689"/>
                </a:lnTo>
                <a:lnTo>
                  <a:pt x="86" y="692"/>
                </a:lnTo>
                <a:lnTo>
                  <a:pt x="86" y="692"/>
                </a:lnTo>
                <a:lnTo>
                  <a:pt x="89" y="692"/>
                </a:lnTo>
                <a:lnTo>
                  <a:pt x="89" y="692"/>
                </a:lnTo>
                <a:lnTo>
                  <a:pt x="91" y="692"/>
                </a:lnTo>
                <a:lnTo>
                  <a:pt x="91" y="692"/>
                </a:lnTo>
                <a:lnTo>
                  <a:pt x="91" y="694"/>
                </a:lnTo>
                <a:lnTo>
                  <a:pt x="91" y="694"/>
                </a:lnTo>
                <a:lnTo>
                  <a:pt x="89" y="694"/>
                </a:lnTo>
                <a:lnTo>
                  <a:pt x="89" y="694"/>
                </a:lnTo>
                <a:lnTo>
                  <a:pt x="89" y="694"/>
                </a:lnTo>
                <a:lnTo>
                  <a:pt x="89" y="694"/>
                </a:lnTo>
                <a:lnTo>
                  <a:pt x="89" y="697"/>
                </a:lnTo>
                <a:lnTo>
                  <a:pt x="89" y="697"/>
                </a:lnTo>
                <a:lnTo>
                  <a:pt x="86" y="699"/>
                </a:lnTo>
                <a:lnTo>
                  <a:pt x="86" y="699"/>
                </a:lnTo>
                <a:lnTo>
                  <a:pt x="89" y="701"/>
                </a:lnTo>
                <a:lnTo>
                  <a:pt x="89" y="701"/>
                </a:lnTo>
                <a:close/>
                <a:moveTo>
                  <a:pt x="91" y="699"/>
                </a:moveTo>
                <a:lnTo>
                  <a:pt x="91" y="699"/>
                </a:lnTo>
                <a:lnTo>
                  <a:pt x="89" y="701"/>
                </a:lnTo>
                <a:lnTo>
                  <a:pt x="89" y="701"/>
                </a:lnTo>
                <a:lnTo>
                  <a:pt x="89" y="704"/>
                </a:lnTo>
                <a:lnTo>
                  <a:pt x="89" y="704"/>
                </a:lnTo>
                <a:lnTo>
                  <a:pt x="91" y="704"/>
                </a:lnTo>
                <a:lnTo>
                  <a:pt x="91" y="704"/>
                </a:lnTo>
                <a:lnTo>
                  <a:pt x="94" y="701"/>
                </a:lnTo>
                <a:lnTo>
                  <a:pt x="94" y="701"/>
                </a:lnTo>
                <a:lnTo>
                  <a:pt x="94" y="699"/>
                </a:lnTo>
                <a:lnTo>
                  <a:pt x="94" y="699"/>
                </a:lnTo>
                <a:lnTo>
                  <a:pt x="91" y="699"/>
                </a:lnTo>
                <a:lnTo>
                  <a:pt x="91" y="699"/>
                </a:lnTo>
                <a:lnTo>
                  <a:pt x="91" y="699"/>
                </a:lnTo>
                <a:close/>
                <a:moveTo>
                  <a:pt x="109" y="697"/>
                </a:moveTo>
                <a:lnTo>
                  <a:pt x="109" y="697"/>
                </a:lnTo>
                <a:lnTo>
                  <a:pt x="109" y="699"/>
                </a:lnTo>
                <a:lnTo>
                  <a:pt x="109" y="699"/>
                </a:lnTo>
                <a:lnTo>
                  <a:pt x="109" y="701"/>
                </a:lnTo>
                <a:lnTo>
                  <a:pt x="109" y="701"/>
                </a:lnTo>
                <a:lnTo>
                  <a:pt x="106" y="701"/>
                </a:lnTo>
                <a:lnTo>
                  <a:pt x="106" y="701"/>
                </a:lnTo>
                <a:lnTo>
                  <a:pt x="104" y="701"/>
                </a:lnTo>
                <a:lnTo>
                  <a:pt x="104" y="701"/>
                </a:lnTo>
                <a:lnTo>
                  <a:pt x="104" y="699"/>
                </a:lnTo>
                <a:lnTo>
                  <a:pt x="104" y="699"/>
                </a:lnTo>
                <a:lnTo>
                  <a:pt x="101" y="701"/>
                </a:lnTo>
                <a:lnTo>
                  <a:pt x="101" y="701"/>
                </a:lnTo>
                <a:lnTo>
                  <a:pt x="101" y="699"/>
                </a:lnTo>
                <a:lnTo>
                  <a:pt x="101" y="699"/>
                </a:lnTo>
                <a:lnTo>
                  <a:pt x="96" y="699"/>
                </a:lnTo>
                <a:lnTo>
                  <a:pt x="96" y="699"/>
                </a:lnTo>
                <a:lnTo>
                  <a:pt x="96" y="701"/>
                </a:lnTo>
                <a:lnTo>
                  <a:pt x="96" y="701"/>
                </a:lnTo>
                <a:lnTo>
                  <a:pt x="94" y="699"/>
                </a:lnTo>
                <a:lnTo>
                  <a:pt x="94" y="699"/>
                </a:lnTo>
                <a:lnTo>
                  <a:pt x="94" y="697"/>
                </a:lnTo>
                <a:lnTo>
                  <a:pt x="94" y="697"/>
                </a:lnTo>
                <a:lnTo>
                  <a:pt x="94" y="697"/>
                </a:lnTo>
                <a:lnTo>
                  <a:pt x="96" y="694"/>
                </a:lnTo>
                <a:lnTo>
                  <a:pt x="96" y="694"/>
                </a:lnTo>
                <a:lnTo>
                  <a:pt x="99" y="694"/>
                </a:lnTo>
                <a:lnTo>
                  <a:pt x="99" y="694"/>
                </a:lnTo>
                <a:lnTo>
                  <a:pt x="104" y="697"/>
                </a:lnTo>
                <a:lnTo>
                  <a:pt x="104" y="697"/>
                </a:lnTo>
                <a:lnTo>
                  <a:pt x="104" y="697"/>
                </a:lnTo>
                <a:lnTo>
                  <a:pt x="106" y="697"/>
                </a:lnTo>
                <a:lnTo>
                  <a:pt x="106" y="697"/>
                </a:lnTo>
                <a:lnTo>
                  <a:pt x="109" y="697"/>
                </a:lnTo>
                <a:lnTo>
                  <a:pt x="109" y="697"/>
                </a:lnTo>
                <a:lnTo>
                  <a:pt x="109" y="697"/>
                </a:lnTo>
                <a:close/>
                <a:moveTo>
                  <a:pt x="118" y="697"/>
                </a:moveTo>
                <a:lnTo>
                  <a:pt x="118" y="697"/>
                </a:lnTo>
                <a:lnTo>
                  <a:pt x="113" y="694"/>
                </a:lnTo>
                <a:lnTo>
                  <a:pt x="113" y="694"/>
                </a:lnTo>
                <a:lnTo>
                  <a:pt x="116" y="692"/>
                </a:lnTo>
                <a:lnTo>
                  <a:pt x="116" y="692"/>
                </a:lnTo>
                <a:lnTo>
                  <a:pt x="116" y="689"/>
                </a:lnTo>
                <a:lnTo>
                  <a:pt x="116" y="689"/>
                </a:lnTo>
                <a:lnTo>
                  <a:pt x="116" y="689"/>
                </a:lnTo>
                <a:lnTo>
                  <a:pt x="113" y="684"/>
                </a:lnTo>
                <a:lnTo>
                  <a:pt x="113" y="684"/>
                </a:lnTo>
                <a:lnTo>
                  <a:pt x="113" y="682"/>
                </a:lnTo>
                <a:lnTo>
                  <a:pt x="113" y="682"/>
                </a:lnTo>
                <a:lnTo>
                  <a:pt x="111" y="682"/>
                </a:lnTo>
                <a:lnTo>
                  <a:pt x="111" y="682"/>
                </a:lnTo>
                <a:lnTo>
                  <a:pt x="111" y="684"/>
                </a:lnTo>
                <a:lnTo>
                  <a:pt x="111" y="684"/>
                </a:lnTo>
                <a:lnTo>
                  <a:pt x="109" y="687"/>
                </a:lnTo>
                <a:lnTo>
                  <a:pt x="109" y="687"/>
                </a:lnTo>
                <a:lnTo>
                  <a:pt x="111" y="689"/>
                </a:lnTo>
                <a:lnTo>
                  <a:pt x="111" y="689"/>
                </a:lnTo>
                <a:lnTo>
                  <a:pt x="109" y="692"/>
                </a:lnTo>
                <a:lnTo>
                  <a:pt x="109" y="692"/>
                </a:lnTo>
                <a:lnTo>
                  <a:pt x="109" y="694"/>
                </a:lnTo>
                <a:lnTo>
                  <a:pt x="109" y="694"/>
                </a:lnTo>
                <a:lnTo>
                  <a:pt x="113" y="697"/>
                </a:lnTo>
                <a:lnTo>
                  <a:pt x="113" y="697"/>
                </a:lnTo>
                <a:lnTo>
                  <a:pt x="116" y="697"/>
                </a:lnTo>
                <a:lnTo>
                  <a:pt x="116" y="697"/>
                </a:lnTo>
                <a:lnTo>
                  <a:pt x="116" y="697"/>
                </a:lnTo>
                <a:lnTo>
                  <a:pt x="118" y="697"/>
                </a:lnTo>
                <a:lnTo>
                  <a:pt x="118" y="697"/>
                </a:lnTo>
                <a:close/>
                <a:moveTo>
                  <a:pt x="106" y="719"/>
                </a:moveTo>
                <a:lnTo>
                  <a:pt x="106" y="719"/>
                </a:lnTo>
                <a:lnTo>
                  <a:pt x="109" y="719"/>
                </a:lnTo>
                <a:lnTo>
                  <a:pt x="109" y="719"/>
                </a:lnTo>
                <a:lnTo>
                  <a:pt x="109" y="719"/>
                </a:lnTo>
                <a:lnTo>
                  <a:pt x="109" y="721"/>
                </a:lnTo>
                <a:lnTo>
                  <a:pt x="109" y="721"/>
                </a:lnTo>
                <a:lnTo>
                  <a:pt x="106" y="719"/>
                </a:lnTo>
                <a:lnTo>
                  <a:pt x="106" y="719"/>
                </a:lnTo>
                <a:close/>
                <a:moveTo>
                  <a:pt x="106" y="716"/>
                </a:moveTo>
                <a:lnTo>
                  <a:pt x="106" y="716"/>
                </a:lnTo>
                <a:lnTo>
                  <a:pt x="106" y="714"/>
                </a:lnTo>
                <a:lnTo>
                  <a:pt x="106" y="714"/>
                </a:lnTo>
                <a:lnTo>
                  <a:pt x="106" y="714"/>
                </a:lnTo>
                <a:lnTo>
                  <a:pt x="109" y="714"/>
                </a:lnTo>
                <a:lnTo>
                  <a:pt x="109" y="714"/>
                </a:lnTo>
                <a:lnTo>
                  <a:pt x="109" y="716"/>
                </a:lnTo>
                <a:lnTo>
                  <a:pt x="109" y="716"/>
                </a:lnTo>
                <a:lnTo>
                  <a:pt x="106" y="716"/>
                </a:lnTo>
                <a:lnTo>
                  <a:pt x="106" y="716"/>
                </a:lnTo>
                <a:close/>
                <a:moveTo>
                  <a:pt x="168" y="731"/>
                </a:moveTo>
                <a:lnTo>
                  <a:pt x="168" y="731"/>
                </a:lnTo>
                <a:lnTo>
                  <a:pt x="165" y="731"/>
                </a:lnTo>
                <a:lnTo>
                  <a:pt x="165" y="731"/>
                </a:lnTo>
                <a:lnTo>
                  <a:pt x="168" y="728"/>
                </a:lnTo>
                <a:lnTo>
                  <a:pt x="168" y="728"/>
                </a:lnTo>
                <a:lnTo>
                  <a:pt x="168" y="726"/>
                </a:lnTo>
                <a:lnTo>
                  <a:pt x="168" y="726"/>
                </a:lnTo>
                <a:lnTo>
                  <a:pt x="168" y="728"/>
                </a:lnTo>
                <a:lnTo>
                  <a:pt x="168" y="728"/>
                </a:lnTo>
                <a:lnTo>
                  <a:pt x="170" y="728"/>
                </a:lnTo>
                <a:lnTo>
                  <a:pt x="170" y="728"/>
                </a:lnTo>
                <a:lnTo>
                  <a:pt x="170" y="733"/>
                </a:lnTo>
                <a:lnTo>
                  <a:pt x="170" y="733"/>
                </a:lnTo>
                <a:lnTo>
                  <a:pt x="168" y="731"/>
                </a:lnTo>
                <a:lnTo>
                  <a:pt x="168" y="731"/>
                </a:lnTo>
                <a:close/>
                <a:moveTo>
                  <a:pt x="128" y="716"/>
                </a:moveTo>
                <a:lnTo>
                  <a:pt x="128" y="716"/>
                </a:lnTo>
                <a:lnTo>
                  <a:pt x="131" y="716"/>
                </a:lnTo>
                <a:lnTo>
                  <a:pt x="131" y="716"/>
                </a:lnTo>
                <a:lnTo>
                  <a:pt x="133" y="716"/>
                </a:lnTo>
                <a:lnTo>
                  <a:pt x="133" y="716"/>
                </a:lnTo>
                <a:lnTo>
                  <a:pt x="136" y="716"/>
                </a:lnTo>
                <a:lnTo>
                  <a:pt x="136" y="716"/>
                </a:lnTo>
                <a:lnTo>
                  <a:pt x="138" y="716"/>
                </a:lnTo>
                <a:lnTo>
                  <a:pt x="138" y="716"/>
                </a:lnTo>
                <a:lnTo>
                  <a:pt x="145" y="714"/>
                </a:lnTo>
                <a:lnTo>
                  <a:pt x="145" y="714"/>
                </a:lnTo>
                <a:lnTo>
                  <a:pt x="150" y="711"/>
                </a:lnTo>
                <a:lnTo>
                  <a:pt x="150" y="711"/>
                </a:lnTo>
                <a:lnTo>
                  <a:pt x="155" y="714"/>
                </a:lnTo>
                <a:lnTo>
                  <a:pt x="155" y="714"/>
                </a:lnTo>
                <a:lnTo>
                  <a:pt x="158" y="711"/>
                </a:lnTo>
                <a:lnTo>
                  <a:pt x="158" y="711"/>
                </a:lnTo>
                <a:lnTo>
                  <a:pt x="163" y="711"/>
                </a:lnTo>
                <a:lnTo>
                  <a:pt x="163" y="711"/>
                </a:lnTo>
                <a:lnTo>
                  <a:pt x="165" y="714"/>
                </a:lnTo>
                <a:lnTo>
                  <a:pt x="165" y="714"/>
                </a:lnTo>
                <a:lnTo>
                  <a:pt x="168" y="716"/>
                </a:lnTo>
                <a:lnTo>
                  <a:pt x="168" y="716"/>
                </a:lnTo>
                <a:lnTo>
                  <a:pt x="168" y="716"/>
                </a:lnTo>
                <a:lnTo>
                  <a:pt x="168" y="719"/>
                </a:lnTo>
                <a:lnTo>
                  <a:pt x="168" y="719"/>
                </a:lnTo>
                <a:lnTo>
                  <a:pt x="165" y="721"/>
                </a:lnTo>
                <a:lnTo>
                  <a:pt x="165" y="721"/>
                </a:lnTo>
                <a:lnTo>
                  <a:pt x="163" y="719"/>
                </a:lnTo>
                <a:lnTo>
                  <a:pt x="163" y="719"/>
                </a:lnTo>
                <a:lnTo>
                  <a:pt x="160" y="719"/>
                </a:lnTo>
                <a:lnTo>
                  <a:pt x="160" y="719"/>
                </a:lnTo>
                <a:lnTo>
                  <a:pt x="158" y="719"/>
                </a:lnTo>
                <a:lnTo>
                  <a:pt x="158" y="719"/>
                </a:lnTo>
                <a:lnTo>
                  <a:pt x="155" y="721"/>
                </a:lnTo>
                <a:lnTo>
                  <a:pt x="155" y="721"/>
                </a:lnTo>
                <a:lnTo>
                  <a:pt x="153" y="719"/>
                </a:lnTo>
                <a:lnTo>
                  <a:pt x="153" y="719"/>
                </a:lnTo>
                <a:lnTo>
                  <a:pt x="153" y="716"/>
                </a:lnTo>
                <a:lnTo>
                  <a:pt x="153" y="716"/>
                </a:lnTo>
                <a:lnTo>
                  <a:pt x="150" y="716"/>
                </a:lnTo>
                <a:lnTo>
                  <a:pt x="150" y="716"/>
                </a:lnTo>
                <a:lnTo>
                  <a:pt x="148" y="719"/>
                </a:lnTo>
                <a:lnTo>
                  <a:pt x="148" y="719"/>
                </a:lnTo>
                <a:lnTo>
                  <a:pt x="145" y="719"/>
                </a:lnTo>
                <a:lnTo>
                  <a:pt x="145" y="719"/>
                </a:lnTo>
                <a:lnTo>
                  <a:pt x="143" y="719"/>
                </a:lnTo>
                <a:lnTo>
                  <a:pt x="143" y="719"/>
                </a:lnTo>
                <a:lnTo>
                  <a:pt x="145" y="721"/>
                </a:lnTo>
                <a:lnTo>
                  <a:pt x="145" y="721"/>
                </a:lnTo>
                <a:lnTo>
                  <a:pt x="145" y="721"/>
                </a:lnTo>
                <a:lnTo>
                  <a:pt x="150" y="721"/>
                </a:lnTo>
                <a:lnTo>
                  <a:pt x="150" y="721"/>
                </a:lnTo>
                <a:lnTo>
                  <a:pt x="150" y="721"/>
                </a:lnTo>
                <a:lnTo>
                  <a:pt x="150" y="724"/>
                </a:lnTo>
                <a:lnTo>
                  <a:pt x="150" y="724"/>
                </a:lnTo>
                <a:lnTo>
                  <a:pt x="153" y="724"/>
                </a:lnTo>
                <a:lnTo>
                  <a:pt x="153" y="724"/>
                </a:lnTo>
                <a:lnTo>
                  <a:pt x="155" y="726"/>
                </a:lnTo>
                <a:lnTo>
                  <a:pt x="155" y="726"/>
                </a:lnTo>
                <a:lnTo>
                  <a:pt x="155" y="728"/>
                </a:lnTo>
                <a:lnTo>
                  <a:pt x="155" y="728"/>
                </a:lnTo>
                <a:lnTo>
                  <a:pt x="155" y="728"/>
                </a:lnTo>
                <a:lnTo>
                  <a:pt x="150" y="726"/>
                </a:lnTo>
                <a:lnTo>
                  <a:pt x="150" y="726"/>
                </a:lnTo>
                <a:lnTo>
                  <a:pt x="148" y="726"/>
                </a:lnTo>
                <a:lnTo>
                  <a:pt x="148" y="726"/>
                </a:lnTo>
                <a:lnTo>
                  <a:pt x="145" y="726"/>
                </a:lnTo>
                <a:lnTo>
                  <a:pt x="145" y="726"/>
                </a:lnTo>
                <a:lnTo>
                  <a:pt x="143" y="726"/>
                </a:lnTo>
                <a:lnTo>
                  <a:pt x="143" y="726"/>
                </a:lnTo>
                <a:lnTo>
                  <a:pt x="143" y="724"/>
                </a:lnTo>
                <a:lnTo>
                  <a:pt x="143" y="724"/>
                </a:lnTo>
                <a:lnTo>
                  <a:pt x="140" y="724"/>
                </a:lnTo>
                <a:lnTo>
                  <a:pt x="140" y="724"/>
                </a:lnTo>
                <a:lnTo>
                  <a:pt x="140" y="724"/>
                </a:lnTo>
                <a:lnTo>
                  <a:pt x="143" y="726"/>
                </a:lnTo>
                <a:lnTo>
                  <a:pt x="143" y="726"/>
                </a:lnTo>
                <a:lnTo>
                  <a:pt x="140" y="728"/>
                </a:lnTo>
                <a:lnTo>
                  <a:pt x="140" y="728"/>
                </a:lnTo>
                <a:lnTo>
                  <a:pt x="140" y="728"/>
                </a:lnTo>
                <a:lnTo>
                  <a:pt x="136" y="726"/>
                </a:lnTo>
                <a:lnTo>
                  <a:pt x="136" y="726"/>
                </a:lnTo>
                <a:lnTo>
                  <a:pt x="136" y="728"/>
                </a:lnTo>
                <a:lnTo>
                  <a:pt x="136" y="728"/>
                </a:lnTo>
                <a:lnTo>
                  <a:pt x="133" y="726"/>
                </a:lnTo>
                <a:lnTo>
                  <a:pt x="133" y="726"/>
                </a:lnTo>
                <a:lnTo>
                  <a:pt x="131" y="726"/>
                </a:lnTo>
                <a:lnTo>
                  <a:pt x="131" y="726"/>
                </a:lnTo>
                <a:lnTo>
                  <a:pt x="133" y="724"/>
                </a:lnTo>
                <a:lnTo>
                  <a:pt x="133" y="724"/>
                </a:lnTo>
                <a:lnTo>
                  <a:pt x="131" y="724"/>
                </a:lnTo>
                <a:lnTo>
                  <a:pt x="131" y="724"/>
                </a:lnTo>
                <a:lnTo>
                  <a:pt x="128" y="724"/>
                </a:lnTo>
                <a:lnTo>
                  <a:pt x="128" y="724"/>
                </a:lnTo>
                <a:lnTo>
                  <a:pt x="128" y="721"/>
                </a:lnTo>
                <a:lnTo>
                  <a:pt x="128" y="721"/>
                </a:lnTo>
                <a:lnTo>
                  <a:pt x="131" y="721"/>
                </a:lnTo>
                <a:lnTo>
                  <a:pt x="131" y="721"/>
                </a:lnTo>
                <a:lnTo>
                  <a:pt x="136" y="719"/>
                </a:lnTo>
                <a:lnTo>
                  <a:pt x="136" y="719"/>
                </a:lnTo>
                <a:lnTo>
                  <a:pt x="133" y="716"/>
                </a:lnTo>
                <a:lnTo>
                  <a:pt x="133" y="716"/>
                </a:lnTo>
                <a:lnTo>
                  <a:pt x="131" y="719"/>
                </a:lnTo>
                <a:lnTo>
                  <a:pt x="128" y="716"/>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2" name="Freeform 201"/>
          <p:cNvSpPr>
            <a:spLocks/>
          </p:cNvSpPr>
          <p:nvPr/>
        </p:nvSpPr>
        <p:spPr bwMode="auto">
          <a:xfrm>
            <a:off x="3209526" y="4039255"/>
            <a:ext cx="3262" cy="4609"/>
          </a:xfrm>
          <a:custGeom>
            <a:avLst/>
            <a:gdLst/>
            <a:ahLst/>
            <a:cxnLst>
              <a:cxn ang="0">
                <a:pos x="0" y="0"/>
              </a:cxn>
              <a:cxn ang="0">
                <a:pos x="0" y="3"/>
              </a:cxn>
              <a:cxn ang="0">
                <a:pos x="2" y="3"/>
              </a:cxn>
              <a:cxn ang="0">
                <a:pos x="0" y="0"/>
              </a:cxn>
              <a:cxn ang="0">
                <a:pos x="0" y="0"/>
              </a:cxn>
            </a:cxnLst>
            <a:rect l="0" t="0" r="r" b="b"/>
            <a:pathLst>
              <a:path w="2" h="3">
                <a:moveTo>
                  <a:pt x="0" y="0"/>
                </a:moveTo>
                <a:lnTo>
                  <a:pt x="0" y="3"/>
                </a:lnTo>
                <a:lnTo>
                  <a:pt x="2" y="3"/>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3" name="Freeform 202"/>
          <p:cNvSpPr>
            <a:spLocks noEditPoints="1"/>
          </p:cNvSpPr>
          <p:nvPr/>
        </p:nvSpPr>
        <p:spPr bwMode="auto">
          <a:xfrm>
            <a:off x="3220942" y="4043854"/>
            <a:ext cx="16310" cy="23041"/>
          </a:xfrm>
          <a:custGeom>
            <a:avLst/>
            <a:gdLst/>
            <a:ahLst/>
            <a:cxnLst>
              <a:cxn ang="0">
                <a:pos x="10" y="10"/>
              </a:cxn>
              <a:cxn ang="0">
                <a:pos x="8" y="12"/>
              </a:cxn>
              <a:cxn ang="0">
                <a:pos x="10" y="15"/>
              </a:cxn>
              <a:cxn ang="0">
                <a:pos x="10" y="10"/>
              </a:cxn>
              <a:cxn ang="0">
                <a:pos x="10" y="10"/>
              </a:cxn>
              <a:cxn ang="0">
                <a:pos x="10" y="10"/>
              </a:cxn>
              <a:cxn ang="0">
                <a:pos x="8" y="0"/>
              </a:cxn>
              <a:cxn ang="0">
                <a:pos x="5" y="2"/>
              </a:cxn>
              <a:cxn ang="0">
                <a:pos x="8" y="7"/>
              </a:cxn>
              <a:cxn ang="0">
                <a:pos x="10" y="7"/>
              </a:cxn>
              <a:cxn ang="0">
                <a:pos x="8" y="0"/>
              </a:cxn>
              <a:cxn ang="0">
                <a:pos x="8" y="0"/>
              </a:cxn>
              <a:cxn ang="0">
                <a:pos x="8" y="0"/>
              </a:cxn>
              <a:cxn ang="0">
                <a:pos x="3" y="5"/>
              </a:cxn>
              <a:cxn ang="0">
                <a:pos x="5" y="7"/>
              </a:cxn>
              <a:cxn ang="0">
                <a:pos x="3" y="12"/>
              </a:cxn>
              <a:cxn ang="0">
                <a:pos x="0" y="7"/>
              </a:cxn>
              <a:cxn ang="0">
                <a:pos x="0" y="5"/>
              </a:cxn>
              <a:cxn ang="0">
                <a:pos x="3" y="5"/>
              </a:cxn>
              <a:cxn ang="0">
                <a:pos x="3" y="5"/>
              </a:cxn>
            </a:cxnLst>
            <a:rect l="0" t="0" r="r" b="b"/>
            <a:pathLst>
              <a:path w="10" h="15">
                <a:moveTo>
                  <a:pt x="10" y="10"/>
                </a:moveTo>
                <a:lnTo>
                  <a:pt x="8" y="12"/>
                </a:lnTo>
                <a:lnTo>
                  <a:pt x="10" y="15"/>
                </a:lnTo>
                <a:lnTo>
                  <a:pt x="10" y="10"/>
                </a:lnTo>
                <a:lnTo>
                  <a:pt x="10" y="10"/>
                </a:lnTo>
                <a:lnTo>
                  <a:pt x="10" y="10"/>
                </a:lnTo>
                <a:close/>
                <a:moveTo>
                  <a:pt x="8" y="0"/>
                </a:moveTo>
                <a:lnTo>
                  <a:pt x="5" y="2"/>
                </a:lnTo>
                <a:lnTo>
                  <a:pt x="8" y="7"/>
                </a:lnTo>
                <a:lnTo>
                  <a:pt x="10" y="7"/>
                </a:lnTo>
                <a:lnTo>
                  <a:pt x="8" y="0"/>
                </a:lnTo>
                <a:lnTo>
                  <a:pt x="8" y="0"/>
                </a:lnTo>
                <a:lnTo>
                  <a:pt x="8" y="0"/>
                </a:lnTo>
                <a:close/>
                <a:moveTo>
                  <a:pt x="3" y="5"/>
                </a:moveTo>
                <a:lnTo>
                  <a:pt x="5" y="7"/>
                </a:lnTo>
                <a:lnTo>
                  <a:pt x="3" y="12"/>
                </a:lnTo>
                <a:lnTo>
                  <a:pt x="0" y="7"/>
                </a:lnTo>
                <a:lnTo>
                  <a:pt x="0" y="5"/>
                </a:lnTo>
                <a:lnTo>
                  <a:pt x="3" y="5"/>
                </a:lnTo>
                <a:lnTo>
                  <a:pt x="3"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4" name="Freeform 203"/>
          <p:cNvSpPr>
            <a:spLocks/>
          </p:cNvSpPr>
          <p:nvPr/>
        </p:nvSpPr>
        <p:spPr bwMode="auto">
          <a:xfrm>
            <a:off x="3229096" y="4069970"/>
            <a:ext cx="4893" cy="12288"/>
          </a:xfrm>
          <a:custGeom>
            <a:avLst/>
            <a:gdLst/>
            <a:ahLst/>
            <a:cxnLst>
              <a:cxn ang="0">
                <a:pos x="0" y="0"/>
              </a:cxn>
              <a:cxn ang="0">
                <a:pos x="0" y="0"/>
              </a:cxn>
              <a:cxn ang="0">
                <a:pos x="3" y="3"/>
              </a:cxn>
              <a:cxn ang="0">
                <a:pos x="3" y="3"/>
              </a:cxn>
              <a:cxn ang="0">
                <a:pos x="3" y="8"/>
              </a:cxn>
              <a:cxn ang="0">
                <a:pos x="3" y="8"/>
              </a:cxn>
              <a:cxn ang="0">
                <a:pos x="0" y="8"/>
              </a:cxn>
              <a:cxn ang="0">
                <a:pos x="0" y="8"/>
              </a:cxn>
              <a:cxn ang="0">
                <a:pos x="0" y="3"/>
              </a:cxn>
              <a:cxn ang="0">
                <a:pos x="0" y="3"/>
              </a:cxn>
              <a:cxn ang="0">
                <a:pos x="0" y="0"/>
              </a:cxn>
              <a:cxn ang="0">
                <a:pos x="0" y="0"/>
              </a:cxn>
              <a:cxn ang="0">
                <a:pos x="0" y="0"/>
              </a:cxn>
            </a:cxnLst>
            <a:rect l="0" t="0" r="r" b="b"/>
            <a:pathLst>
              <a:path w="3" h="8">
                <a:moveTo>
                  <a:pt x="0" y="0"/>
                </a:moveTo>
                <a:lnTo>
                  <a:pt x="0" y="0"/>
                </a:lnTo>
                <a:lnTo>
                  <a:pt x="3" y="3"/>
                </a:lnTo>
                <a:lnTo>
                  <a:pt x="3" y="3"/>
                </a:lnTo>
                <a:lnTo>
                  <a:pt x="3" y="8"/>
                </a:lnTo>
                <a:lnTo>
                  <a:pt x="3" y="8"/>
                </a:lnTo>
                <a:lnTo>
                  <a:pt x="0" y="8"/>
                </a:lnTo>
                <a:lnTo>
                  <a:pt x="0" y="8"/>
                </a:lnTo>
                <a:lnTo>
                  <a:pt x="0" y="3"/>
                </a:lnTo>
                <a:lnTo>
                  <a:pt x="0" y="3"/>
                </a:lnTo>
                <a:lnTo>
                  <a:pt x="0" y="0"/>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5" name="Freeform 204"/>
          <p:cNvSpPr>
            <a:spLocks noEditPoints="1"/>
          </p:cNvSpPr>
          <p:nvPr/>
        </p:nvSpPr>
        <p:spPr bwMode="auto">
          <a:xfrm>
            <a:off x="3229096" y="4088393"/>
            <a:ext cx="16310" cy="35329"/>
          </a:xfrm>
          <a:custGeom>
            <a:avLst/>
            <a:gdLst/>
            <a:ahLst/>
            <a:cxnLst>
              <a:cxn ang="0">
                <a:pos x="8" y="13"/>
              </a:cxn>
              <a:cxn ang="0">
                <a:pos x="3" y="18"/>
              </a:cxn>
              <a:cxn ang="0">
                <a:pos x="5" y="20"/>
              </a:cxn>
              <a:cxn ang="0">
                <a:pos x="8" y="23"/>
              </a:cxn>
              <a:cxn ang="0">
                <a:pos x="8" y="18"/>
              </a:cxn>
              <a:cxn ang="0">
                <a:pos x="8" y="13"/>
              </a:cxn>
              <a:cxn ang="0">
                <a:pos x="8" y="13"/>
              </a:cxn>
              <a:cxn ang="0">
                <a:pos x="8" y="13"/>
              </a:cxn>
              <a:cxn ang="0">
                <a:pos x="0" y="0"/>
              </a:cxn>
              <a:cxn ang="0">
                <a:pos x="8" y="0"/>
              </a:cxn>
              <a:cxn ang="0">
                <a:pos x="10" y="8"/>
              </a:cxn>
              <a:cxn ang="0">
                <a:pos x="8" y="10"/>
              </a:cxn>
              <a:cxn ang="0">
                <a:pos x="5" y="8"/>
              </a:cxn>
              <a:cxn ang="0">
                <a:pos x="5" y="8"/>
              </a:cxn>
              <a:cxn ang="0">
                <a:pos x="5" y="5"/>
              </a:cxn>
              <a:cxn ang="0">
                <a:pos x="0" y="3"/>
              </a:cxn>
              <a:cxn ang="0">
                <a:pos x="0" y="0"/>
              </a:cxn>
              <a:cxn ang="0">
                <a:pos x="0" y="0"/>
              </a:cxn>
            </a:cxnLst>
            <a:rect l="0" t="0" r="r" b="b"/>
            <a:pathLst>
              <a:path w="10" h="23">
                <a:moveTo>
                  <a:pt x="8" y="13"/>
                </a:moveTo>
                <a:lnTo>
                  <a:pt x="3" y="18"/>
                </a:lnTo>
                <a:lnTo>
                  <a:pt x="5" y="20"/>
                </a:lnTo>
                <a:lnTo>
                  <a:pt x="8" y="23"/>
                </a:lnTo>
                <a:lnTo>
                  <a:pt x="8" y="18"/>
                </a:lnTo>
                <a:lnTo>
                  <a:pt x="8" y="13"/>
                </a:lnTo>
                <a:lnTo>
                  <a:pt x="8" y="13"/>
                </a:lnTo>
                <a:lnTo>
                  <a:pt x="8" y="13"/>
                </a:lnTo>
                <a:close/>
                <a:moveTo>
                  <a:pt x="0" y="0"/>
                </a:moveTo>
                <a:lnTo>
                  <a:pt x="8" y="0"/>
                </a:lnTo>
                <a:lnTo>
                  <a:pt x="10" y="8"/>
                </a:lnTo>
                <a:lnTo>
                  <a:pt x="8" y="10"/>
                </a:lnTo>
                <a:lnTo>
                  <a:pt x="5" y="8"/>
                </a:lnTo>
                <a:lnTo>
                  <a:pt x="5" y="8"/>
                </a:lnTo>
                <a:lnTo>
                  <a:pt x="5" y="5"/>
                </a:lnTo>
                <a:lnTo>
                  <a:pt x="0" y="3"/>
                </a:lnTo>
                <a:lnTo>
                  <a:pt x="0" y="0"/>
                </a:lnTo>
                <a:lnTo>
                  <a:pt x="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6" name="Freeform 205"/>
          <p:cNvSpPr>
            <a:spLocks/>
          </p:cNvSpPr>
          <p:nvPr/>
        </p:nvSpPr>
        <p:spPr bwMode="auto">
          <a:xfrm>
            <a:off x="3273123" y="4126793"/>
            <a:ext cx="8155" cy="7681"/>
          </a:xfrm>
          <a:custGeom>
            <a:avLst/>
            <a:gdLst/>
            <a:ahLst/>
            <a:cxnLst>
              <a:cxn ang="0">
                <a:pos x="3" y="0"/>
              </a:cxn>
              <a:cxn ang="0">
                <a:pos x="0" y="3"/>
              </a:cxn>
              <a:cxn ang="0">
                <a:pos x="3" y="5"/>
              </a:cxn>
              <a:cxn ang="0">
                <a:pos x="5" y="5"/>
              </a:cxn>
              <a:cxn ang="0">
                <a:pos x="5" y="3"/>
              </a:cxn>
              <a:cxn ang="0">
                <a:pos x="3" y="0"/>
              </a:cxn>
              <a:cxn ang="0">
                <a:pos x="3" y="0"/>
              </a:cxn>
            </a:cxnLst>
            <a:rect l="0" t="0" r="r" b="b"/>
            <a:pathLst>
              <a:path w="5" h="5">
                <a:moveTo>
                  <a:pt x="3" y="0"/>
                </a:moveTo>
                <a:lnTo>
                  <a:pt x="0" y="3"/>
                </a:lnTo>
                <a:lnTo>
                  <a:pt x="3" y="5"/>
                </a:lnTo>
                <a:lnTo>
                  <a:pt x="5" y="5"/>
                </a:lnTo>
                <a:lnTo>
                  <a:pt x="5" y="3"/>
                </a:lnTo>
                <a:lnTo>
                  <a:pt x="3" y="0"/>
                </a:lnTo>
                <a:lnTo>
                  <a:pt x="3"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7" name="Freeform 206"/>
          <p:cNvSpPr>
            <a:spLocks noEditPoints="1"/>
          </p:cNvSpPr>
          <p:nvPr/>
        </p:nvSpPr>
        <p:spPr bwMode="auto">
          <a:xfrm>
            <a:off x="3217671" y="4123739"/>
            <a:ext cx="19572" cy="36865"/>
          </a:xfrm>
          <a:custGeom>
            <a:avLst/>
            <a:gdLst/>
            <a:ahLst/>
            <a:cxnLst>
              <a:cxn ang="0">
                <a:pos x="7" y="22"/>
              </a:cxn>
              <a:cxn ang="0">
                <a:pos x="7" y="22"/>
              </a:cxn>
              <a:cxn ang="0">
                <a:pos x="5" y="19"/>
              </a:cxn>
              <a:cxn ang="0">
                <a:pos x="5" y="19"/>
              </a:cxn>
              <a:cxn ang="0">
                <a:pos x="2" y="19"/>
              </a:cxn>
              <a:cxn ang="0">
                <a:pos x="2" y="19"/>
              </a:cxn>
              <a:cxn ang="0">
                <a:pos x="0" y="24"/>
              </a:cxn>
              <a:cxn ang="0">
                <a:pos x="0" y="24"/>
              </a:cxn>
              <a:cxn ang="0">
                <a:pos x="5" y="24"/>
              </a:cxn>
              <a:cxn ang="0">
                <a:pos x="5" y="24"/>
              </a:cxn>
              <a:cxn ang="0">
                <a:pos x="7" y="22"/>
              </a:cxn>
              <a:cxn ang="0">
                <a:pos x="7" y="22"/>
              </a:cxn>
              <a:cxn ang="0">
                <a:pos x="7" y="14"/>
              </a:cxn>
              <a:cxn ang="0">
                <a:pos x="7" y="14"/>
              </a:cxn>
              <a:cxn ang="0">
                <a:pos x="10" y="17"/>
              </a:cxn>
              <a:cxn ang="0">
                <a:pos x="10" y="17"/>
              </a:cxn>
              <a:cxn ang="0">
                <a:pos x="7" y="17"/>
              </a:cxn>
              <a:cxn ang="0">
                <a:pos x="7" y="14"/>
              </a:cxn>
              <a:cxn ang="0">
                <a:pos x="7" y="14"/>
              </a:cxn>
              <a:cxn ang="0">
                <a:pos x="10" y="0"/>
              </a:cxn>
              <a:cxn ang="0">
                <a:pos x="10" y="0"/>
              </a:cxn>
              <a:cxn ang="0">
                <a:pos x="12" y="5"/>
              </a:cxn>
              <a:cxn ang="0">
                <a:pos x="12" y="5"/>
              </a:cxn>
              <a:cxn ang="0">
                <a:pos x="10" y="9"/>
              </a:cxn>
              <a:cxn ang="0">
                <a:pos x="10" y="0"/>
              </a:cxn>
            </a:cxnLst>
            <a:rect l="0" t="0" r="r" b="b"/>
            <a:pathLst>
              <a:path w="12" h="24">
                <a:moveTo>
                  <a:pt x="7" y="22"/>
                </a:moveTo>
                <a:lnTo>
                  <a:pt x="7" y="22"/>
                </a:lnTo>
                <a:lnTo>
                  <a:pt x="5" y="19"/>
                </a:lnTo>
                <a:lnTo>
                  <a:pt x="5" y="19"/>
                </a:lnTo>
                <a:lnTo>
                  <a:pt x="2" y="19"/>
                </a:lnTo>
                <a:lnTo>
                  <a:pt x="2" y="19"/>
                </a:lnTo>
                <a:lnTo>
                  <a:pt x="0" y="24"/>
                </a:lnTo>
                <a:lnTo>
                  <a:pt x="0" y="24"/>
                </a:lnTo>
                <a:lnTo>
                  <a:pt x="5" y="24"/>
                </a:lnTo>
                <a:lnTo>
                  <a:pt x="5" y="24"/>
                </a:lnTo>
                <a:lnTo>
                  <a:pt x="7" y="22"/>
                </a:lnTo>
                <a:lnTo>
                  <a:pt x="7" y="22"/>
                </a:lnTo>
                <a:close/>
                <a:moveTo>
                  <a:pt x="7" y="14"/>
                </a:moveTo>
                <a:lnTo>
                  <a:pt x="7" y="14"/>
                </a:lnTo>
                <a:lnTo>
                  <a:pt x="10" y="17"/>
                </a:lnTo>
                <a:lnTo>
                  <a:pt x="10" y="17"/>
                </a:lnTo>
                <a:lnTo>
                  <a:pt x="7" y="17"/>
                </a:lnTo>
                <a:lnTo>
                  <a:pt x="7" y="14"/>
                </a:lnTo>
                <a:lnTo>
                  <a:pt x="7" y="14"/>
                </a:lnTo>
                <a:close/>
                <a:moveTo>
                  <a:pt x="10" y="0"/>
                </a:moveTo>
                <a:lnTo>
                  <a:pt x="10" y="0"/>
                </a:lnTo>
                <a:lnTo>
                  <a:pt x="12" y="5"/>
                </a:lnTo>
                <a:lnTo>
                  <a:pt x="12" y="5"/>
                </a:lnTo>
                <a:lnTo>
                  <a:pt x="10" y="9"/>
                </a:lnTo>
                <a:lnTo>
                  <a:pt x="10" y="0"/>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08" name="Freeform 206"/>
          <p:cNvSpPr>
            <a:spLocks noEditPoints="1"/>
          </p:cNvSpPr>
          <p:nvPr/>
        </p:nvSpPr>
        <p:spPr bwMode="auto">
          <a:xfrm>
            <a:off x="3212813" y="4179070"/>
            <a:ext cx="37513" cy="30721"/>
          </a:xfrm>
          <a:custGeom>
            <a:avLst/>
            <a:gdLst/>
            <a:ahLst/>
            <a:cxnLst>
              <a:cxn ang="0">
                <a:pos x="18" y="3"/>
              </a:cxn>
              <a:cxn ang="0">
                <a:pos x="23" y="0"/>
              </a:cxn>
              <a:cxn ang="0">
                <a:pos x="20" y="3"/>
              </a:cxn>
              <a:cxn ang="0">
                <a:pos x="18" y="3"/>
              </a:cxn>
              <a:cxn ang="0">
                <a:pos x="18" y="3"/>
              </a:cxn>
              <a:cxn ang="0">
                <a:pos x="18" y="3"/>
              </a:cxn>
              <a:cxn ang="0">
                <a:pos x="18" y="5"/>
              </a:cxn>
              <a:cxn ang="0">
                <a:pos x="10" y="8"/>
              </a:cxn>
              <a:cxn ang="0">
                <a:pos x="8" y="5"/>
              </a:cxn>
              <a:cxn ang="0">
                <a:pos x="5" y="8"/>
              </a:cxn>
              <a:cxn ang="0">
                <a:pos x="3" y="8"/>
              </a:cxn>
              <a:cxn ang="0">
                <a:pos x="8" y="10"/>
              </a:cxn>
              <a:cxn ang="0">
                <a:pos x="8" y="15"/>
              </a:cxn>
              <a:cxn ang="0">
                <a:pos x="5" y="18"/>
              </a:cxn>
              <a:cxn ang="0">
                <a:pos x="0" y="18"/>
              </a:cxn>
              <a:cxn ang="0">
                <a:pos x="5" y="20"/>
              </a:cxn>
              <a:cxn ang="0">
                <a:pos x="13" y="18"/>
              </a:cxn>
              <a:cxn ang="0">
                <a:pos x="15" y="15"/>
              </a:cxn>
              <a:cxn ang="0">
                <a:pos x="15" y="13"/>
              </a:cxn>
              <a:cxn ang="0">
                <a:pos x="13" y="10"/>
              </a:cxn>
              <a:cxn ang="0">
                <a:pos x="18" y="5"/>
              </a:cxn>
              <a:cxn ang="0">
                <a:pos x="18" y="5"/>
              </a:cxn>
              <a:cxn ang="0">
                <a:pos x="18" y="5"/>
              </a:cxn>
            </a:cxnLst>
            <a:rect l="0" t="0" r="r" b="b"/>
            <a:pathLst>
              <a:path w="23" h="20">
                <a:moveTo>
                  <a:pt x="18" y="3"/>
                </a:moveTo>
                <a:lnTo>
                  <a:pt x="23" y="0"/>
                </a:lnTo>
                <a:lnTo>
                  <a:pt x="20" y="3"/>
                </a:lnTo>
                <a:lnTo>
                  <a:pt x="18" y="3"/>
                </a:lnTo>
                <a:lnTo>
                  <a:pt x="18" y="3"/>
                </a:lnTo>
                <a:lnTo>
                  <a:pt x="18" y="3"/>
                </a:lnTo>
                <a:close/>
                <a:moveTo>
                  <a:pt x="18" y="5"/>
                </a:moveTo>
                <a:lnTo>
                  <a:pt x="10" y="8"/>
                </a:lnTo>
                <a:lnTo>
                  <a:pt x="8" y="5"/>
                </a:lnTo>
                <a:lnTo>
                  <a:pt x="5" y="8"/>
                </a:lnTo>
                <a:lnTo>
                  <a:pt x="3" y="8"/>
                </a:lnTo>
                <a:lnTo>
                  <a:pt x="8" y="10"/>
                </a:lnTo>
                <a:lnTo>
                  <a:pt x="8" y="15"/>
                </a:lnTo>
                <a:lnTo>
                  <a:pt x="5" y="18"/>
                </a:lnTo>
                <a:lnTo>
                  <a:pt x="0" y="18"/>
                </a:lnTo>
                <a:lnTo>
                  <a:pt x="5" y="20"/>
                </a:lnTo>
                <a:lnTo>
                  <a:pt x="13" y="18"/>
                </a:lnTo>
                <a:lnTo>
                  <a:pt x="15" y="15"/>
                </a:lnTo>
                <a:lnTo>
                  <a:pt x="15" y="13"/>
                </a:lnTo>
                <a:lnTo>
                  <a:pt x="13" y="10"/>
                </a:lnTo>
                <a:lnTo>
                  <a:pt x="18" y="5"/>
                </a:lnTo>
                <a:lnTo>
                  <a:pt x="18" y="5"/>
                </a:lnTo>
                <a:lnTo>
                  <a:pt x="18" y="5"/>
                </a:lnTo>
                <a:close/>
              </a:path>
            </a:pathLst>
          </a:custGeom>
          <a:solidFill>
            <a:schemeClr val="accent3">
              <a:lumMod val="20000"/>
              <a:lumOff val="8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27" name="TextBox 226"/>
          <p:cNvSpPr txBox="1"/>
          <p:nvPr/>
        </p:nvSpPr>
        <p:spPr>
          <a:xfrm>
            <a:off x="3045094" y="3217959"/>
            <a:ext cx="419520"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US</a:t>
            </a:r>
          </a:p>
          <a:p>
            <a:pPr algn="ctr">
              <a:spcBef>
                <a:spcPts val="200"/>
              </a:spcBef>
              <a:spcAft>
                <a:spcPts val="200"/>
              </a:spcAft>
            </a:pPr>
            <a:r>
              <a:rPr lang="en-US" sz="1400" b="1" dirty="0" smtClean="0">
                <a:solidFill>
                  <a:schemeClr val="tx1">
                    <a:lumMod val="65000"/>
                    <a:lumOff val="35000"/>
                  </a:schemeClr>
                </a:solidFill>
                <a:latin typeface="+mn-lt"/>
              </a:rPr>
              <a:t>22</a:t>
            </a:r>
            <a:endParaRPr lang="en-US" sz="1400" b="1" dirty="0">
              <a:solidFill>
                <a:schemeClr val="tx1">
                  <a:lumMod val="65000"/>
                  <a:lumOff val="35000"/>
                </a:schemeClr>
              </a:solidFill>
              <a:latin typeface="+mn-lt"/>
            </a:endParaRPr>
          </a:p>
        </p:txBody>
      </p:sp>
      <p:sp>
        <p:nvSpPr>
          <p:cNvPr id="237" name="TextBox 236"/>
          <p:cNvSpPr txBox="1"/>
          <p:nvPr/>
        </p:nvSpPr>
        <p:spPr>
          <a:xfrm>
            <a:off x="3912300" y="4492890"/>
            <a:ext cx="720885"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Brazil</a:t>
            </a:r>
          </a:p>
          <a:p>
            <a:pPr algn="ctr">
              <a:spcBef>
                <a:spcPts val="200"/>
              </a:spcBef>
              <a:spcAft>
                <a:spcPts val="200"/>
              </a:spcAft>
            </a:pPr>
            <a:r>
              <a:rPr lang="en-US" sz="1400" b="1" dirty="0" smtClean="0">
                <a:solidFill>
                  <a:schemeClr val="tx1">
                    <a:lumMod val="65000"/>
                    <a:lumOff val="35000"/>
                  </a:schemeClr>
                </a:solidFill>
                <a:latin typeface="+mn-lt"/>
              </a:rPr>
              <a:t>4</a:t>
            </a:r>
            <a:endParaRPr lang="en-US" sz="1400" b="1" dirty="0">
              <a:solidFill>
                <a:schemeClr val="tx1">
                  <a:lumMod val="65000"/>
                  <a:lumOff val="35000"/>
                </a:schemeClr>
              </a:solidFill>
              <a:latin typeface="+mn-lt"/>
            </a:endParaRPr>
          </a:p>
        </p:txBody>
      </p:sp>
      <p:sp>
        <p:nvSpPr>
          <p:cNvPr id="246" name="TextBox 245"/>
          <p:cNvSpPr txBox="1"/>
          <p:nvPr/>
        </p:nvSpPr>
        <p:spPr>
          <a:xfrm>
            <a:off x="4076885" y="2778165"/>
            <a:ext cx="429138"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UK</a:t>
            </a:r>
          </a:p>
          <a:p>
            <a:pPr algn="ctr">
              <a:spcBef>
                <a:spcPts val="200"/>
              </a:spcBef>
              <a:spcAft>
                <a:spcPts val="200"/>
              </a:spcAft>
            </a:pPr>
            <a:r>
              <a:rPr lang="en-US" sz="1400" b="1" dirty="0">
                <a:solidFill>
                  <a:schemeClr val="tx1">
                    <a:lumMod val="65000"/>
                    <a:lumOff val="35000"/>
                  </a:schemeClr>
                </a:solidFill>
                <a:latin typeface="+mn-lt"/>
              </a:rPr>
              <a:t>6</a:t>
            </a:r>
          </a:p>
        </p:txBody>
      </p:sp>
      <p:sp>
        <p:nvSpPr>
          <p:cNvPr id="256" name="TextBox 255"/>
          <p:cNvSpPr txBox="1"/>
          <p:nvPr/>
        </p:nvSpPr>
        <p:spPr>
          <a:xfrm>
            <a:off x="4320192" y="2429655"/>
            <a:ext cx="1374910"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Netherlands</a:t>
            </a:r>
          </a:p>
          <a:p>
            <a:pPr algn="ctr">
              <a:spcBef>
                <a:spcPts val="200"/>
              </a:spcBef>
              <a:spcAft>
                <a:spcPts val="200"/>
              </a:spcAft>
            </a:pPr>
            <a:r>
              <a:rPr lang="en-US" sz="1400" b="1" dirty="0" smtClean="0">
                <a:solidFill>
                  <a:schemeClr val="tx1">
                    <a:lumMod val="65000"/>
                    <a:lumOff val="35000"/>
                  </a:schemeClr>
                </a:solidFill>
                <a:latin typeface="+mn-lt"/>
              </a:rPr>
              <a:t>33</a:t>
            </a:r>
            <a:endParaRPr lang="en-US" sz="1400" b="1" dirty="0">
              <a:solidFill>
                <a:schemeClr val="tx1">
                  <a:lumMod val="65000"/>
                  <a:lumOff val="35000"/>
                </a:schemeClr>
              </a:solidFill>
              <a:latin typeface="+mn-lt"/>
            </a:endParaRPr>
          </a:p>
        </p:txBody>
      </p:sp>
      <p:sp>
        <p:nvSpPr>
          <p:cNvPr id="266" name="TextBox 265"/>
          <p:cNvSpPr txBox="1"/>
          <p:nvPr/>
        </p:nvSpPr>
        <p:spPr>
          <a:xfrm>
            <a:off x="6112010" y="4263630"/>
            <a:ext cx="677603" cy="503590"/>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India</a:t>
            </a:r>
            <a:br>
              <a:rPr lang="en-US" sz="1400" b="1" dirty="0" smtClean="0">
                <a:solidFill>
                  <a:schemeClr val="tx2"/>
                </a:solidFill>
                <a:latin typeface="+mn-lt"/>
              </a:rPr>
            </a:br>
            <a:r>
              <a:rPr lang="en-US" sz="1400" b="1" dirty="0" smtClean="0">
                <a:solidFill>
                  <a:schemeClr val="tx1">
                    <a:lumMod val="65000"/>
                    <a:lumOff val="35000"/>
                  </a:schemeClr>
                </a:solidFill>
                <a:latin typeface="+mn-lt"/>
              </a:rPr>
              <a:t>2</a:t>
            </a:r>
            <a:endParaRPr lang="en-US" sz="1400" b="1" dirty="0">
              <a:solidFill>
                <a:schemeClr val="tx1">
                  <a:lumMod val="65000"/>
                  <a:lumOff val="35000"/>
                </a:schemeClr>
              </a:solidFill>
              <a:latin typeface="+mn-lt"/>
            </a:endParaRPr>
          </a:p>
        </p:txBody>
      </p:sp>
      <p:sp>
        <p:nvSpPr>
          <p:cNvPr id="281" name="TextBox 280"/>
          <p:cNvSpPr txBox="1"/>
          <p:nvPr/>
        </p:nvSpPr>
        <p:spPr>
          <a:xfrm>
            <a:off x="7173552" y="5825074"/>
            <a:ext cx="1450251"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New Zealand</a:t>
            </a:r>
          </a:p>
          <a:p>
            <a:pPr algn="ctr">
              <a:spcBef>
                <a:spcPts val="200"/>
              </a:spcBef>
              <a:spcAft>
                <a:spcPts val="200"/>
              </a:spcAft>
            </a:pPr>
            <a:r>
              <a:rPr lang="en-US" sz="1400" b="1" dirty="0" smtClean="0">
                <a:solidFill>
                  <a:schemeClr val="tx1">
                    <a:lumMod val="65000"/>
                    <a:lumOff val="35000"/>
                  </a:schemeClr>
                </a:solidFill>
                <a:latin typeface="+mn-lt"/>
              </a:rPr>
              <a:t>2</a:t>
            </a:r>
            <a:endParaRPr lang="en-US" sz="1400" b="1" dirty="0">
              <a:solidFill>
                <a:schemeClr val="tx1">
                  <a:lumMod val="65000"/>
                  <a:lumOff val="35000"/>
                </a:schemeClr>
              </a:solidFill>
              <a:latin typeface="+mn-lt"/>
            </a:endParaRPr>
          </a:p>
        </p:txBody>
      </p:sp>
      <p:sp>
        <p:nvSpPr>
          <p:cNvPr id="284" name="TextBox 283"/>
          <p:cNvSpPr txBox="1"/>
          <p:nvPr/>
        </p:nvSpPr>
        <p:spPr>
          <a:xfrm>
            <a:off x="8370694" y="4720474"/>
            <a:ext cx="1052706"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Australia</a:t>
            </a:r>
          </a:p>
          <a:p>
            <a:pPr algn="ctr">
              <a:spcBef>
                <a:spcPts val="200"/>
              </a:spcBef>
              <a:spcAft>
                <a:spcPts val="200"/>
              </a:spcAft>
            </a:pPr>
            <a:r>
              <a:rPr lang="en-US" sz="1400" b="1" dirty="0">
                <a:solidFill>
                  <a:schemeClr val="tx1">
                    <a:lumMod val="65000"/>
                    <a:lumOff val="35000"/>
                  </a:schemeClr>
                </a:solidFill>
                <a:latin typeface="+mn-lt"/>
              </a:rPr>
              <a:t>7</a:t>
            </a:r>
          </a:p>
        </p:txBody>
      </p:sp>
      <p:sp>
        <p:nvSpPr>
          <p:cNvPr id="303" name="TextBox 302"/>
          <p:cNvSpPr txBox="1"/>
          <p:nvPr/>
        </p:nvSpPr>
        <p:spPr>
          <a:xfrm>
            <a:off x="7626141" y="3970219"/>
            <a:ext cx="1164916"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Singapore</a:t>
            </a:r>
          </a:p>
          <a:p>
            <a:pPr algn="ctr">
              <a:spcBef>
                <a:spcPts val="200"/>
              </a:spcBef>
              <a:spcAft>
                <a:spcPts val="200"/>
              </a:spcAft>
            </a:pPr>
            <a:r>
              <a:rPr lang="en-US" sz="1400" b="1" dirty="0" smtClean="0">
                <a:solidFill>
                  <a:schemeClr val="tx1">
                    <a:lumMod val="65000"/>
                    <a:lumOff val="35000"/>
                  </a:schemeClr>
                </a:solidFill>
                <a:latin typeface="+mn-lt"/>
              </a:rPr>
              <a:t>4</a:t>
            </a:r>
            <a:endParaRPr lang="en-US" sz="1400" b="1" dirty="0">
              <a:solidFill>
                <a:schemeClr val="tx1">
                  <a:lumMod val="65000"/>
                  <a:lumOff val="35000"/>
                </a:schemeClr>
              </a:solidFill>
              <a:latin typeface="+mn-lt"/>
            </a:endParaRPr>
          </a:p>
        </p:txBody>
      </p:sp>
      <p:sp>
        <p:nvSpPr>
          <p:cNvPr id="311" name="TextBox 310"/>
          <p:cNvSpPr txBox="1"/>
          <p:nvPr/>
        </p:nvSpPr>
        <p:spPr>
          <a:xfrm>
            <a:off x="6297220" y="2385913"/>
            <a:ext cx="2311064" cy="554886"/>
          </a:xfrm>
          <a:prstGeom prst="rect">
            <a:avLst/>
          </a:prstGeom>
          <a:noFill/>
        </p:spPr>
        <p:txBody>
          <a:bodyPr wrap="none" lIns="72000" tIns="36000" rIns="72000" bIns="36000" rtlCol="0" anchor="ctr" anchorCtr="0">
            <a:spAutoFit/>
          </a:bodyPr>
          <a:lstStyle/>
          <a:p>
            <a:pPr algn="ctr">
              <a:spcBef>
                <a:spcPts val="200"/>
              </a:spcBef>
              <a:spcAft>
                <a:spcPts val="200"/>
              </a:spcAft>
            </a:pPr>
            <a:r>
              <a:rPr lang="en-US" sz="1400" b="1" dirty="0" smtClean="0">
                <a:solidFill>
                  <a:schemeClr val="tx2"/>
                </a:solidFill>
                <a:latin typeface="+mn-lt"/>
              </a:rPr>
              <a:t>Hong Kong and China</a:t>
            </a:r>
          </a:p>
          <a:p>
            <a:pPr algn="ctr">
              <a:spcBef>
                <a:spcPts val="200"/>
              </a:spcBef>
              <a:spcAft>
                <a:spcPts val="200"/>
              </a:spcAft>
            </a:pPr>
            <a:r>
              <a:rPr lang="en-US" sz="1400" b="1" dirty="0" smtClean="0">
                <a:solidFill>
                  <a:schemeClr val="tx1">
                    <a:lumMod val="65000"/>
                    <a:lumOff val="35000"/>
                  </a:schemeClr>
                </a:solidFill>
                <a:latin typeface="+mn-lt"/>
              </a:rPr>
              <a:t>7</a:t>
            </a:r>
            <a:endParaRPr lang="en-US" sz="1400" b="1" dirty="0">
              <a:solidFill>
                <a:schemeClr val="tx1">
                  <a:lumMod val="65000"/>
                  <a:lumOff val="35000"/>
                </a:schemeClr>
              </a:solidFill>
              <a:latin typeface="+mn-lt"/>
            </a:endParaRPr>
          </a:p>
        </p:txBody>
      </p:sp>
      <p:sp>
        <p:nvSpPr>
          <p:cNvPr id="189" name="Freeform 188"/>
          <p:cNvSpPr>
            <a:spLocks noEditPoints="1"/>
          </p:cNvSpPr>
          <p:nvPr/>
        </p:nvSpPr>
        <p:spPr bwMode="auto">
          <a:xfrm>
            <a:off x="2912677" y="4323421"/>
            <a:ext cx="983467" cy="973848"/>
          </a:xfrm>
          <a:custGeom>
            <a:avLst/>
            <a:gdLst/>
            <a:ahLst/>
            <a:cxnLst>
              <a:cxn ang="0">
                <a:pos x="359" y="86"/>
              </a:cxn>
              <a:cxn ang="0">
                <a:pos x="362" y="76"/>
              </a:cxn>
              <a:cxn ang="0">
                <a:pos x="374" y="81"/>
              </a:cxn>
              <a:cxn ang="0">
                <a:pos x="362" y="52"/>
              </a:cxn>
              <a:cxn ang="0">
                <a:pos x="339" y="22"/>
              </a:cxn>
              <a:cxn ang="0">
                <a:pos x="317" y="57"/>
              </a:cxn>
              <a:cxn ang="0">
                <a:pos x="298" y="44"/>
              </a:cxn>
              <a:cxn ang="0">
                <a:pos x="273" y="54"/>
              </a:cxn>
              <a:cxn ang="0">
                <a:pos x="236" y="64"/>
              </a:cxn>
              <a:cxn ang="0">
                <a:pos x="214" y="39"/>
              </a:cxn>
              <a:cxn ang="0">
                <a:pos x="214" y="5"/>
              </a:cxn>
              <a:cxn ang="0">
                <a:pos x="170" y="20"/>
              </a:cxn>
              <a:cxn ang="0">
                <a:pos x="143" y="34"/>
              </a:cxn>
              <a:cxn ang="0">
                <a:pos x="130" y="69"/>
              </a:cxn>
              <a:cxn ang="0">
                <a:pos x="89" y="57"/>
              </a:cxn>
              <a:cxn ang="0">
                <a:pos x="69" y="76"/>
              </a:cxn>
              <a:cxn ang="0">
                <a:pos x="54" y="152"/>
              </a:cxn>
              <a:cxn ang="0">
                <a:pos x="12" y="170"/>
              </a:cxn>
              <a:cxn ang="0">
                <a:pos x="0" y="207"/>
              </a:cxn>
              <a:cxn ang="0">
                <a:pos x="47" y="236"/>
              </a:cxn>
              <a:cxn ang="0">
                <a:pos x="69" y="258"/>
              </a:cxn>
              <a:cxn ang="0">
                <a:pos x="123" y="236"/>
              </a:cxn>
              <a:cxn ang="0">
                <a:pos x="143" y="275"/>
              </a:cxn>
              <a:cxn ang="0">
                <a:pos x="194" y="300"/>
              </a:cxn>
              <a:cxn ang="0">
                <a:pos x="251" y="359"/>
              </a:cxn>
              <a:cxn ang="0">
                <a:pos x="258" y="433"/>
              </a:cxn>
              <a:cxn ang="0">
                <a:pos x="307" y="462"/>
              </a:cxn>
              <a:cxn ang="0">
                <a:pos x="322" y="494"/>
              </a:cxn>
              <a:cxn ang="0">
                <a:pos x="307" y="531"/>
              </a:cxn>
              <a:cxn ang="0">
                <a:pos x="278" y="563"/>
              </a:cxn>
              <a:cxn ang="0">
                <a:pos x="303" y="590"/>
              </a:cxn>
              <a:cxn ang="0">
                <a:pos x="342" y="617"/>
              </a:cxn>
              <a:cxn ang="0">
                <a:pos x="354" y="600"/>
              </a:cxn>
              <a:cxn ang="0">
                <a:pos x="369" y="578"/>
              </a:cxn>
              <a:cxn ang="0">
                <a:pos x="379" y="578"/>
              </a:cxn>
              <a:cxn ang="0">
                <a:pos x="362" y="605"/>
              </a:cxn>
              <a:cxn ang="0">
                <a:pos x="408" y="531"/>
              </a:cxn>
              <a:cxn ang="0">
                <a:pos x="406" y="502"/>
              </a:cxn>
              <a:cxn ang="0">
                <a:pos x="426" y="475"/>
              </a:cxn>
              <a:cxn ang="0">
                <a:pos x="460" y="450"/>
              </a:cxn>
              <a:cxn ang="0">
                <a:pos x="472" y="448"/>
              </a:cxn>
              <a:cxn ang="0">
                <a:pos x="509" y="435"/>
              </a:cxn>
              <a:cxn ang="0">
                <a:pos x="526" y="398"/>
              </a:cxn>
              <a:cxn ang="0">
                <a:pos x="541" y="339"/>
              </a:cxn>
              <a:cxn ang="0">
                <a:pos x="544" y="290"/>
              </a:cxn>
              <a:cxn ang="0">
                <a:pos x="549" y="285"/>
              </a:cxn>
              <a:cxn ang="0">
                <a:pos x="578" y="246"/>
              </a:cxn>
              <a:cxn ang="0">
                <a:pos x="603" y="192"/>
              </a:cxn>
              <a:cxn ang="0">
                <a:pos x="558" y="152"/>
              </a:cxn>
              <a:cxn ang="0">
                <a:pos x="504" y="128"/>
              </a:cxn>
              <a:cxn ang="0">
                <a:pos x="482" y="125"/>
              </a:cxn>
              <a:cxn ang="0">
                <a:pos x="458" y="125"/>
              </a:cxn>
              <a:cxn ang="0">
                <a:pos x="450" y="111"/>
              </a:cxn>
              <a:cxn ang="0">
                <a:pos x="426" y="103"/>
              </a:cxn>
              <a:cxn ang="0">
                <a:pos x="401" y="96"/>
              </a:cxn>
              <a:cxn ang="0">
                <a:pos x="374" y="133"/>
              </a:cxn>
              <a:cxn ang="0">
                <a:pos x="364" y="116"/>
              </a:cxn>
              <a:cxn ang="0">
                <a:pos x="386" y="106"/>
              </a:cxn>
              <a:cxn ang="0">
                <a:pos x="364" y="86"/>
              </a:cxn>
              <a:cxn ang="0">
                <a:pos x="347" y="103"/>
              </a:cxn>
              <a:cxn ang="0">
                <a:pos x="352" y="84"/>
              </a:cxn>
              <a:cxn ang="0">
                <a:pos x="362" y="57"/>
              </a:cxn>
            </a:cxnLst>
            <a:rect l="0" t="0" r="r" b="b"/>
            <a:pathLst>
              <a:path w="603" h="634">
                <a:moveTo>
                  <a:pt x="352" y="93"/>
                </a:moveTo>
                <a:lnTo>
                  <a:pt x="352" y="93"/>
                </a:lnTo>
                <a:lnTo>
                  <a:pt x="354" y="91"/>
                </a:lnTo>
                <a:lnTo>
                  <a:pt x="354" y="91"/>
                </a:lnTo>
                <a:lnTo>
                  <a:pt x="357" y="91"/>
                </a:lnTo>
                <a:lnTo>
                  <a:pt x="357" y="91"/>
                </a:lnTo>
                <a:lnTo>
                  <a:pt x="357" y="91"/>
                </a:lnTo>
                <a:lnTo>
                  <a:pt x="357" y="93"/>
                </a:lnTo>
                <a:lnTo>
                  <a:pt x="357" y="93"/>
                </a:lnTo>
                <a:lnTo>
                  <a:pt x="354" y="93"/>
                </a:lnTo>
                <a:lnTo>
                  <a:pt x="354" y="93"/>
                </a:lnTo>
                <a:lnTo>
                  <a:pt x="352" y="93"/>
                </a:lnTo>
                <a:lnTo>
                  <a:pt x="352" y="93"/>
                </a:lnTo>
                <a:close/>
                <a:moveTo>
                  <a:pt x="349" y="93"/>
                </a:moveTo>
                <a:lnTo>
                  <a:pt x="349" y="93"/>
                </a:lnTo>
                <a:lnTo>
                  <a:pt x="352" y="93"/>
                </a:lnTo>
                <a:lnTo>
                  <a:pt x="352" y="93"/>
                </a:lnTo>
                <a:lnTo>
                  <a:pt x="352" y="91"/>
                </a:lnTo>
                <a:lnTo>
                  <a:pt x="352" y="91"/>
                </a:lnTo>
                <a:lnTo>
                  <a:pt x="354" y="88"/>
                </a:lnTo>
                <a:lnTo>
                  <a:pt x="354" y="88"/>
                </a:lnTo>
                <a:lnTo>
                  <a:pt x="357" y="88"/>
                </a:lnTo>
                <a:lnTo>
                  <a:pt x="357" y="88"/>
                </a:lnTo>
                <a:lnTo>
                  <a:pt x="359" y="86"/>
                </a:lnTo>
                <a:lnTo>
                  <a:pt x="359" y="86"/>
                </a:lnTo>
                <a:lnTo>
                  <a:pt x="359" y="86"/>
                </a:lnTo>
                <a:lnTo>
                  <a:pt x="357" y="86"/>
                </a:lnTo>
                <a:lnTo>
                  <a:pt x="357" y="86"/>
                </a:lnTo>
                <a:lnTo>
                  <a:pt x="357" y="86"/>
                </a:lnTo>
                <a:lnTo>
                  <a:pt x="354" y="86"/>
                </a:lnTo>
                <a:lnTo>
                  <a:pt x="354" y="86"/>
                </a:lnTo>
                <a:lnTo>
                  <a:pt x="352" y="88"/>
                </a:lnTo>
                <a:lnTo>
                  <a:pt x="352" y="88"/>
                </a:lnTo>
                <a:lnTo>
                  <a:pt x="349" y="93"/>
                </a:lnTo>
                <a:lnTo>
                  <a:pt x="349" y="93"/>
                </a:lnTo>
                <a:close/>
                <a:moveTo>
                  <a:pt x="364" y="84"/>
                </a:moveTo>
                <a:lnTo>
                  <a:pt x="364" y="84"/>
                </a:lnTo>
                <a:lnTo>
                  <a:pt x="362" y="81"/>
                </a:lnTo>
                <a:lnTo>
                  <a:pt x="362" y="81"/>
                </a:lnTo>
                <a:lnTo>
                  <a:pt x="362" y="81"/>
                </a:lnTo>
                <a:lnTo>
                  <a:pt x="362" y="81"/>
                </a:lnTo>
                <a:lnTo>
                  <a:pt x="362" y="84"/>
                </a:lnTo>
                <a:lnTo>
                  <a:pt x="362" y="84"/>
                </a:lnTo>
                <a:lnTo>
                  <a:pt x="364" y="84"/>
                </a:lnTo>
                <a:lnTo>
                  <a:pt x="364" y="84"/>
                </a:lnTo>
                <a:lnTo>
                  <a:pt x="364" y="84"/>
                </a:lnTo>
                <a:close/>
                <a:moveTo>
                  <a:pt x="364" y="79"/>
                </a:moveTo>
                <a:lnTo>
                  <a:pt x="364" y="79"/>
                </a:lnTo>
                <a:lnTo>
                  <a:pt x="362" y="76"/>
                </a:lnTo>
                <a:lnTo>
                  <a:pt x="362" y="76"/>
                </a:lnTo>
                <a:lnTo>
                  <a:pt x="364" y="74"/>
                </a:lnTo>
                <a:lnTo>
                  <a:pt x="364" y="74"/>
                </a:lnTo>
                <a:lnTo>
                  <a:pt x="367" y="74"/>
                </a:lnTo>
                <a:lnTo>
                  <a:pt x="367" y="74"/>
                </a:lnTo>
                <a:lnTo>
                  <a:pt x="369" y="71"/>
                </a:lnTo>
                <a:lnTo>
                  <a:pt x="369" y="71"/>
                </a:lnTo>
                <a:lnTo>
                  <a:pt x="369" y="74"/>
                </a:lnTo>
                <a:lnTo>
                  <a:pt x="369" y="74"/>
                </a:lnTo>
                <a:lnTo>
                  <a:pt x="369" y="74"/>
                </a:lnTo>
                <a:lnTo>
                  <a:pt x="367" y="76"/>
                </a:lnTo>
                <a:lnTo>
                  <a:pt x="367" y="76"/>
                </a:lnTo>
                <a:lnTo>
                  <a:pt x="364" y="79"/>
                </a:lnTo>
                <a:lnTo>
                  <a:pt x="364" y="79"/>
                </a:lnTo>
                <a:lnTo>
                  <a:pt x="364" y="79"/>
                </a:lnTo>
                <a:close/>
                <a:moveTo>
                  <a:pt x="364" y="81"/>
                </a:moveTo>
                <a:lnTo>
                  <a:pt x="364" y="81"/>
                </a:lnTo>
                <a:lnTo>
                  <a:pt x="367" y="81"/>
                </a:lnTo>
                <a:lnTo>
                  <a:pt x="367" y="81"/>
                </a:lnTo>
                <a:lnTo>
                  <a:pt x="369" y="84"/>
                </a:lnTo>
                <a:lnTo>
                  <a:pt x="369" y="84"/>
                </a:lnTo>
                <a:lnTo>
                  <a:pt x="371" y="84"/>
                </a:lnTo>
                <a:lnTo>
                  <a:pt x="371" y="84"/>
                </a:lnTo>
                <a:lnTo>
                  <a:pt x="371" y="81"/>
                </a:lnTo>
                <a:lnTo>
                  <a:pt x="371" y="81"/>
                </a:lnTo>
                <a:lnTo>
                  <a:pt x="374" y="81"/>
                </a:lnTo>
                <a:lnTo>
                  <a:pt x="374" y="81"/>
                </a:lnTo>
                <a:lnTo>
                  <a:pt x="371" y="79"/>
                </a:lnTo>
                <a:lnTo>
                  <a:pt x="371" y="79"/>
                </a:lnTo>
                <a:lnTo>
                  <a:pt x="367" y="81"/>
                </a:lnTo>
                <a:lnTo>
                  <a:pt x="367" y="81"/>
                </a:lnTo>
                <a:lnTo>
                  <a:pt x="364" y="81"/>
                </a:lnTo>
                <a:lnTo>
                  <a:pt x="364" y="81"/>
                </a:lnTo>
                <a:lnTo>
                  <a:pt x="364" y="81"/>
                </a:lnTo>
                <a:close/>
                <a:moveTo>
                  <a:pt x="374" y="86"/>
                </a:moveTo>
                <a:lnTo>
                  <a:pt x="374" y="86"/>
                </a:lnTo>
                <a:lnTo>
                  <a:pt x="376" y="84"/>
                </a:lnTo>
                <a:lnTo>
                  <a:pt x="376" y="84"/>
                </a:lnTo>
                <a:lnTo>
                  <a:pt x="376" y="84"/>
                </a:lnTo>
                <a:lnTo>
                  <a:pt x="379" y="84"/>
                </a:lnTo>
                <a:lnTo>
                  <a:pt x="379" y="84"/>
                </a:lnTo>
                <a:lnTo>
                  <a:pt x="379" y="84"/>
                </a:lnTo>
                <a:lnTo>
                  <a:pt x="379" y="86"/>
                </a:lnTo>
                <a:lnTo>
                  <a:pt x="379" y="86"/>
                </a:lnTo>
                <a:lnTo>
                  <a:pt x="376" y="86"/>
                </a:lnTo>
                <a:lnTo>
                  <a:pt x="376" y="86"/>
                </a:lnTo>
                <a:lnTo>
                  <a:pt x="374" y="86"/>
                </a:lnTo>
                <a:lnTo>
                  <a:pt x="374" y="86"/>
                </a:lnTo>
                <a:close/>
                <a:moveTo>
                  <a:pt x="364" y="54"/>
                </a:moveTo>
                <a:lnTo>
                  <a:pt x="364" y="54"/>
                </a:lnTo>
                <a:lnTo>
                  <a:pt x="362" y="52"/>
                </a:lnTo>
                <a:lnTo>
                  <a:pt x="362" y="52"/>
                </a:lnTo>
                <a:lnTo>
                  <a:pt x="362" y="47"/>
                </a:lnTo>
                <a:lnTo>
                  <a:pt x="362" y="47"/>
                </a:lnTo>
                <a:lnTo>
                  <a:pt x="362" y="47"/>
                </a:lnTo>
                <a:lnTo>
                  <a:pt x="364" y="47"/>
                </a:lnTo>
                <a:lnTo>
                  <a:pt x="364" y="47"/>
                </a:lnTo>
                <a:lnTo>
                  <a:pt x="367" y="52"/>
                </a:lnTo>
                <a:lnTo>
                  <a:pt x="367" y="52"/>
                </a:lnTo>
                <a:lnTo>
                  <a:pt x="364" y="54"/>
                </a:lnTo>
                <a:lnTo>
                  <a:pt x="364" y="54"/>
                </a:lnTo>
                <a:lnTo>
                  <a:pt x="364" y="54"/>
                </a:lnTo>
                <a:close/>
                <a:moveTo>
                  <a:pt x="349" y="22"/>
                </a:moveTo>
                <a:lnTo>
                  <a:pt x="349" y="22"/>
                </a:lnTo>
                <a:lnTo>
                  <a:pt x="349" y="22"/>
                </a:lnTo>
                <a:lnTo>
                  <a:pt x="347" y="17"/>
                </a:lnTo>
                <a:lnTo>
                  <a:pt x="347" y="17"/>
                </a:lnTo>
                <a:lnTo>
                  <a:pt x="347" y="15"/>
                </a:lnTo>
                <a:lnTo>
                  <a:pt x="347" y="15"/>
                </a:lnTo>
                <a:lnTo>
                  <a:pt x="344" y="15"/>
                </a:lnTo>
                <a:lnTo>
                  <a:pt x="344" y="15"/>
                </a:lnTo>
                <a:lnTo>
                  <a:pt x="344" y="17"/>
                </a:lnTo>
                <a:lnTo>
                  <a:pt x="344" y="17"/>
                </a:lnTo>
                <a:lnTo>
                  <a:pt x="344" y="20"/>
                </a:lnTo>
                <a:lnTo>
                  <a:pt x="344" y="20"/>
                </a:lnTo>
                <a:lnTo>
                  <a:pt x="339" y="22"/>
                </a:lnTo>
                <a:lnTo>
                  <a:pt x="339" y="22"/>
                </a:lnTo>
                <a:lnTo>
                  <a:pt x="339" y="22"/>
                </a:lnTo>
                <a:lnTo>
                  <a:pt x="339" y="22"/>
                </a:lnTo>
                <a:lnTo>
                  <a:pt x="339" y="25"/>
                </a:lnTo>
                <a:lnTo>
                  <a:pt x="339" y="25"/>
                </a:lnTo>
                <a:lnTo>
                  <a:pt x="335" y="29"/>
                </a:lnTo>
                <a:lnTo>
                  <a:pt x="335" y="29"/>
                </a:lnTo>
                <a:lnTo>
                  <a:pt x="332" y="34"/>
                </a:lnTo>
                <a:lnTo>
                  <a:pt x="332" y="34"/>
                </a:lnTo>
                <a:lnTo>
                  <a:pt x="332" y="37"/>
                </a:lnTo>
                <a:lnTo>
                  <a:pt x="332" y="37"/>
                </a:lnTo>
                <a:lnTo>
                  <a:pt x="330" y="42"/>
                </a:lnTo>
                <a:lnTo>
                  <a:pt x="330" y="42"/>
                </a:lnTo>
                <a:lnTo>
                  <a:pt x="327" y="47"/>
                </a:lnTo>
                <a:lnTo>
                  <a:pt x="327" y="47"/>
                </a:lnTo>
                <a:lnTo>
                  <a:pt x="325" y="52"/>
                </a:lnTo>
                <a:lnTo>
                  <a:pt x="325" y="52"/>
                </a:lnTo>
                <a:lnTo>
                  <a:pt x="322" y="52"/>
                </a:lnTo>
                <a:lnTo>
                  <a:pt x="322" y="52"/>
                </a:lnTo>
                <a:lnTo>
                  <a:pt x="320" y="52"/>
                </a:lnTo>
                <a:lnTo>
                  <a:pt x="320" y="52"/>
                </a:lnTo>
                <a:lnTo>
                  <a:pt x="320" y="54"/>
                </a:lnTo>
                <a:lnTo>
                  <a:pt x="320" y="54"/>
                </a:lnTo>
                <a:lnTo>
                  <a:pt x="317" y="57"/>
                </a:lnTo>
                <a:lnTo>
                  <a:pt x="317" y="57"/>
                </a:lnTo>
                <a:lnTo>
                  <a:pt x="315" y="57"/>
                </a:lnTo>
                <a:lnTo>
                  <a:pt x="315" y="57"/>
                </a:lnTo>
                <a:lnTo>
                  <a:pt x="315" y="52"/>
                </a:lnTo>
                <a:lnTo>
                  <a:pt x="315" y="52"/>
                </a:lnTo>
                <a:lnTo>
                  <a:pt x="312" y="52"/>
                </a:lnTo>
                <a:lnTo>
                  <a:pt x="312" y="52"/>
                </a:lnTo>
                <a:lnTo>
                  <a:pt x="312" y="49"/>
                </a:lnTo>
                <a:lnTo>
                  <a:pt x="312" y="49"/>
                </a:lnTo>
                <a:lnTo>
                  <a:pt x="312" y="49"/>
                </a:lnTo>
                <a:lnTo>
                  <a:pt x="310" y="52"/>
                </a:lnTo>
                <a:lnTo>
                  <a:pt x="310" y="52"/>
                </a:lnTo>
                <a:lnTo>
                  <a:pt x="307" y="52"/>
                </a:lnTo>
                <a:lnTo>
                  <a:pt x="307" y="52"/>
                </a:lnTo>
                <a:lnTo>
                  <a:pt x="305" y="52"/>
                </a:lnTo>
                <a:lnTo>
                  <a:pt x="305" y="52"/>
                </a:lnTo>
                <a:lnTo>
                  <a:pt x="303" y="49"/>
                </a:lnTo>
                <a:lnTo>
                  <a:pt x="303" y="49"/>
                </a:lnTo>
                <a:lnTo>
                  <a:pt x="303" y="49"/>
                </a:lnTo>
                <a:lnTo>
                  <a:pt x="303" y="47"/>
                </a:lnTo>
                <a:lnTo>
                  <a:pt x="303" y="47"/>
                </a:lnTo>
                <a:lnTo>
                  <a:pt x="300" y="44"/>
                </a:lnTo>
                <a:lnTo>
                  <a:pt x="300" y="44"/>
                </a:lnTo>
                <a:lnTo>
                  <a:pt x="300" y="44"/>
                </a:lnTo>
                <a:lnTo>
                  <a:pt x="298" y="44"/>
                </a:lnTo>
                <a:lnTo>
                  <a:pt x="298" y="44"/>
                </a:lnTo>
                <a:lnTo>
                  <a:pt x="295" y="39"/>
                </a:lnTo>
                <a:lnTo>
                  <a:pt x="295" y="39"/>
                </a:lnTo>
                <a:lnTo>
                  <a:pt x="290" y="39"/>
                </a:lnTo>
                <a:lnTo>
                  <a:pt x="290" y="39"/>
                </a:lnTo>
                <a:lnTo>
                  <a:pt x="288" y="42"/>
                </a:lnTo>
                <a:lnTo>
                  <a:pt x="288" y="42"/>
                </a:lnTo>
                <a:lnTo>
                  <a:pt x="283" y="42"/>
                </a:lnTo>
                <a:lnTo>
                  <a:pt x="283" y="42"/>
                </a:lnTo>
                <a:lnTo>
                  <a:pt x="278" y="42"/>
                </a:lnTo>
                <a:lnTo>
                  <a:pt x="278" y="42"/>
                </a:lnTo>
                <a:lnTo>
                  <a:pt x="276" y="42"/>
                </a:lnTo>
                <a:lnTo>
                  <a:pt x="276" y="42"/>
                </a:lnTo>
                <a:lnTo>
                  <a:pt x="276" y="47"/>
                </a:lnTo>
                <a:lnTo>
                  <a:pt x="276" y="47"/>
                </a:lnTo>
                <a:lnTo>
                  <a:pt x="278" y="49"/>
                </a:lnTo>
                <a:lnTo>
                  <a:pt x="278" y="49"/>
                </a:lnTo>
                <a:lnTo>
                  <a:pt x="278" y="49"/>
                </a:lnTo>
                <a:lnTo>
                  <a:pt x="280" y="54"/>
                </a:lnTo>
                <a:lnTo>
                  <a:pt x="280" y="54"/>
                </a:lnTo>
                <a:lnTo>
                  <a:pt x="280" y="54"/>
                </a:lnTo>
                <a:lnTo>
                  <a:pt x="276" y="54"/>
                </a:lnTo>
                <a:lnTo>
                  <a:pt x="276" y="54"/>
                </a:lnTo>
                <a:lnTo>
                  <a:pt x="273" y="54"/>
                </a:lnTo>
                <a:lnTo>
                  <a:pt x="273" y="54"/>
                </a:lnTo>
                <a:lnTo>
                  <a:pt x="273" y="54"/>
                </a:lnTo>
                <a:lnTo>
                  <a:pt x="271" y="54"/>
                </a:lnTo>
                <a:lnTo>
                  <a:pt x="271" y="54"/>
                </a:lnTo>
                <a:lnTo>
                  <a:pt x="271" y="54"/>
                </a:lnTo>
                <a:lnTo>
                  <a:pt x="271" y="54"/>
                </a:lnTo>
                <a:lnTo>
                  <a:pt x="266" y="54"/>
                </a:lnTo>
                <a:lnTo>
                  <a:pt x="266" y="54"/>
                </a:lnTo>
                <a:lnTo>
                  <a:pt x="263" y="54"/>
                </a:lnTo>
                <a:lnTo>
                  <a:pt x="263" y="54"/>
                </a:lnTo>
                <a:lnTo>
                  <a:pt x="261" y="52"/>
                </a:lnTo>
                <a:lnTo>
                  <a:pt x="261" y="52"/>
                </a:lnTo>
                <a:lnTo>
                  <a:pt x="256" y="52"/>
                </a:lnTo>
                <a:lnTo>
                  <a:pt x="256" y="52"/>
                </a:lnTo>
                <a:lnTo>
                  <a:pt x="253" y="54"/>
                </a:lnTo>
                <a:lnTo>
                  <a:pt x="253" y="54"/>
                </a:lnTo>
                <a:lnTo>
                  <a:pt x="251" y="59"/>
                </a:lnTo>
                <a:lnTo>
                  <a:pt x="251" y="59"/>
                </a:lnTo>
                <a:lnTo>
                  <a:pt x="246" y="59"/>
                </a:lnTo>
                <a:lnTo>
                  <a:pt x="246" y="59"/>
                </a:lnTo>
                <a:lnTo>
                  <a:pt x="241" y="59"/>
                </a:lnTo>
                <a:lnTo>
                  <a:pt x="241" y="59"/>
                </a:lnTo>
                <a:lnTo>
                  <a:pt x="241" y="61"/>
                </a:lnTo>
                <a:lnTo>
                  <a:pt x="241" y="61"/>
                </a:lnTo>
                <a:lnTo>
                  <a:pt x="239" y="64"/>
                </a:lnTo>
                <a:lnTo>
                  <a:pt x="239" y="64"/>
                </a:lnTo>
                <a:lnTo>
                  <a:pt x="236" y="64"/>
                </a:lnTo>
                <a:lnTo>
                  <a:pt x="236" y="64"/>
                </a:lnTo>
                <a:lnTo>
                  <a:pt x="236" y="64"/>
                </a:lnTo>
                <a:lnTo>
                  <a:pt x="234" y="64"/>
                </a:lnTo>
                <a:lnTo>
                  <a:pt x="234" y="64"/>
                </a:lnTo>
                <a:lnTo>
                  <a:pt x="231" y="66"/>
                </a:lnTo>
                <a:lnTo>
                  <a:pt x="231" y="66"/>
                </a:lnTo>
                <a:lnTo>
                  <a:pt x="229" y="64"/>
                </a:lnTo>
                <a:lnTo>
                  <a:pt x="229" y="64"/>
                </a:lnTo>
                <a:lnTo>
                  <a:pt x="224" y="59"/>
                </a:lnTo>
                <a:lnTo>
                  <a:pt x="224" y="59"/>
                </a:lnTo>
                <a:lnTo>
                  <a:pt x="221" y="57"/>
                </a:lnTo>
                <a:lnTo>
                  <a:pt x="221" y="57"/>
                </a:lnTo>
                <a:lnTo>
                  <a:pt x="221" y="54"/>
                </a:lnTo>
                <a:lnTo>
                  <a:pt x="221" y="54"/>
                </a:lnTo>
                <a:lnTo>
                  <a:pt x="216" y="52"/>
                </a:lnTo>
                <a:lnTo>
                  <a:pt x="216" y="52"/>
                </a:lnTo>
                <a:lnTo>
                  <a:pt x="214" y="49"/>
                </a:lnTo>
                <a:lnTo>
                  <a:pt x="214" y="49"/>
                </a:lnTo>
                <a:lnTo>
                  <a:pt x="214" y="44"/>
                </a:lnTo>
                <a:lnTo>
                  <a:pt x="214" y="44"/>
                </a:lnTo>
                <a:lnTo>
                  <a:pt x="214" y="44"/>
                </a:lnTo>
                <a:lnTo>
                  <a:pt x="214" y="42"/>
                </a:lnTo>
                <a:lnTo>
                  <a:pt x="214" y="42"/>
                </a:lnTo>
                <a:lnTo>
                  <a:pt x="214" y="39"/>
                </a:lnTo>
                <a:lnTo>
                  <a:pt x="214" y="39"/>
                </a:lnTo>
                <a:lnTo>
                  <a:pt x="216" y="37"/>
                </a:lnTo>
                <a:lnTo>
                  <a:pt x="216" y="37"/>
                </a:lnTo>
                <a:lnTo>
                  <a:pt x="216" y="32"/>
                </a:lnTo>
                <a:lnTo>
                  <a:pt x="216" y="32"/>
                </a:lnTo>
                <a:lnTo>
                  <a:pt x="219" y="27"/>
                </a:lnTo>
                <a:lnTo>
                  <a:pt x="219" y="27"/>
                </a:lnTo>
                <a:lnTo>
                  <a:pt x="219" y="25"/>
                </a:lnTo>
                <a:lnTo>
                  <a:pt x="219" y="25"/>
                </a:lnTo>
                <a:lnTo>
                  <a:pt x="221" y="20"/>
                </a:lnTo>
                <a:lnTo>
                  <a:pt x="221" y="20"/>
                </a:lnTo>
                <a:lnTo>
                  <a:pt x="221" y="20"/>
                </a:lnTo>
                <a:lnTo>
                  <a:pt x="219" y="20"/>
                </a:lnTo>
                <a:lnTo>
                  <a:pt x="219" y="20"/>
                </a:lnTo>
                <a:lnTo>
                  <a:pt x="219" y="17"/>
                </a:lnTo>
                <a:lnTo>
                  <a:pt x="219" y="17"/>
                </a:lnTo>
                <a:lnTo>
                  <a:pt x="216" y="15"/>
                </a:lnTo>
                <a:lnTo>
                  <a:pt x="216" y="15"/>
                </a:lnTo>
                <a:lnTo>
                  <a:pt x="214" y="15"/>
                </a:lnTo>
                <a:lnTo>
                  <a:pt x="214" y="15"/>
                </a:lnTo>
                <a:lnTo>
                  <a:pt x="212" y="12"/>
                </a:lnTo>
                <a:lnTo>
                  <a:pt x="212" y="12"/>
                </a:lnTo>
                <a:lnTo>
                  <a:pt x="212" y="12"/>
                </a:lnTo>
                <a:lnTo>
                  <a:pt x="214" y="7"/>
                </a:lnTo>
                <a:lnTo>
                  <a:pt x="214" y="7"/>
                </a:lnTo>
                <a:lnTo>
                  <a:pt x="214" y="5"/>
                </a:lnTo>
                <a:lnTo>
                  <a:pt x="214" y="5"/>
                </a:lnTo>
                <a:lnTo>
                  <a:pt x="212" y="0"/>
                </a:lnTo>
                <a:lnTo>
                  <a:pt x="212" y="0"/>
                </a:lnTo>
                <a:lnTo>
                  <a:pt x="209" y="0"/>
                </a:lnTo>
                <a:lnTo>
                  <a:pt x="209" y="0"/>
                </a:lnTo>
                <a:lnTo>
                  <a:pt x="207" y="2"/>
                </a:lnTo>
                <a:lnTo>
                  <a:pt x="207" y="2"/>
                </a:lnTo>
                <a:lnTo>
                  <a:pt x="204" y="0"/>
                </a:lnTo>
                <a:lnTo>
                  <a:pt x="204" y="0"/>
                </a:lnTo>
                <a:lnTo>
                  <a:pt x="204" y="0"/>
                </a:lnTo>
                <a:lnTo>
                  <a:pt x="204" y="2"/>
                </a:lnTo>
                <a:lnTo>
                  <a:pt x="204" y="2"/>
                </a:lnTo>
                <a:lnTo>
                  <a:pt x="202" y="7"/>
                </a:lnTo>
                <a:lnTo>
                  <a:pt x="202" y="7"/>
                </a:lnTo>
                <a:lnTo>
                  <a:pt x="194" y="12"/>
                </a:lnTo>
                <a:lnTo>
                  <a:pt x="194" y="12"/>
                </a:lnTo>
                <a:lnTo>
                  <a:pt x="189" y="12"/>
                </a:lnTo>
                <a:lnTo>
                  <a:pt x="189" y="12"/>
                </a:lnTo>
                <a:lnTo>
                  <a:pt x="182" y="17"/>
                </a:lnTo>
                <a:lnTo>
                  <a:pt x="182" y="17"/>
                </a:lnTo>
                <a:lnTo>
                  <a:pt x="180" y="15"/>
                </a:lnTo>
                <a:lnTo>
                  <a:pt x="180" y="15"/>
                </a:lnTo>
                <a:lnTo>
                  <a:pt x="175" y="15"/>
                </a:lnTo>
                <a:lnTo>
                  <a:pt x="175" y="15"/>
                </a:lnTo>
                <a:lnTo>
                  <a:pt x="170" y="20"/>
                </a:lnTo>
                <a:lnTo>
                  <a:pt x="170" y="20"/>
                </a:lnTo>
                <a:lnTo>
                  <a:pt x="165" y="22"/>
                </a:lnTo>
                <a:lnTo>
                  <a:pt x="165" y="22"/>
                </a:lnTo>
                <a:lnTo>
                  <a:pt x="165" y="20"/>
                </a:lnTo>
                <a:lnTo>
                  <a:pt x="165" y="20"/>
                </a:lnTo>
                <a:lnTo>
                  <a:pt x="157" y="22"/>
                </a:lnTo>
                <a:lnTo>
                  <a:pt x="157" y="22"/>
                </a:lnTo>
                <a:lnTo>
                  <a:pt x="153" y="22"/>
                </a:lnTo>
                <a:lnTo>
                  <a:pt x="153" y="22"/>
                </a:lnTo>
                <a:lnTo>
                  <a:pt x="148" y="20"/>
                </a:lnTo>
                <a:lnTo>
                  <a:pt x="148" y="20"/>
                </a:lnTo>
                <a:lnTo>
                  <a:pt x="143" y="17"/>
                </a:lnTo>
                <a:lnTo>
                  <a:pt x="143" y="17"/>
                </a:lnTo>
                <a:lnTo>
                  <a:pt x="138" y="17"/>
                </a:lnTo>
                <a:lnTo>
                  <a:pt x="138" y="17"/>
                </a:lnTo>
                <a:lnTo>
                  <a:pt x="140" y="20"/>
                </a:lnTo>
                <a:lnTo>
                  <a:pt x="140" y="20"/>
                </a:lnTo>
                <a:lnTo>
                  <a:pt x="143" y="22"/>
                </a:lnTo>
                <a:lnTo>
                  <a:pt x="143" y="22"/>
                </a:lnTo>
                <a:lnTo>
                  <a:pt x="148" y="25"/>
                </a:lnTo>
                <a:lnTo>
                  <a:pt x="148" y="25"/>
                </a:lnTo>
                <a:lnTo>
                  <a:pt x="148" y="27"/>
                </a:lnTo>
                <a:lnTo>
                  <a:pt x="148" y="27"/>
                </a:lnTo>
                <a:lnTo>
                  <a:pt x="143" y="34"/>
                </a:lnTo>
                <a:lnTo>
                  <a:pt x="143" y="34"/>
                </a:lnTo>
                <a:lnTo>
                  <a:pt x="145" y="37"/>
                </a:lnTo>
                <a:lnTo>
                  <a:pt x="145" y="37"/>
                </a:lnTo>
                <a:lnTo>
                  <a:pt x="145" y="42"/>
                </a:lnTo>
                <a:lnTo>
                  <a:pt x="145" y="42"/>
                </a:lnTo>
                <a:lnTo>
                  <a:pt x="150" y="44"/>
                </a:lnTo>
                <a:lnTo>
                  <a:pt x="150" y="44"/>
                </a:lnTo>
                <a:lnTo>
                  <a:pt x="155" y="44"/>
                </a:lnTo>
                <a:lnTo>
                  <a:pt x="155" y="44"/>
                </a:lnTo>
                <a:lnTo>
                  <a:pt x="160" y="44"/>
                </a:lnTo>
                <a:lnTo>
                  <a:pt x="160" y="44"/>
                </a:lnTo>
                <a:lnTo>
                  <a:pt x="160" y="49"/>
                </a:lnTo>
                <a:lnTo>
                  <a:pt x="160" y="49"/>
                </a:lnTo>
                <a:lnTo>
                  <a:pt x="157" y="49"/>
                </a:lnTo>
                <a:lnTo>
                  <a:pt x="157" y="49"/>
                </a:lnTo>
                <a:lnTo>
                  <a:pt x="150" y="52"/>
                </a:lnTo>
                <a:lnTo>
                  <a:pt x="150" y="52"/>
                </a:lnTo>
                <a:lnTo>
                  <a:pt x="148" y="54"/>
                </a:lnTo>
                <a:lnTo>
                  <a:pt x="148" y="54"/>
                </a:lnTo>
                <a:lnTo>
                  <a:pt x="145" y="59"/>
                </a:lnTo>
                <a:lnTo>
                  <a:pt x="145" y="59"/>
                </a:lnTo>
                <a:lnTo>
                  <a:pt x="138" y="61"/>
                </a:lnTo>
                <a:lnTo>
                  <a:pt x="138" y="61"/>
                </a:lnTo>
                <a:lnTo>
                  <a:pt x="135" y="66"/>
                </a:lnTo>
                <a:lnTo>
                  <a:pt x="135" y="66"/>
                </a:lnTo>
                <a:lnTo>
                  <a:pt x="130" y="69"/>
                </a:lnTo>
                <a:lnTo>
                  <a:pt x="130" y="69"/>
                </a:lnTo>
                <a:lnTo>
                  <a:pt x="128" y="74"/>
                </a:lnTo>
                <a:lnTo>
                  <a:pt x="128" y="74"/>
                </a:lnTo>
                <a:lnTo>
                  <a:pt x="121" y="74"/>
                </a:lnTo>
                <a:lnTo>
                  <a:pt x="121" y="74"/>
                </a:lnTo>
                <a:lnTo>
                  <a:pt x="118" y="74"/>
                </a:lnTo>
                <a:lnTo>
                  <a:pt x="118" y="74"/>
                </a:lnTo>
                <a:lnTo>
                  <a:pt x="111" y="69"/>
                </a:lnTo>
                <a:lnTo>
                  <a:pt x="111" y="69"/>
                </a:lnTo>
                <a:lnTo>
                  <a:pt x="106" y="64"/>
                </a:lnTo>
                <a:lnTo>
                  <a:pt x="106" y="64"/>
                </a:lnTo>
                <a:lnTo>
                  <a:pt x="101" y="64"/>
                </a:lnTo>
                <a:lnTo>
                  <a:pt x="101" y="64"/>
                </a:lnTo>
                <a:lnTo>
                  <a:pt x="101" y="61"/>
                </a:lnTo>
                <a:lnTo>
                  <a:pt x="101" y="61"/>
                </a:lnTo>
                <a:lnTo>
                  <a:pt x="101" y="57"/>
                </a:lnTo>
                <a:lnTo>
                  <a:pt x="101" y="57"/>
                </a:lnTo>
                <a:lnTo>
                  <a:pt x="98" y="54"/>
                </a:lnTo>
                <a:lnTo>
                  <a:pt x="98" y="54"/>
                </a:lnTo>
                <a:lnTo>
                  <a:pt x="96" y="52"/>
                </a:lnTo>
                <a:lnTo>
                  <a:pt x="96" y="52"/>
                </a:lnTo>
                <a:lnTo>
                  <a:pt x="93" y="54"/>
                </a:lnTo>
                <a:lnTo>
                  <a:pt x="93" y="54"/>
                </a:lnTo>
                <a:lnTo>
                  <a:pt x="89" y="57"/>
                </a:lnTo>
                <a:lnTo>
                  <a:pt x="89" y="57"/>
                </a:lnTo>
                <a:lnTo>
                  <a:pt x="89" y="57"/>
                </a:lnTo>
                <a:lnTo>
                  <a:pt x="86" y="54"/>
                </a:lnTo>
                <a:lnTo>
                  <a:pt x="86" y="54"/>
                </a:lnTo>
                <a:lnTo>
                  <a:pt x="84" y="54"/>
                </a:lnTo>
                <a:lnTo>
                  <a:pt x="84" y="54"/>
                </a:lnTo>
                <a:lnTo>
                  <a:pt x="81" y="57"/>
                </a:lnTo>
                <a:lnTo>
                  <a:pt x="81" y="57"/>
                </a:lnTo>
                <a:lnTo>
                  <a:pt x="64" y="57"/>
                </a:lnTo>
                <a:lnTo>
                  <a:pt x="64" y="57"/>
                </a:lnTo>
                <a:lnTo>
                  <a:pt x="61" y="61"/>
                </a:lnTo>
                <a:lnTo>
                  <a:pt x="61" y="61"/>
                </a:lnTo>
                <a:lnTo>
                  <a:pt x="64" y="66"/>
                </a:lnTo>
                <a:lnTo>
                  <a:pt x="64" y="66"/>
                </a:lnTo>
                <a:lnTo>
                  <a:pt x="69" y="66"/>
                </a:lnTo>
                <a:lnTo>
                  <a:pt x="69" y="66"/>
                </a:lnTo>
                <a:lnTo>
                  <a:pt x="71" y="71"/>
                </a:lnTo>
                <a:lnTo>
                  <a:pt x="71" y="71"/>
                </a:lnTo>
                <a:lnTo>
                  <a:pt x="71" y="74"/>
                </a:lnTo>
                <a:lnTo>
                  <a:pt x="71" y="74"/>
                </a:lnTo>
                <a:lnTo>
                  <a:pt x="71" y="76"/>
                </a:lnTo>
                <a:lnTo>
                  <a:pt x="71" y="76"/>
                </a:lnTo>
                <a:lnTo>
                  <a:pt x="71" y="79"/>
                </a:lnTo>
                <a:lnTo>
                  <a:pt x="71" y="79"/>
                </a:lnTo>
                <a:lnTo>
                  <a:pt x="69" y="76"/>
                </a:lnTo>
                <a:lnTo>
                  <a:pt x="69" y="76"/>
                </a:lnTo>
                <a:lnTo>
                  <a:pt x="57" y="79"/>
                </a:lnTo>
                <a:lnTo>
                  <a:pt x="57" y="79"/>
                </a:lnTo>
                <a:lnTo>
                  <a:pt x="59" y="88"/>
                </a:lnTo>
                <a:lnTo>
                  <a:pt x="59" y="88"/>
                </a:lnTo>
                <a:lnTo>
                  <a:pt x="61" y="91"/>
                </a:lnTo>
                <a:lnTo>
                  <a:pt x="61" y="91"/>
                </a:lnTo>
                <a:lnTo>
                  <a:pt x="66" y="96"/>
                </a:lnTo>
                <a:lnTo>
                  <a:pt x="66" y="96"/>
                </a:lnTo>
                <a:lnTo>
                  <a:pt x="71" y="103"/>
                </a:lnTo>
                <a:lnTo>
                  <a:pt x="71" y="103"/>
                </a:lnTo>
                <a:lnTo>
                  <a:pt x="69" y="108"/>
                </a:lnTo>
                <a:lnTo>
                  <a:pt x="69" y="108"/>
                </a:lnTo>
                <a:lnTo>
                  <a:pt x="69" y="111"/>
                </a:lnTo>
                <a:lnTo>
                  <a:pt x="69" y="111"/>
                </a:lnTo>
                <a:lnTo>
                  <a:pt x="61" y="143"/>
                </a:lnTo>
                <a:lnTo>
                  <a:pt x="61" y="143"/>
                </a:lnTo>
                <a:lnTo>
                  <a:pt x="59" y="150"/>
                </a:lnTo>
                <a:lnTo>
                  <a:pt x="59" y="150"/>
                </a:lnTo>
                <a:lnTo>
                  <a:pt x="59" y="152"/>
                </a:lnTo>
                <a:lnTo>
                  <a:pt x="59" y="152"/>
                </a:lnTo>
                <a:lnTo>
                  <a:pt x="57" y="155"/>
                </a:lnTo>
                <a:lnTo>
                  <a:pt x="57" y="155"/>
                </a:lnTo>
                <a:lnTo>
                  <a:pt x="54" y="152"/>
                </a:lnTo>
                <a:lnTo>
                  <a:pt x="54" y="152"/>
                </a:lnTo>
                <a:lnTo>
                  <a:pt x="54" y="152"/>
                </a:lnTo>
                <a:lnTo>
                  <a:pt x="52" y="150"/>
                </a:lnTo>
                <a:lnTo>
                  <a:pt x="52" y="150"/>
                </a:lnTo>
                <a:lnTo>
                  <a:pt x="49" y="150"/>
                </a:lnTo>
                <a:lnTo>
                  <a:pt x="49" y="150"/>
                </a:lnTo>
                <a:lnTo>
                  <a:pt x="47" y="150"/>
                </a:lnTo>
                <a:lnTo>
                  <a:pt x="47" y="150"/>
                </a:lnTo>
                <a:lnTo>
                  <a:pt x="47" y="150"/>
                </a:lnTo>
                <a:lnTo>
                  <a:pt x="44" y="152"/>
                </a:lnTo>
                <a:lnTo>
                  <a:pt x="44" y="152"/>
                </a:lnTo>
                <a:lnTo>
                  <a:pt x="34" y="155"/>
                </a:lnTo>
                <a:lnTo>
                  <a:pt x="34" y="155"/>
                </a:lnTo>
                <a:lnTo>
                  <a:pt x="27" y="157"/>
                </a:lnTo>
                <a:lnTo>
                  <a:pt x="27" y="157"/>
                </a:lnTo>
                <a:lnTo>
                  <a:pt x="25" y="160"/>
                </a:lnTo>
                <a:lnTo>
                  <a:pt x="25" y="160"/>
                </a:lnTo>
                <a:lnTo>
                  <a:pt x="22" y="160"/>
                </a:lnTo>
                <a:lnTo>
                  <a:pt x="22" y="160"/>
                </a:lnTo>
                <a:lnTo>
                  <a:pt x="20" y="162"/>
                </a:lnTo>
                <a:lnTo>
                  <a:pt x="20" y="162"/>
                </a:lnTo>
                <a:lnTo>
                  <a:pt x="15" y="165"/>
                </a:lnTo>
                <a:lnTo>
                  <a:pt x="15" y="165"/>
                </a:lnTo>
                <a:lnTo>
                  <a:pt x="12" y="167"/>
                </a:lnTo>
                <a:lnTo>
                  <a:pt x="12" y="167"/>
                </a:lnTo>
                <a:lnTo>
                  <a:pt x="12" y="170"/>
                </a:lnTo>
                <a:lnTo>
                  <a:pt x="12" y="170"/>
                </a:lnTo>
                <a:lnTo>
                  <a:pt x="12" y="172"/>
                </a:lnTo>
                <a:lnTo>
                  <a:pt x="12" y="172"/>
                </a:lnTo>
                <a:lnTo>
                  <a:pt x="12" y="175"/>
                </a:lnTo>
                <a:lnTo>
                  <a:pt x="12" y="175"/>
                </a:lnTo>
                <a:lnTo>
                  <a:pt x="7" y="179"/>
                </a:lnTo>
                <a:lnTo>
                  <a:pt x="7" y="179"/>
                </a:lnTo>
                <a:lnTo>
                  <a:pt x="10" y="184"/>
                </a:lnTo>
                <a:lnTo>
                  <a:pt x="10" y="184"/>
                </a:lnTo>
                <a:lnTo>
                  <a:pt x="10" y="187"/>
                </a:lnTo>
                <a:lnTo>
                  <a:pt x="10" y="187"/>
                </a:lnTo>
                <a:lnTo>
                  <a:pt x="7" y="189"/>
                </a:lnTo>
                <a:lnTo>
                  <a:pt x="7" y="189"/>
                </a:lnTo>
                <a:lnTo>
                  <a:pt x="5" y="189"/>
                </a:lnTo>
                <a:lnTo>
                  <a:pt x="5" y="189"/>
                </a:lnTo>
                <a:lnTo>
                  <a:pt x="2" y="192"/>
                </a:lnTo>
                <a:lnTo>
                  <a:pt x="2" y="192"/>
                </a:lnTo>
                <a:lnTo>
                  <a:pt x="2" y="197"/>
                </a:lnTo>
                <a:lnTo>
                  <a:pt x="2" y="197"/>
                </a:lnTo>
                <a:lnTo>
                  <a:pt x="0" y="197"/>
                </a:lnTo>
                <a:lnTo>
                  <a:pt x="0" y="197"/>
                </a:lnTo>
                <a:lnTo>
                  <a:pt x="0" y="199"/>
                </a:lnTo>
                <a:lnTo>
                  <a:pt x="0" y="199"/>
                </a:lnTo>
                <a:lnTo>
                  <a:pt x="0" y="204"/>
                </a:lnTo>
                <a:lnTo>
                  <a:pt x="0" y="204"/>
                </a:lnTo>
                <a:lnTo>
                  <a:pt x="0" y="207"/>
                </a:lnTo>
                <a:lnTo>
                  <a:pt x="0" y="207"/>
                </a:lnTo>
                <a:lnTo>
                  <a:pt x="0" y="209"/>
                </a:lnTo>
                <a:lnTo>
                  <a:pt x="0" y="209"/>
                </a:lnTo>
                <a:lnTo>
                  <a:pt x="0" y="211"/>
                </a:lnTo>
                <a:lnTo>
                  <a:pt x="0" y="211"/>
                </a:lnTo>
                <a:lnTo>
                  <a:pt x="5" y="214"/>
                </a:lnTo>
                <a:lnTo>
                  <a:pt x="5" y="214"/>
                </a:lnTo>
                <a:lnTo>
                  <a:pt x="12" y="226"/>
                </a:lnTo>
                <a:lnTo>
                  <a:pt x="12" y="226"/>
                </a:lnTo>
                <a:lnTo>
                  <a:pt x="7" y="231"/>
                </a:lnTo>
                <a:lnTo>
                  <a:pt x="7" y="231"/>
                </a:lnTo>
                <a:lnTo>
                  <a:pt x="17" y="231"/>
                </a:lnTo>
                <a:lnTo>
                  <a:pt x="17" y="231"/>
                </a:lnTo>
                <a:lnTo>
                  <a:pt x="22" y="231"/>
                </a:lnTo>
                <a:lnTo>
                  <a:pt x="22" y="231"/>
                </a:lnTo>
                <a:lnTo>
                  <a:pt x="25" y="236"/>
                </a:lnTo>
                <a:lnTo>
                  <a:pt x="25" y="236"/>
                </a:lnTo>
                <a:lnTo>
                  <a:pt x="27" y="241"/>
                </a:lnTo>
                <a:lnTo>
                  <a:pt x="27" y="241"/>
                </a:lnTo>
                <a:lnTo>
                  <a:pt x="32" y="241"/>
                </a:lnTo>
                <a:lnTo>
                  <a:pt x="32" y="241"/>
                </a:lnTo>
                <a:lnTo>
                  <a:pt x="39" y="241"/>
                </a:lnTo>
                <a:lnTo>
                  <a:pt x="39" y="241"/>
                </a:lnTo>
                <a:lnTo>
                  <a:pt x="47" y="236"/>
                </a:lnTo>
                <a:lnTo>
                  <a:pt x="47" y="236"/>
                </a:lnTo>
                <a:lnTo>
                  <a:pt x="52" y="234"/>
                </a:lnTo>
                <a:lnTo>
                  <a:pt x="52" y="234"/>
                </a:lnTo>
                <a:lnTo>
                  <a:pt x="54" y="234"/>
                </a:lnTo>
                <a:lnTo>
                  <a:pt x="54" y="234"/>
                </a:lnTo>
                <a:lnTo>
                  <a:pt x="54" y="239"/>
                </a:lnTo>
                <a:lnTo>
                  <a:pt x="54" y="239"/>
                </a:lnTo>
                <a:lnTo>
                  <a:pt x="52" y="239"/>
                </a:lnTo>
                <a:lnTo>
                  <a:pt x="52" y="239"/>
                </a:lnTo>
                <a:lnTo>
                  <a:pt x="52" y="243"/>
                </a:lnTo>
                <a:lnTo>
                  <a:pt x="52" y="243"/>
                </a:lnTo>
                <a:lnTo>
                  <a:pt x="52" y="253"/>
                </a:lnTo>
                <a:lnTo>
                  <a:pt x="52" y="253"/>
                </a:lnTo>
                <a:lnTo>
                  <a:pt x="54" y="258"/>
                </a:lnTo>
                <a:lnTo>
                  <a:pt x="54" y="258"/>
                </a:lnTo>
                <a:lnTo>
                  <a:pt x="54" y="258"/>
                </a:lnTo>
                <a:lnTo>
                  <a:pt x="59" y="258"/>
                </a:lnTo>
                <a:lnTo>
                  <a:pt x="59" y="258"/>
                </a:lnTo>
                <a:lnTo>
                  <a:pt x="61" y="258"/>
                </a:lnTo>
                <a:lnTo>
                  <a:pt x="61" y="258"/>
                </a:lnTo>
                <a:lnTo>
                  <a:pt x="64" y="258"/>
                </a:lnTo>
                <a:lnTo>
                  <a:pt x="64" y="258"/>
                </a:lnTo>
                <a:lnTo>
                  <a:pt x="66" y="258"/>
                </a:lnTo>
                <a:lnTo>
                  <a:pt x="66" y="258"/>
                </a:lnTo>
                <a:lnTo>
                  <a:pt x="66" y="258"/>
                </a:lnTo>
                <a:lnTo>
                  <a:pt x="69" y="258"/>
                </a:lnTo>
                <a:lnTo>
                  <a:pt x="69" y="258"/>
                </a:lnTo>
                <a:lnTo>
                  <a:pt x="69" y="258"/>
                </a:lnTo>
                <a:lnTo>
                  <a:pt x="79" y="258"/>
                </a:lnTo>
                <a:lnTo>
                  <a:pt x="79" y="258"/>
                </a:lnTo>
                <a:lnTo>
                  <a:pt x="81" y="258"/>
                </a:lnTo>
                <a:lnTo>
                  <a:pt x="81" y="258"/>
                </a:lnTo>
                <a:lnTo>
                  <a:pt x="86" y="256"/>
                </a:lnTo>
                <a:lnTo>
                  <a:pt x="86" y="256"/>
                </a:lnTo>
                <a:lnTo>
                  <a:pt x="89" y="256"/>
                </a:lnTo>
                <a:lnTo>
                  <a:pt x="89" y="256"/>
                </a:lnTo>
                <a:lnTo>
                  <a:pt x="93" y="253"/>
                </a:lnTo>
                <a:lnTo>
                  <a:pt x="93" y="253"/>
                </a:lnTo>
                <a:lnTo>
                  <a:pt x="96" y="253"/>
                </a:lnTo>
                <a:lnTo>
                  <a:pt x="96" y="253"/>
                </a:lnTo>
                <a:lnTo>
                  <a:pt x="101" y="253"/>
                </a:lnTo>
                <a:lnTo>
                  <a:pt x="101" y="253"/>
                </a:lnTo>
                <a:lnTo>
                  <a:pt x="103" y="246"/>
                </a:lnTo>
                <a:lnTo>
                  <a:pt x="103" y="246"/>
                </a:lnTo>
                <a:lnTo>
                  <a:pt x="111" y="241"/>
                </a:lnTo>
                <a:lnTo>
                  <a:pt x="111" y="241"/>
                </a:lnTo>
                <a:lnTo>
                  <a:pt x="116" y="239"/>
                </a:lnTo>
                <a:lnTo>
                  <a:pt x="116" y="239"/>
                </a:lnTo>
                <a:lnTo>
                  <a:pt x="121" y="236"/>
                </a:lnTo>
                <a:lnTo>
                  <a:pt x="121" y="236"/>
                </a:lnTo>
                <a:lnTo>
                  <a:pt x="123" y="236"/>
                </a:lnTo>
                <a:lnTo>
                  <a:pt x="123" y="236"/>
                </a:lnTo>
                <a:lnTo>
                  <a:pt x="128" y="239"/>
                </a:lnTo>
                <a:lnTo>
                  <a:pt x="128" y="239"/>
                </a:lnTo>
                <a:lnTo>
                  <a:pt x="130" y="236"/>
                </a:lnTo>
                <a:lnTo>
                  <a:pt x="130" y="236"/>
                </a:lnTo>
                <a:lnTo>
                  <a:pt x="133" y="239"/>
                </a:lnTo>
                <a:lnTo>
                  <a:pt x="133" y="239"/>
                </a:lnTo>
                <a:lnTo>
                  <a:pt x="133" y="243"/>
                </a:lnTo>
                <a:lnTo>
                  <a:pt x="133" y="243"/>
                </a:lnTo>
                <a:lnTo>
                  <a:pt x="133" y="248"/>
                </a:lnTo>
                <a:lnTo>
                  <a:pt x="133" y="248"/>
                </a:lnTo>
                <a:lnTo>
                  <a:pt x="130" y="253"/>
                </a:lnTo>
                <a:lnTo>
                  <a:pt x="130" y="253"/>
                </a:lnTo>
                <a:lnTo>
                  <a:pt x="133" y="258"/>
                </a:lnTo>
                <a:lnTo>
                  <a:pt x="133" y="258"/>
                </a:lnTo>
                <a:lnTo>
                  <a:pt x="133" y="263"/>
                </a:lnTo>
                <a:lnTo>
                  <a:pt x="133" y="263"/>
                </a:lnTo>
                <a:lnTo>
                  <a:pt x="135" y="268"/>
                </a:lnTo>
                <a:lnTo>
                  <a:pt x="135" y="268"/>
                </a:lnTo>
                <a:lnTo>
                  <a:pt x="138" y="270"/>
                </a:lnTo>
                <a:lnTo>
                  <a:pt x="138" y="270"/>
                </a:lnTo>
                <a:lnTo>
                  <a:pt x="140" y="275"/>
                </a:lnTo>
                <a:lnTo>
                  <a:pt x="140" y="275"/>
                </a:lnTo>
                <a:lnTo>
                  <a:pt x="143" y="275"/>
                </a:lnTo>
                <a:lnTo>
                  <a:pt x="143" y="275"/>
                </a:lnTo>
                <a:lnTo>
                  <a:pt x="148" y="280"/>
                </a:lnTo>
                <a:lnTo>
                  <a:pt x="148" y="280"/>
                </a:lnTo>
                <a:lnTo>
                  <a:pt x="153" y="283"/>
                </a:lnTo>
                <a:lnTo>
                  <a:pt x="153" y="283"/>
                </a:lnTo>
                <a:lnTo>
                  <a:pt x="153" y="280"/>
                </a:lnTo>
                <a:lnTo>
                  <a:pt x="153" y="280"/>
                </a:lnTo>
                <a:lnTo>
                  <a:pt x="160" y="280"/>
                </a:lnTo>
                <a:lnTo>
                  <a:pt x="160" y="280"/>
                </a:lnTo>
                <a:lnTo>
                  <a:pt x="165" y="285"/>
                </a:lnTo>
                <a:lnTo>
                  <a:pt x="165" y="285"/>
                </a:lnTo>
                <a:lnTo>
                  <a:pt x="167" y="283"/>
                </a:lnTo>
                <a:lnTo>
                  <a:pt x="167" y="283"/>
                </a:lnTo>
                <a:lnTo>
                  <a:pt x="175" y="290"/>
                </a:lnTo>
                <a:lnTo>
                  <a:pt x="175" y="290"/>
                </a:lnTo>
                <a:lnTo>
                  <a:pt x="177" y="290"/>
                </a:lnTo>
                <a:lnTo>
                  <a:pt x="177" y="290"/>
                </a:lnTo>
                <a:lnTo>
                  <a:pt x="182" y="293"/>
                </a:lnTo>
                <a:lnTo>
                  <a:pt x="182" y="293"/>
                </a:lnTo>
                <a:lnTo>
                  <a:pt x="187" y="293"/>
                </a:lnTo>
                <a:lnTo>
                  <a:pt x="187" y="293"/>
                </a:lnTo>
                <a:lnTo>
                  <a:pt x="189" y="298"/>
                </a:lnTo>
                <a:lnTo>
                  <a:pt x="189" y="298"/>
                </a:lnTo>
                <a:lnTo>
                  <a:pt x="192" y="298"/>
                </a:lnTo>
                <a:lnTo>
                  <a:pt x="192" y="298"/>
                </a:lnTo>
                <a:lnTo>
                  <a:pt x="194" y="300"/>
                </a:lnTo>
                <a:lnTo>
                  <a:pt x="194" y="300"/>
                </a:lnTo>
                <a:lnTo>
                  <a:pt x="204" y="300"/>
                </a:lnTo>
                <a:lnTo>
                  <a:pt x="204" y="300"/>
                </a:lnTo>
                <a:lnTo>
                  <a:pt x="212" y="302"/>
                </a:lnTo>
                <a:lnTo>
                  <a:pt x="212" y="302"/>
                </a:lnTo>
                <a:lnTo>
                  <a:pt x="212" y="307"/>
                </a:lnTo>
                <a:lnTo>
                  <a:pt x="212" y="307"/>
                </a:lnTo>
                <a:lnTo>
                  <a:pt x="212" y="312"/>
                </a:lnTo>
                <a:lnTo>
                  <a:pt x="212" y="312"/>
                </a:lnTo>
                <a:lnTo>
                  <a:pt x="212" y="320"/>
                </a:lnTo>
                <a:lnTo>
                  <a:pt x="212" y="320"/>
                </a:lnTo>
                <a:lnTo>
                  <a:pt x="212" y="322"/>
                </a:lnTo>
                <a:lnTo>
                  <a:pt x="212" y="322"/>
                </a:lnTo>
                <a:lnTo>
                  <a:pt x="216" y="332"/>
                </a:lnTo>
                <a:lnTo>
                  <a:pt x="216" y="332"/>
                </a:lnTo>
                <a:lnTo>
                  <a:pt x="216" y="339"/>
                </a:lnTo>
                <a:lnTo>
                  <a:pt x="216" y="339"/>
                </a:lnTo>
                <a:lnTo>
                  <a:pt x="244" y="339"/>
                </a:lnTo>
                <a:lnTo>
                  <a:pt x="244" y="339"/>
                </a:lnTo>
                <a:lnTo>
                  <a:pt x="244" y="349"/>
                </a:lnTo>
                <a:lnTo>
                  <a:pt x="244" y="349"/>
                </a:lnTo>
                <a:lnTo>
                  <a:pt x="244" y="357"/>
                </a:lnTo>
                <a:lnTo>
                  <a:pt x="244" y="357"/>
                </a:lnTo>
                <a:lnTo>
                  <a:pt x="251" y="359"/>
                </a:lnTo>
                <a:lnTo>
                  <a:pt x="251" y="359"/>
                </a:lnTo>
                <a:lnTo>
                  <a:pt x="261" y="371"/>
                </a:lnTo>
                <a:lnTo>
                  <a:pt x="261" y="371"/>
                </a:lnTo>
                <a:lnTo>
                  <a:pt x="261" y="379"/>
                </a:lnTo>
                <a:lnTo>
                  <a:pt x="261" y="379"/>
                </a:lnTo>
                <a:lnTo>
                  <a:pt x="253" y="396"/>
                </a:lnTo>
                <a:lnTo>
                  <a:pt x="253" y="396"/>
                </a:lnTo>
                <a:lnTo>
                  <a:pt x="253" y="396"/>
                </a:lnTo>
                <a:lnTo>
                  <a:pt x="251" y="401"/>
                </a:lnTo>
                <a:lnTo>
                  <a:pt x="251" y="401"/>
                </a:lnTo>
                <a:lnTo>
                  <a:pt x="253" y="401"/>
                </a:lnTo>
                <a:lnTo>
                  <a:pt x="253" y="401"/>
                </a:lnTo>
                <a:lnTo>
                  <a:pt x="251" y="406"/>
                </a:lnTo>
                <a:lnTo>
                  <a:pt x="251" y="406"/>
                </a:lnTo>
                <a:lnTo>
                  <a:pt x="256" y="408"/>
                </a:lnTo>
                <a:lnTo>
                  <a:pt x="256" y="408"/>
                </a:lnTo>
                <a:lnTo>
                  <a:pt x="256" y="413"/>
                </a:lnTo>
                <a:lnTo>
                  <a:pt x="256" y="413"/>
                </a:lnTo>
                <a:lnTo>
                  <a:pt x="258" y="418"/>
                </a:lnTo>
                <a:lnTo>
                  <a:pt x="258" y="418"/>
                </a:lnTo>
                <a:lnTo>
                  <a:pt x="258" y="425"/>
                </a:lnTo>
                <a:lnTo>
                  <a:pt x="258" y="425"/>
                </a:lnTo>
                <a:lnTo>
                  <a:pt x="258" y="430"/>
                </a:lnTo>
                <a:lnTo>
                  <a:pt x="258" y="430"/>
                </a:lnTo>
                <a:lnTo>
                  <a:pt x="258" y="433"/>
                </a:lnTo>
                <a:lnTo>
                  <a:pt x="258" y="433"/>
                </a:lnTo>
                <a:lnTo>
                  <a:pt x="258" y="438"/>
                </a:lnTo>
                <a:lnTo>
                  <a:pt x="258" y="438"/>
                </a:lnTo>
                <a:lnTo>
                  <a:pt x="263" y="438"/>
                </a:lnTo>
                <a:lnTo>
                  <a:pt x="263" y="438"/>
                </a:lnTo>
                <a:lnTo>
                  <a:pt x="266" y="438"/>
                </a:lnTo>
                <a:lnTo>
                  <a:pt x="266" y="438"/>
                </a:lnTo>
                <a:lnTo>
                  <a:pt x="273" y="438"/>
                </a:lnTo>
                <a:lnTo>
                  <a:pt x="273" y="438"/>
                </a:lnTo>
                <a:lnTo>
                  <a:pt x="278" y="438"/>
                </a:lnTo>
                <a:lnTo>
                  <a:pt x="278" y="438"/>
                </a:lnTo>
                <a:lnTo>
                  <a:pt x="285" y="435"/>
                </a:lnTo>
                <a:lnTo>
                  <a:pt x="285" y="435"/>
                </a:lnTo>
                <a:lnTo>
                  <a:pt x="290" y="438"/>
                </a:lnTo>
                <a:lnTo>
                  <a:pt x="290" y="438"/>
                </a:lnTo>
                <a:lnTo>
                  <a:pt x="293" y="440"/>
                </a:lnTo>
                <a:lnTo>
                  <a:pt x="293" y="440"/>
                </a:lnTo>
                <a:lnTo>
                  <a:pt x="293" y="443"/>
                </a:lnTo>
                <a:lnTo>
                  <a:pt x="293" y="443"/>
                </a:lnTo>
                <a:lnTo>
                  <a:pt x="298" y="460"/>
                </a:lnTo>
                <a:lnTo>
                  <a:pt x="298" y="460"/>
                </a:lnTo>
                <a:lnTo>
                  <a:pt x="300" y="465"/>
                </a:lnTo>
                <a:lnTo>
                  <a:pt x="300" y="465"/>
                </a:lnTo>
                <a:lnTo>
                  <a:pt x="303" y="467"/>
                </a:lnTo>
                <a:lnTo>
                  <a:pt x="303" y="467"/>
                </a:lnTo>
                <a:lnTo>
                  <a:pt x="307" y="462"/>
                </a:lnTo>
                <a:lnTo>
                  <a:pt x="307" y="462"/>
                </a:lnTo>
                <a:lnTo>
                  <a:pt x="312" y="465"/>
                </a:lnTo>
                <a:lnTo>
                  <a:pt x="312" y="465"/>
                </a:lnTo>
                <a:lnTo>
                  <a:pt x="315" y="467"/>
                </a:lnTo>
                <a:lnTo>
                  <a:pt x="315" y="467"/>
                </a:lnTo>
                <a:lnTo>
                  <a:pt x="317" y="467"/>
                </a:lnTo>
                <a:lnTo>
                  <a:pt x="317" y="467"/>
                </a:lnTo>
                <a:lnTo>
                  <a:pt x="315" y="470"/>
                </a:lnTo>
                <a:lnTo>
                  <a:pt x="315" y="470"/>
                </a:lnTo>
                <a:lnTo>
                  <a:pt x="315" y="484"/>
                </a:lnTo>
                <a:lnTo>
                  <a:pt x="315" y="484"/>
                </a:lnTo>
                <a:lnTo>
                  <a:pt x="315" y="487"/>
                </a:lnTo>
                <a:lnTo>
                  <a:pt x="315" y="487"/>
                </a:lnTo>
                <a:lnTo>
                  <a:pt x="312" y="487"/>
                </a:lnTo>
                <a:lnTo>
                  <a:pt x="312" y="487"/>
                </a:lnTo>
                <a:lnTo>
                  <a:pt x="312" y="489"/>
                </a:lnTo>
                <a:lnTo>
                  <a:pt x="312" y="489"/>
                </a:lnTo>
                <a:lnTo>
                  <a:pt x="312" y="489"/>
                </a:lnTo>
                <a:lnTo>
                  <a:pt x="312" y="492"/>
                </a:lnTo>
                <a:lnTo>
                  <a:pt x="312" y="492"/>
                </a:lnTo>
                <a:lnTo>
                  <a:pt x="315" y="489"/>
                </a:lnTo>
                <a:lnTo>
                  <a:pt x="315" y="489"/>
                </a:lnTo>
                <a:lnTo>
                  <a:pt x="322" y="492"/>
                </a:lnTo>
                <a:lnTo>
                  <a:pt x="322" y="492"/>
                </a:lnTo>
                <a:lnTo>
                  <a:pt x="322" y="494"/>
                </a:lnTo>
                <a:lnTo>
                  <a:pt x="322" y="494"/>
                </a:lnTo>
                <a:lnTo>
                  <a:pt x="327" y="502"/>
                </a:lnTo>
                <a:lnTo>
                  <a:pt x="327" y="502"/>
                </a:lnTo>
                <a:lnTo>
                  <a:pt x="325" y="507"/>
                </a:lnTo>
                <a:lnTo>
                  <a:pt x="325" y="507"/>
                </a:lnTo>
                <a:lnTo>
                  <a:pt x="327" y="512"/>
                </a:lnTo>
                <a:lnTo>
                  <a:pt x="327" y="512"/>
                </a:lnTo>
                <a:lnTo>
                  <a:pt x="327" y="516"/>
                </a:lnTo>
                <a:lnTo>
                  <a:pt x="327" y="516"/>
                </a:lnTo>
                <a:lnTo>
                  <a:pt x="327" y="519"/>
                </a:lnTo>
                <a:lnTo>
                  <a:pt x="327" y="519"/>
                </a:lnTo>
                <a:lnTo>
                  <a:pt x="322" y="519"/>
                </a:lnTo>
                <a:lnTo>
                  <a:pt x="322" y="519"/>
                </a:lnTo>
                <a:lnTo>
                  <a:pt x="320" y="521"/>
                </a:lnTo>
                <a:lnTo>
                  <a:pt x="320" y="521"/>
                </a:lnTo>
                <a:lnTo>
                  <a:pt x="320" y="524"/>
                </a:lnTo>
                <a:lnTo>
                  <a:pt x="320" y="524"/>
                </a:lnTo>
                <a:lnTo>
                  <a:pt x="317" y="524"/>
                </a:lnTo>
                <a:lnTo>
                  <a:pt x="317" y="524"/>
                </a:lnTo>
                <a:lnTo>
                  <a:pt x="315" y="524"/>
                </a:lnTo>
                <a:lnTo>
                  <a:pt x="315" y="524"/>
                </a:lnTo>
                <a:lnTo>
                  <a:pt x="310" y="529"/>
                </a:lnTo>
                <a:lnTo>
                  <a:pt x="310" y="529"/>
                </a:lnTo>
                <a:lnTo>
                  <a:pt x="307" y="531"/>
                </a:lnTo>
                <a:lnTo>
                  <a:pt x="307" y="531"/>
                </a:lnTo>
                <a:lnTo>
                  <a:pt x="305" y="531"/>
                </a:lnTo>
                <a:lnTo>
                  <a:pt x="305" y="531"/>
                </a:lnTo>
                <a:lnTo>
                  <a:pt x="300" y="536"/>
                </a:lnTo>
                <a:lnTo>
                  <a:pt x="300" y="536"/>
                </a:lnTo>
                <a:lnTo>
                  <a:pt x="298" y="536"/>
                </a:lnTo>
                <a:lnTo>
                  <a:pt x="298" y="536"/>
                </a:lnTo>
                <a:lnTo>
                  <a:pt x="298" y="541"/>
                </a:lnTo>
                <a:lnTo>
                  <a:pt x="298" y="541"/>
                </a:lnTo>
                <a:lnTo>
                  <a:pt x="295" y="541"/>
                </a:lnTo>
                <a:lnTo>
                  <a:pt x="295" y="541"/>
                </a:lnTo>
                <a:lnTo>
                  <a:pt x="293" y="541"/>
                </a:lnTo>
                <a:lnTo>
                  <a:pt x="293" y="541"/>
                </a:lnTo>
                <a:lnTo>
                  <a:pt x="288" y="546"/>
                </a:lnTo>
                <a:lnTo>
                  <a:pt x="288" y="546"/>
                </a:lnTo>
                <a:lnTo>
                  <a:pt x="288" y="548"/>
                </a:lnTo>
                <a:lnTo>
                  <a:pt x="288" y="548"/>
                </a:lnTo>
                <a:lnTo>
                  <a:pt x="288" y="553"/>
                </a:lnTo>
                <a:lnTo>
                  <a:pt x="288" y="553"/>
                </a:lnTo>
                <a:lnTo>
                  <a:pt x="285" y="553"/>
                </a:lnTo>
                <a:lnTo>
                  <a:pt x="285" y="553"/>
                </a:lnTo>
                <a:lnTo>
                  <a:pt x="285" y="556"/>
                </a:lnTo>
                <a:lnTo>
                  <a:pt x="285" y="556"/>
                </a:lnTo>
                <a:lnTo>
                  <a:pt x="280" y="561"/>
                </a:lnTo>
                <a:lnTo>
                  <a:pt x="280" y="561"/>
                </a:lnTo>
                <a:lnTo>
                  <a:pt x="278" y="563"/>
                </a:lnTo>
                <a:lnTo>
                  <a:pt x="278" y="563"/>
                </a:lnTo>
                <a:lnTo>
                  <a:pt x="276" y="568"/>
                </a:lnTo>
                <a:lnTo>
                  <a:pt x="276" y="568"/>
                </a:lnTo>
                <a:lnTo>
                  <a:pt x="276" y="568"/>
                </a:lnTo>
                <a:lnTo>
                  <a:pt x="273" y="571"/>
                </a:lnTo>
                <a:lnTo>
                  <a:pt x="273" y="571"/>
                </a:lnTo>
                <a:lnTo>
                  <a:pt x="273" y="573"/>
                </a:lnTo>
                <a:lnTo>
                  <a:pt x="273" y="573"/>
                </a:lnTo>
                <a:lnTo>
                  <a:pt x="276" y="573"/>
                </a:lnTo>
                <a:lnTo>
                  <a:pt x="276" y="573"/>
                </a:lnTo>
                <a:lnTo>
                  <a:pt x="278" y="573"/>
                </a:lnTo>
                <a:lnTo>
                  <a:pt x="278" y="573"/>
                </a:lnTo>
                <a:lnTo>
                  <a:pt x="285" y="571"/>
                </a:lnTo>
                <a:lnTo>
                  <a:pt x="285" y="571"/>
                </a:lnTo>
                <a:lnTo>
                  <a:pt x="288" y="573"/>
                </a:lnTo>
                <a:lnTo>
                  <a:pt x="288" y="573"/>
                </a:lnTo>
                <a:lnTo>
                  <a:pt x="293" y="578"/>
                </a:lnTo>
                <a:lnTo>
                  <a:pt x="293" y="578"/>
                </a:lnTo>
                <a:lnTo>
                  <a:pt x="295" y="578"/>
                </a:lnTo>
                <a:lnTo>
                  <a:pt x="295" y="578"/>
                </a:lnTo>
                <a:lnTo>
                  <a:pt x="298" y="583"/>
                </a:lnTo>
                <a:lnTo>
                  <a:pt x="298" y="583"/>
                </a:lnTo>
                <a:lnTo>
                  <a:pt x="300" y="590"/>
                </a:lnTo>
                <a:lnTo>
                  <a:pt x="300" y="590"/>
                </a:lnTo>
                <a:lnTo>
                  <a:pt x="303" y="590"/>
                </a:lnTo>
                <a:lnTo>
                  <a:pt x="303" y="590"/>
                </a:lnTo>
                <a:lnTo>
                  <a:pt x="305" y="585"/>
                </a:lnTo>
                <a:lnTo>
                  <a:pt x="305" y="585"/>
                </a:lnTo>
                <a:lnTo>
                  <a:pt x="307" y="585"/>
                </a:lnTo>
                <a:lnTo>
                  <a:pt x="307" y="585"/>
                </a:lnTo>
                <a:lnTo>
                  <a:pt x="310" y="593"/>
                </a:lnTo>
                <a:lnTo>
                  <a:pt x="310" y="593"/>
                </a:lnTo>
                <a:lnTo>
                  <a:pt x="315" y="593"/>
                </a:lnTo>
                <a:lnTo>
                  <a:pt x="315" y="593"/>
                </a:lnTo>
                <a:lnTo>
                  <a:pt x="317" y="595"/>
                </a:lnTo>
                <a:lnTo>
                  <a:pt x="317" y="595"/>
                </a:lnTo>
                <a:lnTo>
                  <a:pt x="322" y="598"/>
                </a:lnTo>
                <a:lnTo>
                  <a:pt x="322" y="598"/>
                </a:lnTo>
                <a:lnTo>
                  <a:pt x="322" y="603"/>
                </a:lnTo>
                <a:lnTo>
                  <a:pt x="322" y="603"/>
                </a:lnTo>
                <a:lnTo>
                  <a:pt x="325" y="603"/>
                </a:lnTo>
                <a:lnTo>
                  <a:pt x="325" y="603"/>
                </a:lnTo>
                <a:lnTo>
                  <a:pt x="332" y="605"/>
                </a:lnTo>
                <a:lnTo>
                  <a:pt x="332" y="605"/>
                </a:lnTo>
                <a:lnTo>
                  <a:pt x="335" y="610"/>
                </a:lnTo>
                <a:lnTo>
                  <a:pt x="335" y="610"/>
                </a:lnTo>
                <a:lnTo>
                  <a:pt x="339" y="615"/>
                </a:lnTo>
                <a:lnTo>
                  <a:pt x="339" y="615"/>
                </a:lnTo>
                <a:lnTo>
                  <a:pt x="342" y="617"/>
                </a:lnTo>
                <a:lnTo>
                  <a:pt x="342" y="617"/>
                </a:lnTo>
                <a:lnTo>
                  <a:pt x="342" y="622"/>
                </a:lnTo>
                <a:lnTo>
                  <a:pt x="342" y="622"/>
                </a:lnTo>
                <a:lnTo>
                  <a:pt x="339" y="625"/>
                </a:lnTo>
                <a:lnTo>
                  <a:pt x="339" y="625"/>
                </a:lnTo>
                <a:lnTo>
                  <a:pt x="339" y="630"/>
                </a:lnTo>
                <a:lnTo>
                  <a:pt x="339" y="630"/>
                </a:lnTo>
                <a:lnTo>
                  <a:pt x="339" y="632"/>
                </a:lnTo>
                <a:lnTo>
                  <a:pt x="339" y="632"/>
                </a:lnTo>
                <a:lnTo>
                  <a:pt x="339" y="632"/>
                </a:lnTo>
                <a:lnTo>
                  <a:pt x="342" y="634"/>
                </a:lnTo>
                <a:lnTo>
                  <a:pt x="342" y="634"/>
                </a:lnTo>
                <a:lnTo>
                  <a:pt x="344" y="634"/>
                </a:lnTo>
                <a:lnTo>
                  <a:pt x="344" y="634"/>
                </a:lnTo>
                <a:lnTo>
                  <a:pt x="349" y="630"/>
                </a:lnTo>
                <a:lnTo>
                  <a:pt x="349" y="630"/>
                </a:lnTo>
                <a:lnTo>
                  <a:pt x="352" y="625"/>
                </a:lnTo>
                <a:lnTo>
                  <a:pt x="352" y="625"/>
                </a:lnTo>
                <a:lnTo>
                  <a:pt x="354" y="615"/>
                </a:lnTo>
                <a:lnTo>
                  <a:pt x="354" y="615"/>
                </a:lnTo>
                <a:lnTo>
                  <a:pt x="357" y="607"/>
                </a:lnTo>
                <a:lnTo>
                  <a:pt x="357" y="607"/>
                </a:lnTo>
                <a:lnTo>
                  <a:pt x="357" y="605"/>
                </a:lnTo>
                <a:lnTo>
                  <a:pt x="357" y="605"/>
                </a:lnTo>
                <a:lnTo>
                  <a:pt x="357" y="605"/>
                </a:lnTo>
                <a:lnTo>
                  <a:pt x="354" y="600"/>
                </a:lnTo>
                <a:lnTo>
                  <a:pt x="354" y="600"/>
                </a:lnTo>
                <a:lnTo>
                  <a:pt x="354" y="598"/>
                </a:lnTo>
                <a:lnTo>
                  <a:pt x="354" y="598"/>
                </a:lnTo>
                <a:lnTo>
                  <a:pt x="357" y="598"/>
                </a:lnTo>
                <a:lnTo>
                  <a:pt x="357" y="598"/>
                </a:lnTo>
                <a:lnTo>
                  <a:pt x="357" y="595"/>
                </a:lnTo>
                <a:lnTo>
                  <a:pt x="357" y="595"/>
                </a:lnTo>
                <a:lnTo>
                  <a:pt x="359" y="593"/>
                </a:lnTo>
                <a:lnTo>
                  <a:pt x="359" y="593"/>
                </a:lnTo>
                <a:lnTo>
                  <a:pt x="359" y="590"/>
                </a:lnTo>
                <a:lnTo>
                  <a:pt x="359" y="590"/>
                </a:lnTo>
                <a:lnTo>
                  <a:pt x="362" y="590"/>
                </a:lnTo>
                <a:lnTo>
                  <a:pt x="362" y="590"/>
                </a:lnTo>
                <a:lnTo>
                  <a:pt x="364" y="590"/>
                </a:lnTo>
                <a:lnTo>
                  <a:pt x="364" y="590"/>
                </a:lnTo>
                <a:lnTo>
                  <a:pt x="367" y="588"/>
                </a:lnTo>
                <a:lnTo>
                  <a:pt x="367" y="588"/>
                </a:lnTo>
                <a:lnTo>
                  <a:pt x="367" y="585"/>
                </a:lnTo>
                <a:lnTo>
                  <a:pt x="367" y="585"/>
                </a:lnTo>
                <a:lnTo>
                  <a:pt x="367" y="583"/>
                </a:lnTo>
                <a:lnTo>
                  <a:pt x="367" y="583"/>
                </a:lnTo>
                <a:lnTo>
                  <a:pt x="367" y="580"/>
                </a:lnTo>
                <a:lnTo>
                  <a:pt x="367" y="580"/>
                </a:lnTo>
                <a:lnTo>
                  <a:pt x="369" y="578"/>
                </a:lnTo>
                <a:lnTo>
                  <a:pt x="369" y="578"/>
                </a:lnTo>
                <a:lnTo>
                  <a:pt x="369" y="578"/>
                </a:lnTo>
                <a:lnTo>
                  <a:pt x="371" y="575"/>
                </a:lnTo>
                <a:lnTo>
                  <a:pt x="371" y="575"/>
                </a:lnTo>
                <a:lnTo>
                  <a:pt x="371" y="573"/>
                </a:lnTo>
                <a:lnTo>
                  <a:pt x="371" y="573"/>
                </a:lnTo>
                <a:lnTo>
                  <a:pt x="369" y="571"/>
                </a:lnTo>
                <a:lnTo>
                  <a:pt x="369" y="571"/>
                </a:lnTo>
                <a:lnTo>
                  <a:pt x="369" y="568"/>
                </a:lnTo>
                <a:lnTo>
                  <a:pt x="369" y="568"/>
                </a:lnTo>
                <a:lnTo>
                  <a:pt x="367" y="566"/>
                </a:lnTo>
                <a:lnTo>
                  <a:pt x="367" y="566"/>
                </a:lnTo>
                <a:lnTo>
                  <a:pt x="369" y="566"/>
                </a:lnTo>
                <a:lnTo>
                  <a:pt x="369" y="566"/>
                </a:lnTo>
                <a:lnTo>
                  <a:pt x="371" y="571"/>
                </a:lnTo>
                <a:lnTo>
                  <a:pt x="371" y="571"/>
                </a:lnTo>
                <a:lnTo>
                  <a:pt x="374" y="573"/>
                </a:lnTo>
                <a:lnTo>
                  <a:pt x="374" y="573"/>
                </a:lnTo>
                <a:lnTo>
                  <a:pt x="376" y="573"/>
                </a:lnTo>
                <a:lnTo>
                  <a:pt x="376" y="573"/>
                </a:lnTo>
                <a:lnTo>
                  <a:pt x="376" y="573"/>
                </a:lnTo>
                <a:lnTo>
                  <a:pt x="379" y="573"/>
                </a:lnTo>
                <a:lnTo>
                  <a:pt x="379" y="573"/>
                </a:lnTo>
                <a:lnTo>
                  <a:pt x="379" y="578"/>
                </a:lnTo>
                <a:lnTo>
                  <a:pt x="379" y="578"/>
                </a:lnTo>
                <a:lnTo>
                  <a:pt x="379" y="578"/>
                </a:lnTo>
                <a:lnTo>
                  <a:pt x="376" y="583"/>
                </a:lnTo>
                <a:lnTo>
                  <a:pt x="376" y="583"/>
                </a:lnTo>
                <a:lnTo>
                  <a:pt x="371" y="588"/>
                </a:lnTo>
                <a:lnTo>
                  <a:pt x="371" y="588"/>
                </a:lnTo>
                <a:lnTo>
                  <a:pt x="369" y="588"/>
                </a:lnTo>
                <a:lnTo>
                  <a:pt x="369" y="588"/>
                </a:lnTo>
                <a:lnTo>
                  <a:pt x="369" y="593"/>
                </a:lnTo>
                <a:lnTo>
                  <a:pt x="369" y="593"/>
                </a:lnTo>
                <a:lnTo>
                  <a:pt x="369" y="595"/>
                </a:lnTo>
                <a:lnTo>
                  <a:pt x="369" y="595"/>
                </a:lnTo>
                <a:lnTo>
                  <a:pt x="367" y="595"/>
                </a:lnTo>
                <a:lnTo>
                  <a:pt x="367" y="595"/>
                </a:lnTo>
                <a:lnTo>
                  <a:pt x="364" y="595"/>
                </a:lnTo>
                <a:lnTo>
                  <a:pt x="364" y="595"/>
                </a:lnTo>
                <a:lnTo>
                  <a:pt x="362" y="598"/>
                </a:lnTo>
                <a:lnTo>
                  <a:pt x="362" y="598"/>
                </a:lnTo>
                <a:lnTo>
                  <a:pt x="362" y="600"/>
                </a:lnTo>
                <a:lnTo>
                  <a:pt x="362" y="600"/>
                </a:lnTo>
                <a:lnTo>
                  <a:pt x="359" y="600"/>
                </a:lnTo>
                <a:lnTo>
                  <a:pt x="359" y="600"/>
                </a:lnTo>
                <a:lnTo>
                  <a:pt x="357" y="603"/>
                </a:lnTo>
                <a:lnTo>
                  <a:pt x="357" y="603"/>
                </a:lnTo>
                <a:lnTo>
                  <a:pt x="357" y="603"/>
                </a:lnTo>
                <a:lnTo>
                  <a:pt x="362" y="605"/>
                </a:lnTo>
                <a:lnTo>
                  <a:pt x="362" y="605"/>
                </a:lnTo>
                <a:lnTo>
                  <a:pt x="369" y="595"/>
                </a:lnTo>
                <a:lnTo>
                  <a:pt x="369" y="595"/>
                </a:lnTo>
                <a:lnTo>
                  <a:pt x="376" y="590"/>
                </a:lnTo>
                <a:lnTo>
                  <a:pt x="376" y="590"/>
                </a:lnTo>
                <a:lnTo>
                  <a:pt x="381" y="578"/>
                </a:lnTo>
                <a:lnTo>
                  <a:pt x="381" y="578"/>
                </a:lnTo>
                <a:lnTo>
                  <a:pt x="386" y="573"/>
                </a:lnTo>
                <a:lnTo>
                  <a:pt x="386" y="573"/>
                </a:lnTo>
                <a:lnTo>
                  <a:pt x="389" y="563"/>
                </a:lnTo>
                <a:lnTo>
                  <a:pt x="389" y="563"/>
                </a:lnTo>
                <a:lnTo>
                  <a:pt x="396" y="551"/>
                </a:lnTo>
                <a:lnTo>
                  <a:pt x="396" y="551"/>
                </a:lnTo>
                <a:lnTo>
                  <a:pt x="401" y="543"/>
                </a:lnTo>
                <a:lnTo>
                  <a:pt x="401" y="543"/>
                </a:lnTo>
                <a:lnTo>
                  <a:pt x="403" y="541"/>
                </a:lnTo>
                <a:lnTo>
                  <a:pt x="403" y="541"/>
                </a:lnTo>
                <a:lnTo>
                  <a:pt x="403" y="539"/>
                </a:lnTo>
                <a:lnTo>
                  <a:pt x="403" y="539"/>
                </a:lnTo>
                <a:lnTo>
                  <a:pt x="403" y="536"/>
                </a:lnTo>
                <a:lnTo>
                  <a:pt x="403" y="536"/>
                </a:lnTo>
                <a:lnTo>
                  <a:pt x="403" y="536"/>
                </a:lnTo>
                <a:lnTo>
                  <a:pt x="406" y="534"/>
                </a:lnTo>
                <a:lnTo>
                  <a:pt x="406" y="534"/>
                </a:lnTo>
                <a:lnTo>
                  <a:pt x="408" y="531"/>
                </a:lnTo>
                <a:lnTo>
                  <a:pt x="408" y="531"/>
                </a:lnTo>
                <a:lnTo>
                  <a:pt x="406" y="529"/>
                </a:lnTo>
                <a:lnTo>
                  <a:pt x="406" y="529"/>
                </a:lnTo>
                <a:lnTo>
                  <a:pt x="408" y="526"/>
                </a:lnTo>
                <a:lnTo>
                  <a:pt x="408" y="526"/>
                </a:lnTo>
                <a:lnTo>
                  <a:pt x="406" y="526"/>
                </a:lnTo>
                <a:lnTo>
                  <a:pt x="406" y="526"/>
                </a:lnTo>
                <a:lnTo>
                  <a:pt x="406" y="526"/>
                </a:lnTo>
                <a:lnTo>
                  <a:pt x="406" y="521"/>
                </a:lnTo>
                <a:lnTo>
                  <a:pt x="406" y="521"/>
                </a:lnTo>
                <a:lnTo>
                  <a:pt x="403" y="519"/>
                </a:lnTo>
                <a:lnTo>
                  <a:pt x="403" y="519"/>
                </a:lnTo>
                <a:lnTo>
                  <a:pt x="403" y="516"/>
                </a:lnTo>
                <a:lnTo>
                  <a:pt x="403" y="516"/>
                </a:lnTo>
                <a:lnTo>
                  <a:pt x="403" y="514"/>
                </a:lnTo>
                <a:lnTo>
                  <a:pt x="403" y="514"/>
                </a:lnTo>
                <a:lnTo>
                  <a:pt x="403" y="512"/>
                </a:lnTo>
                <a:lnTo>
                  <a:pt x="403" y="512"/>
                </a:lnTo>
                <a:lnTo>
                  <a:pt x="401" y="507"/>
                </a:lnTo>
                <a:lnTo>
                  <a:pt x="401" y="507"/>
                </a:lnTo>
                <a:lnTo>
                  <a:pt x="401" y="504"/>
                </a:lnTo>
                <a:lnTo>
                  <a:pt x="401" y="504"/>
                </a:lnTo>
                <a:lnTo>
                  <a:pt x="401" y="502"/>
                </a:lnTo>
                <a:lnTo>
                  <a:pt x="401" y="502"/>
                </a:lnTo>
                <a:lnTo>
                  <a:pt x="406" y="502"/>
                </a:lnTo>
                <a:lnTo>
                  <a:pt x="406" y="502"/>
                </a:lnTo>
                <a:lnTo>
                  <a:pt x="403" y="499"/>
                </a:lnTo>
                <a:lnTo>
                  <a:pt x="403" y="499"/>
                </a:lnTo>
                <a:lnTo>
                  <a:pt x="403" y="497"/>
                </a:lnTo>
                <a:lnTo>
                  <a:pt x="403" y="497"/>
                </a:lnTo>
                <a:lnTo>
                  <a:pt x="406" y="497"/>
                </a:lnTo>
                <a:lnTo>
                  <a:pt x="406" y="497"/>
                </a:lnTo>
                <a:lnTo>
                  <a:pt x="406" y="494"/>
                </a:lnTo>
                <a:lnTo>
                  <a:pt x="406" y="494"/>
                </a:lnTo>
                <a:lnTo>
                  <a:pt x="403" y="492"/>
                </a:lnTo>
                <a:lnTo>
                  <a:pt x="403" y="492"/>
                </a:lnTo>
                <a:lnTo>
                  <a:pt x="406" y="492"/>
                </a:lnTo>
                <a:lnTo>
                  <a:pt x="406" y="492"/>
                </a:lnTo>
                <a:lnTo>
                  <a:pt x="408" y="487"/>
                </a:lnTo>
                <a:lnTo>
                  <a:pt x="408" y="487"/>
                </a:lnTo>
                <a:lnTo>
                  <a:pt x="408" y="489"/>
                </a:lnTo>
                <a:lnTo>
                  <a:pt x="408" y="489"/>
                </a:lnTo>
                <a:lnTo>
                  <a:pt x="413" y="484"/>
                </a:lnTo>
                <a:lnTo>
                  <a:pt x="413" y="484"/>
                </a:lnTo>
                <a:lnTo>
                  <a:pt x="416" y="482"/>
                </a:lnTo>
                <a:lnTo>
                  <a:pt x="416" y="482"/>
                </a:lnTo>
                <a:lnTo>
                  <a:pt x="416" y="482"/>
                </a:lnTo>
                <a:lnTo>
                  <a:pt x="421" y="477"/>
                </a:lnTo>
                <a:lnTo>
                  <a:pt x="421" y="477"/>
                </a:lnTo>
                <a:lnTo>
                  <a:pt x="426" y="475"/>
                </a:lnTo>
                <a:lnTo>
                  <a:pt x="426" y="475"/>
                </a:lnTo>
                <a:lnTo>
                  <a:pt x="433" y="467"/>
                </a:lnTo>
                <a:lnTo>
                  <a:pt x="433" y="467"/>
                </a:lnTo>
                <a:lnTo>
                  <a:pt x="438" y="467"/>
                </a:lnTo>
                <a:lnTo>
                  <a:pt x="438" y="467"/>
                </a:lnTo>
                <a:lnTo>
                  <a:pt x="440" y="465"/>
                </a:lnTo>
                <a:lnTo>
                  <a:pt x="440" y="465"/>
                </a:lnTo>
                <a:lnTo>
                  <a:pt x="443" y="462"/>
                </a:lnTo>
                <a:lnTo>
                  <a:pt x="443" y="462"/>
                </a:lnTo>
                <a:lnTo>
                  <a:pt x="448" y="462"/>
                </a:lnTo>
                <a:lnTo>
                  <a:pt x="448" y="462"/>
                </a:lnTo>
                <a:lnTo>
                  <a:pt x="448" y="462"/>
                </a:lnTo>
                <a:lnTo>
                  <a:pt x="450" y="462"/>
                </a:lnTo>
                <a:lnTo>
                  <a:pt x="450" y="462"/>
                </a:lnTo>
                <a:lnTo>
                  <a:pt x="450" y="462"/>
                </a:lnTo>
                <a:lnTo>
                  <a:pt x="453" y="457"/>
                </a:lnTo>
                <a:lnTo>
                  <a:pt x="453" y="457"/>
                </a:lnTo>
                <a:lnTo>
                  <a:pt x="460" y="452"/>
                </a:lnTo>
                <a:lnTo>
                  <a:pt x="460" y="452"/>
                </a:lnTo>
                <a:lnTo>
                  <a:pt x="462" y="452"/>
                </a:lnTo>
                <a:lnTo>
                  <a:pt x="462" y="452"/>
                </a:lnTo>
                <a:lnTo>
                  <a:pt x="462" y="450"/>
                </a:lnTo>
                <a:lnTo>
                  <a:pt x="462" y="450"/>
                </a:lnTo>
                <a:lnTo>
                  <a:pt x="462" y="450"/>
                </a:lnTo>
                <a:lnTo>
                  <a:pt x="460" y="450"/>
                </a:lnTo>
                <a:lnTo>
                  <a:pt x="460" y="450"/>
                </a:lnTo>
                <a:lnTo>
                  <a:pt x="458" y="448"/>
                </a:lnTo>
                <a:lnTo>
                  <a:pt x="458" y="448"/>
                </a:lnTo>
                <a:lnTo>
                  <a:pt x="460" y="448"/>
                </a:lnTo>
                <a:lnTo>
                  <a:pt x="460" y="448"/>
                </a:lnTo>
                <a:lnTo>
                  <a:pt x="465" y="445"/>
                </a:lnTo>
                <a:lnTo>
                  <a:pt x="465" y="445"/>
                </a:lnTo>
                <a:lnTo>
                  <a:pt x="467" y="445"/>
                </a:lnTo>
                <a:lnTo>
                  <a:pt x="467" y="445"/>
                </a:lnTo>
                <a:lnTo>
                  <a:pt x="470" y="445"/>
                </a:lnTo>
                <a:lnTo>
                  <a:pt x="470" y="445"/>
                </a:lnTo>
                <a:lnTo>
                  <a:pt x="472" y="443"/>
                </a:lnTo>
                <a:lnTo>
                  <a:pt x="472" y="443"/>
                </a:lnTo>
                <a:lnTo>
                  <a:pt x="475" y="443"/>
                </a:lnTo>
                <a:lnTo>
                  <a:pt x="475" y="443"/>
                </a:lnTo>
                <a:lnTo>
                  <a:pt x="475" y="445"/>
                </a:lnTo>
                <a:lnTo>
                  <a:pt x="475" y="445"/>
                </a:lnTo>
                <a:lnTo>
                  <a:pt x="470" y="448"/>
                </a:lnTo>
                <a:lnTo>
                  <a:pt x="470" y="448"/>
                </a:lnTo>
                <a:lnTo>
                  <a:pt x="465" y="448"/>
                </a:lnTo>
                <a:lnTo>
                  <a:pt x="465" y="448"/>
                </a:lnTo>
                <a:lnTo>
                  <a:pt x="465" y="448"/>
                </a:lnTo>
                <a:lnTo>
                  <a:pt x="467" y="450"/>
                </a:lnTo>
                <a:lnTo>
                  <a:pt x="467" y="450"/>
                </a:lnTo>
                <a:lnTo>
                  <a:pt x="472" y="448"/>
                </a:lnTo>
                <a:lnTo>
                  <a:pt x="472" y="448"/>
                </a:lnTo>
                <a:lnTo>
                  <a:pt x="480" y="445"/>
                </a:lnTo>
                <a:lnTo>
                  <a:pt x="480" y="445"/>
                </a:lnTo>
                <a:lnTo>
                  <a:pt x="480" y="443"/>
                </a:lnTo>
                <a:lnTo>
                  <a:pt x="480" y="443"/>
                </a:lnTo>
                <a:lnTo>
                  <a:pt x="482" y="443"/>
                </a:lnTo>
                <a:lnTo>
                  <a:pt x="482" y="443"/>
                </a:lnTo>
                <a:lnTo>
                  <a:pt x="482" y="443"/>
                </a:lnTo>
                <a:lnTo>
                  <a:pt x="482" y="448"/>
                </a:lnTo>
                <a:lnTo>
                  <a:pt x="487" y="448"/>
                </a:lnTo>
                <a:lnTo>
                  <a:pt x="487" y="448"/>
                </a:lnTo>
                <a:lnTo>
                  <a:pt x="490" y="445"/>
                </a:lnTo>
                <a:lnTo>
                  <a:pt x="490" y="445"/>
                </a:lnTo>
                <a:lnTo>
                  <a:pt x="494" y="445"/>
                </a:lnTo>
                <a:lnTo>
                  <a:pt x="494" y="445"/>
                </a:lnTo>
                <a:lnTo>
                  <a:pt x="499" y="448"/>
                </a:lnTo>
                <a:lnTo>
                  <a:pt x="499" y="448"/>
                </a:lnTo>
                <a:lnTo>
                  <a:pt x="502" y="445"/>
                </a:lnTo>
                <a:lnTo>
                  <a:pt x="502" y="445"/>
                </a:lnTo>
                <a:lnTo>
                  <a:pt x="502" y="443"/>
                </a:lnTo>
                <a:lnTo>
                  <a:pt x="502" y="443"/>
                </a:lnTo>
                <a:lnTo>
                  <a:pt x="502" y="443"/>
                </a:lnTo>
                <a:lnTo>
                  <a:pt x="502" y="440"/>
                </a:lnTo>
                <a:lnTo>
                  <a:pt x="502" y="440"/>
                </a:lnTo>
                <a:lnTo>
                  <a:pt x="509" y="435"/>
                </a:lnTo>
                <a:lnTo>
                  <a:pt x="509" y="435"/>
                </a:lnTo>
                <a:lnTo>
                  <a:pt x="514" y="433"/>
                </a:lnTo>
                <a:lnTo>
                  <a:pt x="514" y="433"/>
                </a:lnTo>
                <a:lnTo>
                  <a:pt x="517" y="433"/>
                </a:lnTo>
                <a:lnTo>
                  <a:pt x="517" y="433"/>
                </a:lnTo>
                <a:lnTo>
                  <a:pt x="519" y="430"/>
                </a:lnTo>
                <a:lnTo>
                  <a:pt x="519" y="430"/>
                </a:lnTo>
                <a:lnTo>
                  <a:pt x="519" y="428"/>
                </a:lnTo>
                <a:lnTo>
                  <a:pt x="519" y="428"/>
                </a:lnTo>
                <a:lnTo>
                  <a:pt x="514" y="423"/>
                </a:lnTo>
                <a:lnTo>
                  <a:pt x="514" y="423"/>
                </a:lnTo>
                <a:lnTo>
                  <a:pt x="517" y="418"/>
                </a:lnTo>
                <a:lnTo>
                  <a:pt x="517" y="418"/>
                </a:lnTo>
                <a:lnTo>
                  <a:pt x="519" y="416"/>
                </a:lnTo>
                <a:lnTo>
                  <a:pt x="519" y="416"/>
                </a:lnTo>
                <a:lnTo>
                  <a:pt x="519" y="413"/>
                </a:lnTo>
                <a:lnTo>
                  <a:pt x="519" y="413"/>
                </a:lnTo>
                <a:lnTo>
                  <a:pt x="522" y="411"/>
                </a:lnTo>
                <a:lnTo>
                  <a:pt x="522" y="411"/>
                </a:lnTo>
                <a:lnTo>
                  <a:pt x="524" y="411"/>
                </a:lnTo>
                <a:lnTo>
                  <a:pt x="524" y="411"/>
                </a:lnTo>
                <a:lnTo>
                  <a:pt x="524" y="406"/>
                </a:lnTo>
                <a:lnTo>
                  <a:pt x="524" y="406"/>
                </a:lnTo>
                <a:lnTo>
                  <a:pt x="524" y="406"/>
                </a:lnTo>
                <a:lnTo>
                  <a:pt x="526" y="398"/>
                </a:lnTo>
                <a:lnTo>
                  <a:pt x="526" y="398"/>
                </a:lnTo>
                <a:lnTo>
                  <a:pt x="534" y="393"/>
                </a:lnTo>
                <a:lnTo>
                  <a:pt x="534" y="393"/>
                </a:lnTo>
                <a:lnTo>
                  <a:pt x="534" y="389"/>
                </a:lnTo>
                <a:lnTo>
                  <a:pt x="534" y="389"/>
                </a:lnTo>
                <a:lnTo>
                  <a:pt x="531" y="379"/>
                </a:lnTo>
                <a:lnTo>
                  <a:pt x="531" y="379"/>
                </a:lnTo>
                <a:lnTo>
                  <a:pt x="531" y="379"/>
                </a:lnTo>
                <a:lnTo>
                  <a:pt x="534" y="371"/>
                </a:lnTo>
                <a:lnTo>
                  <a:pt x="534" y="371"/>
                </a:lnTo>
                <a:lnTo>
                  <a:pt x="534" y="369"/>
                </a:lnTo>
                <a:lnTo>
                  <a:pt x="534" y="369"/>
                </a:lnTo>
                <a:lnTo>
                  <a:pt x="536" y="366"/>
                </a:lnTo>
                <a:lnTo>
                  <a:pt x="536" y="366"/>
                </a:lnTo>
                <a:lnTo>
                  <a:pt x="539" y="364"/>
                </a:lnTo>
                <a:lnTo>
                  <a:pt x="539" y="364"/>
                </a:lnTo>
                <a:lnTo>
                  <a:pt x="541" y="361"/>
                </a:lnTo>
                <a:lnTo>
                  <a:pt x="541" y="361"/>
                </a:lnTo>
                <a:lnTo>
                  <a:pt x="539" y="357"/>
                </a:lnTo>
                <a:lnTo>
                  <a:pt x="539" y="357"/>
                </a:lnTo>
                <a:lnTo>
                  <a:pt x="541" y="349"/>
                </a:lnTo>
                <a:lnTo>
                  <a:pt x="541" y="349"/>
                </a:lnTo>
                <a:lnTo>
                  <a:pt x="541" y="344"/>
                </a:lnTo>
                <a:lnTo>
                  <a:pt x="541" y="344"/>
                </a:lnTo>
                <a:lnTo>
                  <a:pt x="541" y="339"/>
                </a:lnTo>
                <a:lnTo>
                  <a:pt x="541" y="339"/>
                </a:lnTo>
                <a:lnTo>
                  <a:pt x="541" y="337"/>
                </a:lnTo>
                <a:lnTo>
                  <a:pt x="541" y="337"/>
                </a:lnTo>
                <a:lnTo>
                  <a:pt x="544" y="332"/>
                </a:lnTo>
                <a:lnTo>
                  <a:pt x="544" y="332"/>
                </a:lnTo>
                <a:lnTo>
                  <a:pt x="541" y="312"/>
                </a:lnTo>
                <a:lnTo>
                  <a:pt x="541" y="312"/>
                </a:lnTo>
                <a:lnTo>
                  <a:pt x="541" y="307"/>
                </a:lnTo>
                <a:lnTo>
                  <a:pt x="541" y="307"/>
                </a:lnTo>
                <a:lnTo>
                  <a:pt x="544" y="305"/>
                </a:lnTo>
                <a:lnTo>
                  <a:pt x="544" y="305"/>
                </a:lnTo>
                <a:lnTo>
                  <a:pt x="544" y="302"/>
                </a:lnTo>
                <a:lnTo>
                  <a:pt x="544" y="302"/>
                </a:lnTo>
                <a:lnTo>
                  <a:pt x="541" y="302"/>
                </a:lnTo>
                <a:lnTo>
                  <a:pt x="541" y="302"/>
                </a:lnTo>
                <a:lnTo>
                  <a:pt x="539" y="302"/>
                </a:lnTo>
                <a:lnTo>
                  <a:pt x="539" y="302"/>
                </a:lnTo>
                <a:lnTo>
                  <a:pt x="539" y="300"/>
                </a:lnTo>
                <a:lnTo>
                  <a:pt x="539" y="300"/>
                </a:lnTo>
                <a:lnTo>
                  <a:pt x="541" y="295"/>
                </a:lnTo>
                <a:lnTo>
                  <a:pt x="541" y="295"/>
                </a:lnTo>
                <a:lnTo>
                  <a:pt x="541" y="293"/>
                </a:lnTo>
                <a:lnTo>
                  <a:pt x="541" y="293"/>
                </a:lnTo>
                <a:lnTo>
                  <a:pt x="541" y="290"/>
                </a:lnTo>
                <a:lnTo>
                  <a:pt x="541" y="290"/>
                </a:lnTo>
                <a:lnTo>
                  <a:pt x="544" y="290"/>
                </a:lnTo>
                <a:lnTo>
                  <a:pt x="544" y="290"/>
                </a:lnTo>
                <a:lnTo>
                  <a:pt x="544" y="285"/>
                </a:lnTo>
                <a:lnTo>
                  <a:pt x="544" y="285"/>
                </a:lnTo>
                <a:lnTo>
                  <a:pt x="541" y="283"/>
                </a:lnTo>
                <a:lnTo>
                  <a:pt x="541" y="283"/>
                </a:lnTo>
                <a:lnTo>
                  <a:pt x="536" y="280"/>
                </a:lnTo>
                <a:lnTo>
                  <a:pt x="536" y="280"/>
                </a:lnTo>
                <a:lnTo>
                  <a:pt x="539" y="280"/>
                </a:lnTo>
                <a:lnTo>
                  <a:pt x="539" y="280"/>
                </a:lnTo>
                <a:lnTo>
                  <a:pt x="539" y="278"/>
                </a:lnTo>
                <a:lnTo>
                  <a:pt x="539" y="278"/>
                </a:lnTo>
                <a:lnTo>
                  <a:pt x="539" y="280"/>
                </a:lnTo>
                <a:lnTo>
                  <a:pt x="539" y="280"/>
                </a:lnTo>
                <a:lnTo>
                  <a:pt x="541" y="283"/>
                </a:lnTo>
                <a:lnTo>
                  <a:pt x="541" y="283"/>
                </a:lnTo>
                <a:lnTo>
                  <a:pt x="544" y="283"/>
                </a:lnTo>
                <a:lnTo>
                  <a:pt x="544" y="283"/>
                </a:lnTo>
                <a:lnTo>
                  <a:pt x="546" y="280"/>
                </a:lnTo>
                <a:lnTo>
                  <a:pt x="546" y="280"/>
                </a:lnTo>
                <a:lnTo>
                  <a:pt x="549" y="280"/>
                </a:lnTo>
                <a:lnTo>
                  <a:pt x="549" y="280"/>
                </a:lnTo>
                <a:lnTo>
                  <a:pt x="549" y="280"/>
                </a:lnTo>
                <a:lnTo>
                  <a:pt x="551" y="283"/>
                </a:lnTo>
                <a:lnTo>
                  <a:pt x="551" y="283"/>
                </a:lnTo>
                <a:lnTo>
                  <a:pt x="549" y="285"/>
                </a:lnTo>
                <a:lnTo>
                  <a:pt x="549" y="285"/>
                </a:lnTo>
                <a:lnTo>
                  <a:pt x="546" y="285"/>
                </a:lnTo>
                <a:lnTo>
                  <a:pt x="546" y="285"/>
                </a:lnTo>
                <a:lnTo>
                  <a:pt x="546" y="288"/>
                </a:lnTo>
                <a:lnTo>
                  <a:pt x="546" y="288"/>
                </a:lnTo>
                <a:lnTo>
                  <a:pt x="546" y="288"/>
                </a:lnTo>
                <a:lnTo>
                  <a:pt x="551" y="285"/>
                </a:lnTo>
                <a:lnTo>
                  <a:pt x="551" y="285"/>
                </a:lnTo>
                <a:lnTo>
                  <a:pt x="553" y="283"/>
                </a:lnTo>
                <a:lnTo>
                  <a:pt x="553" y="283"/>
                </a:lnTo>
                <a:lnTo>
                  <a:pt x="558" y="275"/>
                </a:lnTo>
                <a:lnTo>
                  <a:pt x="558" y="275"/>
                </a:lnTo>
                <a:lnTo>
                  <a:pt x="561" y="270"/>
                </a:lnTo>
                <a:lnTo>
                  <a:pt x="561" y="270"/>
                </a:lnTo>
                <a:lnTo>
                  <a:pt x="563" y="266"/>
                </a:lnTo>
                <a:lnTo>
                  <a:pt x="563" y="266"/>
                </a:lnTo>
                <a:lnTo>
                  <a:pt x="563" y="263"/>
                </a:lnTo>
                <a:lnTo>
                  <a:pt x="563" y="263"/>
                </a:lnTo>
                <a:lnTo>
                  <a:pt x="566" y="258"/>
                </a:lnTo>
                <a:lnTo>
                  <a:pt x="566" y="258"/>
                </a:lnTo>
                <a:lnTo>
                  <a:pt x="568" y="253"/>
                </a:lnTo>
                <a:lnTo>
                  <a:pt x="568" y="253"/>
                </a:lnTo>
                <a:lnTo>
                  <a:pt x="576" y="248"/>
                </a:lnTo>
                <a:lnTo>
                  <a:pt x="576" y="248"/>
                </a:lnTo>
                <a:lnTo>
                  <a:pt x="578" y="246"/>
                </a:lnTo>
                <a:lnTo>
                  <a:pt x="578" y="246"/>
                </a:lnTo>
                <a:lnTo>
                  <a:pt x="581" y="246"/>
                </a:lnTo>
                <a:lnTo>
                  <a:pt x="581" y="246"/>
                </a:lnTo>
                <a:lnTo>
                  <a:pt x="583" y="243"/>
                </a:lnTo>
                <a:lnTo>
                  <a:pt x="583" y="243"/>
                </a:lnTo>
                <a:lnTo>
                  <a:pt x="588" y="236"/>
                </a:lnTo>
                <a:lnTo>
                  <a:pt x="588" y="236"/>
                </a:lnTo>
                <a:lnTo>
                  <a:pt x="595" y="229"/>
                </a:lnTo>
                <a:lnTo>
                  <a:pt x="595" y="229"/>
                </a:lnTo>
                <a:lnTo>
                  <a:pt x="598" y="226"/>
                </a:lnTo>
                <a:lnTo>
                  <a:pt x="598" y="226"/>
                </a:lnTo>
                <a:lnTo>
                  <a:pt x="600" y="216"/>
                </a:lnTo>
                <a:lnTo>
                  <a:pt x="600" y="216"/>
                </a:lnTo>
                <a:lnTo>
                  <a:pt x="600" y="214"/>
                </a:lnTo>
                <a:lnTo>
                  <a:pt x="600" y="214"/>
                </a:lnTo>
                <a:lnTo>
                  <a:pt x="603" y="211"/>
                </a:lnTo>
                <a:lnTo>
                  <a:pt x="603" y="211"/>
                </a:lnTo>
                <a:lnTo>
                  <a:pt x="603" y="209"/>
                </a:lnTo>
                <a:lnTo>
                  <a:pt x="603" y="209"/>
                </a:lnTo>
                <a:lnTo>
                  <a:pt x="600" y="204"/>
                </a:lnTo>
                <a:lnTo>
                  <a:pt x="600" y="204"/>
                </a:lnTo>
                <a:lnTo>
                  <a:pt x="603" y="202"/>
                </a:lnTo>
                <a:lnTo>
                  <a:pt x="603" y="202"/>
                </a:lnTo>
                <a:lnTo>
                  <a:pt x="603" y="202"/>
                </a:lnTo>
                <a:lnTo>
                  <a:pt x="603" y="192"/>
                </a:lnTo>
                <a:lnTo>
                  <a:pt x="603" y="192"/>
                </a:lnTo>
                <a:lnTo>
                  <a:pt x="603" y="192"/>
                </a:lnTo>
                <a:lnTo>
                  <a:pt x="600" y="187"/>
                </a:lnTo>
                <a:lnTo>
                  <a:pt x="600" y="187"/>
                </a:lnTo>
                <a:lnTo>
                  <a:pt x="595" y="177"/>
                </a:lnTo>
                <a:lnTo>
                  <a:pt x="595" y="177"/>
                </a:lnTo>
                <a:lnTo>
                  <a:pt x="595" y="172"/>
                </a:lnTo>
                <a:lnTo>
                  <a:pt x="595" y="172"/>
                </a:lnTo>
                <a:lnTo>
                  <a:pt x="595" y="167"/>
                </a:lnTo>
                <a:lnTo>
                  <a:pt x="595" y="167"/>
                </a:lnTo>
                <a:lnTo>
                  <a:pt x="585" y="162"/>
                </a:lnTo>
                <a:lnTo>
                  <a:pt x="585" y="162"/>
                </a:lnTo>
                <a:lnTo>
                  <a:pt x="578" y="162"/>
                </a:lnTo>
                <a:lnTo>
                  <a:pt x="578" y="162"/>
                </a:lnTo>
                <a:lnTo>
                  <a:pt x="576" y="165"/>
                </a:lnTo>
                <a:lnTo>
                  <a:pt x="576" y="165"/>
                </a:lnTo>
                <a:lnTo>
                  <a:pt x="571" y="160"/>
                </a:lnTo>
                <a:lnTo>
                  <a:pt x="571" y="160"/>
                </a:lnTo>
                <a:lnTo>
                  <a:pt x="568" y="160"/>
                </a:lnTo>
                <a:lnTo>
                  <a:pt x="568" y="160"/>
                </a:lnTo>
                <a:lnTo>
                  <a:pt x="566" y="157"/>
                </a:lnTo>
                <a:lnTo>
                  <a:pt x="566" y="157"/>
                </a:lnTo>
                <a:lnTo>
                  <a:pt x="561" y="155"/>
                </a:lnTo>
                <a:lnTo>
                  <a:pt x="561" y="155"/>
                </a:lnTo>
                <a:lnTo>
                  <a:pt x="558" y="152"/>
                </a:lnTo>
                <a:lnTo>
                  <a:pt x="558" y="152"/>
                </a:lnTo>
                <a:lnTo>
                  <a:pt x="551" y="145"/>
                </a:lnTo>
                <a:lnTo>
                  <a:pt x="551" y="145"/>
                </a:lnTo>
                <a:lnTo>
                  <a:pt x="546" y="138"/>
                </a:lnTo>
                <a:lnTo>
                  <a:pt x="546" y="138"/>
                </a:lnTo>
                <a:lnTo>
                  <a:pt x="541" y="138"/>
                </a:lnTo>
                <a:lnTo>
                  <a:pt x="541" y="138"/>
                </a:lnTo>
                <a:lnTo>
                  <a:pt x="539" y="135"/>
                </a:lnTo>
                <a:lnTo>
                  <a:pt x="539" y="135"/>
                </a:lnTo>
                <a:lnTo>
                  <a:pt x="536" y="135"/>
                </a:lnTo>
                <a:lnTo>
                  <a:pt x="536" y="135"/>
                </a:lnTo>
                <a:lnTo>
                  <a:pt x="526" y="128"/>
                </a:lnTo>
                <a:lnTo>
                  <a:pt x="526" y="128"/>
                </a:lnTo>
                <a:lnTo>
                  <a:pt x="522" y="128"/>
                </a:lnTo>
                <a:lnTo>
                  <a:pt x="522" y="128"/>
                </a:lnTo>
                <a:lnTo>
                  <a:pt x="517" y="125"/>
                </a:lnTo>
                <a:lnTo>
                  <a:pt x="517" y="125"/>
                </a:lnTo>
                <a:lnTo>
                  <a:pt x="514" y="128"/>
                </a:lnTo>
                <a:lnTo>
                  <a:pt x="514" y="128"/>
                </a:lnTo>
                <a:lnTo>
                  <a:pt x="509" y="128"/>
                </a:lnTo>
                <a:lnTo>
                  <a:pt x="509" y="128"/>
                </a:lnTo>
                <a:lnTo>
                  <a:pt x="507" y="125"/>
                </a:lnTo>
                <a:lnTo>
                  <a:pt x="507" y="125"/>
                </a:lnTo>
                <a:lnTo>
                  <a:pt x="504" y="128"/>
                </a:lnTo>
                <a:lnTo>
                  <a:pt x="504" y="128"/>
                </a:lnTo>
                <a:lnTo>
                  <a:pt x="502" y="130"/>
                </a:lnTo>
                <a:lnTo>
                  <a:pt x="502" y="130"/>
                </a:lnTo>
                <a:lnTo>
                  <a:pt x="502" y="128"/>
                </a:lnTo>
                <a:lnTo>
                  <a:pt x="502" y="128"/>
                </a:lnTo>
                <a:lnTo>
                  <a:pt x="497" y="125"/>
                </a:lnTo>
                <a:lnTo>
                  <a:pt x="497" y="125"/>
                </a:lnTo>
                <a:lnTo>
                  <a:pt x="497" y="125"/>
                </a:lnTo>
                <a:lnTo>
                  <a:pt x="494" y="125"/>
                </a:lnTo>
                <a:lnTo>
                  <a:pt x="494" y="125"/>
                </a:lnTo>
                <a:lnTo>
                  <a:pt x="494" y="125"/>
                </a:lnTo>
                <a:lnTo>
                  <a:pt x="494" y="128"/>
                </a:lnTo>
                <a:lnTo>
                  <a:pt x="494" y="128"/>
                </a:lnTo>
                <a:lnTo>
                  <a:pt x="492" y="125"/>
                </a:lnTo>
                <a:lnTo>
                  <a:pt x="492" y="125"/>
                </a:lnTo>
                <a:lnTo>
                  <a:pt x="490" y="125"/>
                </a:lnTo>
                <a:lnTo>
                  <a:pt x="490" y="125"/>
                </a:lnTo>
                <a:lnTo>
                  <a:pt x="490" y="123"/>
                </a:lnTo>
                <a:lnTo>
                  <a:pt x="490" y="123"/>
                </a:lnTo>
                <a:lnTo>
                  <a:pt x="490" y="125"/>
                </a:lnTo>
                <a:lnTo>
                  <a:pt x="490" y="125"/>
                </a:lnTo>
                <a:lnTo>
                  <a:pt x="490" y="125"/>
                </a:lnTo>
                <a:lnTo>
                  <a:pt x="485" y="123"/>
                </a:lnTo>
                <a:lnTo>
                  <a:pt x="485" y="123"/>
                </a:lnTo>
                <a:lnTo>
                  <a:pt x="482" y="125"/>
                </a:lnTo>
                <a:lnTo>
                  <a:pt x="482" y="125"/>
                </a:lnTo>
                <a:lnTo>
                  <a:pt x="480" y="123"/>
                </a:lnTo>
                <a:lnTo>
                  <a:pt x="480" y="123"/>
                </a:lnTo>
                <a:lnTo>
                  <a:pt x="470" y="120"/>
                </a:lnTo>
                <a:lnTo>
                  <a:pt x="470" y="120"/>
                </a:lnTo>
                <a:lnTo>
                  <a:pt x="467" y="120"/>
                </a:lnTo>
                <a:lnTo>
                  <a:pt x="467" y="120"/>
                </a:lnTo>
                <a:lnTo>
                  <a:pt x="467" y="120"/>
                </a:lnTo>
                <a:lnTo>
                  <a:pt x="467" y="123"/>
                </a:lnTo>
                <a:lnTo>
                  <a:pt x="467" y="123"/>
                </a:lnTo>
                <a:lnTo>
                  <a:pt x="467" y="123"/>
                </a:lnTo>
                <a:lnTo>
                  <a:pt x="465" y="123"/>
                </a:lnTo>
                <a:lnTo>
                  <a:pt x="465" y="123"/>
                </a:lnTo>
                <a:lnTo>
                  <a:pt x="465" y="123"/>
                </a:lnTo>
                <a:lnTo>
                  <a:pt x="462" y="123"/>
                </a:lnTo>
                <a:lnTo>
                  <a:pt x="462" y="123"/>
                </a:lnTo>
                <a:lnTo>
                  <a:pt x="460" y="125"/>
                </a:lnTo>
                <a:lnTo>
                  <a:pt x="460" y="125"/>
                </a:lnTo>
                <a:lnTo>
                  <a:pt x="460" y="128"/>
                </a:lnTo>
                <a:lnTo>
                  <a:pt x="460" y="128"/>
                </a:lnTo>
                <a:lnTo>
                  <a:pt x="460" y="130"/>
                </a:lnTo>
                <a:lnTo>
                  <a:pt x="460" y="130"/>
                </a:lnTo>
                <a:lnTo>
                  <a:pt x="458" y="128"/>
                </a:lnTo>
                <a:lnTo>
                  <a:pt x="458" y="128"/>
                </a:lnTo>
                <a:lnTo>
                  <a:pt x="458" y="125"/>
                </a:lnTo>
                <a:lnTo>
                  <a:pt x="458" y="125"/>
                </a:lnTo>
                <a:lnTo>
                  <a:pt x="455" y="125"/>
                </a:lnTo>
                <a:lnTo>
                  <a:pt x="455" y="125"/>
                </a:lnTo>
                <a:lnTo>
                  <a:pt x="455" y="130"/>
                </a:lnTo>
                <a:lnTo>
                  <a:pt x="455" y="130"/>
                </a:lnTo>
                <a:lnTo>
                  <a:pt x="453" y="135"/>
                </a:lnTo>
                <a:lnTo>
                  <a:pt x="453" y="135"/>
                </a:lnTo>
                <a:lnTo>
                  <a:pt x="453" y="138"/>
                </a:lnTo>
                <a:lnTo>
                  <a:pt x="453" y="138"/>
                </a:lnTo>
                <a:lnTo>
                  <a:pt x="453" y="135"/>
                </a:lnTo>
                <a:lnTo>
                  <a:pt x="453" y="135"/>
                </a:lnTo>
                <a:lnTo>
                  <a:pt x="453" y="130"/>
                </a:lnTo>
                <a:lnTo>
                  <a:pt x="453" y="130"/>
                </a:lnTo>
                <a:lnTo>
                  <a:pt x="453" y="128"/>
                </a:lnTo>
                <a:lnTo>
                  <a:pt x="453" y="128"/>
                </a:lnTo>
                <a:lnTo>
                  <a:pt x="453" y="123"/>
                </a:lnTo>
                <a:lnTo>
                  <a:pt x="453" y="123"/>
                </a:lnTo>
                <a:lnTo>
                  <a:pt x="455" y="120"/>
                </a:lnTo>
                <a:lnTo>
                  <a:pt x="455" y="120"/>
                </a:lnTo>
                <a:lnTo>
                  <a:pt x="455" y="120"/>
                </a:lnTo>
                <a:lnTo>
                  <a:pt x="453" y="120"/>
                </a:lnTo>
                <a:lnTo>
                  <a:pt x="453" y="120"/>
                </a:lnTo>
                <a:lnTo>
                  <a:pt x="455" y="116"/>
                </a:lnTo>
                <a:lnTo>
                  <a:pt x="455" y="116"/>
                </a:lnTo>
                <a:lnTo>
                  <a:pt x="450" y="111"/>
                </a:lnTo>
                <a:lnTo>
                  <a:pt x="450" y="111"/>
                </a:lnTo>
                <a:lnTo>
                  <a:pt x="448" y="108"/>
                </a:lnTo>
                <a:lnTo>
                  <a:pt x="448" y="108"/>
                </a:lnTo>
                <a:lnTo>
                  <a:pt x="445" y="108"/>
                </a:lnTo>
                <a:lnTo>
                  <a:pt x="445" y="108"/>
                </a:lnTo>
                <a:lnTo>
                  <a:pt x="443" y="108"/>
                </a:lnTo>
                <a:lnTo>
                  <a:pt x="443" y="108"/>
                </a:lnTo>
                <a:lnTo>
                  <a:pt x="440" y="111"/>
                </a:lnTo>
                <a:lnTo>
                  <a:pt x="440" y="111"/>
                </a:lnTo>
                <a:lnTo>
                  <a:pt x="438" y="111"/>
                </a:lnTo>
                <a:lnTo>
                  <a:pt x="438" y="111"/>
                </a:lnTo>
                <a:lnTo>
                  <a:pt x="438" y="108"/>
                </a:lnTo>
                <a:lnTo>
                  <a:pt x="438" y="108"/>
                </a:lnTo>
                <a:lnTo>
                  <a:pt x="435" y="108"/>
                </a:lnTo>
                <a:lnTo>
                  <a:pt x="435" y="108"/>
                </a:lnTo>
                <a:lnTo>
                  <a:pt x="435" y="106"/>
                </a:lnTo>
                <a:lnTo>
                  <a:pt x="435" y="106"/>
                </a:lnTo>
                <a:lnTo>
                  <a:pt x="433" y="103"/>
                </a:lnTo>
                <a:lnTo>
                  <a:pt x="433" y="103"/>
                </a:lnTo>
                <a:lnTo>
                  <a:pt x="430" y="103"/>
                </a:lnTo>
                <a:lnTo>
                  <a:pt x="430" y="103"/>
                </a:lnTo>
                <a:lnTo>
                  <a:pt x="430" y="103"/>
                </a:lnTo>
                <a:lnTo>
                  <a:pt x="428" y="101"/>
                </a:lnTo>
                <a:lnTo>
                  <a:pt x="428" y="101"/>
                </a:lnTo>
                <a:lnTo>
                  <a:pt x="426" y="103"/>
                </a:lnTo>
                <a:lnTo>
                  <a:pt x="426" y="103"/>
                </a:lnTo>
                <a:lnTo>
                  <a:pt x="426" y="101"/>
                </a:lnTo>
                <a:lnTo>
                  <a:pt x="426" y="101"/>
                </a:lnTo>
                <a:lnTo>
                  <a:pt x="426" y="101"/>
                </a:lnTo>
                <a:lnTo>
                  <a:pt x="423" y="98"/>
                </a:lnTo>
                <a:lnTo>
                  <a:pt x="423" y="98"/>
                </a:lnTo>
                <a:lnTo>
                  <a:pt x="421" y="98"/>
                </a:lnTo>
                <a:lnTo>
                  <a:pt x="421" y="98"/>
                </a:lnTo>
                <a:lnTo>
                  <a:pt x="418" y="98"/>
                </a:lnTo>
                <a:lnTo>
                  <a:pt x="418" y="98"/>
                </a:lnTo>
                <a:lnTo>
                  <a:pt x="413" y="96"/>
                </a:lnTo>
                <a:lnTo>
                  <a:pt x="413" y="96"/>
                </a:lnTo>
                <a:lnTo>
                  <a:pt x="413" y="96"/>
                </a:lnTo>
                <a:lnTo>
                  <a:pt x="411" y="96"/>
                </a:lnTo>
                <a:lnTo>
                  <a:pt x="411" y="96"/>
                </a:lnTo>
                <a:lnTo>
                  <a:pt x="408" y="96"/>
                </a:lnTo>
                <a:lnTo>
                  <a:pt x="408" y="96"/>
                </a:lnTo>
                <a:lnTo>
                  <a:pt x="406" y="96"/>
                </a:lnTo>
                <a:lnTo>
                  <a:pt x="406" y="96"/>
                </a:lnTo>
                <a:lnTo>
                  <a:pt x="406" y="98"/>
                </a:lnTo>
                <a:lnTo>
                  <a:pt x="406" y="98"/>
                </a:lnTo>
                <a:lnTo>
                  <a:pt x="406" y="98"/>
                </a:lnTo>
                <a:lnTo>
                  <a:pt x="403" y="96"/>
                </a:lnTo>
                <a:lnTo>
                  <a:pt x="403" y="96"/>
                </a:lnTo>
                <a:lnTo>
                  <a:pt x="401" y="96"/>
                </a:lnTo>
                <a:lnTo>
                  <a:pt x="401" y="96"/>
                </a:lnTo>
                <a:lnTo>
                  <a:pt x="399" y="96"/>
                </a:lnTo>
                <a:lnTo>
                  <a:pt x="399" y="96"/>
                </a:lnTo>
                <a:lnTo>
                  <a:pt x="396" y="101"/>
                </a:lnTo>
                <a:lnTo>
                  <a:pt x="396" y="101"/>
                </a:lnTo>
                <a:lnTo>
                  <a:pt x="396" y="101"/>
                </a:lnTo>
                <a:lnTo>
                  <a:pt x="394" y="106"/>
                </a:lnTo>
                <a:lnTo>
                  <a:pt x="394" y="106"/>
                </a:lnTo>
                <a:lnTo>
                  <a:pt x="389" y="108"/>
                </a:lnTo>
                <a:lnTo>
                  <a:pt x="389" y="108"/>
                </a:lnTo>
                <a:lnTo>
                  <a:pt x="384" y="111"/>
                </a:lnTo>
                <a:lnTo>
                  <a:pt x="384" y="111"/>
                </a:lnTo>
                <a:lnTo>
                  <a:pt x="381" y="113"/>
                </a:lnTo>
                <a:lnTo>
                  <a:pt x="381" y="113"/>
                </a:lnTo>
                <a:lnTo>
                  <a:pt x="379" y="118"/>
                </a:lnTo>
                <a:lnTo>
                  <a:pt x="379" y="118"/>
                </a:lnTo>
                <a:lnTo>
                  <a:pt x="379" y="123"/>
                </a:lnTo>
                <a:lnTo>
                  <a:pt x="379" y="123"/>
                </a:lnTo>
                <a:lnTo>
                  <a:pt x="376" y="125"/>
                </a:lnTo>
                <a:lnTo>
                  <a:pt x="376" y="125"/>
                </a:lnTo>
                <a:lnTo>
                  <a:pt x="374" y="128"/>
                </a:lnTo>
                <a:lnTo>
                  <a:pt x="374" y="128"/>
                </a:lnTo>
                <a:lnTo>
                  <a:pt x="374" y="130"/>
                </a:lnTo>
                <a:lnTo>
                  <a:pt x="374" y="130"/>
                </a:lnTo>
                <a:lnTo>
                  <a:pt x="374" y="133"/>
                </a:lnTo>
                <a:lnTo>
                  <a:pt x="374" y="133"/>
                </a:lnTo>
                <a:lnTo>
                  <a:pt x="374" y="138"/>
                </a:lnTo>
                <a:lnTo>
                  <a:pt x="374" y="138"/>
                </a:lnTo>
                <a:lnTo>
                  <a:pt x="374" y="135"/>
                </a:lnTo>
                <a:lnTo>
                  <a:pt x="374" y="135"/>
                </a:lnTo>
                <a:lnTo>
                  <a:pt x="371" y="130"/>
                </a:lnTo>
                <a:lnTo>
                  <a:pt x="371" y="130"/>
                </a:lnTo>
                <a:lnTo>
                  <a:pt x="371" y="128"/>
                </a:lnTo>
                <a:lnTo>
                  <a:pt x="371" y="128"/>
                </a:lnTo>
                <a:lnTo>
                  <a:pt x="374" y="125"/>
                </a:lnTo>
                <a:lnTo>
                  <a:pt x="374" y="125"/>
                </a:lnTo>
                <a:lnTo>
                  <a:pt x="376" y="123"/>
                </a:lnTo>
                <a:lnTo>
                  <a:pt x="376" y="123"/>
                </a:lnTo>
                <a:lnTo>
                  <a:pt x="376" y="120"/>
                </a:lnTo>
                <a:lnTo>
                  <a:pt x="376" y="120"/>
                </a:lnTo>
                <a:lnTo>
                  <a:pt x="376" y="116"/>
                </a:lnTo>
                <a:lnTo>
                  <a:pt x="376" y="116"/>
                </a:lnTo>
                <a:lnTo>
                  <a:pt x="376" y="113"/>
                </a:lnTo>
                <a:lnTo>
                  <a:pt x="376" y="113"/>
                </a:lnTo>
                <a:lnTo>
                  <a:pt x="374" y="113"/>
                </a:lnTo>
                <a:lnTo>
                  <a:pt x="374" y="113"/>
                </a:lnTo>
                <a:lnTo>
                  <a:pt x="371" y="116"/>
                </a:lnTo>
                <a:lnTo>
                  <a:pt x="371" y="116"/>
                </a:lnTo>
                <a:lnTo>
                  <a:pt x="367" y="116"/>
                </a:lnTo>
                <a:lnTo>
                  <a:pt x="367" y="116"/>
                </a:lnTo>
                <a:lnTo>
                  <a:pt x="364" y="116"/>
                </a:lnTo>
                <a:lnTo>
                  <a:pt x="364" y="116"/>
                </a:lnTo>
                <a:lnTo>
                  <a:pt x="362" y="116"/>
                </a:lnTo>
                <a:lnTo>
                  <a:pt x="362" y="116"/>
                </a:lnTo>
                <a:lnTo>
                  <a:pt x="359" y="113"/>
                </a:lnTo>
                <a:lnTo>
                  <a:pt x="359" y="113"/>
                </a:lnTo>
                <a:lnTo>
                  <a:pt x="362" y="113"/>
                </a:lnTo>
                <a:lnTo>
                  <a:pt x="362" y="113"/>
                </a:lnTo>
                <a:lnTo>
                  <a:pt x="364" y="113"/>
                </a:lnTo>
                <a:lnTo>
                  <a:pt x="364" y="113"/>
                </a:lnTo>
                <a:lnTo>
                  <a:pt x="367" y="111"/>
                </a:lnTo>
                <a:lnTo>
                  <a:pt x="367" y="111"/>
                </a:lnTo>
                <a:lnTo>
                  <a:pt x="371" y="113"/>
                </a:lnTo>
                <a:lnTo>
                  <a:pt x="371" y="113"/>
                </a:lnTo>
                <a:lnTo>
                  <a:pt x="374" y="111"/>
                </a:lnTo>
                <a:lnTo>
                  <a:pt x="374" y="111"/>
                </a:lnTo>
                <a:lnTo>
                  <a:pt x="376" y="108"/>
                </a:lnTo>
                <a:lnTo>
                  <a:pt x="376" y="108"/>
                </a:lnTo>
                <a:lnTo>
                  <a:pt x="376" y="108"/>
                </a:lnTo>
                <a:lnTo>
                  <a:pt x="379" y="111"/>
                </a:lnTo>
                <a:lnTo>
                  <a:pt x="379" y="111"/>
                </a:lnTo>
                <a:lnTo>
                  <a:pt x="381" y="108"/>
                </a:lnTo>
                <a:lnTo>
                  <a:pt x="381" y="108"/>
                </a:lnTo>
                <a:lnTo>
                  <a:pt x="384" y="108"/>
                </a:lnTo>
                <a:lnTo>
                  <a:pt x="384" y="108"/>
                </a:lnTo>
                <a:lnTo>
                  <a:pt x="386" y="106"/>
                </a:lnTo>
                <a:lnTo>
                  <a:pt x="386" y="106"/>
                </a:lnTo>
                <a:lnTo>
                  <a:pt x="386" y="103"/>
                </a:lnTo>
                <a:lnTo>
                  <a:pt x="386" y="103"/>
                </a:lnTo>
                <a:lnTo>
                  <a:pt x="391" y="98"/>
                </a:lnTo>
                <a:lnTo>
                  <a:pt x="391" y="98"/>
                </a:lnTo>
                <a:lnTo>
                  <a:pt x="391" y="93"/>
                </a:lnTo>
                <a:lnTo>
                  <a:pt x="391" y="93"/>
                </a:lnTo>
                <a:lnTo>
                  <a:pt x="394" y="91"/>
                </a:lnTo>
                <a:lnTo>
                  <a:pt x="394" y="91"/>
                </a:lnTo>
                <a:lnTo>
                  <a:pt x="394" y="88"/>
                </a:lnTo>
                <a:lnTo>
                  <a:pt x="394" y="88"/>
                </a:lnTo>
                <a:lnTo>
                  <a:pt x="389" y="88"/>
                </a:lnTo>
                <a:lnTo>
                  <a:pt x="389" y="88"/>
                </a:lnTo>
                <a:lnTo>
                  <a:pt x="386" y="86"/>
                </a:lnTo>
                <a:lnTo>
                  <a:pt x="386" y="86"/>
                </a:lnTo>
                <a:lnTo>
                  <a:pt x="381" y="86"/>
                </a:lnTo>
                <a:lnTo>
                  <a:pt x="381" y="86"/>
                </a:lnTo>
                <a:lnTo>
                  <a:pt x="379" y="88"/>
                </a:lnTo>
                <a:lnTo>
                  <a:pt x="379" y="88"/>
                </a:lnTo>
                <a:lnTo>
                  <a:pt x="374" y="88"/>
                </a:lnTo>
                <a:lnTo>
                  <a:pt x="374" y="88"/>
                </a:lnTo>
                <a:lnTo>
                  <a:pt x="369" y="86"/>
                </a:lnTo>
                <a:lnTo>
                  <a:pt x="369" y="86"/>
                </a:lnTo>
                <a:lnTo>
                  <a:pt x="364" y="86"/>
                </a:lnTo>
                <a:lnTo>
                  <a:pt x="364" y="86"/>
                </a:lnTo>
                <a:lnTo>
                  <a:pt x="359" y="91"/>
                </a:lnTo>
                <a:lnTo>
                  <a:pt x="359" y="91"/>
                </a:lnTo>
                <a:lnTo>
                  <a:pt x="359" y="93"/>
                </a:lnTo>
                <a:lnTo>
                  <a:pt x="359" y="93"/>
                </a:lnTo>
                <a:lnTo>
                  <a:pt x="362" y="93"/>
                </a:lnTo>
                <a:lnTo>
                  <a:pt x="362" y="93"/>
                </a:lnTo>
                <a:lnTo>
                  <a:pt x="362" y="96"/>
                </a:lnTo>
                <a:lnTo>
                  <a:pt x="362" y="96"/>
                </a:lnTo>
                <a:lnTo>
                  <a:pt x="359" y="96"/>
                </a:lnTo>
                <a:lnTo>
                  <a:pt x="359" y="96"/>
                </a:lnTo>
                <a:lnTo>
                  <a:pt x="359" y="96"/>
                </a:lnTo>
                <a:lnTo>
                  <a:pt x="357" y="98"/>
                </a:lnTo>
                <a:lnTo>
                  <a:pt x="357" y="98"/>
                </a:lnTo>
                <a:lnTo>
                  <a:pt x="357" y="96"/>
                </a:lnTo>
                <a:lnTo>
                  <a:pt x="357" y="96"/>
                </a:lnTo>
                <a:lnTo>
                  <a:pt x="354" y="96"/>
                </a:lnTo>
                <a:lnTo>
                  <a:pt x="354" y="96"/>
                </a:lnTo>
                <a:lnTo>
                  <a:pt x="352" y="96"/>
                </a:lnTo>
                <a:lnTo>
                  <a:pt x="352" y="96"/>
                </a:lnTo>
                <a:lnTo>
                  <a:pt x="347" y="101"/>
                </a:lnTo>
                <a:lnTo>
                  <a:pt x="347" y="101"/>
                </a:lnTo>
                <a:lnTo>
                  <a:pt x="342" y="108"/>
                </a:lnTo>
                <a:lnTo>
                  <a:pt x="342" y="108"/>
                </a:lnTo>
                <a:lnTo>
                  <a:pt x="347" y="103"/>
                </a:lnTo>
                <a:lnTo>
                  <a:pt x="347" y="103"/>
                </a:lnTo>
                <a:lnTo>
                  <a:pt x="347" y="98"/>
                </a:lnTo>
                <a:lnTo>
                  <a:pt x="347" y="98"/>
                </a:lnTo>
                <a:lnTo>
                  <a:pt x="347" y="98"/>
                </a:lnTo>
                <a:lnTo>
                  <a:pt x="347" y="96"/>
                </a:lnTo>
                <a:lnTo>
                  <a:pt x="347" y="96"/>
                </a:lnTo>
                <a:lnTo>
                  <a:pt x="347" y="96"/>
                </a:lnTo>
                <a:lnTo>
                  <a:pt x="342" y="98"/>
                </a:lnTo>
                <a:lnTo>
                  <a:pt x="342" y="98"/>
                </a:lnTo>
                <a:lnTo>
                  <a:pt x="342" y="101"/>
                </a:lnTo>
                <a:lnTo>
                  <a:pt x="342" y="101"/>
                </a:lnTo>
                <a:lnTo>
                  <a:pt x="339" y="106"/>
                </a:lnTo>
                <a:lnTo>
                  <a:pt x="339" y="106"/>
                </a:lnTo>
                <a:lnTo>
                  <a:pt x="337" y="106"/>
                </a:lnTo>
                <a:lnTo>
                  <a:pt x="337" y="106"/>
                </a:lnTo>
                <a:lnTo>
                  <a:pt x="339" y="103"/>
                </a:lnTo>
                <a:lnTo>
                  <a:pt x="339" y="103"/>
                </a:lnTo>
                <a:lnTo>
                  <a:pt x="339" y="98"/>
                </a:lnTo>
                <a:lnTo>
                  <a:pt x="339" y="98"/>
                </a:lnTo>
                <a:lnTo>
                  <a:pt x="347" y="91"/>
                </a:lnTo>
                <a:lnTo>
                  <a:pt x="347" y="91"/>
                </a:lnTo>
                <a:lnTo>
                  <a:pt x="347" y="86"/>
                </a:lnTo>
                <a:lnTo>
                  <a:pt x="347" y="86"/>
                </a:lnTo>
                <a:lnTo>
                  <a:pt x="349" y="84"/>
                </a:lnTo>
                <a:lnTo>
                  <a:pt x="349" y="84"/>
                </a:lnTo>
                <a:lnTo>
                  <a:pt x="352" y="84"/>
                </a:lnTo>
                <a:lnTo>
                  <a:pt x="352" y="84"/>
                </a:lnTo>
                <a:lnTo>
                  <a:pt x="354" y="81"/>
                </a:lnTo>
                <a:lnTo>
                  <a:pt x="354" y="81"/>
                </a:lnTo>
                <a:lnTo>
                  <a:pt x="357" y="79"/>
                </a:lnTo>
                <a:lnTo>
                  <a:pt x="357" y="79"/>
                </a:lnTo>
                <a:lnTo>
                  <a:pt x="362" y="76"/>
                </a:lnTo>
                <a:lnTo>
                  <a:pt x="362" y="76"/>
                </a:lnTo>
                <a:lnTo>
                  <a:pt x="367" y="69"/>
                </a:lnTo>
                <a:lnTo>
                  <a:pt x="367" y="69"/>
                </a:lnTo>
                <a:lnTo>
                  <a:pt x="369" y="66"/>
                </a:lnTo>
                <a:lnTo>
                  <a:pt x="369" y="66"/>
                </a:lnTo>
                <a:lnTo>
                  <a:pt x="369" y="64"/>
                </a:lnTo>
                <a:lnTo>
                  <a:pt x="369" y="64"/>
                </a:lnTo>
                <a:lnTo>
                  <a:pt x="369" y="64"/>
                </a:lnTo>
                <a:lnTo>
                  <a:pt x="369" y="61"/>
                </a:lnTo>
                <a:lnTo>
                  <a:pt x="369" y="61"/>
                </a:lnTo>
                <a:lnTo>
                  <a:pt x="369" y="59"/>
                </a:lnTo>
                <a:lnTo>
                  <a:pt x="369" y="59"/>
                </a:lnTo>
                <a:lnTo>
                  <a:pt x="369" y="57"/>
                </a:lnTo>
                <a:lnTo>
                  <a:pt x="369" y="57"/>
                </a:lnTo>
                <a:lnTo>
                  <a:pt x="367" y="54"/>
                </a:lnTo>
                <a:lnTo>
                  <a:pt x="367" y="54"/>
                </a:lnTo>
                <a:lnTo>
                  <a:pt x="364" y="54"/>
                </a:lnTo>
                <a:lnTo>
                  <a:pt x="364" y="54"/>
                </a:lnTo>
                <a:lnTo>
                  <a:pt x="362" y="57"/>
                </a:lnTo>
                <a:lnTo>
                  <a:pt x="362" y="57"/>
                </a:lnTo>
                <a:lnTo>
                  <a:pt x="362" y="54"/>
                </a:lnTo>
                <a:lnTo>
                  <a:pt x="362" y="54"/>
                </a:lnTo>
                <a:lnTo>
                  <a:pt x="359" y="47"/>
                </a:lnTo>
                <a:lnTo>
                  <a:pt x="359" y="47"/>
                </a:lnTo>
                <a:lnTo>
                  <a:pt x="357" y="39"/>
                </a:lnTo>
                <a:lnTo>
                  <a:pt x="357" y="39"/>
                </a:lnTo>
                <a:lnTo>
                  <a:pt x="352" y="34"/>
                </a:lnTo>
                <a:lnTo>
                  <a:pt x="352" y="34"/>
                </a:lnTo>
                <a:lnTo>
                  <a:pt x="349" y="29"/>
                </a:lnTo>
                <a:lnTo>
                  <a:pt x="349" y="29"/>
                </a:lnTo>
                <a:lnTo>
                  <a:pt x="349" y="25"/>
                </a:lnTo>
                <a:lnTo>
                  <a:pt x="349" y="22"/>
                </a:lnTo>
                <a:close/>
              </a:path>
            </a:pathLst>
          </a:custGeom>
          <a:blipFill>
            <a:blip r:embed="rId12"/>
            <a:stretch>
              <a:fillRect/>
            </a:stretch>
          </a:blipFill>
          <a:ln w="9525">
            <a:solidFill>
              <a:schemeClr val="bg1"/>
            </a:solidFill>
            <a:round/>
            <a:headEnd/>
            <a:tailEnd/>
          </a:ln>
          <a:effectLst>
            <a:outerShdw blurRad="50800" dist="38100" dir="10800000" algn="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Freeform 71"/>
          <p:cNvSpPr>
            <a:spLocks noEditPoints="1"/>
          </p:cNvSpPr>
          <p:nvPr/>
        </p:nvSpPr>
        <p:spPr bwMode="auto">
          <a:xfrm>
            <a:off x="4819265" y="3039292"/>
            <a:ext cx="91334" cy="78338"/>
          </a:xfrm>
          <a:custGeom>
            <a:avLst/>
            <a:gdLst/>
            <a:ahLst/>
            <a:cxnLst>
              <a:cxn ang="0">
                <a:pos x="36" y="46"/>
              </a:cxn>
              <a:cxn ang="0">
                <a:pos x="36" y="37"/>
              </a:cxn>
              <a:cxn ang="0">
                <a:pos x="41" y="32"/>
              </a:cxn>
              <a:cxn ang="0">
                <a:pos x="49" y="32"/>
              </a:cxn>
              <a:cxn ang="0">
                <a:pos x="49" y="27"/>
              </a:cxn>
              <a:cxn ang="0">
                <a:pos x="51" y="22"/>
              </a:cxn>
              <a:cxn ang="0">
                <a:pos x="51" y="19"/>
              </a:cxn>
              <a:cxn ang="0">
                <a:pos x="46" y="17"/>
              </a:cxn>
              <a:cxn ang="0">
                <a:pos x="51" y="17"/>
              </a:cxn>
              <a:cxn ang="0">
                <a:pos x="54" y="12"/>
              </a:cxn>
              <a:cxn ang="0">
                <a:pos x="54" y="7"/>
              </a:cxn>
              <a:cxn ang="0">
                <a:pos x="56" y="5"/>
              </a:cxn>
              <a:cxn ang="0">
                <a:pos x="51" y="2"/>
              </a:cxn>
              <a:cxn ang="0">
                <a:pos x="41" y="0"/>
              </a:cxn>
              <a:cxn ang="0">
                <a:pos x="36" y="2"/>
              </a:cxn>
              <a:cxn ang="0">
                <a:pos x="31" y="2"/>
              </a:cxn>
              <a:cxn ang="0">
                <a:pos x="22" y="10"/>
              </a:cxn>
              <a:cxn ang="0">
                <a:pos x="17" y="10"/>
              </a:cxn>
              <a:cxn ang="0">
                <a:pos x="14" y="17"/>
              </a:cxn>
              <a:cxn ang="0">
                <a:pos x="14" y="24"/>
              </a:cxn>
              <a:cxn ang="0">
                <a:pos x="12" y="27"/>
              </a:cxn>
              <a:cxn ang="0">
                <a:pos x="9" y="32"/>
              </a:cxn>
              <a:cxn ang="0">
                <a:pos x="17" y="37"/>
              </a:cxn>
              <a:cxn ang="0">
                <a:pos x="12" y="37"/>
              </a:cxn>
              <a:cxn ang="0">
                <a:pos x="12" y="39"/>
              </a:cxn>
              <a:cxn ang="0">
                <a:pos x="14" y="42"/>
              </a:cxn>
              <a:cxn ang="0">
                <a:pos x="7" y="39"/>
              </a:cxn>
              <a:cxn ang="0">
                <a:pos x="2" y="39"/>
              </a:cxn>
              <a:cxn ang="0">
                <a:pos x="7" y="42"/>
              </a:cxn>
              <a:cxn ang="0">
                <a:pos x="9" y="42"/>
              </a:cxn>
              <a:cxn ang="0">
                <a:pos x="9" y="44"/>
              </a:cxn>
              <a:cxn ang="0">
                <a:pos x="4" y="42"/>
              </a:cxn>
              <a:cxn ang="0">
                <a:pos x="0" y="42"/>
              </a:cxn>
              <a:cxn ang="0">
                <a:pos x="4" y="46"/>
              </a:cxn>
              <a:cxn ang="0">
                <a:pos x="7" y="46"/>
              </a:cxn>
              <a:cxn ang="0">
                <a:pos x="12" y="44"/>
              </a:cxn>
              <a:cxn ang="0">
                <a:pos x="14" y="44"/>
              </a:cxn>
              <a:cxn ang="0">
                <a:pos x="22" y="42"/>
              </a:cxn>
              <a:cxn ang="0">
                <a:pos x="27" y="44"/>
              </a:cxn>
              <a:cxn ang="0">
                <a:pos x="31" y="44"/>
              </a:cxn>
              <a:cxn ang="0">
                <a:pos x="31" y="49"/>
              </a:cxn>
              <a:cxn ang="0">
                <a:pos x="34" y="51"/>
              </a:cxn>
              <a:cxn ang="0">
                <a:pos x="4" y="37"/>
              </a:cxn>
              <a:cxn ang="0">
                <a:pos x="9" y="37"/>
              </a:cxn>
              <a:cxn ang="0">
                <a:pos x="7" y="37"/>
              </a:cxn>
              <a:cxn ang="0">
                <a:pos x="4" y="37"/>
              </a:cxn>
              <a:cxn ang="0">
                <a:pos x="7" y="34"/>
              </a:cxn>
              <a:cxn ang="0">
                <a:pos x="12" y="34"/>
              </a:cxn>
              <a:cxn ang="0">
                <a:pos x="9" y="37"/>
              </a:cxn>
              <a:cxn ang="0">
                <a:pos x="7" y="34"/>
              </a:cxn>
              <a:cxn ang="0">
                <a:pos x="7" y="34"/>
              </a:cxn>
            </a:cxnLst>
            <a:rect l="0" t="0" r="r" b="b"/>
            <a:pathLst>
              <a:path w="56" h="51">
                <a:moveTo>
                  <a:pt x="34" y="51"/>
                </a:moveTo>
                <a:lnTo>
                  <a:pt x="36" y="46"/>
                </a:lnTo>
                <a:lnTo>
                  <a:pt x="36" y="42"/>
                </a:lnTo>
                <a:lnTo>
                  <a:pt x="36" y="37"/>
                </a:lnTo>
                <a:lnTo>
                  <a:pt x="39" y="34"/>
                </a:lnTo>
                <a:lnTo>
                  <a:pt x="41" y="32"/>
                </a:lnTo>
                <a:lnTo>
                  <a:pt x="44" y="32"/>
                </a:lnTo>
                <a:lnTo>
                  <a:pt x="49" y="32"/>
                </a:lnTo>
                <a:lnTo>
                  <a:pt x="51" y="29"/>
                </a:lnTo>
                <a:lnTo>
                  <a:pt x="49" y="27"/>
                </a:lnTo>
                <a:lnTo>
                  <a:pt x="51" y="27"/>
                </a:lnTo>
                <a:lnTo>
                  <a:pt x="51" y="22"/>
                </a:lnTo>
                <a:lnTo>
                  <a:pt x="51" y="22"/>
                </a:lnTo>
                <a:lnTo>
                  <a:pt x="51" y="19"/>
                </a:lnTo>
                <a:lnTo>
                  <a:pt x="46" y="19"/>
                </a:lnTo>
                <a:lnTo>
                  <a:pt x="46" y="17"/>
                </a:lnTo>
                <a:lnTo>
                  <a:pt x="49" y="14"/>
                </a:lnTo>
                <a:lnTo>
                  <a:pt x="51" y="17"/>
                </a:lnTo>
                <a:lnTo>
                  <a:pt x="54" y="14"/>
                </a:lnTo>
                <a:lnTo>
                  <a:pt x="54" y="12"/>
                </a:lnTo>
                <a:lnTo>
                  <a:pt x="54" y="10"/>
                </a:lnTo>
                <a:lnTo>
                  <a:pt x="54" y="7"/>
                </a:lnTo>
                <a:lnTo>
                  <a:pt x="56" y="5"/>
                </a:lnTo>
                <a:lnTo>
                  <a:pt x="56" y="5"/>
                </a:lnTo>
                <a:lnTo>
                  <a:pt x="54" y="5"/>
                </a:lnTo>
                <a:lnTo>
                  <a:pt x="51" y="2"/>
                </a:lnTo>
                <a:lnTo>
                  <a:pt x="46" y="0"/>
                </a:lnTo>
                <a:lnTo>
                  <a:pt x="41" y="0"/>
                </a:lnTo>
                <a:lnTo>
                  <a:pt x="39" y="2"/>
                </a:lnTo>
                <a:lnTo>
                  <a:pt x="36" y="2"/>
                </a:lnTo>
                <a:lnTo>
                  <a:pt x="34" y="2"/>
                </a:lnTo>
                <a:lnTo>
                  <a:pt x="31" y="2"/>
                </a:lnTo>
                <a:lnTo>
                  <a:pt x="27" y="7"/>
                </a:lnTo>
                <a:lnTo>
                  <a:pt x="22" y="10"/>
                </a:lnTo>
                <a:lnTo>
                  <a:pt x="19" y="10"/>
                </a:lnTo>
                <a:lnTo>
                  <a:pt x="17" y="10"/>
                </a:lnTo>
                <a:lnTo>
                  <a:pt x="17" y="14"/>
                </a:lnTo>
                <a:lnTo>
                  <a:pt x="14" y="17"/>
                </a:lnTo>
                <a:lnTo>
                  <a:pt x="14" y="19"/>
                </a:lnTo>
                <a:lnTo>
                  <a:pt x="14" y="24"/>
                </a:lnTo>
                <a:lnTo>
                  <a:pt x="12" y="27"/>
                </a:lnTo>
                <a:lnTo>
                  <a:pt x="12" y="27"/>
                </a:lnTo>
                <a:lnTo>
                  <a:pt x="9" y="29"/>
                </a:lnTo>
                <a:lnTo>
                  <a:pt x="9" y="32"/>
                </a:lnTo>
                <a:lnTo>
                  <a:pt x="14" y="34"/>
                </a:lnTo>
                <a:lnTo>
                  <a:pt x="17" y="37"/>
                </a:lnTo>
                <a:lnTo>
                  <a:pt x="12" y="37"/>
                </a:lnTo>
                <a:lnTo>
                  <a:pt x="12" y="37"/>
                </a:lnTo>
                <a:lnTo>
                  <a:pt x="9" y="39"/>
                </a:lnTo>
                <a:lnTo>
                  <a:pt x="12" y="39"/>
                </a:lnTo>
                <a:lnTo>
                  <a:pt x="14" y="42"/>
                </a:lnTo>
                <a:lnTo>
                  <a:pt x="14" y="42"/>
                </a:lnTo>
                <a:lnTo>
                  <a:pt x="9" y="42"/>
                </a:lnTo>
                <a:lnTo>
                  <a:pt x="7" y="39"/>
                </a:lnTo>
                <a:lnTo>
                  <a:pt x="4" y="39"/>
                </a:lnTo>
                <a:lnTo>
                  <a:pt x="2" y="39"/>
                </a:lnTo>
                <a:lnTo>
                  <a:pt x="4" y="42"/>
                </a:lnTo>
                <a:lnTo>
                  <a:pt x="7" y="42"/>
                </a:lnTo>
                <a:lnTo>
                  <a:pt x="9" y="44"/>
                </a:lnTo>
                <a:lnTo>
                  <a:pt x="9" y="42"/>
                </a:lnTo>
                <a:lnTo>
                  <a:pt x="12" y="44"/>
                </a:lnTo>
                <a:lnTo>
                  <a:pt x="9" y="44"/>
                </a:lnTo>
                <a:lnTo>
                  <a:pt x="7" y="44"/>
                </a:lnTo>
                <a:lnTo>
                  <a:pt x="4" y="42"/>
                </a:lnTo>
                <a:lnTo>
                  <a:pt x="0" y="42"/>
                </a:lnTo>
                <a:lnTo>
                  <a:pt x="0" y="42"/>
                </a:lnTo>
                <a:lnTo>
                  <a:pt x="2" y="44"/>
                </a:lnTo>
                <a:lnTo>
                  <a:pt x="4" y="46"/>
                </a:lnTo>
                <a:lnTo>
                  <a:pt x="7" y="46"/>
                </a:lnTo>
                <a:lnTo>
                  <a:pt x="7" y="46"/>
                </a:lnTo>
                <a:lnTo>
                  <a:pt x="9" y="46"/>
                </a:lnTo>
                <a:lnTo>
                  <a:pt x="12" y="44"/>
                </a:lnTo>
                <a:lnTo>
                  <a:pt x="12" y="44"/>
                </a:lnTo>
                <a:lnTo>
                  <a:pt x="14" y="44"/>
                </a:lnTo>
                <a:lnTo>
                  <a:pt x="17" y="42"/>
                </a:lnTo>
                <a:lnTo>
                  <a:pt x="22" y="42"/>
                </a:lnTo>
                <a:lnTo>
                  <a:pt x="24" y="44"/>
                </a:lnTo>
                <a:lnTo>
                  <a:pt x="27" y="44"/>
                </a:lnTo>
                <a:lnTo>
                  <a:pt x="27" y="46"/>
                </a:lnTo>
                <a:lnTo>
                  <a:pt x="31" y="44"/>
                </a:lnTo>
                <a:lnTo>
                  <a:pt x="31" y="46"/>
                </a:lnTo>
                <a:lnTo>
                  <a:pt x="31" y="49"/>
                </a:lnTo>
                <a:lnTo>
                  <a:pt x="34" y="51"/>
                </a:lnTo>
                <a:lnTo>
                  <a:pt x="34" y="51"/>
                </a:lnTo>
                <a:lnTo>
                  <a:pt x="34" y="51"/>
                </a:lnTo>
                <a:close/>
                <a:moveTo>
                  <a:pt x="4" y="37"/>
                </a:moveTo>
                <a:lnTo>
                  <a:pt x="9" y="37"/>
                </a:lnTo>
                <a:lnTo>
                  <a:pt x="9" y="37"/>
                </a:lnTo>
                <a:lnTo>
                  <a:pt x="7" y="39"/>
                </a:lnTo>
                <a:lnTo>
                  <a:pt x="7" y="37"/>
                </a:lnTo>
                <a:lnTo>
                  <a:pt x="4" y="37"/>
                </a:lnTo>
                <a:lnTo>
                  <a:pt x="4" y="37"/>
                </a:lnTo>
                <a:lnTo>
                  <a:pt x="4" y="37"/>
                </a:lnTo>
                <a:close/>
                <a:moveTo>
                  <a:pt x="7" y="34"/>
                </a:moveTo>
                <a:lnTo>
                  <a:pt x="9" y="34"/>
                </a:lnTo>
                <a:lnTo>
                  <a:pt x="12" y="34"/>
                </a:lnTo>
                <a:lnTo>
                  <a:pt x="12" y="37"/>
                </a:lnTo>
                <a:lnTo>
                  <a:pt x="9" y="37"/>
                </a:lnTo>
                <a:lnTo>
                  <a:pt x="9" y="34"/>
                </a:lnTo>
                <a:lnTo>
                  <a:pt x="7" y="34"/>
                </a:lnTo>
                <a:lnTo>
                  <a:pt x="7" y="34"/>
                </a:lnTo>
                <a:lnTo>
                  <a:pt x="7" y="34"/>
                </a:lnTo>
                <a:close/>
              </a:path>
            </a:pathLst>
          </a:custGeom>
          <a:blipFill>
            <a:blip r:embed="rId13"/>
            <a:stretch>
              <a:fillRect/>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22" name="Freeform 321"/>
          <p:cNvSpPr/>
          <p:nvPr/>
        </p:nvSpPr>
        <p:spPr>
          <a:xfrm>
            <a:off x="6387923" y="2849282"/>
            <a:ext cx="1536908" cy="1072278"/>
          </a:xfrm>
          <a:custGeom>
            <a:avLst/>
            <a:gdLst>
              <a:gd name="connsiteX0" fmla="*/ 98602 w 1536908"/>
              <a:gd name="connsiteY0" fmla="*/ 481293 h 1072278"/>
              <a:gd name="connsiteX1" fmla="*/ 168452 w 1536908"/>
              <a:gd name="connsiteY1" fmla="*/ 465418 h 1072278"/>
              <a:gd name="connsiteX2" fmla="*/ 209727 w 1536908"/>
              <a:gd name="connsiteY2" fmla="*/ 465418 h 1072278"/>
              <a:gd name="connsiteX3" fmla="*/ 254177 w 1536908"/>
              <a:gd name="connsiteY3" fmla="*/ 465418 h 1072278"/>
              <a:gd name="connsiteX4" fmla="*/ 273227 w 1536908"/>
              <a:gd name="connsiteY4" fmla="*/ 481293 h 1072278"/>
              <a:gd name="connsiteX5" fmla="*/ 285927 w 1536908"/>
              <a:gd name="connsiteY5" fmla="*/ 430493 h 1072278"/>
              <a:gd name="connsiteX6" fmla="*/ 273227 w 1536908"/>
              <a:gd name="connsiteY6" fmla="*/ 405093 h 1072278"/>
              <a:gd name="connsiteX7" fmla="*/ 289102 w 1536908"/>
              <a:gd name="connsiteY7" fmla="*/ 379693 h 1072278"/>
              <a:gd name="connsiteX8" fmla="*/ 295452 w 1536908"/>
              <a:gd name="connsiteY8" fmla="*/ 351118 h 1072278"/>
              <a:gd name="connsiteX9" fmla="*/ 346252 w 1536908"/>
              <a:gd name="connsiteY9" fmla="*/ 328893 h 1072278"/>
              <a:gd name="connsiteX10" fmla="*/ 378002 w 1536908"/>
              <a:gd name="connsiteY10" fmla="*/ 306668 h 1072278"/>
              <a:gd name="connsiteX11" fmla="*/ 378002 w 1536908"/>
              <a:gd name="connsiteY11" fmla="*/ 281268 h 1072278"/>
              <a:gd name="connsiteX12" fmla="*/ 393877 w 1536908"/>
              <a:gd name="connsiteY12" fmla="*/ 259043 h 1072278"/>
              <a:gd name="connsiteX13" fmla="*/ 406577 w 1536908"/>
              <a:gd name="connsiteY13" fmla="*/ 259043 h 1072278"/>
              <a:gd name="connsiteX14" fmla="*/ 441502 w 1536908"/>
              <a:gd name="connsiteY14" fmla="*/ 300318 h 1072278"/>
              <a:gd name="connsiteX15" fmla="*/ 470077 w 1536908"/>
              <a:gd name="connsiteY15" fmla="*/ 284443 h 1072278"/>
              <a:gd name="connsiteX16" fmla="*/ 501827 w 1536908"/>
              <a:gd name="connsiteY16" fmla="*/ 316193 h 1072278"/>
              <a:gd name="connsiteX17" fmla="*/ 508177 w 1536908"/>
              <a:gd name="connsiteY17" fmla="*/ 347943 h 1072278"/>
              <a:gd name="connsiteX18" fmla="*/ 524052 w 1536908"/>
              <a:gd name="connsiteY18" fmla="*/ 376518 h 1072278"/>
              <a:gd name="connsiteX19" fmla="*/ 597077 w 1536908"/>
              <a:gd name="connsiteY19" fmla="*/ 386043 h 1072278"/>
              <a:gd name="connsiteX20" fmla="*/ 644702 w 1536908"/>
              <a:gd name="connsiteY20" fmla="*/ 427318 h 1072278"/>
              <a:gd name="connsiteX21" fmla="*/ 682802 w 1536908"/>
              <a:gd name="connsiteY21" fmla="*/ 449543 h 1072278"/>
              <a:gd name="connsiteX22" fmla="*/ 730427 w 1536908"/>
              <a:gd name="connsiteY22" fmla="*/ 446368 h 1072278"/>
              <a:gd name="connsiteX23" fmla="*/ 759002 w 1536908"/>
              <a:gd name="connsiteY23" fmla="*/ 440018 h 1072278"/>
              <a:gd name="connsiteX24" fmla="*/ 870127 w 1536908"/>
              <a:gd name="connsiteY24" fmla="*/ 471768 h 1072278"/>
              <a:gd name="connsiteX25" fmla="*/ 936802 w 1536908"/>
              <a:gd name="connsiteY25" fmla="*/ 436843 h 1072278"/>
              <a:gd name="connsiteX26" fmla="*/ 987602 w 1536908"/>
              <a:gd name="connsiteY26" fmla="*/ 420968 h 1072278"/>
              <a:gd name="connsiteX27" fmla="*/ 1019352 w 1536908"/>
              <a:gd name="connsiteY27" fmla="*/ 392393 h 1072278"/>
              <a:gd name="connsiteX28" fmla="*/ 1006652 w 1536908"/>
              <a:gd name="connsiteY28" fmla="*/ 351118 h 1072278"/>
              <a:gd name="connsiteX29" fmla="*/ 1028877 w 1536908"/>
              <a:gd name="connsiteY29" fmla="*/ 341593 h 1072278"/>
              <a:gd name="connsiteX30" fmla="*/ 1070152 w 1536908"/>
              <a:gd name="connsiteY30" fmla="*/ 351118 h 1072278"/>
              <a:gd name="connsiteX31" fmla="*/ 1079677 w 1536908"/>
              <a:gd name="connsiteY31" fmla="*/ 325718 h 1072278"/>
              <a:gd name="connsiteX32" fmla="*/ 1133652 w 1536908"/>
              <a:gd name="connsiteY32" fmla="*/ 297143 h 1072278"/>
              <a:gd name="connsiteX33" fmla="*/ 1168577 w 1536908"/>
              <a:gd name="connsiteY33" fmla="*/ 284443 h 1072278"/>
              <a:gd name="connsiteX34" fmla="*/ 1184452 w 1536908"/>
              <a:gd name="connsiteY34" fmla="*/ 255868 h 1072278"/>
              <a:gd name="connsiteX35" fmla="*/ 1149527 w 1536908"/>
              <a:gd name="connsiteY35" fmla="*/ 224118 h 1072278"/>
              <a:gd name="connsiteX36" fmla="*/ 1092377 w 1536908"/>
              <a:gd name="connsiteY36" fmla="*/ 243168 h 1072278"/>
              <a:gd name="connsiteX37" fmla="*/ 1073327 w 1536908"/>
              <a:gd name="connsiteY37" fmla="*/ 239993 h 1072278"/>
              <a:gd name="connsiteX38" fmla="*/ 1073327 w 1536908"/>
              <a:gd name="connsiteY38" fmla="*/ 160618 h 1072278"/>
              <a:gd name="connsiteX39" fmla="*/ 1117777 w 1536908"/>
              <a:gd name="connsiteY39" fmla="*/ 157443 h 1072278"/>
              <a:gd name="connsiteX40" fmla="*/ 1124127 w 1536908"/>
              <a:gd name="connsiteY40" fmla="*/ 128868 h 1072278"/>
              <a:gd name="connsiteX41" fmla="*/ 1127302 w 1536908"/>
              <a:gd name="connsiteY41" fmla="*/ 87593 h 1072278"/>
              <a:gd name="connsiteX42" fmla="*/ 1140002 w 1536908"/>
              <a:gd name="connsiteY42" fmla="*/ 46318 h 1072278"/>
              <a:gd name="connsiteX43" fmla="*/ 1117777 w 1536908"/>
              <a:gd name="connsiteY43" fmla="*/ 39968 h 1072278"/>
              <a:gd name="connsiteX44" fmla="*/ 1178102 w 1536908"/>
              <a:gd name="connsiteY44" fmla="*/ 1868 h 1072278"/>
              <a:gd name="connsiteX45" fmla="*/ 1241602 w 1536908"/>
              <a:gd name="connsiteY45" fmla="*/ 11393 h 1072278"/>
              <a:gd name="connsiteX46" fmla="*/ 1282877 w 1536908"/>
              <a:gd name="connsiteY46" fmla="*/ 59018 h 1072278"/>
              <a:gd name="connsiteX47" fmla="*/ 1314627 w 1536908"/>
              <a:gd name="connsiteY47" fmla="*/ 109818 h 1072278"/>
              <a:gd name="connsiteX48" fmla="*/ 1346377 w 1536908"/>
              <a:gd name="connsiteY48" fmla="*/ 144743 h 1072278"/>
              <a:gd name="connsiteX49" fmla="*/ 1394002 w 1536908"/>
              <a:gd name="connsiteY49" fmla="*/ 154268 h 1072278"/>
              <a:gd name="connsiteX50" fmla="*/ 1416227 w 1536908"/>
              <a:gd name="connsiteY50" fmla="*/ 176493 h 1072278"/>
              <a:gd name="connsiteX51" fmla="*/ 1438452 w 1536908"/>
              <a:gd name="connsiteY51" fmla="*/ 176493 h 1072278"/>
              <a:gd name="connsiteX52" fmla="*/ 1441627 w 1536908"/>
              <a:gd name="connsiteY52" fmla="*/ 201893 h 1072278"/>
              <a:gd name="connsiteX53" fmla="*/ 1489252 w 1536908"/>
              <a:gd name="connsiteY53" fmla="*/ 192368 h 1072278"/>
              <a:gd name="connsiteX54" fmla="*/ 1527352 w 1536908"/>
              <a:gd name="connsiteY54" fmla="*/ 166968 h 1072278"/>
              <a:gd name="connsiteX55" fmla="*/ 1536877 w 1536908"/>
              <a:gd name="connsiteY55" fmla="*/ 211418 h 1072278"/>
              <a:gd name="connsiteX56" fmla="*/ 1530527 w 1536908"/>
              <a:gd name="connsiteY56" fmla="*/ 233643 h 1072278"/>
              <a:gd name="connsiteX57" fmla="*/ 1533702 w 1536908"/>
              <a:gd name="connsiteY57" fmla="*/ 255868 h 1072278"/>
              <a:gd name="connsiteX58" fmla="*/ 1527352 w 1536908"/>
              <a:gd name="connsiteY58" fmla="*/ 293968 h 1072278"/>
              <a:gd name="connsiteX59" fmla="*/ 1524177 w 1536908"/>
              <a:gd name="connsiteY59" fmla="*/ 306668 h 1072278"/>
              <a:gd name="connsiteX60" fmla="*/ 1498777 w 1536908"/>
              <a:gd name="connsiteY60" fmla="*/ 290793 h 1072278"/>
              <a:gd name="connsiteX61" fmla="*/ 1482902 w 1536908"/>
              <a:gd name="connsiteY61" fmla="*/ 306668 h 1072278"/>
              <a:gd name="connsiteX62" fmla="*/ 1498777 w 1536908"/>
              <a:gd name="connsiteY62" fmla="*/ 347943 h 1072278"/>
              <a:gd name="connsiteX63" fmla="*/ 1508302 w 1536908"/>
              <a:gd name="connsiteY63" fmla="*/ 382868 h 1072278"/>
              <a:gd name="connsiteX64" fmla="*/ 1476552 w 1536908"/>
              <a:gd name="connsiteY64" fmla="*/ 392393 h 1072278"/>
              <a:gd name="connsiteX65" fmla="*/ 1463852 w 1536908"/>
              <a:gd name="connsiteY65" fmla="*/ 395568 h 1072278"/>
              <a:gd name="connsiteX66" fmla="*/ 1463852 w 1536908"/>
              <a:gd name="connsiteY66" fmla="*/ 411443 h 1072278"/>
              <a:gd name="connsiteX67" fmla="*/ 1441627 w 1536908"/>
              <a:gd name="connsiteY67" fmla="*/ 414618 h 1072278"/>
              <a:gd name="connsiteX68" fmla="*/ 1454327 w 1536908"/>
              <a:gd name="connsiteY68" fmla="*/ 433668 h 1072278"/>
              <a:gd name="connsiteX69" fmla="*/ 1432102 w 1536908"/>
              <a:gd name="connsiteY69" fmla="*/ 440018 h 1072278"/>
              <a:gd name="connsiteX70" fmla="*/ 1403527 w 1536908"/>
              <a:gd name="connsiteY70" fmla="*/ 424143 h 1072278"/>
              <a:gd name="connsiteX71" fmla="*/ 1390827 w 1536908"/>
              <a:gd name="connsiteY71" fmla="*/ 474943 h 1072278"/>
              <a:gd name="connsiteX72" fmla="*/ 1374952 w 1536908"/>
              <a:gd name="connsiteY72" fmla="*/ 490818 h 1072278"/>
              <a:gd name="connsiteX73" fmla="*/ 1349552 w 1536908"/>
              <a:gd name="connsiteY73" fmla="*/ 500343 h 1072278"/>
              <a:gd name="connsiteX74" fmla="*/ 1327327 w 1536908"/>
              <a:gd name="connsiteY74" fmla="*/ 516218 h 1072278"/>
              <a:gd name="connsiteX75" fmla="*/ 1301927 w 1536908"/>
              <a:gd name="connsiteY75" fmla="*/ 506693 h 1072278"/>
              <a:gd name="connsiteX76" fmla="*/ 1320977 w 1536908"/>
              <a:gd name="connsiteY76" fmla="*/ 465418 h 1072278"/>
              <a:gd name="connsiteX77" fmla="*/ 1295577 w 1536908"/>
              <a:gd name="connsiteY77" fmla="*/ 455893 h 1072278"/>
              <a:gd name="connsiteX78" fmla="*/ 1263827 w 1536908"/>
              <a:gd name="connsiteY78" fmla="*/ 493993 h 1072278"/>
              <a:gd name="connsiteX79" fmla="*/ 1251127 w 1536908"/>
              <a:gd name="connsiteY79" fmla="*/ 516218 h 1072278"/>
              <a:gd name="connsiteX80" fmla="*/ 1241602 w 1536908"/>
              <a:gd name="connsiteY80" fmla="*/ 522568 h 1072278"/>
              <a:gd name="connsiteX81" fmla="*/ 1216202 w 1536908"/>
              <a:gd name="connsiteY81" fmla="*/ 532093 h 1072278"/>
              <a:gd name="connsiteX82" fmla="*/ 1213027 w 1536908"/>
              <a:gd name="connsiteY82" fmla="*/ 551143 h 1072278"/>
              <a:gd name="connsiteX83" fmla="*/ 1241602 w 1536908"/>
              <a:gd name="connsiteY83" fmla="*/ 592418 h 1072278"/>
              <a:gd name="connsiteX84" fmla="*/ 1295577 w 1536908"/>
              <a:gd name="connsiteY84" fmla="*/ 582893 h 1072278"/>
              <a:gd name="connsiteX85" fmla="*/ 1349552 w 1536908"/>
              <a:gd name="connsiteY85" fmla="*/ 586068 h 1072278"/>
              <a:gd name="connsiteX86" fmla="*/ 1305102 w 1536908"/>
              <a:gd name="connsiteY86" fmla="*/ 614643 h 1072278"/>
              <a:gd name="connsiteX87" fmla="*/ 1282877 w 1536908"/>
              <a:gd name="connsiteY87" fmla="*/ 646393 h 1072278"/>
              <a:gd name="connsiteX88" fmla="*/ 1308277 w 1536908"/>
              <a:gd name="connsiteY88" fmla="*/ 684493 h 1072278"/>
              <a:gd name="connsiteX89" fmla="*/ 1333677 w 1536908"/>
              <a:gd name="connsiteY89" fmla="*/ 713068 h 1072278"/>
              <a:gd name="connsiteX90" fmla="*/ 1359077 w 1536908"/>
              <a:gd name="connsiteY90" fmla="*/ 741643 h 1072278"/>
              <a:gd name="connsiteX91" fmla="*/ 1340027 w 1536908"/>
              <a:gd name="connsiteY91" fmla="*/ 754343 h 1072278"/>
              <a:gd name="connsiteX92" fmla="*/ 1292402 w 1536908"/>
              <a:gd name="connsiteY92" fmla="*/ 751168 h 1072278"/>
              <a:gd name="connsiteX93" fmla="*/ 1289227 w 1536908"/>
              <a:gd name="connsiteY93" fmla="*/ 770218 h 1072278"/>
              <a:gd name="connsiteX94" fmla="*/ 1365427 w 1536908"/>
              <a:gd name="connsiteY94" fmla="*/ 763868 h 1072278"/>
              <a:gd name="connsiteX95" fmla="*/ 1330502 w 1536908"/>
              <a:gd name="connsiteY95" fmla="*/ 792443 h 1072278"/>
              <a:gd name="connsiteX96" fmla="*/ 1343202 w 1536908"/>
              <a:gd name="connsiteY96" fmla="*/ 830543 h 1072278"/>
              <a:gd name="connsiteX97" fmla="*/ 1368602 w 1536908"/>
              <a:gd name="connsiteY97" fmla="*/ 830543 h 1072278"/>
              <a:gd name="connsiteX98" fmla="*/ 1365427 w 1536908"/>
              <a:gd name="connsiteY98" fmla="*/ 862293 h 1072278"/>
              <a:gd name="connsiteX99" fmla="*/ 1343202 w 1536908"/>
              <a:gd name="connsiteY99" fmla="*/ 884518 h 1072278"/>
              <a:gd name="connsiteX100" fmla="*/ 1336852 w 1536908"/>
              <a:gd name="connsiteY100" fmla="*/ 925793 h 1072278"/>
              <a:gd name="connsiteX101" fmla="*/ 1324152 w 1536908"/>
              <a:gd name="connsiteY101" fmla="*/ 963893 h 1072278"/>
              <a:gd name="connsiteX102" fmla="*/ 1298752 w 1536908"/>
              <a:gd name="connsiteY102" fmla="*/ 992468 h 1072278"/>
              <a:gd name="connsiteX103" fmla="*/ 1251127 w 1536908"/>
              <a:gd name="connsiteY103" fmla="*/ 1021043 h 1072278"/>
              <a:gd name="connsiteX104" fmla="*/ 1216202 w 1536908"/>
              <a:gd name="connsiteY104" fmla="*/ 1021043 h 1072278"/>
              <a:gd name="connsiteX105" fmla="*/ 1193977 w 1536908"/>
              <a:gd name="connsiteY105" fmla="*/ 1017868 h 1072278"/>
              <a:gd name="connsiteX106" fmla="*/ 1155877 w 1536908"/>
              <a:gd name="connsiteY106" fmla="*/ 1055968 h 1072278"/>
              <a:gd name="connsiteX107" fmla="*/ 1130477 w 1536908"/>
              <a:gd name="connsiteY107" fmla="*/ 1055968 h 1072278"/>
              <a:gd name="connsiteX108" fmla="*/ 1095552 w 1536908"/>
              <a:gd name="connsiteY108" fmla="*/ 1055968 h 1072278"/>
              <a:gd name="connsiteX109" fmla="*/ 1028877 w 1536908"/>
              <a:gd name="connsiteY109" fmla="*/ 1046443 h 1072278"/>
              <a:gd name="connsiteX110" fmla="*/ 1019352 w 1536908"/>
              <a:gd name="connsiteY110" fmla="*/ 1021043 h 1072278"/>
              <a:gd name="connsiteX111" fmla="*/ 984427 w 1536908"/>
              <a:gd name="connsiteY111" fmla="*/ 1017868 h 1072278"/>
              <a:gd name="connsiteX112" fmla="*/ 924102 w 1536908"/>
              <a:gd name="connsiteY112" fmla="*/ 1046443 h 1072278"/>
              <a:gd name="connsiteX113" fmla="*/ 876477 w 1536908"/>
              <a:gd name="connsiteY113" fmla="*/ 1071843 h 1072278"/>
              <a:gd name="connsiteX114" fmla="*/ 857427 w 1536908"/>
              <a:gd name="connsiteY114" fmla="*/ 1059143 h 1072278"/>
              <a:gd name="connsiteX115" fmla="*/ 844727 w 1536908"/>
              <a:gd name="connsiteY115" fmla="*/ 1017868 h 1072278"/>
              <a:gd name="connsiteX116" fmla="*/ 822502 w 1536908"/>
              <a:gd name="connsiteY116" fmla="*/ 1001993 h 1072278"/>
              <a:gd name="connsiteX117" fmla="*/ 806627 w 1536908"/>
              <a:gd name="connsiteY117" fmla="*/ 986118 h 1072278"/>
              <a:gd name="connsiteX118" fmla="*/ 816152 w 1536908"/>
              <a:gd name="connsiteY118" fmla="*/ 932143 h 1072278"/>
              <a:gd name="connsiteX119" fmla="*/ 793927 w 1536908"/>
              <a:gd name="connsiteY119" fmla="*/ 894043 h 1072278"/>
              <a:gd name="connsiteX120" fmla="*/ 755827 w 1536908"/>
              <a:gd name="connsiteY120" fmla="*/ 897218 h 1072278"/>
              <a:gd name="connsiteX121" fmla="*/ 736777 w 1536908"/>
              <a:gd name="connsiteY121" fmla="*/ 840068 h 1072278"/>
              <a:gd name="connsiteX122" fmla="*/ 685977 w 1536908"/>
              <a:gd name="connsiteY122" fmla="*/ 868643 h 1072278"/>
              <a:gd name="connsiteX123" fmla="*/ 644702 w 1536908"/>
              <a:gd name="connsiteY123" fmla="*/ 897218 h 1072278"/>
              <a:gd name="connsiteX124" fmla="*/ 622477 w 1536908"/>
              <a:gd name="connsiteY124" fmla="*/ 890868 h 1072278"/>
              <a:gd name="connsiteX125" fmla="*/ 571677 w 1536908"/>
              <a:gd name="connsiteY125" fmla="*/ 900393 h 1072278"/>
              <a:gd name="connsiteX126" fmla="*/ 546277 w 1536908"/>
              <a:gd name="connsiteY126" fmla="*/ 894043 h 1072278"/>
              <a:gd name="connsiteX127" fmla="*/ 520877 w 1536908"/>
              <a:gd name="connsiteY127" fmla="*/ 906743 h 1072278"/>
              <a:gd name="connsiteX128" fmla="*/ 492302 w 1536908"/>
              <a:gd name="connsiteY128" fmla="*/ 884518 h 1072278"/>
              <a:gd name="connsiteX129" fmla="*/ 473252 w 1536908"/>
              <a:gd name="connsiteY129" fmla="*/ 887693 h 1072278"/>
              <a:gd name="connsiteX130" fmla="*/ 447852 w 1536908"/>
              <a:gd name="connsiteY130" fmla="*/ 881343 h 1072278"/>
              <a:gd name="connsiteX131" fmla="*/ 435152 w 1536908"/>
              <a:gd name="connsiteY131" fmla="*/ 865468 h 1072278"/>
              <a:gd name="connsiteX132" fmla="*/ 384352 w 1536908"/>
              <a:gd name="connsiteY132" fmla="*/ 840068 h 1072278"/>
              <a:gd name="connsiteX133" fmla="*/ 346252 w 1536908"/>
              <a:gd name="connsiteY133" fmla="*/ 836893 h 1072278"/>
              <a:gd name="connsiteX134" fmla="*/ 324027 w 1536908"/>
              <a:gd name="connsiteY134" fmla="*/ 821018 h 1072278"/>
              <a:gd name="connsiteX135" fmla="*/ 304977 w 1536908"/>
              <a:gd name="connsiteY135" fmla="*/ 814668 h 1072278"/>
              <a:gd name="connsiteX136" fmla="*/ 292277 w 1536908"/>
              <a:gd name="connsiteY136" fmla="*/ 782918 h 1072278"/>
              <a:gd name="connsiteX137" fmla="*/ 317677 w 1536908"/>
              <a:gd name="connsiteY137" fmla="*/ 757518 h 1072278"/>
              <a:gd name="connsiteX138" fmla="*/ 276402 w 1536908"/>
              <a:gd name="connsiteY138" fmla="*/ 706718 h 1072278"/>
              <a:gd name="connsiteX139" fmla="*/ 235127 w 1536908"/>
              <a:gd name="connsiteY139" fmla="*/ 678143 h 1072278"/>
              <a:gd name="connsiteX140" fmla="*/ 216077 w 1536908"/>
              <a:gd name="connsiteY140" fmla="*/ 662268 h 1072278"/>
              <a:gd name="connsiteX141" fmla="*/ 190677 w 1536908"/>
              <a:gd name="connsiteY141" fmla="*/ 649568 h 1072278"/>
              <a:gd name="connsiteX142" fmla="*/ 174802 w 1536908"/>
              <a:gd name="connsiteY142" fmla="*/ 643218 h 1072278"/>
              <a:gd name="connsiteX143" fmla="*/ 162102 w 1536908"/>
              <a:gd name="connsiteY143" fmla="*/ 630518 h 1072278"/>
              <a:gd name="connsiteX144" fmla="*/ 111302 w 1536908"/>
              <a:gd name="connsiteY144" fmla="*/ 655918 h 1072278"/>
              <a:gd name="connsiteX145" fmla="*/ 101777 w 1536908"/>
              <a:gd name="connsiteY145" fmla="*/ 655918 h 1072278"/>
              <a:gd name="connsiteX146" fmla="*/ 89077 w 1536908"/>
              <a:gd name="connsiteY146" fmla="*/ 630518 h 1072278"/>
              <a:gd name="connsiteX147" fmla="*/ 70027 w 1536908"/>
              <a:gd name="connsiteY147" fmla="*/ 601943 h 1072278"/>
              <a:gd name="connsiteX148" fmla="*/ 41452 w 1536908"/>
              <a:gd name="connsiteY148" fmla="*/ 649568 h 1072278"/>
              <a:gd name="connsiteX149" fmla="*/ 28752 w 1536908"/>
              <a:gd name="connsiteY149" fmla="*/ 649568 h 1072278"/>
              <a:gd name="connsiteX150" fmla="*/ 12877 w 1536908"/>
              <a:gd name="connsiteY150" fmla="*/ 652743 h 1072278"/>
              <a:gd name="connsiteX151" fmla="*/ 9702 w 1536908"/>
              <a:gd name="connsiteY151" fmla="*/ 633693 h 1072278"/>
              <a:gd name="connsiteX152" fmla="*/ 9702 w 1536908"/>
              <a:gd name="connsiteY152" fmla="*/ 611468 h 1072278"/>
              <a:gd name="connsiteX153" fmla="*/ 177 w 1536908"/>
              <a:gd name="connsiteY153" fmla="*/ 592418 h 1072278"/>
              <a:gd name="connsiteX154" fmla="*/ 19227 w 1536908"/>
              <a:gd name="connsiteY154" fmla="*/ 557493 h 1072278"/>
              <a:gd name="connsiteX155" fmla="*/ 35102 w 1536908"/>
              <a:gd name="connsiteY155" fmla="*/ 535268 h 1072278"/>
              <a:gd name="connsiteX156" fmla="*/ 79552 w 1536908"/>
              <a:gd name="connsiteY156" fmla="*/ 535268 h 1072278"/>
              <a:gd name="connsiteX157" fmla="*/ 98602 w 1536908"/>
              <a:gd name="connsiteY157" fmla="*/ 481293 h 107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536908" h="1072278">
                <a:moveTo>
                  <a:pt x="98602" y="481293"/>
                </a:moveTo>
                <a:cubicBezTo>
                  <a:pt x="113418" y="469651"/>
                  <a:pt x="149931" y="468064"/>
                  <a:pt x="168452" y="465418"/>
                </a:cubicBezTo>
                <a:cubicBezTo>
                  <a:pt x="186973" y="462772"/>
                  <a:pt x="209727" y="465418"/>
                  <a:pt x="209727" y="465418"/>
                </a:cubicBezTo>
                <a:cubicBezTo>
                  <a:pt x="224014" y="465418"/>
                  <a:pt x="243594" y="462772"/>
                  <a:pt x="254177" y="465418"/>
                </a:cubicBezTo>
                <a:cubicBezTo>
                  <a:pt x="264760" y="468064"/>
                  <a:pt x="267935" y="487114"/>
                  <a:pt x="273227" y="481293"/>
                </a:cubicBezTo>
                <a:cubicBezTo>
                  <a:pt x="278519" y="475472"/>
                  <a:pt x="285927" y="443193"/>
                  <a:pt x="285927" y="430493"/>
                </a:cubicBezTo>
                <a:cubicBezTo>
                  <a:pt x="285927" y="417793"/>
                  <a:pt x="272698" y="413560"/>
                  <a:pt x="273227" y="405093"/>
                </a:cubicBezTo>
                <a:cubicBezTo>
                  <a:pt x="273756" y="396626"/>
                  <a:pt x="285398" y="388689"/>
                  <a:pt x="289102" y="379693"/>
                </a:cubicBezTo>
                <a:cubicBezTo>
                  <a:pt x="292806" y="370697"/>
                  <a:pt x="285927" y="359585"/>
                  <a:pt x="295452" y="351118"/>
                </a:cubicBezTo>
                <a:cubicBezTo>
                  <a:pt x="304977" y="342651"/>
                  <a:pt x="332494" y="336301"/>
                  <a:pt x="346252" y="328893"/>
                </a:cubicBezTo>
                <a:cubicBezTo>
                  <a:pt x="360010" y="321485"/>
                  <a:pt x="372710" y="314605"/>
                  <a:pt x="378002" y="306668"/>
                </a:cubicBezTo>
                <a:cubicBezTo>
                  <a:pt x="383294" y="298731"/>
                  <a:pt x="375356" y="289205"/>
                  <a:pt x="378002" y="281268"/>
                </a:cubicBezTo>
                <a:cubicBezTo>
                  <a:pt x="380648" y="273331"/>
                  <a:pt x="389115" y="262747"/>
                  <a:pt x="393877" y="259043"/>
                </a:cubicBezTo>
                <a:cubicBezTo>
                  <a:pt x="398639" y="255339"/>
                  <a:pt x="398639" y="252164"/>
                  <a:pt x="406577" y="259043"/>
                </a:cubicBezTo>
                <a:cubicBezTo>
                  <a:pt x="414515" y="265922"/>
                  <a:pt x="430919" y="296085"/>
                  <a:pt x="441502" y="300318"/>
                </a:cubicBezTo>
                <a:cubicBezTo>
                  <a:pt x="452085" y="304551"/>
                  <a:pt x="460023" y="281797"/>
                  <a:pt x="470077" y="284443"/>
                </a:cubicBezTo>
                <a:cubicBezTo>
                  <a:pt x="480131" y="287089"/>
                  <a:pt x="495477" y="305610"/>
                  <a:pt x="501827" y="316193"/>
                </a:cubicBezTo>
                <a:cubicBezTo>
                  <a:pt x="508177" y="326776"/>
                  <a:pt x="504473" y="337889"/>
                  <a:pt x="508177" y="347943"/>
                </a:cubicBezTo>
                <a:cubicBezTo>
                  <a:pt x="511881" y="357997"/>
                  <a:pt x="509235" y="370168"/>
                  <a:pt x="524052" y="376518"/>
                </a:cubicBezTo>
                <a:cubicBezTo>
                  <a:pt x="538869" y="382868"/>
                  <a:pt x="576969" y="377576"/>
                  <a:pt x="597077" y="386043"/>
                </a:cubicBezTo>
                <a:cubicBezTo>
                  <a:pt x="617185" y="394510"/>
                  <a:pt x="630415" y="416735"/>
                  <a:pt x="644702" y="427318"/>
                </a:cubicBezTo>
                <a:cubicBezTo>
                  <a:pt x="658990" y="437901"/>
                  <a:pt x="668515" y="446368"/>
                  <a:pt x="682802" y="449543"/>
                </a:cubicBezTo>
                <a:cubicBezTo>
                  <a:pt x="697089" y="452718"/>
                  <a:pt x="717727" y="447955"/>
                  <a:pt x="730427" y="446368"/>
                </a:cubicBezTo>
                <a:cubicBezTo>
                  <a:pt x="743127" y="444781"/>
                  <a:pt x="735719" y="435785"/>
                  <a:pt x="759002" y="440018"/>
                </a:cubicBezTo>
                <a:cubicBezTo>
                  <a:pt x="782285" y="444251"/>
                  <a:pt x="840494" y="472297"/>
                  <a:pt x="870127" y="471768"/>
                </a:cubicBezTo>
                <a:cubicBezTo>
                  <a:pt x="899760" y="471239"/>
                  <a:pt x="917223" y="445310"/>
                  <a:pt x="936802" y="436843"/>
                </a:cubicBezTo>
                <a:cubicBezTo>
                  <a:pt x="956381" y="428376"/>
                  <a:pt x="973844" y="428376"/>
                  <a:pt x="987602" y="420968"/>
                </a:cubicBezTo>
                <a:cubicBezTo>
                  <a:pt x="1001360" y="413560"/>
                  <a:pt x="1016177" y="404035"/>
                  <a:pt x="1019352" y="392393"/>
                </a:cubicBezTo>
                <a:cubicBezTo>
                  <a:pt x="1022527" y="380751"/>
                  <a:pt x="1005065" y="359585"/>
                  <a:pt x="1006652" y="351118"/>
                </a:cubicBezTo>
                <a:cubicBezTo>
                  <a:pt x="1008239" y="342651"/>
                  <a:pt x="1018294" y="341593"/>
                  <a:pt x="1028877" y="341593"/>
                </a:cubicBezTo>
                <a:cubicBezTo>
                  <a:pt x="1039460" y="341593"/>
                  <a:pt x="1061685" y="353764"/>
                  <a:pt x="1070152" y="351118"/>
                </a:cubicBezTo>
                <a:cubicBezTo>
                  <a:pt x="1078619" y="348472"/>
                  <a:pt x="1069094" y="334714"/>
                  <a:pt x="1079677" y="325718"/>
                </a:cubicBezTo>
                <a:cubicBezTo>
                  <a:pt x="1090260" y="316722"/>
                  <a:pt x="1118835" y="304022"/>
                  <a:pt x="1133652" y="297143"/>
                </a:cubicBezTo>
                <a:cubicBezTo>
                  <a:pt x="1148469" y="290264"/>
                  <a:pt x="1160110" y="291322"/>
                  <a:pt x="1168577" y="284443"/>
                </a:cubicBezTo>
                <a:cubicBezTo>
                  <a:pt x="1177044" y="277564"/>
                  <a:pt x="1187627" y="265922"/>
                  <a:pt x="1184452" y="255868"/>
                </a:cubicBezTo>
                <a:cubicBezTo>
                  <a:pt x="1181277" y="245814"/>
                  <a:pt x="1164873" y="226235"/>
                  <a:pt x="1149527" y="224118"/>
                </a:cubicBezTo>
                <a:cubicBezTo>
                  <a:pt x="1134181" y="222001"/>
                  <a:pt x="1105077" y="240522"/>
                  <a:pt x="1092377" y="243168"/>
                </a:cubicBezTo>
                <a:cubicBezTo>
                  <a:pt x="1079677" y="245814"/>
                  <a:pt x="1076502" y="253751"/>
                  <a:pt x="1073327" y="239993"/>
                </a:cubicBezTo>
                <a:cubicBezTo>
                  <a:pt x="1070152" y="226235"/>
                  <a:pt x="1065919" y="174376"/>
                  <a:pt x="1073327" y="160618"/>
                </a:cubicBezTo>
                <a:cubicBezTo>
                  <a:pt x="1080735" y="146860"/>
                  <a:pt x="1109310" y="162735"/>
                  <a:pt x="1117777" y="157443"/>
                </a:cubicBezTo>
                <a:cubicBezTo>
                  <a:pt x="1126244" y="152151"/>
                  <a:pt x="1122540" y="140510"/>
                  <a:pt x="1124127" y="128868"/>
                </a:cubicBezTo>
                <a:cubicBezTo>
                  <a:pt x="1125714" y="117226"/>
                  <a:pt x="1124656" y="101351"/>
                  <a:pt x="1127302" y="87593"/>
                </a:cubicBezTo>
                <a:cubicBezTo>
                  <a:pt x="1129948" y="73835"/>
                  <a:pt x="1141590" y="54256"/>
                  <a:pt x="1140002" y="46318"/>
                </a:cubicBezTo>
                <a:cubicBezTo>
                  <a:pt x="1138414" y="38380"/>
                  <a:pt x="1111427" y="47376"/>
                  <a:pt x="1117777" y="39968"/>
                </a:cubicBezTo>
                <a:cubicBezTo>
                  <a:pt x="1124127" y="32560"/>
                  <a:pt x="1157465" y="6630"/>
                  <a:pt x="1178102" y="1868"/>
                </a:cubicBezTo>
                <a:cubicBezTo>
                  <a:pt x="1198739" y="-2894"/>
                  <a:pt x="1224140" y="1868"/>
                  <a:pt x="1241602" y="11393"/>
                </a:cubicBezTo>
                <a:cubicBezTo>
                  <a:pt x="1259065" y="20918"/>
                  <a:pt x="1270706" y="42614"/>
                  <a:pt x="1282877" y="59018"/>
                </a:cubicBezTo>
                <a:cubicBezTo>
                  <a:pt x="1295048" y="75422"/>
                  <a:pt x="1304044" y="95530"/>
                  <a:pt x="1314627" y="109818"/>
                </a:cubicBezTo>
                <a:cubicBezTo>
                  <a:pt x="1325210" y="124105"/>
                  <a:pt x="1333148" y="137335"/>
                  <a:pt x="1346377" y="144743"/>
                </a:cubicBezTo>
                <a:cubicBezTo>
                  <a:pt x="1359606" y="152151"/>
                  <a:pt x="1382360" y="148976"/>
                  <a:pt x="1394002" y="154268"/>
                </a:cubicBezTo>
                <a:cubicBezTo>
                  <a:pt x="1405644" y="159560"/>
                  <a:pt x="1408819" y="172789"/>
                  <a:pt x="1416227" y="176493"/>
                </a:cubicBezTo>
                <a:cubicBezTo>
                  <a:pt x="1423635" y="180197"/>
                  <a:pt x="1434219" y="172260"/>
                  <a:pt x="1438452" y="176493"/>
                </a:cubicBezTo>
                <a:cubicBezTo>
                  <a:pt x="1442685" y="180726"/>
                  <a:pt x="1433160" y="199247"/>
                  <a:pt x="1441627" y="201893"/>
                </a:cubicBezTo>
                <a:cubicBezTo>
                  <a:pt x="1450094" y="204539"/>
                  <a:pt x="1474965" y="198189"/>
                  <a:pt x="1489252" y="192368"/>
                </a:cubicBezTo>
                <a:cubicBezTo>
                  <a:pt x="1503539" y="186547"/>
                  <a:pt x="1519414" y="163793"/>
                  <a:pt x="1527352" y="166968"/>
                </a:cubicBezTo>
                <a:cubicBezTo>
                  <a:pt x="1535290" y="170143"/>
                  <a:pt x="1536348" y="200306"/>
                  <a:pt x="1536877" y="211418"/>
                </a:cubicBezTo>
                <a:cubicBezTo>
                  <a:pt x="1537406" y="222530"/>
                  <a:pt x="1531056" y="226235"/>
                  <a:pt x="1530527" y="233643"/>
                </a:cubicBezTo>
                <a:cubicBezTo>
                  <a:pt x="1529998" y="241051"/>
                  <a:pt x="1534231" y="245814"/>
                  <a:pt x="1533702" y="255868"/>
                </a:cubicBezTo>
                <a:cubicBezTo>
                  <a:pt x="1533173" y="265922"/>
                  <a:pt x="1528939" y="285501"/>
                  <a:pt x="1527352" y="293968"/>
                </a:cubicBezTo>
                <a:cubicBezTo>
                  <a:pt x="1525765" y="302435"/>
                  <a:pt x="1528940" y="307197"/>
                  <a:pt x="1524177" y="306668"/>
                </a:cubicBezTo>
                <a:cubicBezTo>
                  <a:pt x="1519415" y="306139"/>
                  <a:pt x="1505656" y="290793"/>
                  <a:pt x="1498777" y="290793"/>
                </a:cubicBezTo>
                <a:cubicBezTo>
                  <a:pt x="1491898" y="290793"/>
                  <a:pt x="1482902" y="297143"/>
                  <a:pt x="1482902" y="306668"/>
                </a:cubicBezTo>
                <a:cubicBezTo>
                  <a:pt x="1482902" y="316193"/>
                  <a:pt x="1494544" y="335243"/>
                  <a:pt x="1498777" y="347943"/>
                </a:cubicBezTo>
                <a:cubicBezTo>
                  <a:pt x="1503010" y="360643"/>
                  <a:pt x="1512006" y="375460"/>
                  <a:pt x="1508302" y="382868"/>
                </a:cubicBezTo>
                <a:cubicBezTo>
                  <a:pt x="1504598" y="390276"/>
                  <a:pt x="1483960" y="390276"/>
                  <a:pt x="1476552" y="392393"/>
                </a:cubicBezTo>
                <a:cubicBezTo>
                  <a:pt x="1469144" y="394510"/>
                  <a:pt x="1465969" y="392393"/>
                  <a:pt x="1463852" y="395568"/>
                </a:cubicBezTo>
                <a:cubicBezTo>
                  <a:pt x="1461735" y="398743"/>
                  <a:pt x="1467556" y="408268"/>
                  <a:pt x="1463852" y="411443"/>
                </a:cubicBezTo>
                <a:cubicBezTo>
                  <a:pt x="1460148" y="414618"/>
                  <a:pt x="1443214" y="410914"/>
                  <a:pt x="1441627" y="414618"/>
                </a:cubicBezTo>
                <a:cubicBezTo>
                  <a:pt x="1440040" y="418322"/>
                  <a:pt x="1455914" y="429435"/>
                  <a:pt x="1454327" y="433668"/>
                </a:cubicBezTo>
                <a:cubicBezTo>
                  <a:pt x="1452740" y="437901"/>
                  <a:pt x="1440569" y="441605"/>
                  <a:pt x="1432102" y="440018"/>
                </a:cubicBezTo>
                <a:cubicBezTo>
                  <a:pt x="1423635" y="438431"/>
                  <a:pt x="1410406" y="418322"/>
                  <a:pt x="1403527" y="424143"/>
                </a:cubicBezTo>
                <a:cubicBezTo>
                  <a:pt x="1396648" y="429964"/>
                  <a:pt x="1395589" y="463831"/>
                  <a:pt x="1390827" y="474943"/>
                </a:cubicBezTo>
                <a:cubicBezTo>
                  <a:pt x="1386065" y="486055"/>
                  <a:pt x="1381831" y="486585"/>
                  <a:pt x="1374952" y="490818"/>
                </a:cubicBezTo>
                <a:cubicBezTo>
                  <a:pt x="1368073" y="495051"/>
                  <a:pt x="1357489" y="496110"/>
                  <a:pt x="1349552" y="500343"/>
                </a:cubicBezTo>
                <a:cubicBezTo>
                  <a:pt x="1341615" y="504576"/>
                  <a:pt x="1335264" y="515160"/>
                  <a:pt x="1327327" y="516218"/>
                </a:cubicBezTo>
                <a:cubicBezTo>
                  <a:pt x="1319390" y="517276"/>
                  <a:pt x="1302985" y="515160"/>
                  <a:pt x="1301927" y="506693"/>
                </a:cubicBezTo>
                <a:cubicBezTo>
                  <a:pt x="1300869" y="498226"/>
                  <a:pt x="1322035" y="473885"/>
                  <a:pt x="1320977" y="465418"/>
                </a:cubicBezTo>
                <a:cubicBezTo>
                  <a:pt x="1319919" y="456951"/>
                  <a:pt x="1305102" y="451130"/>
                  <a:pt x="1295577" y="455893"/>
                </a:cubicBezTo>
                <a:cubicBezTo>
                  <a:pt x="1286052" y="460656"/>
                  <a:pt x="1271235" y="483939"/>
                  <a:pt x="1263827" y="493993"/>
                </a:cubicBezTo>
                <a:cubicBezTo>
                  <a:pt x="1256419" y="504047"/>
                  <a:pt x="1254831" y="511456"/>
                  <a:pt x="1251127" y="516218"/>
                </a:cubicBezTo>
                <a:cubicBezTo>
                  <a:pt x="1247423" y="520980"/>
                  <a:pt x="1247423" y="519922"/>
                  <a:pt x="1241602" y="522568"/>
                </a:cubicBezTo>
                <a:cubicBezTo>
                  <a:pt x="1235781" y="525214"/>
                  <a:pt x="1220964" y="527331"/>
                  <a:pt x="1216202" y="532093"/>
                </a:cubicBezTo>
                <a:cubicBezTo>
                  <a:pt x="1211440" y="536855"/>
                  <a:pt x="1208794" y="541089"/>
                  <a:pt x="1213027" y="551143"/>
                </a:cubicBezTo>
                <a:cubicBezTo>
                  <a:pt x="1217260" y="561197"/>
                  <a:pt x="1227844" y="587126"/>
                  <a:pt x="1241602" y="592418"/>
                </a:cubicBezTo>
                <a:cubicBezTo>
                  <a:pt x="1255360" y="597710"/>
                  <a:pt x="1277586" y="583951"/>
                  <a:pt x="1295577" y="582893"/>
                </a:cubicBezTo>
                <a:cubicBezTo>
                  <a:pt x="1313568" y="581835"/>
                  <a:pt x="1347965" y="580776"/>
                  <a:pt x="1349552" y="586068"/>
                </a:cubicBezTo>
                <a:cubicBezTo>
                  <a:pt x="1351139" y="591360"/>
                  <a:pt x="1316214" y="604589"/>
                  <a:pt x="1305102" y="614643"/>
                </a:cubicBezTo>
                <a:cubicBezTo>
                  <a:pt x="1293990" y="624697"/>
                  <a:pt x="1282348" y="634751"/>
                  <a:pt x="1282877" y="646393"/>
                </a:cubicBezTo>
                <a:cubicBezTo>
                  <a:pt x="1283406" y="658035"/>
                  <a:pt x="1299810" y="673381"/>
                  <a:pt x="1308277" y="684493"/>
                </a:cubicBezTo>
                <a:cubicBezTo>
                  <a:pt x="1316744" y="695605"/>
                  <a:pt x="1333677" y="713068"/>
                  <a:pt x="1333677" y="713068"/>
                </a:cubicBezTo>
                <a:cubicBezTo>
                  <a:pt x="1342144" y="722593"/>
                  <a:pt x="1358019" y="734764"/>
                  <a:pt x="1359077" y="741643"/>
                </a:cubicBezTo>
                <a:cubicBezTo>
                  <a:pt x="1360135" y="748522"/>
                  <a:pt x="1351139" y="752756"/>
                  <a:pt x="1340027" y="754343"/>
                </a:cubicBezTo>
                <a:cubicBezTo>
                  <a:pt x="1328915" y="755930"/>
                  <a:pt x="1300869" y="748522"/>
                  <a:pt x="1292402" y="751168"/>
                </a:cubicBezTo>
                <a:cubicBezTo>
                  <a:pt x="1283935" y="753814"/>
                  <a:pt x="1277056" y="768101"/>
                  <a:pt x="1289227" y="770218"/>
                </a:cubicBezTo>
                <a:cubicBezTo>
                  <a:pt x="1301398" y="772335"/>
                  <a:pt x="1358548" y="760164"/>
                  <a:pt x="1365427" y="763868"/>
                </a:cubicBezTo>
                <a:cubicBezTo>
                  <a:pt x="1372306" y="767572"/>
                  <a:pt x="1334206" y="781331"/>
                  <a:pt x="1330502" y="792443"/>
                </a:cubicBezTo>
                <a:cubicBezTo>
                  <a:pt x="1326798" y="803555"/>
                  <a:pt x="1336852" y="824193"/>
                  <a:pt x="1343202" y="830543"/>
                </a:cubicBezTo>
                <a:cubicBezTo>
                  <a:pt x="1349552" y="836893"/>
                  <a:pt x="1364898" y="825251"/>
                  <a:pt x="1368602" y="830543"/>
                </a:cubicBezTo>
                <a:cubicBezTo>
                  <a:pt x="1372306" y="835835"/>
                  <a:pt x="1369660" y="853297"/>
                  <a:pt x="1365427" y="862293"/>
                </a:cubicBezTo>
                <a:cubicBezTo>
                  <a:pt x="1361194" y="871289"/>
                  <a:pt x="1347965" y="873935"/>
                  <a:pt x="1343202" y="884518"/>
                </a:cubicBezTo>
                <a:cubicBezTo>
                  <a:pt x="1338440" y="895101"/>
                  <a:pt x="1340027" y="912564"/>
                  <a:pt x="1336852" y="925793"/>
                </a:cubicBezTo>
                <a:cubicBezTo>
                  <a:pt x="1333677" y="939022"/>
                  <a:pt x="1330502" y="952781"/>
                  <a:pt x="1324152" y="963893"/>
                </a:cubicBezTo>
                <a:cubicBezTo>
                  <a:pt x="1317802" y="975005"/>
                  <a:pt x="1310923" y="982943"/>
                  <a:pt x="1298752" y="992468"/>
                </a:cubicBezTo>
                <a:cubicBezTo>
                  <a:pt x="1286581" y="1001993"/>
                  <a:pt x="1264885" y="1016281"/>
                  <a:pt x="1251127" y="1021043"/>
                </a:cubicBezTo>
                <a:cubicBezTo>
                  <a:pt x="1237369" y="1025805"/>
                  <a:pt x="1225727" y="1021572"/>
                  <a:pt x="1216202" y="1021043"/>
                </a:cubicBezTo>
                <a:cubicBezTo>
                  <a:pt x="1206677" y="1020514"/>
                  <a:pt x="1204031" y="1012047"/>
                  <a:pt x="1193977" y="1017868"/>
                </a:cubicBezTo>
                <a:cubicBezTo>
                  <a:pt x="1183923" y="1023689"/>
                  <a:pt x="1166460" y="1049618"/>
                  <a:pt x="1155877" y="1055968"/>
                </a:cubicBezTo>
                <a:cubicBezTo>
                  <a:pt x="1145294" y="1062318"/>
                  <a:pt x="1130477" y="1055968"/>
                  <a:pt x="1130477" y="1055968"/>
                </a:cubicBezTo>
                <a:cubicBezTo>
                  <a:pt x="1120423" y="1055968"/>
                  <a:pt x="1112485" y="1057556"/>
                  <a:pt x="1095552" y="1055968"/>
                </a:cubicBezTo>
                <a:cubicBezTo>
                  <a:pt x="1078619" y="1054381"/>
                  <a:pt x="1041577" y="1052264"/>
                  <a:pt x="1028877" y="1046443"/>
                </a:cubicBezTo>
                <a:cubicBezTo>
                  <a:pt x="1016177" y="1040622"/>
                  <a:pt x="1026760" y="1025806"/>
                  <a:pt x="1019352" y="1021043"/>
                </a:cubicBezTo>
                <a:cubicBezTo>
                  <a:pt x="1011944" y="1016281"/>
                  <a:pt x="1000302" y="1013635"/>
                  <a:pt x="984427" y="1017868"/>
                </a:cubicBezTo>
                <a:cubicBezTo>
                  <a:pt x="968552" y="1022101"/>
                  <a:pt x="942094" y="1037447"/>
                  <a:pt x="924102" y="1046443"/>
                </a:cubicBezTo>
                <a:cubicBezTo>
                  <a:pt x="906110" y="1055439"/>
                  <a:pt x="887589" y="1069726"/>
                  <a:pt x="876477" y="1071843"/>
                </a:cubicBezTo>
                <a:cubicBezTo>
                  <a:pt x="865365" y="1073960"/>
                  <a:pt x="862719" y="1068139"/>
                  <a:pt x="857427" y="1059143"/>
                </a:cubicBezTo>
                <a:cubicBezTo>
                  <a:pt x="852135" y="1050147"/>
                  <a:pt x="850548" y="1027393"/>
                  <a:pt x="844727" y="1017868"/>
                </a:cubicBezTo>
                <a:cubicBezTo>
                  <a:pt x="838906" y="1008343"/>
                  <a:pt x="828852" y="1007285"/>
                  <a:pt x="822502" y="1001993"/>
                </a:cubicBezTo>
                <a:cubicBezTo>
                  <a:pt x="816152" y="996701"/>
                  <a:pt x="807685" y="997760"/>
                  <a:pt x="806627" y="986118"/>
                </a:cubicBezTo>
                <a:cubicBezTo>
                  <a:pt x="805569" y="974476"/>
                  <a:pt x="818269" y="947489"/>
                  <a:pt x="816152" y="932143"/>
                </a:cubicBezTo>
                <a:cubicBezTo>
                  <a:pt x="814035" y="916797"/>
                  <a:pt x="803981" y="899864"/>
                  <a:pt x="793927" y="894043"/>
                </a:cubicBezTo>
                <a:cubicBezTo>
                  <a:pt x="783873" y="888222"/>
                  <a:pt x="765352" y="906214"/>
                  <a:pt x="755827" y="897218"/>
                </a:cubicBezTo>
                <a:cubicBezTo>
                  <a:pt x="746302" y="888222"/>
                  <a:pt x="748419" y="844830"/>
                  <a:pt x="736777" y="840068"/>
                </a:cubicBezTo>
                <a:cubicBezTo>
                  <a:pt x="725135" y="835306"/>
                  <a:pt x="701323" y="859118"/>
                  <a:pt x="685977" y="868643"/>
                </a:cubicBezTo>
                <a:cubicBezTo>
                  <a:pt x="670631" y="878168"/>
                  <a:pt x="655285" y="893514"/>
                  <a:pt x="644702" y="897218"/>
                </a:cubicBezTo>
                <a:cubicBezTo>
                  <a:pt x="634119" y="900922"/>
                  <a:pt x="634648" y="890339"/>
                  <a:pt x="622477" y="890868"/>
                </a:cubicBezTo>
                <a:cubicBezTo>
                  <a:pt x="610306" y="891397"/>
                  <a:pt x="584377" y="899864"/>
                  <a:pt x="571677" y="900393"/>
                </a:cubicBezTo>
                <a:cubicBezTo>
                  <a:pt x="558977" y="900922"/>
                  <a:pt x="554744" y="892985"/>
                  <a:pt x="546277" y="894043"/>
                </a:cubicBezTo>
                <a:cubicBezTo>
                  <a:pt x="537810" y="895101"/>
                  <a:pt x="529873" y="908330"/>
                  <a:pt x="520877" y="906743"/>
                </a:cubicBezTo>
                <a:cubicBezTo>
                  <a:pt x="511881" y="905156"/>
                  <a:pt x="500240" y="887693"/>
                  <a:pt x="492302" y="884518"/>
                </a:cubicBezTo>
                <a:cubicBezTo>
                  <a:pt x="484364" y="881343"/>
                  <a:pt x="480660" y="888222"/>
                  <a:pt x="473252" y="887693"/>
                </a:cubicBezTo>
                <a:cubicBezTo>
                  <a:pt x="465844" y="887164"/>
                  <a:pt x="454202" y="885047"/>
                  <a:pt x="447852" y="881343"/>
                </a:cubicBezTo>
                <a:cubicBezTo>
                  <a:pt x="441502" y="877639"/>
                  <a:pt x="445735" y="872347"/>
                  <a:pt x="435152" y="865468"/>
                </a:cubicBezTo>
                <a:cubicBezTo>
                  <a:pt x="424569" y="858589"/>
                  <a:pt x="399169" y="844831"/>
                  <a:pt x="384352" y="840068"/>
                </a:cubicBezTo>
                <a:cubicBezTo>
                  <a:pt x="369535" y="835305"/>
                  <a:pt x="356306" y="840068"/>
                  <a:pt x="346252" y="836893"/>
                </a:cubicBezTo>
                <a:cubicBezTo>
                  <a:pt x="336198" y="833718"/>
                  <a:pt x="330906" y="824722"/>
                  <a:pt x="324027" y="821018"/>
                </a:cubicBezTo>
                <a:cubicBezTo>
                  <a:pt x="317148" y="817314"/>
                  <a:pt x="310269" y="821018"/>
                  <a:pt x="304977" y="814668"/>
                </a:cubicBezTo>
                <a:cubicBezTo>
                  <a:pt x="299685" y="808318"/>
                  <a:pt x="290160" y="792443"/>
                  <a:pt x="292277" y="782918"/>
                </a:cubicBezTo>
                <a:cubicBezTo>
                  <a:pt x="294394" y="773393"/>
                  <a:pt x="320323" y="770218"/>
                  <a:pt x="317677" y="757518"/>
                </a:cubicBezTo>
                <a:cubicBezTo>
                  <a:pt x="315031" y="744818"/>
                  <a:pt x="290160" y="719947"/>
                  <a:pt x="276402" y="706718"/>
                </a:cubicBezTo>
                <a:cubicBezTo>
                  <a:pt x="262644" y="693489"/>
                  <a:pt x="245181" y="685551"/>
                  <a:pt x="235127" y="678143"/>
                </a:cubicBezTo>
                <a:cubicBezTo>
                  <a:pt x="225073" y="670735"/>
                  <a:pt x="223485" y="667031"/>
                  <a:pt x="216077" y="662268"/>
                </a:cubicBezTo>
                <a:cubicBezTo>
                  <a:pt x="208669" y="657506"/>
                  <a:pt x="197556" y="652743"/>
                  <a:pt x="190677" y="649568"/>
                </a:cubicBezTo>
                <a:cubicBezTo>
                  <a:pt x="183798" y="646393"/>
                  <a:pt x="179564" y="646393"/>
                  <a:pt x="174802" y="643218"/>
                </a:cubicBezTo>
                <a:cubicBezTo>
                  <a:pt x="170040" y="640043"/>
                  <a:pt x="172685" y="628401"/>
                  <a:pt x="162102" y="630518"/>
                </a:cubicBezTo>
                <a:cubicBezTo>
                  <a:pt x="151519" y="632635"/>
                  <a:pt x="121356" y="651685"/>
                  <a:pt x="111302" y="655918"/>
                </a:cubicBezTo>
                <a:cubicBezTo>
                  <a:pt x="101248" y="660151"/>
                  <a:pt x="105481" y="660151"/>
                  <a:pt x="101777" y="655918"/>
                </a:cubicBezTo>
                <a:cubicBezTo>
                  <a:pt x="98073" y="651685"/>
                  <a:pt x="94369" y="639514"/>
                  <a:pt x="89077" y="630518"/>
                </a:cubicBezTo>
                <a:cubicBezTo>
                  <a:pt x="83785" y="621522"/>
                  <a:pt x="77965" y="598768"/>
                  <a:pt x="70027" y="601943"/>
                </a:cubicBezTo>
                <a:cubicBezTo>
                  <a:pt x="62089" y="605118"/>
                  <a:pt x="48331" y="641630"/>
                  <a:pt x="41452" y="649568"/>
                </a:cubicBezTo>
                <a:cubicBezTo>
                  <a:pt x="34573" y="657506"/>
                  <a:pt x="33514" y="649039"/>
                  <a:pt x="28752" y="649568"/>
                </a:cubicBezTo>
                <a:cubicBezTo>
                  <a:pt x="23989" y="650097"/>
                  <a:pt x="16052" y="655389"/>
                  <a:pt x="12877" y="652743"/>
                </a:cubicBezTo>
                <a:cubicBezTo>
                  <a:pt x="9702" y="650097"/>
                  <a:pt x="10231" y="640572"/>
                  <a:pt x="9702" y="633693"/>
                </a:cubicBezTo>
                <a:cubicBezTo>
                  <a:pt x="9173" y="626814"/>
                  <a:pt x="11289" y="618347"/>
                  <a:pt x="9702" y="611468"/>
                </a:cubicBezTo>
                <a:cubicBezTo>
                  <a:pt x="8115" y="604589"/>
                  <a:pt x="-1410" y="601414"/>
                  <a:pt x="177" y="592418"/>
                </a:cubicBezTo>
                <a:cubicBezTo>
                  <a:pt x="1764" y="583422"/>
                  <a:pt x="13406" y="567018"/>
                  <a:pt x="19227" y="557493"/>
                </a:cubicBezTo>
                <a:cubicBezTo>
                  <a:pt x="25048" y="547968"/>
                  <a:pt x="25048" y="538972"/>
                  <a:pt x="35102" y="535268"/>
                </a:cubicBezTo>
                <a:cubicBezTo>
                  <a:pt x="45156" y="531564"/>
                  <a:pt x="72144" y="540560"/>
                  <a:pt x="79552" y="535268"/>
                </a:cubicBezTo>
                <a:cubicBezTo>
                  <a:pt x="86960" y="529976"/>
                  <a:pt x="83786" y="492935"/>
                  <a:pt x="98602" y="481293"/>
                </a:cubicBezTo>
                <a:close/>
              </a:path>
            </a:pathLst>
          </a:custGeom>
          <a:blipFill>
            <a:blip r:embed="rId14"/>
            <a:srcRect/>
            <a:stretch>
              <a:fillRect l="375" t="-44" r="-33834" b="-34978"/>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8" name="Freeform 37"/>
          <p:cNvSpPr>
            <a:spLocks noEditPoints="1"/>
          </p:cNvSpPr>
          <p:nvPr/>
        </p:nvSpPr>
        <p:spPr bwMode="auto">
          <a:xfrm>
            <a:off x="6455115" y="3606091"/>
            <a:ext cx="711097" cy="649745"/>
          </a:xfrm>
          <a:custGeom>
            <a:avLst/>
            <a:gdLst/>
            <a:ahLst/>
            <a:cxnLst>
              <a:cxn ang="0">
                <a:pos x="148" y="37"/>
              </a:cxn>
              <a:cxn ang="0">
                <a:pos x="172" y="49"/>
              </a:cxn>
              <a:cxn ang="0">
                <a:pos x="177" y="81"/>
              </a:cxn>
              <a:cxn ang="0">
                <a:pos x="227" y="100"/>
              </a:cxn>
              <a:cxn ang="0">
                <a:pos x="283" y="115"/>
              </a:cxn>
              <a:cxn ang="0">
                <a:pos x="305" y="93"/>
              </a:cxn>
              <a:cxn ang="0">
                <a:pos x="330" y="113"/>
              </a:cxn>
              <a:cxn ang="0">
                <a:pos x="350" y="96"/>
              </a:cxn>
              <a:cxn ang="0">
                <a:pos x="372" y="78"/>
              </a:cxn>
              <a:cxn ang="0">
                <a:pos x="404" y="69"/>
              </a:cxn>
              <a:cxn ang="0">
                <a:pos x="421" y="69"/>
              </a:cxn>
              <a:cxn ang="0">
                <a:pos x="433" y="86"/>
              </a:cxn>
              <a:cxn ang="0">
                <a:pos x="413" y="108"/>
              </a:cxn>
              <a:cxn ang="0">
                <a:pos x="396" y="155"/>
              </a:cxn>
              <a:cxn ang="0">
                <a:pos x="384" y="184"/>
              </a:cxn>
              <a:cxn ang="0">
                <a:pos x="377" y="191"/>
              </a:cxn>
              <a:cxn ang="0">
                <a:pos x="364" y="164"/>
              </a:cxn>
              <a:cxn ang="0">
                <a:pos x="354" y="169"/>
              </a:cxn>
              <a:cxn ang="0">
                <a:pos x="359" y="157"/>
              </a:cxn>
              <a:cxn ang="0">
                <a:pos x="357" y="137"/>
              </a:cxn>
              <a:cxn ang="0">
                <a:pos x="325" y="128"/>
              </a:cxn>
              <a:cxn ang="0">
                <a:pos x="315" y="120"/>
              </a:cxn>
              <a:cxn ang="0">
                <a:pos x="305" y="118"/>
              </a:cxn>
              <a:cxn ang="0">
                <a:pos x="310" y="137"/>
              </a:cxn>
              <a:cxn ang="0">
                <a:pos x="315" y="172"/>
              </a:cxn>
              <a:cxn ang="0">
                <a:pos x="320" y="201"/>
              </a:cxn>
              <a:cxn ang="0">
                <a:pos x="308" y="196"/>
              </a:cxn>
              <a:cxn ang="0">
                <a:pos x="305" y="196"/>
              </a:cxn>
              <a:cxn ang="0">
                <a:pos x="288" y="219"/>
              </a:cxn>
              <a:cxn ang="0">
                <a:pos x="268" y="231"/>
              </a:cxn>
              <a:cxn ang="0">
                <a:pos x="239" y="268"/>
              </a:cxn>
              <a:cxn ang="0">
                <a:pos x="212" y="295"/>
              </a:cxn>
              <a:cxn ang="0">
                <a:pos x="195" y="324"/>
              </a:cxn>
              <a:cxn ang="0">
                <a:pos x="192" y="388"/>
              </a:cxn>
              <a:cxn ang="0">
                <a:pos x="187" y="408"/>
              </a:cxn>
              <a:cxn ang="0">
                <a:pos x="167" y="420"/>
              </a:cxn>
              <a:cxn ang="0">
                <a:pos x="133" y="381"/>
              </a:cxn>
              <a:cxn ang="0">
                <a:pos x="113" y="344"/>
              </a:cxn>
              <a:cxn ang="0">
                <a:pos x="96" y="307"/>
              </a:cxn>
              <a:cxn ang="0">
                <a:pos x="81" y="260"/>
              </a:cxn>
              <a:cxn ang="0">
                <a:pos x="72" y="226"/>
              </a:cxn>
              <a:cxn ang="0">
                <a:pos x="69" y="201"/>
              </a:cxn>
              <a:cxn ang="0">
                <a:pos x="69" y="189"/>
              </a:cxn>
              <a:cxn ang="0">
                <a:pos x="57" y="214"/>
              </a:cxn>
              <a:cxn ang="0">
                <a:pos x="10" y="191"/>
              </a:cxn>
              <a:cxn ang="0">
                <a:pos x="22" y="191"/>
              </a:cxn>
              <a:cxn ang="0">
                <a:pos x="25" y="184"/>
              </a:cxn>
              <a:cxn ang="0">
                <a:pos x="0" y="169"/>
              </a:cxn>
              <a:cxn ang="0">
                <a:pos x="35" y="155"/>
              </a:cxn>
              <a:cxn ang="0">
                <a:pos x="32" y="132"/>
              </a:cxn>
              <a:cxn ang="0">
                <a:pos x="10" y="113"/>
              </a:cxn>
              <a:cxn ang="0">
                <a:pos x="37" y="96"/>
              </a:cxn>
              <a:cxn ang="0">
                <a:pos x="72" y="54"/>
              </a:cxn>
              <a:cxn ang="0">
                <a:pos x="86" y="19"/>
              </a:cxn>
              <a:cxn ang="0">
                <a:pos x="128" y="5"/>
              </a:cxn>
              <a:cxn ang="0">
                <a:pos x="315" y="199"/>
              </a:cxn>
              <a:cxn ang="0">
                <a:pos x="313" y="199"/>
              </a:cxn>
              <a:cxn ang="0">
                <a:pos x="305" y="201"/>
              </a:cxn>
            </a:cxnLst>
            <a:rect l="0" t="0" r="r" b="b"/>
            <a:pathLst>
              <a:path w="436" h="423">
                <a:moveTo>
                  <a:pt x="140" y="12"/>
                </a:moveTo>
                <a:lnTo>
                  <a:pt x="140" y="14"/>
                </a:lnTo>
                <a:lnTo>
                  <a:pt x="140" y="17"/>
                </a:lnTo>
                <a:lnTo>
                  <a:pt x="145" y="19"/>
                </a:lnTo>
                <a:lnTo>
                  <a:pt x="145" y="24"/>
                </a:lnTo>
                <a:lnTo>
                  <a:pt x="145" y="27"/>
                </a:lnTo>
                <a:lnTo>
                  <a:pt x="145" y="29"/>
                </a:lnTo>
                <a:lnTo>
                  <a:pt x="148" y="32"/>
                </a:lnTo>
                <a:lnTo>
                  <a:pt x="148" y="34"/>
                </a:lnTo>
                <a:lnTo>
                  <a:pt x="148" y="37"/>
                </a:lnTo>
                <a:lnTo>
                  <a:pt x="150" y="37"/>
                </a:lnTo>
                <a:lnTo>
                  <a:pt x="150" y="39"/>
                </a:lnTo>
                <a:lnTo>
                  <a:pt x="155" y="41"/>
                </a:lnTo>
                <a:lnTo>
                  <a:pt x="155" y="39"/>
                </a:lnTo>
                <a:lnTo>
                  <a:pt x="160" y="39"/>
                </a:lnTo>
                <a:lnTo>
                  <a:pt x="160" y="39"/>
                </a:lnTo>
                <a:lnTo>
                  <a:pt x="165" y="41"/>
                </a:lnTo>
                <a:lnTo>
                  <a:pt x="167" y="44"/>
                </a:lnTo>
                <a:lnTo>
                  <a:pt x="170" y="44"/>
                </a:lnTo>
                <a:lnTo>
                  <a:pt x="172" y="49"/>
                </a:lnTo>
                <a:lnTo>
                  <a:pt x="175" y="49"/>
                </a:lnTo>
                <a:lnTo>
                  <a:pt x="175" y="51"/>
                </a:lnTo>
                <a:lnTo>
                  <a:pt x="175" y="51"/>
                </a:lnTo>
                <a:lnTo>
                  <a:pt x="177" y="56"/>
                </a:lnTo>
                <a:lnTo>
                  <a:pt x="175" y="64"/>
                </a:lnTo>
                <a:lnTo>
                  <a:pt x="175" y="69"/>
                </a:lnTo>
                <a:lnTo>
                  <a:pt x="170" y="76"/>
                </a:lnTo>
                <a:lnTo>
                  <a:pt x="172" y="78"/>
                </a:lnTo>
                <a:lnTo>
                  <a:pt x="175" y="78"/>
                </a:lnTo>
                <a:lnTo>
                  <a:pt x="177" y="81"/>
                </a:lnTo>
                <a:lnTo>
                  <a:pt x="180" y="81"/>
                </a:lnTo>
                <a:lnTo>
                  <a:pt x="182" y="83"/>
                </a:lnTo>
                <a:lnTo>
                  <a:pt x="187" y="86"/>
                </a:lnTo>
                <a:lnTo>
                  <a:pt x="195" y="88"/>
                </a:lnTo>
                <a:lnTo>
                  <a:pt x="199" y="96"/>
                </a:lnTo>
                <a:lnTo>
                  <a:pt x="207" y="96"/>
                </a:lnTo>
                <a:lnTo>
                  <a:pt x="209" y="98"/>
                </a:lnTo>
                <a:lnTo>
                  <a:pt x="214" y="98"/>
                </a:lnTo>
                <a:lnTo>
                  <a:pt x="219" y="103"/>
                </a:lnTo>
                <a:lnTo>
                  <a:pt x="227" y="100"/>
                </a:lnTo>
                <a:lnTo>
                  <a:pt x="229" y="103"/>
                </a:lnTo>
                <a:lnTo>
                  <a:pt x="236" y="100"/>
                </a:lnTo>
                <a:lnTo>
                  <a:pt x="244" y="103"/>
                </a:lnTo>
                <a:lnTo>
                  <a:pt x="246" y="108"/>
                </a:lnTo>
                <a:lnTo>
                  <a:pt x="249" y="110"/>
                </a:lnTo>
                <a:lnTo>
                  <a:pt x="259" y="113"/>
                </a:lnTo>
                <a:lnTo>
                  <a:pt x="261" y="110"/>
                </a:lnTo>
                <a:lnTo>
                  <a:pt x="266" y="110"/>
                </a:lnTo>
                <a:lnTo>
                  <a:pt x="278" y="115"/>
                </a:lnTo>
                <a:lnTo>
                  <a:pt x="283" y="115"/>
                </a:lnTo>
                <a:lnTo>
                  <a:pt x="288" y="118"/>
                </a:lnTo>
                <a:lnTo>
                  <a:pt x="298" y="115"/>
                </a:lnTo>
                <a:lnTo>
                  <a:pt x="298" y="108"/>
                </a:lnTo>
                <a:lnTo>
                  <a:pt x="295" y="103"/>
                </a:lnTo>
                <a:lnTo>
                  <a:pt x="298" y="96"/>
                </a:lnTo>
                <a:lnTo>
                  <a:pt x="295" y="91"/>
                </a:lnTo>
                <a:lnTo>
                  <a:pt x="295" y="91"/>
                </a:lnTo>
                <a:lnTo>
                  <a:pt x="300" y="88"/>
                </a:lnTo>
                <a:lnTo>
                  <a:pt x="303" y="88"/>
                </a:lnTo>
                <a:lnTo>
                  <a:pt x="305" y="93"/>
                </a:lnTo>
                <a:lnTo>
                  <a:pt x="305" y="96"/>
                </a:lnTo>
                <a:lnTo>
                  <a:pt x="308" y="98"/>
                </a:lnTo>
                <a:lnTo>
                  <a:pt x="308" y="98"/>
                </a:lnTo>
                <a:lnTo>
                  <a:pt x="308" y="100"/>
                </a:lnTo>
                <a:lnTo>
                  <a:pt x="308" y="105"/>
                </a:lnTo>
                <a:lnTo>
                  <a:pt x="310" y="108"/>
                </a:lnTo>
                <a:lnTo>
                  <a:pt x="315" y="110"/>
                </a:lnTo>
                <a:lnTo>
                  <a:pt x="318" y="108"/>
                </a:lnTo>
                <a:lnTo>
                  <a:pt x="325" y="113"/>
                </a:lnTo>
                <a:lnTo>
                  <a:pt x="330" y="113"/>
                </a:lnTo>
                <a:lnTo>
                  <a:pt x="332" y="110"/>
                </a:lnTo>
                <a:lnTo>
                  <a:pt x="335" y="108"/>
                </a:lnTo>
                <a:lnTo>
                  <a:pt x="337" y="110"/>
                </a:lnTo>
                <a:lnTo>
                  <a:pt x="345" y="108"/>
                </a:lnTo>
                <a:lnTo>
                  <a:pt x="347" y="108"/>
                </a:lnTo>
                <a:lnTo>
                  <a:pt x="354" y="108"/>
                </a:lnTo>
                <a:lnTo>
                  <a:pt x="354" y="105"/>
                </a:lnTo>
                <a:lnTo>
                  <a:pt x="354" y="100"/>
                </a:lnTo>
                <a:lnTo>
                  <a:pt x="350" y="98"/>
                </a:lnTo>
                <a:lnTo>
                  <a:pt x="350" y="96"/>
                </a:lnTo>
                <a:lnTo>
                  <a:pt x="350" y="91"/>
                </a:lnTo>
                <a:lnTo>
                  <a:pt x="352" y="91"/>
                </a:lnTo>
                <a:lnTo>
                  <a:pt x="357" y="91"/>
                </a:lnTo>
                <a:lnTo>
                  <a:pt x="359" y="91"/>
                </a:lnTo>
                <a:lnTo>
                  <a:pt x="362" y="86"/>
                </a:lnTo>
                <a:lnTo>
                  <a:pt x="364" y="83"/>
                </a:lnTo>
                <a:lnTo>
                  <a:pt x="367" y="86"/>
                </a:lnTo>
                <a:lnTo>
                  <a:pt x="367" y="83"/>
                </a:lnTo>
                <a:lnTo>
                  <a:pt x="369" y="81"/>
                </a:lnTo>
                <a:lnTo>
                  <a:pt x="372" y="78"/>
                </a:lnTo>
                <a:lnTo>
                  <a:pt x="374" y="76"/>
                </a:lnTo>
                <a:lnTo>
                  <a:pt x="377" y="76"/>
                </a:lnTo>
                <a:lnTo>
                  <a:pt x="382" y="73"/>
                </a:lnTo>
                <a:lnTo>
                  <a:pt x="386" y="69"/>
                </a:lnTo>
                <a:lnTo>
                  <a:pt x="386" y="66"/>
                </a:lnTo>
                <a:lnTo>
                  <a:pt x="389" y="66"/>
                </a:lnTo>
                <a:lnTo>
                  <a:pt x="391" y="64"/>
                </a:lnTo>
                <a:lnTo>
                  <a:pt x="394" y="66"/>
                </a:lnTo>
                <a:lnTo>
                  <a:pt x="399" y="66"/>
                </a:lnTo>
                <a:lnTo>
                  <a:pt x="404" y="69"/>
                </a:lnTo>
                <a:lnTo>
                  <a:pt x="406" y="66"/>
                </a:lnTo>
                <a:lnTo>
                  <a:pt x="406" y="64"/>
                </a:lnTo>
                <a:lnTo>
                  <a:pt x="411" y="59"/>
                </a:lnTo>
                <a:lnTo>
                  <a:pt x="413" y="61"/>
                </a:lnTo>
                <a:lnTo>
                  <a:pt x="416" y="64"/>
                </a:lnTo>
                <a:lnTo>
                  <a:pt x="418" y="61"/>
                </a:lnTo>
                <a:lnTo>
                  <a:pt x="418" y="64"/>
                </a:lnTo>
                <a:lnTo>
                  <a:pt x="416" y="69"/>
                </a:lnTo>
                <a:lnTo>
                  <a:pt x="418" y="71"/>
                </a:lnTo>
                <a:lnTo>
                  <a:pt x="421" y="69"/>
                </a:lnTo>
                <a:lnTo>
                  <a:pt x="421" y="69"/>
                </a:lnTo>
                <a:lnTo>
                  <a:pt x="423" y="71"/>
                </a:lnTo>
                <a:lnTo>
                  <a:pt x="426" y="73"/>
                </a:lnTo>
                <a:lnTo>
                  <a:pt x="426" y="76"/>
                </a:lnTo>
                <a:lnTo>
                  <a:pt x="423" y="78"/>
                </a:lnTo>
                <a:lnTo>
                  <a:pt x="423" y="81"/>
                </a:lnTo>
                <a:lnTo>
                  <a:pt x="426" y="83"/>
                </a:lnTo>
                <a:lnTo>
                  <a:pt x="428" y="81"/>
                </a:lnTo>
                <a:lnTo>
                  <a:pt x="431" y="83"/>
                </a:lnTo>
                <a:lnTo>
                  <a:pt x="433" y="86"/>
                </a:lnTo>
                <a:lnTo>
                  <a:pt x="436" y="88"/>
                </a:lnTo>
                <a:lnTo>
                  <a:pt x="431" y="91"/>
                </a:lnTo>
                <a:lnTo>
                  <a:pt x="431" y="96"/>
                </a:lnTo>
                <a:lnTo>
                  <a:pt x="433" y="98"/>
                </a:lnTo>
                <a:lnTo>
                  <a:pt x="431" y="96"/>
                </a:lnTo>
                <a:lnTo>
                  <a:pt x="426" y="96"/>
                </a:lnTo>
                <a:lnTo>
                  <a:pt x="423" y="98"/>
                </a:lnTo>
                <a:lnTo>
                  <a:pt x="418" y="98"/>
                </a:lnTo>
                <a:lnTo>
                  <a:pt x="416" y="103"/>
                </a:lnTo>
                <a:lnTo>
                  <a:pt x="413" y="108"/>
                </a:lnTo>
                <a:lnTo>
                  <a:pt x="409" y="108"/>
                </a:lnTo>
                <a:lnTo>
                  <a:pt x="404" y="118"/>
                </a:lnTo>
                <a:lnTo>
                  <a:pt x="404" y="120"/>
                </a:lnTo>
                <a:lnTo>
                  <a:pt x="404" y="123"/>
                </a:lnTo>
                <a:lnTo>
                  <a:pt x="404" y="128"/>
                </a:lnTo>
                <a:lnTo>
                  <a:pt x="399" y="135"/>
                </a:lnTo>
                <a:lnTo>
                  <a:pt x="399" y="137"/>
                </a:lnTo>
                <a:lnTo>
                  <a:pt x="401" y="140"/>
                </a:lnTo>
                <a:lnTo>
                  <a:pt x="399" y="147"/>
                </a:lnTo>
                <a:lnTo>
                  <a:pt x="396" y="155"/>
                </a:lnTo>
                <a:lnTo>
                  <a:pt x="394" y="160"/>
                </a:lnTo>
                <a:lnTo>
                  <a:pt x="391" y="160"/>
                </a:lnTo>
                <a:lnTo>
                  <a:pt x="389" y="160"/>
                </a:lnTo>
                <a:lnTo>
                  <a:pt x="384" y="160"/>
                </a:lnTo>
                <a:lnTo>
                  <a:pt x="386" y="167"/>
                </a:lnTo>
                <a:lnTo>
                  <a:pt x="386" y="169"/>
                </a:lnTo>
                <a:lnTo>
                  <a:pt x="386" y="177"/>
                </a:lnTo>
                <a:lnTo>
                  <a:pt x="384" y="177"/>
                </a:lnTo>
                <a:lnTo>
                  <a:pt x="384" y="179"/>
                </a:lnTo>
                <a:lnTo>
                  <a:pt x="384" y="184"/>
                </a:lnTo>
                <a:lnTo>
                  <a:pt x="384" y="187"/>
                </a:lnTo>
                <a:lnTo>
                  <a:pt x="382" y="191"/>
                </a:lnTo>
                <a:lnTo>
                  <a:pt x="382" y="191"/>
                </a:lnTo>
                <a:lnTo>
                  <a:pt x="379" y="191"/>
                </a:lnTo>
                <a:lnTo>
                  <a:pt x="379" y="194"/>
                </a:lnTo>
                <a:lnTo>
                  <a:pt x="379" y="196"/>
                </a:lnTo>
                <a:lnTo>
                  <a:pt x="377" y="196"/>
                </a:lnTo>
                <a:lnTo>
                  <a:pt x="377" y="194"/>
                </a:lnTo>
                <a:lnTo>
                  <a:pt x="377" y="194"/>
                </a:lnTo>
                <a:lnTo>
                  <a:pt x="377" y="191"/>
                </a:lnTo>
                <a:lnTo>
                  <a:pt x="374" y="189"/>
                </a:lnTo>
                <a:lnTo>
                  <a:pt x="374" y="187"/>
                </a:lnTo>
                <a:lnTo>
                  <a:pt x="372" y="179"/>
                </a:lnTo>
                <a:lnTo>
                  <a:pt x="372" y="177"/>
                </a:lnTo>
                <a:lnTo>
                  <a:pt x="372" y="174"/>
                </a:lnTo>
                <a:lnTo>
                  <a:pt x="372" y="169"/>
                </a:lnTo>
                <a:lnTo>
                  <a:pt x="369" y="167"/>
                </a:lnTo>
                <a:lnTo>
                  <a:pt x="369" y="167"/>
                </a:lnTo>
                <a:lnTo>
                  <a:pt x="367" y="167"/>
                </a:lnTo>
                <a:lnTo>
                  <a:pt x="364" y="164"/>
                </a:lnTo>
                <a:lnTo>
                  <a:pt x="362" y="167"/>
                </a:lnTo>
                <a:lnTo>
                  <a:pt x="364" y="167"/>
                </a:lnTo>
                <a:lnTo>
                  <a:pt x="362" y="169"/>
                </a:lnTo>
                <a:lnTo>
                  <a:pt x="362" y="169"/>
                </a:lnTo>
                <a:lnTo>
                  <a:pt x="362" y="172"/>
                </a:lnTo>
                <a:lnTo>
                  <a:pt x="362" y="174"/>
                </a:lnTo>
                <a:lnTo>
                  <a:pt x="362" y="177"/>
                </a:lnTo>
                <a:lnTo>
                  <a:pt x="359" y="177"/>
                </a:lnTo>
                <a:lnTo>
                  <a:pt x="357" y="172"/>
                </a:lnTo>
                <a:lnTo>
                  <a:pt x="354" y="169"/>
                </a:lnTo>
                <a:lnTo>
                  <a:pt x="354" y="169"/>
                </a:lnTo>
                <a:lnTo>
                  <a:pt x="352" y="167"/>
                </a:lnTo>
                <a:lnTo>
                  <a:pt x="352" y="164"/>
                </a:lnTo>
                <a:lnTo>
                  <a:pt x="352" y="162"/>
                </a:lnTo>
                <a:lnTo>
                  <a:pt x="352" y="160"/>
                </a:lnTo>
                <a:lnTo>
                  <a:pt x="354" y="160"/>
                </a:lnTo>
                <a:lnTo>
                  <a:pt x="357" y="157"/>
                </a:lnTo>
                <a:lnTo>
                  <a:pt x="357" y="157"/>
                </a:lnTo>
                <a:lnTo>
                  <a:pt x="359" y="157"/>
                </a:lnTo>
                <a:lnTo>
                  <a:pt x="359" y="157"/>
                </a:lnTo>
                <a:lnTo>
                  <a:pt x="359" y="155"/>
                </a:lnTo>
                <a:lnTo>
                  <a:pt x="362" y="152"/>
                </a:lnTo>
                <a:lnTo>
                  <a:pt x="364" y="147"/>
                </a:lnTo>
                <a:lnTo>
                  <a:pt x="364" y="145"/>
                </a:lnTo>
                <a:lnTo>
                  <a:pt x="367" y="140"/>
                </a:lnTo>
                <a:lnTo>
                  <a:pt x="364" y="140"/>
                </a:lnTo>
                <a:lnTo>
                  <a:pt x="362" y="137"/>
                </a:lnTo>
                <a:lnTo>
                  <a:pt x="359" y="137"/>
                </a:lnTo>
                <a:lnTo>
                  <a:pt x="359" y="137"/>
                </a:lnTo>
                <a:lnTo>
                  <a:pt x="357" y="137"/>
                </a:lnTo>
                <a:lnTo>
                  <a:pt x="352" y="137"/>
                </a:lnTo>
                <a:lnTo>
                  <a:pt x="347" y="137"/>
                </a:lnTo>
                <a:lnTo>
                  <a:pt x="340" y="137"/>
                </a:lnTo>
                <a:lnTo>
                  <a:pt x="337" y="137"/>
                </a:lnTo>
                <a:lnTo>
                  <a:pt x="332" y="135"/>
                </a:lnTo>
                <a:lnTo>
                  <a:pt x="330" y="137"/>
                </a:lnTo>
                <a:lnTo>
                  <a:pt x="327" y="135"/>
                </a:lnTo>
                <a:lnTo>
                  <a:pt x="327" y="132"/>
                </a:lnTo>
                <a:lnTo>
                  <a:pt x="327" y="130"/>
                </a:lnTo>
                <a:lnTo>
                  <a:pt x="325" y="128"/>
                </a:lnTo>
                <a:lnTo>
                  <a:pt x="325" y="125"/>
                </a:lnTo>
                <a:lnTo>
                  <a:pt x="322" y="120"/>
                </a:lnTo>
                <a:lnTo>
                  <a:pt x="322" y="120"/>
                </a:lnTo>
                <a:lnTo>
                  <a:pt x="322" y="123"/>
                </a:lnTo>
                <a:lnTo>
                  <a:pt x="318" y="120"/>
                </a:lnTo>
                <a:lnTo>
                  <a:pt x="318" y="120"/>
                </a:lnTo>
                <a:lnTo>
                  <a:pt x="315" y="118"/>
                </a:lnTo>
                <a:lnTo>
                  <a:pt x="313" y="118"/>
                </a:lnTo>
                <a:lnTo>
                  <a:pt x="313" y="120"/>
                </a:lnTo>
                <a:lnTo>
                  <a:pt x="315" y="120"/>
                </a:lnTo>
                <a:lnTo>
                  <a:pt x="313" y="120"/>
                </a:lnTo>
                <a:lnTo>
                  <a:pt x="310" y="120"/>
                </a:lnTo>
                <a:lnTo>
                  <a:pt x="308" y="118"/>
                </a:lnTo>
                <a:lnTo>
                  <a:pt x="308" y="115"/>
                </a:lnTo>
                <a:lnTo>
                  <a:pt x="305" y="113"/>
                </a:lnTo>
                <a:lnTo>
                  <a:pt x="305" y="113"/>
                </a:lnTo>
                <a:lnTo>
                  <a:pt x="303" y="115"/>
                </a:lnTo>
                <a:lnTo>
                  <a:pt x="303" y="115"/>
                </a:lnTo>
                <a:lnTo>
                  <a:pt x="303" y="115"/>
                </a:lnTo>
                <a:lnTo>
                  <a:pt x="305" y="118"/>
                </a:lnTo>
                <a:lnTo>
                  <a:pt x="303" y="123"/>
                </a:lnTo>
                <a:lnTo>
                  <a:pt x="300" y="125"/>
                </a:lnTo>
                <a:lnTo>
                  <a:pt x="300" y="130"/>
                </a:lnTo>
                <a:lnTo>
                  <a:pt x="305" y="132"/>
                </a:lnTo>
                <a:lnTo>
                  <a:pt x="310" y="130"/>
                </a:lnTo>
                <a:lnTo>
                  <a:pt x="313" y="130"/>
                </a:lnTo>
                <a:lnTo>
                  <a:pt x="313" y="132"/>
                </a:lnTo>
                <a:lnTo>
                  <a:pt x="313" y="137"/>
                </a:lnTo>
                <a:lnTo>
                  <a:pt x="310" y="137"/>
                </a:lnTo>
                <a:lnTo>
                  <a:pt x="310" y="137"/>
                </a:lnTo>
                <a:lnTo>
                  <a:pt x="308" y="140"/>
                </a:lnTo>
                <a:lnTo>
                  <a:pt x="305" y="142"/>
                </a:lnTo>
                <a:lnTo>
                  <a:pt x="303" y="145"/>
                </a:lnTo>
                <a:lnTo>
                  <a:pt x="303" y="150"/>
                </a:lnTo>
                <a:lnTo>
                  <a:pt x="305" y="155"/>
                </a:lnTo>
                <a:lnTo>
                  <a:pt x="310" y="155"/>
                </a:lnTo>
                <a:lnTo>
                  <a:pt x="315" y="160"/>
                </a:lnTo>
                <a:lnTo>
                  <a:pt x="315" y="164"/>
                </a:lnTo>
                <a:lnTo>
                  <a:pt x="315" y="169"/>
                </a:lnTo>
                <a:lnTo>
                  <a:pt x="315" y="172"/>
                </a:lnTo>
                <a:lnTo>
                  <a:pt x="315" y="177"/>
                </a:lnTo>
                <a:lnTo>
                  <a:pt x="320" y="184"/>
                </a:lnTo>
                <a:lnTo>
                  <a:pt x="320" y="187"/>
                </a:lnTo>
                <a:lnTo>
                  <a:pt x="322" y="189"/>
                </a:lnTo>
                <a:lnTo>
                  <a:pt x="322" y="194"/>
                </a:lnTo>
                <a:lnTo>
                  <a:pt x="320" y="194"/>
                </a:lnTo>
                <a:lnTo>
                  <a:pt x="322" y="199"/>
                </a:lnTo>
                <a:lnTo>
                  <a:pt x="322" y="201"/>
                </a:lnTo>
                <a:lnTo>
                  <a:pt x="320" y="199"/>
                </a:lnTo>
                <a:lnTo>
                  <a:pt x="320" y="201"/>
                </a:lnTo>
                <a:lnTo>
                  <a:pt x="318" y="199"/>
                </a:lnTo>
                <a:lnTo>
                  <a:pt x="315" y="196"/>
                </a:lnTo>
                <a:lnTo>
                  <a:pt x="315" y="194"/>
                </a:lnTo>
                <a:lnTo>
                  <a:pt x="315" y="196"/>
                </a:lnTo>
                <a:lnTo>
                  <a:pt x="315" y="196"/>
                </a:lnTo>
                <a:lnTo>
                  <a:pt x="315" y="196"/>
                </a:lnTo>
                <a:lnTo>
                  <a:pt x="313" y="196"/>
                </a:lnTo>
                <a:lnTo>
                  <a:pt x="310" y="196"/>
                </a:lnTo>
                <a:lnTo>
                  <a:pt x="310" y="199"/>
                </a:lnTo>
                <a:lnTo>
                  <a:pt x="308" y="196"/>
                </a:lnTo>
                <a:lnTo>
                  <a:pt x="308" y="194"/>
                </a:lnTo>
                <a:lnTo>
                  <a:pt x="308" y="191"/>
                </a:lnTo>
                <a:lnTo>
                  <a:pt x="305" y="189"/>
                </a:lnTo>
                <a:lnTo>
                  <a:pt x="303" y="189"/>
                </a:lnTo>
                <a:lnTo>
                  <a:pt x="303" y="189"/>
                </a:lnTo>
                <a:lnTo>
                  <a:pt x="305" y="189"/>
                </a:lnTo>
                <a:lnTo>
                  <a:pt x="308" y="191"/>
                </a:lnTo>
                <a:lnTo>
                  <a:pt x="305" y="191"/>
                </a:lnTo>
                <a:lnTo>
                  <a:pt x="305" y="194"/>
                </a:lnTo>
                <a:lnTo>
                  <a:pt x="305" y="196"/>
                </a:lnTo>
                <a:lnTo>
                  <a:pt x="303" y="199"/>
                </a:lnTo>
                <a:lnTo>
                  <a:pt x="293" y="204"/>
                </a:lnTo>
                <a:lnTo>
                  <a:pt x="290" y="204"/>
                </a:lnTo>
                <a:lnTo>
                  <a:pt x="290" y="206"/>
                </a:lnTo>
                <a:lnTo>
                  <a:pt x="288" y="209"/>
                </a:lnTo>
                <a:lnTo>
                  <a:pt x="290" y="211"/>
                </a:lnTo>
                <a:lnTo>
                  <a:pt x="290" y="214"/>
                </a:lnTo>
                <a:lnTo>
                  <a:pt x="290" y="216"/>
                </a:lnTo>
                <a:lnTo>
                  <a:pt x="290" y="216"/>
                </a:lnTo>
                <a:lnTo>
                  <a:pt x="288" y="219"/>
                </a:lnTo>
                <a:lnTo>
                  <a:pt x="288" y="221"/>
                </a:lnTo>
                <a:lnTo>
                  <a:pt x="286" y="223"/>
                </a:lnTo>
                <a:lnTo>
                  <a:pt x="286" y="223"/>
                </a:lnTo>
                <a:lnTo>
                  <a:pt x="281" y="228"/>
                </a:lnTo>
                <a:lnTo>
                  <a:pt x="281" y="231"/>
                </a:lnTo>
                <a:lnTo>
                  <a:pt x="273" y="233"/>
                </a:lnTo>
                <a:lnTo>
                  <a:pt x="271" y="233"/>
                </a:lnTo>
                <a:lnTo>
                  <a:pt x="271" y="231"/>
                </a:lnTo>
                <a:lnTo>
                  <a:pt x="271" y="231"/>
                </a:lnTo>
                <a:lnTo>
                  <a:pt x="268" y="231"/>
                </a:lnTo>
                <a:lnTo>
                  <a:pt x="266" y="233"/>
                </a:lnTo>
                <a:lnTo>
                  <a:pt x="266" y="233"/>
                </a:lnTo>
                <a:lnTo>
                  <a:pt x="263" y="238"/>
                </a:lnTo>
                <a:lnTo>
                  <a:pt x="266" y="236"/>
                </a:lnTo>
                <a:lnTo>
                  <a:pt x="268" y="236"/>
                </a:lnTo>
                <a:lnTo>
                  <a:pt x="268" y="236"/>
                </a:lnTo>
                <a:lnTo>
                  <a:pt x="259" y="246"/>
                </a:lnTo>
                <a:lnTo>
                  <a:pt x="256" y="253"/>
                </a:lnTo>
                <a:lnTo>
                  <a:pt x="241" y="263"/>
                </a:lnTo>
                <a:lnTo>
                  <a:pt x="239" y="268"/>
                </a:lnTo>
                <a:lnTo>
                  <a:pt x="236" y="270"/>
                </a:lnTo>
                <a:lnTo>
                  <a:pt x="231" y="273"/>
                </a:lnTo>
                <a:lnTo>
                  <a:pt x="227" y="278"/>
                </a:lnTo>
                <a:lnTo>
                  <a:pt x="227" y="280"/>
                </a:lnTo>
                <a:lnTo>
                  <a:pt x="227" y="282"/>
                </a:lnTo>
                <a:lnTo>
                  <a:pt x="224" y="287"/>
                </a:lnTo>
                <a:lnTo>
                  <a:pt x="222" y="290"/>
                </a:lnTo>
                <a:lnTo>
                  <a:pt x="214" y="287"/>
                </a:lnTo>
                <a:lnTo>
                  <a:pt x="212" y="290"/>
                </a:lnTo>
                <a:lnTo>
                  <a:pt x="212" y="295"/>
                </a:lnTo>
                <a:lnTo>
                  <a:pt x="207" y="300"/>
                </a:lnTo>
                <a:lnTo>
                  <a:pt x="204" y="300"/>
                </a:lnTo>
                <a:lnTo>
                  <a:pt x="202" y="297"/>
                </a:lnTo>
                <a:lnTo>
                  <a:pt x="202" y="297"/>
                </a:lnTo>
                <a:lnTo>
                  <a:pt x="197" y="302"/>
                </a:lnTo>
                <a:lnTo>
                  <a:pt x="195" y="305"/>
                </a:lnTo>
                <a:lnTo>
                  <a:pt x="195" y="310"/>
                </a:lnTo>
                <a:lnTo>
                  <a:pt x="197" y="317"/>
                </a:lnTo>
                <a:lnTo>
                  <a:pt x="195" y="322"/>
                </a:lnTo>
                <a:lnTo>
                  <a:pt x="195" y="324"/>
                </a:lnTo>
                <a:lnTo>
                  <a:pt x="195" y="337"/>
                </a:lnTo>
                <a:lnTo>
                  <a:pt x="199" y="339"/>
                </a:lnTo>
                <a:lnTo>
                  <a:pt x="199" y="346"/>
                </a:lnTo>
                <a:lnTo>
                  <a:pt x="197" y="356"/>
                </a:lnTo>
                <a:lnTo>
                  <a:pt x="192" y="364"/>
                </a:lnTo>
                <a:lnTo>
                  <a:pt x="192" y="369"/>
                </a:lnTo>
                <a:lnTo>
                  <a:pt x="195" y="371"/>
                </a:lnTo>
                <a:lnTo>
                  <a:pt x="195" y="383"/>
                </a:lnTo>
                <a:lnTo>
                  <a:pt x="195" y="388"/>
                </a:lnTo>
                <a:lnTo>
                  <a:pt x="192" y="388"/>
                </a:lnTo>
                <a:lnTo>
                  <a:pt x="190" y="388"/>
                </a:lnTo>
                <a:lnTo>
                  <a:pt x="187" y="388"/>
                </a:lnTo>
                <a:lnTo>
                  <a:pt x="185" y="391"/>
                </a:lnTo>
                <a:lnTo>
                  <a:pt x="185" y="393"/>
                </a:lnTo>
                <a:lnTo>
                  <a:pt x="182" y="398"/>
                </a:lnTo>
                <a:lnTo>
                  <a:pt x="180" y="401"/>
                </a:lnTo>
                <a:lnTo>
                  <a:pt x="180" y="403"/>
                </a:lnTo>
                <a:lnTo>
                  <a:pt x="185" y="405"/>
                </a:lnTo>
                <a:lnTo>
                  <a:pt x="187" y="405"/>
                </a:lnTo>
                <a:lnTo>
                  <a:pt x="187" y="408"/>
                </a:lnTo>
                <a:lnTo>
                  <a:pt x="185" y="405"/>
                </a:lnTo>
                <a:lnTo>
                  <a:pt x="182" y="405"/>
                </a:lnTo>
                <a:lnTo>
                  <a:pt x="177" y="408"/>
                </a:lnTo>
                <a:lnTo>
                  <a:pt x="175" y="405"/>
                </a:lnTo>
                <a:lnTo>
                  <a:pt x="170" y="408"/>
                </a:lnTo>
                <a:lnTo>
                  <a:pt x="167" y="413"/>
                </a:lnTo>
                <a:lnTo>
                  <a:pt x="167" y="413"/>
                </a:lnTo>
                <a:lnTo>
                  <a:pt x="167" y="415"/>
                </a:lnTo>
                <a:lnTo>
                  <a:pt x="167" y="415"/>
                </a:lnTo>
                <a:lnTo>
                  <a:pt x="167" y="420"/>
                </a:lnTo>
                <a:lnTo>
                  <a:pt x="160" y="423"/>
                </a:lnTo>
                <a:lnTo>
                  <a:pt x="155" y="423"/>
                </a:lnTo>
                <a:lnTo>
                  <a:pt x="150" y="420"/>
                </a:lnTo>
                <a:lnTo>
                  <a:pt x="145" y="413"/>
                </a:lnTo>
                <a:lnTo>
                  <a:pt x="140" y="403"/>
                </a:lnTo>
                <a:lnTo>
                  <a:pt x="140" y="396"/>
                </a:lnTo>
                <a:lnTo>
                  <a:pt x="138" y="391"/>
                </a:lnTo>
                <a:lnTo>
                  <a:pt x="136" y="383"/>
                </a:lnTo>
                <a:lnTo>
                  <a:pt x="136" y="381"/>
                </a:lnTo>
                <a:lnTo>
                  <a:pt x="133" y="381"/>
                </a:lnTo>
                <a:lnTo>
                  <a:pt x="133" y="376"/>
                </a:lnTo>
                <a:lnTo>
                  <a:pt x="131" y="371"/>
                </a:lnTo>
                <a:lnTo>
                  <a:pt x="126" y="366"/>
                </a:lnTo>
                <a:lnTo>
                  <a:pt x="123" y="361"/>
                </a:lnTo>
                <a:lnTo>
                  <a:pt x="123" y="361"/>
                </a:lnTo>
                <a:lnTo>
                  <a:pt x="118" y="356"/>
                </a:lnTo>
                <a:lnTo>
                  <a:pt x="116" y="354"/>
                </a:lnTo>
                <a:lnTo>
                  <a:pt x="116" y="351"/>
                </a:lnTo>
                <a:lnTo>
                  <a:pt x="116" y="346"/>
                </a:lnTo>
                <a:lnTo>
                  <a:pt x="113" y="344"/>
                </a:lnTo>
                <a:lnTo>
                  <a:pt x="111" y="337"/>
                </a:lnTo>
                <a:lnTo>
                  <a:pt x="108" y="332"/>
                </a:lnTo>
                <a:lnTo>
                  <a:pt x="108" y="327"/>
                </a:lnTo>
                <a:lnTo>
                  <a:pt x="106" y="324"/>
                </a:lnTo>
                <a:lnTo>
                  <a:pt x="106" y="319"/>
                </a:lnTo>
                <a:lnTo>
                  <a:pt x="106" y="319"/>
                </a:lnTo>
                <a:lnTo>
                  <a:pt x="101" y="314"/>
                </a:lnTo>
                <a:lnTo>
                  <a:pt x="101" y="312"/>
                </a:lnTo>
                <a:lnTo>
                  <a:pt x="101" y="312"/>
                </a:lnTo>
                <a:lnTo>
                  <a:pt x="96" y="307"/>
                </a:lnTo>
                <a:lnTo>
                  <a:pt x="96" y="305"/>
                </a:lnTo>
                <a:lnTo>
                  <a:pt x="94" y="302"/>
                </a:lnTo>
                <a:lnTo>
                  <a:pt x="94" y="300"/>
                </a:lnTo>
                <a:lnTo>
                  <a:pt x="91" y="297"/>
                </a:lnTo>
                <a:lnTo>
                  <a:pt x="89" y="290"/>
                </a:lnTo>
                <a:lnTo>
                  <a:pt x="89" y="282"/>
                </a:lnTo>
                <a:lnTo>
                  <a:pt x="81" y="268"/>
                </a:lnTo>
                <a:lnTo>
                  <a:pt x="81" y="265"/>
                </a:lnTo>
                <a:lnTo>
                  <a:pt x="79" y="260"/>
                </a:lnTo>
                <a:lnTo>
                  <a:pt x="81" y="260"/>
                </a:lnTo>
                <a:lnTo>
                  <a:pt x="76" y="253"/>
                </a:lnTo>
                <a:lnTo>
                  <a:pt x="76" y="251"/>
                </a:lnTo>
                <a:lnTo>
                  <a:pt x="79" y="251"/>
                </a:lnTo>
                <a:lnTo>
                  <a:pt x="79" y="248"/>
                </a:lnTo>
                <a:lnTo>
                  <a:pt x="76" y="246"/>
                </a:lnTo>
                <a:lnTo>
                  <a:pt x="74" y="236"/>
                </a:lnTo>
                <a:lnTo>
                  <a:pt x="72" y="231"/>
                </a:lnTo>
                <a:lnTo>
                  <a:pt x="74" y="231"/>
                </a:lnTo>
                <a:lnTo>
                  <a:pt x="72" y="228"/>
                </a:lnTo>
                <a:lnTo>
                  <a:pt x="72" y="226"/>
                </a:lnTo>
                <a:lnTo>
                  <a:pt x="74" y="223"/>
                </a:lnTo>
                <a:lnTo>
                  <a:pt x="74" y="219"/>
                </a:lnTo>
                <a:lnTo>
                  <a:pt x="72" y="214"/>
                </a:lnTo>
                <a:lnTo>
                  <a:pt x="72" y="214"/>
                </a:lnTo>
                <a:lnTo>
                  <a:pt x="69" y="206"/>
                </a:lnTo>
                <a:lnTo>
                  <a:pt x="72" y="204"/>
                </a:lnTo>
                <a:lnTo>
                  <a:pt x="74" y="201"/>
                </a:lnTo>
                <a:lnTo>
                  <a:pt x="76" y="201"/>
                </a:lnTo>
                <a:lnTo>
                  <a:pt x="74" y="201"/>
                </a:lnTo>
                <a:lnTo>
                  <a:pt x="69" y="201"/>
                </a:lnTo>
                <a:lnTo>
                  <a:pt x="69" y="201"/>
                </a:lnTo>
                <a:lnTo>
                  <a:pt x="69" y="199"/>
                </a:lnTo>
                <a:lnTo>
                  <a:pt x="67" y="196"/>
                </a:lnTo>
                <a:lnTo>
                  <a:pt x="67" y="194"/>
                </a:lnTo>
                <a:lnTo>
                  <a:pt x="69" y="191"/>
                </a:lnTo>
                <a:lnTo>
                  <a:pt x="69" y="191"/>
                </a:lnTo>
                <a:lnTo>
                  <a:pt x="74" y="189"/>
                </a:lnTo>
                <a:lnTo>
                  <a:pt x="74" y="189"/>
                </a:lnTo>
                <a:lnTo>
                  <a:pt x="72" y="189"/>
                </a:lnTo>
                <a:lnTo>
                  <a:pt x="69" y="189"/>
                </a:lnTo>
                <a:lnTo>
                  <a:pt x="67" y="189"/>
                </a:lnTo>
                <a:lnTo>
                  <a:pt x="64" y="187"/>
                </a:lnTo>
                <a:lnTo>
                  <a:pt x="64" y="189"/>
                </a:lnTo>
                <a:lnTo>
                  <a:pt x="64" y="191"/>
                </a:lnTo>
                <a:lnTo>
                  <a:pt x="62" y="199"/>
                </a:lnTo>
                <a:lnTo>
                  <a:pt x="64" y="201"/>
                </a:lnTo>
                <a:lnTo>
                  <a:pt x="64" y="206"/>
                </a:lnTo>
                <a:lnTo>
                  <a:pt x="62" y="209"/>
                </a:lnTo>
                <a:lnTo>
                  <a:pt x="62" y="211"/>
                </a:lnTo>
                <a:lnTo>
                  <a:pt x="57" y="214"/>
                </a:lnTo>
                <a:lnTo>
                  <a:pt x="47" y="219"/>
                </a:lnTo>
                <a:lnTo>
                  <a:pt x="44" y="219"/>
                </a:lnTo>
                <a:lnTo>
                  <a:pt x="40" y="219"/>
                </a:lnTo>
                <a:lnTo>
                  <a:pt x="27" y="209"/>
                </a:lnTo>
                <a:lnTo>
                  <a:pt x="22" y="201"/>
                </a:lnTo>
                <a:lnTo>
                  <a:pt x="22" y="201"/>
                </a:lnTo>
                <a:lnTo>
                  <a:pt x="20" y="201"/>
                </a:lnTo>
                <a:lnTo>
                  <a:pt x="17" y="199"/>
                </a:lnTo>
                <a:lnTo>
                  <a:pt x="13" y="194"/>
                </a:lnTo>
                <a:lnTo>
                  <a:pt x="10" y="191"/>
                </a:lnTo>
                <a:lnTo>
                  <a:pt x="13" y="189"/>
                </a:lnTo>
                <a:lnTo>
                  <a:pt x="13" y="189"/>
                </a:lnTo>
                <a:lnTo>
                  <a:pt x="15" y="189"/>
                </a:lnTo>
                <a:lnTo>
                  <a:pt x="15" y="189"/>
                </a:lnTo>
                <a:lnTo>
                  <a:pt x="15" y="194"/>
                </a:lnTo>
                <a:lnTo>
                  <a:pt x="17" y="194"/>
                </a:lnTo>
                <a:lnTo>
                  <a:pt x="20" y="191"/>
                </a:lnTo>
                <a:lnTo>
                  <a:pt x="20" y="191"/>
                </a:lnTo>
                <a:lnTo>
                  <a:pt x="22" y="194"/>
                </a:lnTo>
                <a:lnTo>
                  <a:pt x="22" y="191"/>
                </a:lnTo>
                <a:lnTo>
                  <a:pt x="30" y="187"/>
                </a:lnTo>
                <a:lnTo>
                  <a:pt x="32" y="187"/>
                </a:lnTo>
                <a:lnTo>
                  <a:pt x="35" y="182"/>
                </a:lnTo>
                <a:lnTo>
                  <a:pt x="35" y="182"/>
                </a:lnTo>
                <a:lnTo>
                  <a:pt x="37" y="179"/>
                </a:lnTo>
                <a:lnTo>
                  <a:pt x="32" y="179"/>
                </a:lnTo>
                <a:lnTo>
                  <a:pt x="32" y="179"/>
                </a:lnTo>
                <a:lnTo>
                  <a:pt x="32" y="179"/>
                </a:lnTo>
                <a:lnTo>
                  <a:pt x="32" y="182"/>
                </a:lnTo>
                <a:lnTo>
                  <a:pt x="25" y="184"/>
                </a:lnTo>
                <a:lnTo>
                  <a:pt x="22" y="184"/>
                </a:lnTo>
                <a:lnTo>
                  <a:pt x="20" y="184"/>
                </a:lnTo>
                <a:lnTo>
                  <a:pt x="10" y="182"/>
                </a:lnTo>
                <a:lnTo>
                  <a:pt x="5" y="177"/>
                </a:lnTo>
                <a:lnTo>
                  <a:pt x="3" y="174"/>
                </a:lnTo>
                <a:lnTo>
                  <a:pt x="3" y="172"/>
                </a:lnTo>
                <a:lnTo>
                  <a:pt x="5" y="167"/>
                </a:lnTo>
                <a:lnTo>
                  <a:pt x="10" y="167"/>
                </a:lnTo>
                <a:lnTo>
                  <a:pt x="5" y="167"/>
                </a:lnTo>
                <a:lnTo>
                  <a:pt x="0" y="169"/>
                </a:lnTo>
                <a:lnTo>
                  <a:pt x="0" y="164"/>
                </a:lnTo>
                <a:lnTo>
                  <a:pt x="3" y="164"/>
                </a:lnTo>
                <a:lnTo>
                  <a:pt x="5" y="162"/>
                </a:lnTo>
                <a:lnTo>
                  <a:pt x="8" y="160"/>
                </a:lnTo>
                <a:lnTo>
                  <a:pt x="10" y="160"/>
                </a:lnTo>
                <a:lnTo>
                  <a:pt x="13" y="157"/>
                </a:lnTo>
                <a:lnTo>
                  <a:pt x="22" y="160"/>
                </a:lnTo>
                <a:lnTo>
                  <a:pt x="30" y="157"/>
                </a:lnTo>
                <a:lnTo>
                  <a:pt x="30" y="155"/>
                </a:lnTo>
                <a:lnTo>
                  <a:pt x="35" y="155"/>
                </a:lnTo>
                <a:lnTo>
                  <a:pt x="32" y="157"/>
                </a:lnTo>
                <a:lnTo>
                  <a:pt x="35" y="157"/>
                </a:lnTo>
                <a:lnTo>
                  <a:pt x="37" y="157"/>
                </a:lnTo>
                <a:lnTo>
                  <a:pt x="40" y="155"/>
                </a:lnTo>
                <a:lnTo>
                  <a:pt x="40" y="155"/>
                </a:lnTo>
                <a:lnTo>
                  <a:pt x="40" y="152"/>
                </a:lnTo>
                <a:lnTo>
                  <a:pt x="37" y="142"/>
                </a:lnTo>
                <a:lnTo>
                  <a:pt x="32" y="137"/>
                </a:lnTo>
                <a:lnTo>
                  <a:pt x="35" y="135"/>
                </a:lnTo>
                <a:lnTo>
                  <a:pt x="32" y="132"/>
                </a:lnTo>
                <a:lnTo>
                  <a:pt x="30" y="135"/>
                </a:lnTo>
                <a:lnTo>
                  <a:pt x="25" y="130"/>
                </a:lnTo>
                <a:lnTo>
                  <a:pt x="22" y="125"/>
                </a:lnTo>
                <a:lnTo>
                  <a:pt x="22" y="120"/>
                </a:lnTo>
                <a:lnTo>
                  <a:pt x="20" y="115"/>
                </a:lnTo>
                <a:lnTo>
                  <a:pt x="17" y="115"/>
                </a:lnTo>
                <a:lnTo>
                  <a:pt x="17" y="118"/>
                </a:lnTo>
                <a:lnTo>
                  <a:pt x="13" y="115"/>
                </a:lnTo>
                <a:lnTo>
                  <a:pt x="10" y="115"/>
                </a:lnTo>
                <a:lnTo>
                  <a:pt x="10" y="113"/>
                </a:lnTo>
                <a:lnTo>
                  <a:pt x="13" y="105"/>
                </a:lnTo>
                <a:lnTo>
                  <a:pt x="15" y="105"/>
                </a:lnTo>
                <a:lnTo>
                  <a:pt x="20" y="98"/>
                </a:lnTo>
                <a:lnTo>
                  <a:pt x="20" y="96"/>
                </a:lnTo>
                <a:lnTo>
                  <a:pt x="22" y="96"/>
                </a:lnTo>
                <a:lnTo>
                  <a:pt x="25" y="93"/>
                </a:lnTo>
                <a:lnTo>
                  <a:pt x="27" y="96"/>
                </a:lnTo>
                <a:lnTo>
                  <a:pt x="30" y="98"/>
                </a:lnTo>
                <a:lnTo>
                  <a:pt x="30" y="98"/>
                </a:lnTo>
                <a:lnTo>
                  <a:pt x="37" y="96"/>
                </a:lnTo>
                <a:lnTo>
                  <a:pt x="44" y="96"/>
                </a:lnTo>
                <a:lnTo>
                  <a:pt x="49" y="91"/>
                </a:lnTo>
                <a:lnTo>
                  <a:pt x="52" y="81"/>
                </a:lnTo>
                <a:lnTo>
                  <a:pt x="59" y="76"/>
                </a:lnTo>
                <a:lnTo>
                  <a:pt x="62" y="71"/>
                </a:lnTo>
                <a:lnTo>
                  <a:pt x="62" y="66"/>
                </a:lnTo>
                <a:lnTo>
                  <a:pt x="67" y="61"/>
                </a:lnTo>
                <a:lnTo>
                  <a:pt x="72" y="59"/>
                </a:lnTo>
                <a:lnTo>
                  <a:pt x="72" y="56"/>
                </a:lnTo>
                <a:lnTo>
                  <a:pt x="72" y="54"/>
                </a:lnTo>
                <a:lnTo>
                  <a:pt x="72" y="51"/>
                </a:lnTo>
                <a:lnTo>
                  <a:pt x="74" y="46"/>
                </a:lnTo>
                <a:lnTo>
                  <a:pt x="76" y="44"/>
                </a:lnTo>
                <a:lnTo>
                  <a:pt x="76" y="41"/>
                </a:lnTo>
                <a:lnTo>
                  <a:pt x="79" y="34"/>
                </a:lnTo>
                <a:lnTo>
                  <a:pt x="76" y="27"/>
                </a:lnTo>
                <a:lnTo>
                  <a:pt x="76" y="27"/>
                </a:lnTo>
                <a:lnTo>
                  <a:pt x="81" y="22"/>
                </a:lnTo>
                <a:lnTo>
                  <a:pt x="84" y="22"/>
                </a:lnTo>
                <a:lnTo>
                  <a:pt x="86" y="19"/>
                </a:lnTo>
                <a:lnTo>
                  <a:pt x="89" y="19"/>
                </a:lnTo>
                <a:lnTo>
                  <a:pt x="94" y="14"/>
                </a:lnTo>
                <a:lnTo>
                  <a:pt x="96" y="7"/>
                </a:lnTo>
                <a:lnTo>
                  <a:pt x="101" y="2"/>
                </a:lnTo>
                <a:lnTo>
                  <a:pt x="106" y="2"/>
                </a:lnTo>
                <a:lnTo>
                  <a:pt x="108" y="0"/>
                </a:lnTo>
                <a:lnTo>
                  <a:pt x="111" y="0"/>
                </a:lnTo>
                <a:lnTo>
                  <a:pt x="118" y="5"/>
                </a:lnTo>
                <a:lnTo>
                  <a:pt x="123" y="2"/>
                </a:lnTo>
                <a:lnTo>
                  <a:pt x="128" y="5"/>
                </a:lnTo>
                <a:lnTo>
                  <a:pt x="131" y="9"/>
                </a:lnTo>
                <a:lnTo>
                  <a:pt x="133" y="7"/>
                </a:lnTo>
                <a:lnTo>
                  <a:pt x="140" y="12"/>
                </a:lnTo>
                <a:lnTo>
                  <a:pt x="140" y="12"/>
                </a:lnTo>
                <a:lnTo>
                  <a:pt x="140" y="12"/>
                </a:lnTo>
                <a:lnTo>
                  <a:pt x="140" y="12"/>
                </a:lnTo>
                <a:close/>
                <a:moveTo>
                  <a:pt x="315" y="199"/>
                </a:moveTo>
                <a:lnTo>
                  <a:pt x="315" y="201"/>
                </a:lnTo>
                <a:lnTo>
                  <a:pt x="315" y="201"/>
                </a:lnTo>
                <a:lnTo>
                  <a:pt x="315" y="199"/>
                </a:lnTo>
                <a:lnTo>
                  <a:pt x="315" y="199"/>
                </a:lnTo>
                <a:lnTo>
                  <a:pt x="315" y="199"/>
                </a:lnTo>
                <a:close/>
                <a:moveTo>
                  <a:pt x="313" y="199"/>
                </a:moveTo>
                <a:lnTo>
                  <a:pt x="313" y="199"/>
                </a:lnTo>
                <a:lnTo>
                  <a:pt x="313" y="201"/>
                </a:lnTo>
                <a:lnTo>
                  <a:pt x="313" y="201"/>
                </a:lnTo>
                <a:lnTo>
                  <a:pt x="313" y="199"/>
                </a:lnTo>
                <a:lnTo>
                  <a:pt x="313" y="199"/>
                </a:lnTo>
                <a:lnTo>
                  <a:pt x="313" y="199"/>
                </a:lnTo>
                <a:lnTo>
                  <a:pt x="313" y="199"/>
                </a:lnTo>
                <a:close/>
                <a:moveTo>
                  <a:pt x="310" y="199"/>
                </a:moveTo>
                <a:lnTo>
                  <a:pt x="310" y="201"/>
                </a:lnTo>
                <a:lnTo>
                  <a:pt x="310" y="204"/>
                </a:lnTo>
                <a:lnTo>
                  <a:pt x="310" y="201"/>
                </a:lnTo>
                <a:lnTo>
                  <a:pt x="310" y="199"/>
                </a:lnTo>
                <a:lnTo>
                  <a:pt x="310" y="199"/>
                </a:lnTo>
                <a:lnTo>
                  <a:pt x="310" y="199"/>
                </a:lnTo>
                <a:close/>
                <a:moveTo>
                  <a:pt x="305" y="199"/>
                </a:moveTo>
                <a:lnTo>
                  <a:pt x="305" y="201"/>
                </a:lnTo>
                <a:lnTo>
                  <a:pt x="305" y="201"/>
                </a:lnTo>
                <a:lnTo>
                  <a:pt x="308" y="196"/>
                </a:lnTo>
                <a:lnTo>
                  <a:pt x="308" y="196"/>
                </a:lnTo>
                <a:lnTo>
                  <a:pt x="305" y="199"/>
                </a:lnTo>
                <a:lnTo>
                  <a:pt x="305" y="199"/>
                </a:lnTo>
                <a:close/>
              </a:path>
            </a:pathLst>
          </a:custGeom>
          <a:blipFill>
            <a:blip r:embed="rId15"/>
            <a:srcRect/>
            <a:stretch>
              <a:fillRect l="-13776" t="-5091" r="13776" b="5091"/>
            </a:stretch>
          </a:blipFill>
          <a:ln w="9525">
            <a:solidFill>
              <a:schemeClr val="bg1"/>
            </a:solidFill>
            <a:round/>
            <a:headEnd/>
            <a:tailEnd/>
          </a:ln>
          <a:effectLst>
            <a:outerShdw blurRad="50800" dist="38100" dir="8100000" algn="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16" name="Title 2"/>
          <p:cNvSpPr txBox="1">
            <a:spLocks/>
          </p:cNvSpPr>
          <p:nvPr/>
        </p:nvSpPr>
        <p:spPr bwMode="auto">
          <a:xfrm>
            <a:off x="483895" y="586133"/>
            <a:ext cx="8386953" cy="46697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lnSpc>
                <a:spcPct val="100000"/>
              </a:lnSpc>
              <a:spcBef>
                <a:spcPct val="0"/>
              </a:spcBef>
              <a:spcAft>
                <a:spcPct val="0"/>
              </a:spcAft>
              <a:defRPr sz="3000" kern="1200">
                <a:solidFill>
                  <a:schemeClr val="tx2"/>
                </a:solidFill>
                <a:latin typeface="Corbel" panose="020B050302020402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t>Team of 87 professionals in </a:t>
            </a:r>
            <a:r>
              <a:rPr lang="en-US" dirty="0"/>
              <a:t>9</a:t>
            </a:r>
            <a:r>
              <a:rPr lang="en-US" dirty="0" smtClean="0"/>
              <a:t> different countries</a:t>
            </a:r>
            <a:endParaRPr lang="en-US" dirty="0"/>
          </a:p>
        </p:txBody>
      </p:sp>
    </p:spTree>
    <p:extLst>
      <p:ext uri="{BB962C8B-B14F-4D97-AF65-F5344CB8AC3E}">
        <p14:creationId xmlns:p14="http://schemas.microsoft.com/office/powerpoint/2010/main" val="14327520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515938" y="255588"/>
            <a:ext cx="8397502" cy="785812"/>
          </a:xfrm>
        </p:spPr>
        <p:txBody>
          <a:bodyPr/>
          <a:lstStyle/>
          <a:p>
            <a:r>
              <a:rPr lang="en-US" dirty="0" smtClean="0"/>
              <a:t>Raspberries &amp; blackberries continue to gain ground</a:t>
            </a:r>
          </a:p>
        </p:txBody>
      </p:sp>
      <p:sp>
        <p:nvSpPr>
          <p:cNvPr id="23556" name="TextBox 6"/>
          <p:cNvSpPr txBox="1">
            <a:spLocks noChangeArrowheads="1"/>
          </p:cNvSpPr>
          <p:nvPr/>
        </p:nvSpPr>
        <p:spPr bwMode="auto">
          <a:xfrm>
            <a:off x="-33294" y="1207391"/>
            <a:ext cx="9939294" cy="492443"/>
          </a:xfrm>
          <a:prstGeom prst="rect">
            <a:avLst/>
          </a:prstGeom>
          <a:noFill/>
          <a:ln w="9525">
            <a:noFill/>
            <a:miter lim="800000"/>
            <a:headEnd/>
            <a:tailEnd/>
          </a:ln>
        </p:spPr>
        <p:txBody>
          <a:bodyPr wrap="square">
            <a:spAutoFit/>
          </a:bodyPr>
          <a:lstStyle/>
          <a:p>
            <a:pPr algn="ctr"/>
            <a:r>
              <a:rPr lang="en-US" sz="2600" dirty="0" smtClean="0">
                <a:solidFill>
                  <a:srgbClr val="FF6600"/>
                </a:solidFill>
                <a:latin typeface="Arial" panose="020B0604020202020204" pitchFamily="34" charset="0"/>
                <a:cs typeface="Arial" panose="020B0604020202020204" pitchFamily="34" charset="0"/>
              </a:rPr>
              <a:t>U.S. berry consumption 2005-2017 </a:t>
            </a:r>
          </a:p>
        </p:txBody>
      </p:sp>
      <p:sp>
        <p:nvSpPr>
          <p:cNvPr id="32" name="TextBox 40"/>
          <p:cNvSpPr txBox="1">
            <a:spLocks noChangeArrowheads="1"/>
          </p:cNvSpPr>
          <p:nvPr/>
        </p:nvSpPr>
        <p:spPr bwMode="auto">
          <a:xfrm>
            <a:off x="6482243" y="6455679"/>
            <a:ext cx="3116325" cy="217435"/>
          </a:xfrm>
          <a:prstGeom prst="rect">
            <a:avLst/>
          </a:prstGeom>
          <a:noFill/>
          <a:ln w="9525">
            <a:noFill/>
            <a:miter lim="800000"/>
            <a:headEnd/>
            <a:tailEnd/>
          </a:ln>
        </p:spPr>
        <p:txBody>
          <a:bodyPr wrap="square" lIns="93413" tIns="46706" rIns="93413" bIns="46706" anchor="ctr">
            <a:spAutoFit/>
          </a:bodyPr>
          <a:lstStyle/>
          <a:p>
            <a:pPr algn="r"/>
            <a:r>
              <a:rPr lang="en-US" sz="800" dirty="0">
                <a:latin typeface="Arial" panose="020B0604020202020204" pitchFamily="34" charset="0"/>
                <a:cs typeface="Arial" panose="020B0604020202020204" pitchFamily="34" charset="0"/>
              </a:rPr>
              <a:t>Source: </a:t>
            </a:r>
            <a:r>
              <a:rPr lang="en-US" sz="800" dirty="0" smtClean="0">
                <a:latin typeface="Arial" panose="020B0604020202020204" pitchFamily="34" charset="0"/>
                <a:cs typeface="Arial" panose="020B0604020202020204" pitchFamily="34" charset="0"/>
              </a:rPr>
              <a:t>USDA/ERS, University of California, Rabobank 2019</a:t>
            </a:r>
            <a:endParaRPr lang="en-GB" sz="800" dirty="0">
              <a:latin typeface="Arial" panose="020B0604020202020204" pitchFamily="34" charset="0"/>
              <a:cs typeface="Arial" panose="020B0604020202020204" pitchFamily="34" charset="0"/>
            </a:endParaRPr>
          </a:p>
        </p:txBody>
      </p:sp>
      <p:grpSp>
        <p:nvGrpSpPr>
          <p:cNvPr id="3" name="Group 2"/>
          <p:cNvGrpSpPr/>
          <p:nvPr/>
        </p:nvGrpSpPr>
        <p:grpSpPr>
          <a:xfrm>
            <a:off x="122883" y="2346146"/>
            <a:ext cx="905373" cy="1789662"/>
            <a:chOff x="122883" y="2346146"/>
            <a:chExt cx="905373" cy="1789662"/>
          </a:xfrm>
        </p:grpSpPr>
        <p:sp>
          <p:nvSpPr>
            <p:cNvPr id="2" name="TextBox 1"/>
            <p:cNvSpPr txBox="1"/>
            <p:nvPr/>
          </p:nvSpPr>
          <p:spPr>
            <a:xfrm>
              <a:off x="122883" y="3847661"/>
              <a:ext cx="905373" cy="288147"/>
            </a:xfrm>
            <a:prstGeom prst="rect">
              <a:avLst/>
            </a:prstGeom>
            <a:noFill/>
          </p:spPr>
          <p:txBody>
            <a:bodyPr wrap="square" lIns="72000" tIns="36000" rIns="72000" bIns="36000" rtlCol="0" anchor="ctr" anchorCtr="0">
              <a:spAutoFit/>
            </a:bodyPr>
            <a:lstStyle/>
            <a:p>
              <a:r>
                <a:rPr lang="en-US" sz="1400" b="1" dirty="0" smtClean="0">
                  <a:solidFill>
                    <a:srgbClr val="000099"/>
                  </a:solidFill>
                  <a:latin typeface="Verdana" pitchFamily="34" charset="0"/>
                </a:rPr>
                <a:t>90.2%</a:t>
              </a:r>
              <a:endParaRPr lang="en-GB" sz="1400" b="1" dirty="0" smtClean="0">
                <a:solidFill>
                  <a:srgbClr val="000099"/>
                </a:solidFill>
                <a:latin typeface="Verdana" pitchFamily="34" charset="0"/>
              </a:endParaRPr>
            </a:p>
          </p:txBody>
        </p:sp>
        <p:sp>
          <p:nvSpPr>
            <p:cNvPr id="9" name="TextBox 8"/>
            <p:cNvSpPr txBox="1"/>
            <p:nvPr/>
          </p:nvSpPr>
          <p:spPr>
            <a:xfrm>
              <a:off x="126265" y="3337623"/>
              <a:ext cx="800658" cy="288147"/>
            </a:xfrm>
            <a:prstGeom prst="rect">
              <a:avLst/>
            </a:prstGeom>
            <a:noFill/>
          </p:spPr>
          <p:txBody>
            <a:bodyPr wrap="square" lIns="72000" tIns="36000" rIns="72000" bIns="36000" rtlCol="0" anchor="ctr" anchorCtr="0">
              <a:spAutoFit/>
            </a:bodyPr>
            <a:lstStyle/>
            <a:p>
              <a:r>
                <a:rPr lang="en-US" sz="1400" b="1" dirty="0" smtClean="0">
                  <a:solidFill>
                    <a:srgbClr val="FD6400"/>
                  </a:solidFill>
                  <a:latin typeface="Verdana" pitchFamily="34" charset="0"/>
                </a:rPr>
                <a:t>6.8%</a:t>
              </a:r>
              <a:endParaRPr lang="en-GB" sz="1400" b="1" dirty="0" smtClean="0">
                <a:solidFill>
                  <a:srgbClr val="FD6400"/>
                </a:solidFill>
                <a:latin typeface="Verdana" pitchFamily="34" charset="0"/>
              </a:endParaRPr>
            </a:p>
          </p:txBody>
        </p:sp>
        <p:sp>
          <p:nvSpPr>
            <p:cNvPr id="10" name="TextBox 9"/>
            <p:cNvSpPr txBox="1"/>
            <p:nvPr/>
          </p:nvSpPr>
          <p:spPr>
            <a:xfrm>
              <a:off x="126265" y="2832615"/>
              <a:ext cx="800658" cy="288147"/>
            </a:xfrm>
            <a:prstGeom prst="rect">
              <a:avLst/>
            </a:prstGeom>
            <a:noFill/>
          </p:spPr>
          <p:txBody>
            <a:bodyPr wrap="square" lIns="72000" tIns="36000" rIns="72000" bIns="36000" rtlCol="0" anchor="ctr" anchorCtr="0">
              <a:spAutoFit/>
            </a:bodyPr>
            <a:lstStyle/>
            <a:p>
              <a:r>
                <a:rPr lang="en-US" sz="1400" b="1" dirty="0" smtClean="0">
                  <a:solidFill>
                    <a:srgbClr val="90D1E3"/>
                  </a:solidFill>
                  <a:latin typeface="Verdana" pitchFamily="34" charset="0"/>
                </a:rPr>
                <a:t>1.5%</a:t>
              </a:r>
              <a:endParaRPr lang="en-GB" sz="1400" b="1" dirty="0" smtClean="0">
                <a:solidFill>
                  <a:srgbClr val="90D1E3"/>
                </a:solidFill>
                <a:latin typeface="Verdana" pitchFamily="34" charset="0"/>
              </a:endParaRPr>
            </a:p>
          </p:txBody>
        </p:sp>
        <p:sp>
          <p:nvSpPr>
            <p:cNvPr id="11" name="TextBox 10"/>
            <p:cNvSpPr txBox="1"/>
            <p:nvPr/>
          </p:nvSpPr>
          <p:spPr>
            <a:xfrm>
              <a:off x="132637" y="2346146"/>
              <a:ext cx="800658" cy="288147"/>
            </a:xfrm>
            <a:prstGeom prst="rect">
              <a:avLst/>
            </a:prstGeom>
            <a:noFill/>
          </p:spPr>
          <p:txBody>
            <a:bodyPr wrap="square" lIns="72000" tIns="36000" rIns="72000" bIns="36000" rtlCol="0" anchor="ctr" anchorCtr="0">
              <a:spAutoFit/>
            </a:bodyPr>
            <a:lstStyle/>
            <a:p>
              <a:r>
                <a:rPr lang="en-US" sz="1400" b="1" dirty="0" smtClean="0">
                  <a:solidFill>
                    <a:srgbClr val="AB9D70"/>
                  </a:solidFill>
                  <a:latin typeface="Verdana" pitchFamily="34" charset="0"/>
                </a:rPr>
                <a:t>1.5%</a:t>
              </a:r>
              <a:endParaRPr lang="en-GB" sz="1400" b="1" dirty="0" smtClean="0">
                <a:solidFill>
                  <a:srgbClr val="AB9D70"/>
                </a:solidFill>
                <a:latin typeface="Verdana" pitchFamily="34" charset="0"/>
              </a:endParaRPr>
            </a:p>
          </p:txBody>
        </p:sp>
      </p:grpSp>
      <p:grpSp>
        <p:nvGrpSpPr>
          <p:cNvPr id="12" name="Group 11"/>
          <p:cNvGrpSpPr/>
          <p:nvPr/>
        </p:nvGrpSpPr>
        <p:grpSpPr>
          <a:xfrm>
            <a:off x="8892578" y="2346146"/>
            <a:ext cx="905373" cy="1789662"/>
            <a:chOff x="122883" y="2346146"/>
            <a:chExt cx="905373" cy="1789662"/>
          </a:xfrm>
        </p:grpSpPr>
        <p:sp>
          <p:nvSpPr>
            <p:cNvPr id="13" name="TextBox 12"/>
            <p:cNvSpPr txBox="1"/>
            <p:nvPr/>
          </p:nvSpPr>
          <p:spPr>
            <a:xfrm>
              <a:off x="122883" y="3847661"/>
              <a:ext cx="905373" cy="288147"/>
            </a:xfrm>
            <a:prstGeom prst="rect">
              <a:avLst/>
            </a:prstGeom>
            <a:noFill/>
          </p:spPr>
          <p:txBody>
            <a:bodyPr wrap="square" lIns="72000" tIns="36000" rIns="72000" bIns="36000" rtlCol="0" anchor="ctr" anchorCtr="0">
              <a:spAutoFit/>
            </a:bodyPr>
            <a:lstStyle/>
            <a:p>
              <a:r>
                <a:rPr lang="en-US" sz="1400" b="1" dirty="0" smtClean="0">
                  <a:solidFill>
                    <a:srgbClr val="000099"/>
                  </a:solidFill>
                  <a:latin typeface="Verdana" pitchFamily="34" charset="0"/>
                </a:rPr>
                <a:t>71.6%</a:t>
              </a:r>
              <a:endParaRPr lang="en-GB" sz="1400" b="1" dirty="0" smtClean="0">
                <a:solidFill>
                  <a:srgbClr val="000099"/>
                </a:solidFill>
                <a:latin typeface="Verdana" pitchFamily="34" charset="0"/>
              </a:endParaRPr>
            </a:p>
          </p:txBody>
        </p:sp>
        <p:sp>
          <p:nvSpPr>
            <p:cNvPr id="14" name="TextBox 13"/>
            <p:cNvSpPr txBox="1"/>
            <p:nvPr/>
          </p:nvSpPr>
          <p:spPr>
            <a:xfrm>
              <a:off x="126264" y="3337623"/>
              <a:ext cx="901991" cy="288147"/>
            </a:xfrm>
            <a:prstGeom prst="rect">
              <a:avLst/>
            </a:prstGeom>
            <a:noFill/>
          </p:spPr>
          <p:txBody>
            <a:bodyPr wrap="square" lIns="72000" tIns="36000" rIns="72000" bIns="36000" rtlCol="0" anchor="ctr" anchorCtr="0">
              <a:spAutoFit/>
            </a:bodyPr>
            <a:lstStyle/>
            <a:p>
              <a:r>
                <a:rPr lang="en-US" sz="1400" b="1" dirty="0" smtClean="0">
                  <a:solidFill>
                    <a:srgbClr val="FD6400"/>
                  </a:solidFill>
                  <a:latin typeface="Verdana" pitchFamily="34" charset="0"/>
                </a:rPr>
                <a:t>14.9%</a:t>
              </a:r>
              <a:endParaRPr lang="en-GB" sz="1400" b="1" dirty="0" smtClean="0">
                <a:solidFill>
                  <a:srgbClr val="FD6400"/>
                </a:solidFill>
                <a:latin typeface="Verdana" pitchFamily="34" charset="0"/>
              </a:endParaRPr>
            </a:p>
          </p:txBody>
        </p:sp>
        <p:sp>
          <p:nvSpPr>
            <p:cNvPr id="15" name="TextBox 14"/>
            <p:cNvSpPr txBox="1"/>
            <p:nvPr/>
          </p:nvSpPr>
          <p:spPr>
            <a:xfrm>
              <a:off x="126265" y="2832615"/>
              <a:ext cx="800658" cy="288147"/>
            </a:xfrm>
            <a:prstGeom prst="rect">
              <a:avLst/>
            </a:prstGeom>
            <a:noFill/>
          </p:spPr>
          <p:txBody>
            <a:bodyPr wrap="square" lIns="72000" tIns="36000" rIns="72000" bIns="36000" rtlCol="0" anchor="ctr" anchorCtr="0">
              <a:spAutoFit/>
            </a:bodyPr>
            <a:lstStyle/>
            <a:p>
              <a:r>
                <a:rPr lang="en-US" sz="1400" b="1" dirty="0" smtClean="0">
                  <a:solidFill>
                    <a:srgbClr val="90D1E3"/>
                  </a:solidFill>
                  <a:latin typeface="Verdana" pitchFamily="34" charset="0"/>
                </a:rPr>
                <a:t>7.6%</a:t>
              </a:r>
              <a:endParaRPr lang="en-GB" sz="1400" b="1" dirty="0" smtClean="0">
                <a:solidFill>
                  <a:srgbClr val="90D1E3"/>
                </a:solidFill>
                <a:latin typeface="Verdana" pitchFamily="34" charset="0"/>
              </a:endParaRPr>
            </a:p>
          </p:txBody>
        </p:sp>
        <p:sp>
          <p:nvSpPr>
            <p:cNvPr id="16" name="TextBox 15"/>
            <p:cNvSpPr txBox="1"/>
            <p:nvPr/>
          </p:nvSpPr>
          <p:spPr>
            <a:xfrm>
              <a:off x="132637" y="2346146"/>
              <a:ext cx="800658" cy="288147"/>
            </a:xfrm>
            <a:prstGeom prst="rect">
              <a:avLst/>
            </a:prstGeom>
            <a:noFill/>
          </p:spPr>
          <p:txBody>
            <a:bodyPr wrap="square" lIns="72000" tIns="36000" rIns="72000" bIns="36000" rtlCol="0" anchor="ctr" anchorCtr="0">
              <a:spAutoFit/>
            </a:bodyPr>
            <a:lstStyle/>
            <a:p>
              <a:r>
                <a:rPr lang="en-US" sz="1400" b="1" dirty="0" smtClean="0">
                  <a:solidFill>
                    <a:srgbClr val="AB9D70"/>
                  </a:solidFill>
                  <a:latin typeface="Verdana" pitchFamily="34" charset="0"/>
                </a:rPr>
                <a:t>5.9%</a:t>
              </a:r>
              <a:endParaRPr lang="en-GB" sz="1400" b="1" dirty="0" smtClean="0">
                <a:solidFill>
                  <a:srgbClr val="AB9D70"/>
                </a:solidFill>
                <a:latin typeface="Verdana" pitchFamily="34" charset="0"/>
              </a:endParaRPr>
            </a:p>
          </p:txBody>
        </p:sp>
      </p:grpSp>
      <p:graphicFrame>
        <p:nvGraphicFramePr>
          <p:cNvPr id="17" name="Chart 16"/>
          <p:cNvGraphicFramePr>
            <a:graphicFrameLocks/>
          </p:cNvGraphicFramePr>
          <p:nvPr>
            <p:extLst>
              <p:ext uri="{D42A27DB-BD31-4B8C-83A1-F6EECF244321}">
                <p14:modId xmlns:p14="http://schemas.microsoft.com/office/powerpoint/2010/main" val="2574709204"/>
              </p:ext>
            </p:extLst>
          </p:nvPr>
        </p:nvGraphicFramePr>
        <p:xfrm>
          <a:off x="940425" y="1797174"/>
          <a:ext cx="7991856" cy="43891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193496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sz="3000" dirty="0" smtClean="0"/>
              <a:t>Fresh fruit &amp; nut consumption – a few are key</a:t>
            </a:r>
          </a:p>
        </p:txBody>
      </p:sp>
      <p:sp>
        <p:nvSpPr>
          <p:cNvPr id="25605" name="TextBox 11"/>
          <p:cNvSpPr txBox="1">
            <a:spLocks noChangeArrowheads="1"/>
          </p:cNvSpPr>
          <p:nvPr/>
        </p:nvSpPr>
        <p:spPr bwMode="auto">
          <a:xfrm>
            <a:off x="5637076" y="6483376"/>
            <a:ext cx="3757031" cy="217435"/>
          </a:xfrm>
          <a:prstGeom prst="rect">
            <a:avLst/>
          </a:prstGeom>
          <a:noFill/>
          <a:ln w="9525">
            <a:noFill/>
            <a:miter lim="800000"/>
            <a:headEnd/>
            <a:tailEnd/>
          </a:ln>
        </p:spPr>
        <p:txBody>
          <a:bodyPr wrap="square" lIns="93413" tIns="46706" rIns="93413" bIns="46706" anchor="ctr">
            <a:spAutoFit/>
          </a:bodyPr>
          <a:lstStyle/>
          <a:p>
            <a:pPr algn="r"/>
            <a:r>
              <a:rPr lang="en-US" sz="800" dirty="0" smtClean="0">
                <a:latin typeface="Arial" panose="020B0604020202020204" pitchFamily="34" charset="0"/>
                <a:cs typeface="Arial" panose="020B0604020202020204" pitchFamily="34" charset="0"/>
              </a:rPr>
              <a:t>Source</a:t>
            </a:r>
            <a:r>
              <a:rPr lang="en-US" sz="800" dirty="0">
                <a:latin typeface="Arial" panose="020B0604020202020204" pitchFamily="34" charset="0"/>
                <a:cs typeface="Arial" panose="020B0604020202020204" pitchFamily="34" charset="0"/>
              </a:rPr>
              <a:t>: </a:t>
            </a:r>
            <a:r>
              <a:rPr lang="en-US" sz="800" dirty="0" smtClean="0">
                <a:latin typeface="Arial" panose="020B0604020202020204" pitchFamily="34" charset="0"/>
                <a:cs typeface="Arial" panose="020B0604020202020204" pitchFamily="34" charset="0"/>
              </a:rPr>
              <a:t>USDA/ERS, Rabobank 2019</a:t>
            </a:r>
            <a:endParaRPr lang="en-GB" sz="800" dirty="0">
              <a:latin typeface="Arial" panose="020B0604020202020204" pitchFamily="34" charset="0"/>
              <a:cs typeface="Arial" panose="020B0604020202020204" pitchFamily="34" charset="0"/>
            </a:endParaRPr>
          </a:p>
        </p:txBody>
      </p:sp>
      <p:sp>
        <p:nvSpPr>
          <p:cNvPr id="6" name="TextBox 5"/>
          <p:cNvSpPr txBox="1"/>
          <p:nvPr/>
        </p:nvSpPr>
        <p:spPr>
          <a:xfrm>
            <a:off x="453975" y="1224045"/>
            <a:ext cx="9088963" cy="492443"/>
          </a:xfrm>
          <a:prstGeom prst="rect">
            <a:avLst/>
          </a:prstGeom>
          <a:noFill/>
        </p:spPr>
        <p:txBody>
          <a:bodyPr wrap="none" rtlCol="0">
            <a:spAutoFit/>
          </a:bodyPr>
          <a:lstStyle/>
          <a:p>
            <a:pPr algn="ctr"/>
            <a:r>
              <a:rPr lang="en-US" sz="2600" dirty="0">
                <a:solidFill>
                  <a:srgbClr val="FF6600"/>
                </a:solidFill>
                <a:latin typeface="Arial" panose="020B0604020202020204" pitchFamily="34" charset="0"/>
                <a:cs typeface="Arial" panose="020B0604020202020204" pitchFamily="34" charset="0"/>
              </a:rPr>
              <a:t>U.S. fresh </a:t>
            </a:r>
            <a:r>
              <a:rPr lang="en-US" sz="2600" dirty="0" smtClean="0">
                <a:solidFill>
                  <a:srgbClr val="FF6600"/>
                </a:solidFill>
                <a:latin typeface="Arial" panose="020B0604020202020204" pitchFamily="34" charset="0"/>
                <a:cs typeface="Arial" panose="020B0604020202020204" pitchFamily="34" charset="0"/>
              </a:rPr>
              <a:t>fruit &amp; nut </a:t>
            </a:r>
            <a:r>
              <a:rPr lang="en-US" sz="2600" dirty="0">
                <a:solidFill>
                  <a:srgbClr val="FF6600"/>
                </a:solidFill>
                <a:latin typeface="Arial" panose="020B0604020202020204" pitchFamily="34" charset="0"/>
                <a:cs typeface="Arial" panose="020B0604020202020204" pitchFamily="34" charset="0"/>
              </a:rPr>
              <a:t>“use” – CAGR 2005-07 vs </a:t>
            </a:r>
            <a:r>
              <a:rPr lang="en-US" sz="2600" dirty="0" smtClean="0">
                <a:solidFill>
                  <a:srgbClr val="FF6600"/>
                </a:solidFill>
                <a:latin typeface="Arial" panose="020B0604020202020204" pitchFamily="34" charset="0"/>
                <a:cs typeface="Arial" panose="020B0604020202020204" pitchFamily="34" charset="0"/>
              </a:rPr>
              <a:t>2015-17 </a:t>
            </a:r>
            <a:r>
              <a:rPr lang="en-US" sz="2600" dirty="0">
                <a:solidFill>
                  <a:srgbClr val="FF6600"/>
                </a:solidFill>
                <a:latin typeface="Arial" panose="020B0604020202020204" pitchFamily="34" charset="0"/>
                <a:cs typeface="Arial" panose="020B0604020202020204" pitchFamily="34" charset="0"/>
              </a:rPr>
              <a:t>Avg</a:t>
            </a:r>
          </a:p>
        </p:txBody>
      </p:sp>
      <p:graphicFrame>
        <p:nvGraphicFramePr>
          <p:cNvPr id="8" name="Chart 7"/>
          <p:cNvGraphicFramePr>
            <a:graphicFrameLocks/>
          </p:cNvGraphicFramePr>
          <p:nvPr>
            <p:extLst>
              <p:ext uri="{D42A27DB-BD31-4B8C-83A1-F6EECF244321}">
                <p14:modId xmlns:p14="http://schemas.microsoft.com/office/powerpoint/2010/main" val="3315077214"/>
              </p:ext>
            </p:extLst>
          </p:nvPr>
        </p:nvGraphicFramePr>
        <p:xfrm>
          <a:off x="325110" y="1899133"/>
          <a:ext cx="9346692" cy="4518199"/>
        </p:xfrm>
        <a:graphic>
          <a:graphicData uri="http://schemas.openxmlformats.org/drawingml/2006/chart">
            <c:chart xmlns:c="http://schemas.openxmlformats.org/drawingml/2006/chart" xmlns:r="http://schemas.openxmlformats.org/officeDocument/2006/relationships" r:id="rId3"/>
          </a:graphicData>
        </a:graphic>
      </p:graphicFrame>
      <p:sp>
        <p:nvSpPr>
          <p:cNvPr id="2" name="Oval 1"/>
          <p:cNvSpPr/>
          <p:nvPr/>
        </p:nvSpPr>
        <p:spPr>
          <a:xfrm>
            <a:off x="1136576" y="2168860"/>
            <a:ext cx="720080" cy="1836204"/>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800" dirty="0" smtClean="0">
              <a:latin typeface="Verdana" pitchFamily="34" charset="0"/>
            </a:endParaRPr>
          </a:p>
        </p:txBody>
      </p:sp>
    </p:spTree>
    <p:extLst>
      <p:ext uri="{BB962C8B-B14F-4D97-AF65-F5344CB8AC3E}">
        <p14:creationId xmlns:p14="http://schemas.microsoft.com/office/powerpoint/2010/main" val="40466081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515938" y="255588"/>
            <a:ext cx="8107098" cy="785812"/>
          </a:xfrm>
        </p:spPr>
        <p:txBody>
          <a:bodyPr/>
          <a:lstStyle/>
          <a:p>
            <a:r>
              <a:rPr lang="en-US" dirty="0"/>
              <a:t>The definition of “quality” is now more complex</a:t>
            </a:r>
            <a:endParaRPr lang="en-US" dirty="0" smtClean="0"/>
          </a:p>
        </p:txBody>
      </p:sp>
      <p:sp>
        <p:nvSpPr>
          <p:cNvPr id="23556" name="TextBox 6"/>
          <p:cNvSpPr txBox="1">
            <a:spLocks noChangeArrowheads="1"/>
          </p:cNvSpPr>
          <p:nvPr/>
        </p:nvSpPr>
        <p:spPr bwMode="auto">
          <a:xfrm>
            <a:off x="2076252" y="1207391"/>
            <a:ext cx="5363969" cy="2092881"/>
          </a:xfrm>
          <a:prstGeom prst="rect">
            <a:avLst/>
          </a:prstGeom>
          <a:noFill/>
          <a:ln w="9525">
            <a:noFill/>
            <a:miter lim="800000"/>
            <a:headEnd/>
            <a:tailEnd/>
          </a:ln>
        </p:spPr>
        <p:txBody>
          <a:bodyPr wrap="none">
            <a:spAutoFit/>
          </a:bodyPr>
          <a:lstStyle/>
          <a:p>
            <a:pPr algn="ctr"/>
            <a:r>
              <a:rPr lang="en-US" sz="2600" dirty="0" smtClean="0">
                <a:solidFill>
                  <a:srgbClr val="FF6600"/>
                </a:solidFill>
                <a:latin typeface="Arial" panose="020B0604020202020204" pitchFamily="34" charset="0"/>
                <a:cs typeface="Arial" panose="020B0604020202020204" pitchFamily="34" charset="0"/>
              </a:rPr>
              <a:t>Product &amp; </a:t>
            </a:r>
            <a:r>
              <a:rPr lang="en-US" sz="2600" i="1" u="sng" dirty="0" smtClean="0">
                <a:solidFill>
                  <a:srgbClr val="FF6600"/>
                </a:solidFill>
                <a:latin typeface="Arial" panose="020B0604020202020204" pitchFamily="34" charset="0"/>
                <a:cs typeface="Arial" panose="020B0604020202020204" pitchFamily="34" charset="0"/>
              </a:rPr>
              <a:t>Process</a:t>
            </a:r>
            <a:r>
              <a:rPr lang="en-US" sz="2600" dirty="0" smtClean="0">
                <a:solidFill>
                  <a:srgbClr val="FF6600"/>
                </a:solidFill>
                <a:latin typeface="Arial" panose="020B0604020202020204" pitchFamily="34" charset="0"/>
                <a:cs typeface="Arial" panose="020B0604020202020204" pitchFamily="34" charset="0"/>
              </a:rPr>
              <a:t> Matter, but…</a:t>
            </a:r>
          </a:p>
          <a:p>
            <a:pPr algn="ctr"/>
            <a:r>
              <a:rPr lang="en-US" sz="2600" dirty="0">
                <a:solidFill>
                  <a:srgbClr val="FF6600"/>
                </a:solidFill>
                <a:latin typeface="Arial" panose="020B0604020202020204" pitchFamily="34" charset="0"/>
                <a:cs typeface="Arial" panose="020B0604020202020204" pitchFamily="34" charset="0"/>
              </a:rPr>
              <a:t>l</a:t>
            </a:r>
            <a:r>
              <a:rPr lang="en-US" sz="2600" dirty="0" smtClean="0">
                <a:solidFill>
                  <a:srgbClr val="FF6600"/>
                </a:solidFill>
                <a:latin typeface="Arial" panose="020B0604020202020204" pitchFamily="34" charset="0"/>
                <a:cs typeface="Arial" panose="020B0604020202020204" pitchFamily="34" charset="0"/>
              </a:rPr>
              <a:t>eft-hand </a:t>
            </a:r>
            <a:r>
              <a:rPr lang="en-US" sz="2600" dirty="0">
                <a:solidFill>
                  <a:srgbClr val="FF6600"/>
                </a:solidFill>
                <a:latin typeface="Arial" panose="020B0604020202020204" pitchFamily="34" charset="0"/>
                <a:cs typeface="Arial" panose="020B0604020202020204" pitchFamily="34" charset="0"/>
              </a:rPr>
              <a:t>side still rules the day</a:t>
            </a:r>
          </a:p>
          <a:p>
            <a:pPr algn="ctr"/>
            <a:endParaRPr lang="en-US" sz="2600" dirty="0">
              <a:solidFill>
                <a:srgbClr val="FF6600"/>
              </a:solidFill>
              <a:latin typeface="Arial" panose="020B0604020202020204" pitchFamily="34" charset="0"/>
              <a:cs typeface="Arial" panose="020B0604020202020204" pitchFamily="34" charset="0"/>
            </a:endParaRPr>
          </a:p>
          <a:p>
            <a:pPr algn="ctr"/>
            <a:r>
              <a:rPr lang="en-US" sz="2600" dirty="0">
                <a:solidFill>
                  <a:srgbClr val="FF6600"/>
                </a:solidFill>
                <a:latin typeface="Arial" panose="020B0604020202020204" pitchFamily="34" charset="0"/>
                <a:cs typeface="Arial" panose="020B0604020202020204" pitchFamily="34" charset="0"/>
              </a:rPr>
              <a:t>Berries tick some important boxes</a:t>
            </a:r>
          </a:p>
          <a:p>
            <a:pPr algn="ctr"/>
            <a:endParaRPr lang="en-US" sz="2600" dirty="0" smtClean="0">
              <a:solidFill>
                <a:srgbClr val="FF6600"/>
              </a:solidFill>
              <a:latin typeface="Arial" panose="020B0604020202020204" pitchFamily="34" charset="0"/>
              <a:cs typeface="Arial" panose="020B0604020202020204" pitchFamily="34" charset="0"/>
            </a:endParaRPr>
          </a:p>
        </p:txBody>
      </p:sp>
      <p:grpSp>
        <p:nvGrpSpPr>
          <p:cNvPr id="2" name="Group 41"/>
          <p:cNvGrpSpPr>
            <a:grpSpLocks/>
          </p:cNvGrpSpPr>
          <p:nvPr/>
        </p:nvGrpSpPr>
        <p:grpSpPr bwMode="auto">
          <a:xfrm>
            <a:off x="658510" y="2934986"/>
            <a:ext cx="8550804" cy="1682750"/>
            <a:chOff x="238124" y="2567354"/>
            <a:chExt cx="7893020" cy="1682522"/>
          </a:xfrm>
        </p:grpSpPr>
        <p:grpSp>
          <p:nvGrpSpPr>
            <p:cNvPr id="3" name="Group 5"/>
            <p:cNvGrpSpPr>
              <a:grpSpLocks/>
            </p:cNvGrpSpPr>
            <p:nvPr/>
          </p:nvGrpSpPr>
          <p:grpSpPr bwMode="auto">
            <a:xfrm>
              <a:off x="238124" y="2567354"/>
              <a:ext cx="4909080" cy="1682522"/>
              <a:chOff x="238124" y="1364476"/>
              <a:chExt cx="5204838" cy="1768986"/>
            </a:xfrm>
          </p:grpSpPr>
          <p:grpSp>
            <p:nvGrpSpPr>
              <p:cNvPr id="4" name="Group 22"/>
              <p:cNvGrpSpPr>
                <a:grpSpLocks/>
              </p:cNvGrpSpPr>
              <p:nvPr/>
            </p:nvGrpSpPr>
            <p:grpSpPr bwMode="auto">
              <a:xfrm>
                <a:off x="272537" y="1702239"/>
                <a:ext cx="5170425" cy="1067863"/>
                <a:chOff x="166987" y="1950827"/>
                <a:chExt cx="4872151" cy="718378"/>
              </a:xfrm>
            </p:grpSpPr>
            <p:sp>
              <p:nvSpPr>
                <p:cNvPr id="23579" name="TextBox 22"/>
                <p:cNvSpPr txBox="1">
                  <a:spLocks noChangeArrowheads="1"/>
                </p:cNvSpPr>
                <p:nvPr/>
              </p:nvSpPr>
              <p:spPr bwMode="auto">
                <a:xfrm>
                  <a:off x="3699558" y="2249624"/>
                  <a:ext cx="1339580" cy="202451"/>
                </a:xfrm>
                <a:prstGeom prst="rect">
                  <a:avLst/>
                </a:prstGeom>
                <a:noFill/>
                <a:ln w="9525">
                  <a:noFill/>
                  <a:miter lim="800000"/>
                  <a:headEnd/>
                  <a:tailEnd/>
                </a:ln>
              </p:spPr>
              <p:txBody>
                <a:bodyPr>
                  <a:spAutoFit/>
                </a:bodyPr>
                <a:lstStyle/>
                <a:p>
                  <a:pPr defTabSz="914400">
                    <a:lnSpc>
                      <a:spcPct val="90000"/>
                    </a:lnSpc>
                  </a:pPr>
                  <a:r>
                    <a:rPr lang="en-US" sz="1400" b="1" dirty="0">
                      <a:solidFill>
                        <a:srgbClr val="000099"/>
                      </a:solidFill>
                      <a:latin typeface="Corbel" pitchFamily="34" charset="0"/>
                    </a:rPr>
                    <a:t>Affordability</a:t>
                  </a:r>
                </a:p>
              </p:txBody>
            </p:sp>
            <p:sp>
              <p:nvSpPr>
                <p:cNvPr id="23580" name="TextBox 23"/>
                <p:cNvSpPr txBox="1">
                  <a:spLocks noChangeArrowheads="1"/>
                </p:cNvSpPr>
                <p:nvPr/>
              </p:nvSpPr>
              <p:spPr bwMode="auto">
                <a:xfrm>
                  <a:off x="1044677" y="2255966"/>
                  <a:ext cx="1384336" cy="202451"/>
                </a:xfrm>
                <a:prstGeom prst="rect">
                  <a:avLst/>
                </a:prstGeom>
                <a:noFill/>
                <a:ln w="9525">
                  <a:noFill/>
                  <a:miter lim="800000"/>
                  <a:headEnd/>
                  <a:tailEnd/>
                </a:ln>
              </p:spPr>
              <p:txBody>
                <a:bodyPr>
                  <a:spAutoFit/>
                </a:bodyPr>
                <a:lstStyle/>
                <a:p>
                  <a:pPr defTabSz="914400">
                    <a:lnSpc>
                      <a:spcPct val="90000"/>
                    </a:lnSpc>
                  </a:pPr>
                  <a:r>
                    <a:rPr lang="en-US" sz="1400" b="1" dirty="0">
                      <a:solidFill>
                        <a:srgbClr val="000099"/>
                      </a:solidFill>
                      <a:latin typeface="Corbel" pitchFamily="34" charset="0"/>
                    </a:rPr>
                    <a:t>Convenience</a:t>
                  </a:r>
                </a:p>
              </p:txBody>
            </p:sp>
            <p:sp>
              <p:nvSpPr>
                <p:cNvPr id="23581" name="TextBox 24"/>
                <p:cNvSpPr txBox="1">
                  <a:spLocks noChangeArrowheads="1"/>
                </p:cNvSpPr>
                <p:nvPr/>
              </p:nvSpPr>
              <p:spPr bwMode="auto">
                <a:xfrm>
                  <a:off x="166987" y="2255966"/>
                  <a:ext cx="684544" cy="202451"/>
                </a:xfrm>
                <a:prstGeom prst="rect">
                  <a:avLst/>
                </a:prstGeom>
                <a:noFill/>
                <a:ln w="9525">
                  <a:noFill/>
                  <a:miter lim="800000"/>
                  <a:headEnd/>
                  <a:tailEnd/>
                </a:ln>
              </p:spPr>
              <p:txBody>
                <a:bodyPr>
                  <a:spAutoFit/>
                </a:bodyPr>
                <a:lstStyle/>
                <a:p>
                  <a:pPr defTabSz="914400">
                    <a:lnSpc>
                      <a:spcPct val="90000"/>
                    </a:lnSpc>
                  </a:pPr>
                  <a:r>
                    <a:rPr lang="en-US" sz="1400" b="1" dirty="0">
                      <a:solidFill>
                        <a:srgbClr val="000099"/>
                      </a:solidFill>
                      <a:latin typeface="Corbel" pitchFamily="34" charset="0"/>
                    </a:rPr>
                    <a:t>Taste</a:t>
                  </a:r>
                </a:p>
              </p:txBody>
            </p:sp>
            <p:sp>
              <p:nvSpPr>
                <p:cNvPr id="23582" name="TextBox 25"/>
                <p:cNvSpPr txBox="1">
                  <a:spLocks noChangeArrowheads="1"/>
                </p:cNvSpPr>
                <p:nvPr/>
              </p:nvSpPr>
              <p:spPr bwMode="auto">
                <a:xfrm>
                  <a:off x="613504" y="1950830"/>
                  <a:ext cx="571731" cy="718375"/>
                </a:xfrm>
                <a:prstGeom prst="rect">
                  <a:avLst/>
                </a:prstGeom>
                <a:noFill/>
                <a:ln w="9525">
                  <a:noFill/>
                  <a:miter lim="800000"/>
                  <a:headEnd/>
                  <a:tailEnd/>
                </a:ln>
              </p:spPr>
              <p:txBody>
                <a:bodyPr anchor="ctr">
                  <a:spAutoFit/>
                </a:bodyPr>
                <a:lstStyle/>
                <a:p>
                  <a:pPr defTabSz="914400"/>
                  <a:r>
                    <a:rPr lang="en-US" sz="6000" b="1" dirty="0">
                      <a:solidFill>
                        <a:srgbClr val="BFBFBF"/>
                      </a:solidFill>
                      <a:latin typeface="Corbel" pitchFamily="34" charset="0"/>
                    </a:rPr>
                    <a:t>+</a:t>
                  </a:r>
                </a:p>
              </p:txBody>
            </p:sp>
            <p:sp>
              <p:nvSpPr>
                <p:cNvPr id="23583" name="TextBox 26"/>
                <p:cNvSpPr txBox="1">
                  <a:spLocks noChangeArrowheads="1"/>
                </p:cNvSpPr>
                <p:nvPr/>
              </p:nvSpPr>
              <p:spPr bwMode="auto">
                <a:xfrm>
                  <a:off x="1989810" y="1950827"/>
                  <a:ext cx="643241" cy="718374"/>
                </a:xfrm>
                <a:prstGeom prst="rect">
                  <a:avLst/>
                </a:prstGeom>
                <a:noFill/>
                <a:ln w="9525">
                  <a:noFill/>
                  <a:miter lim="800000"/>
                  <a:headEnd/>
                  <a:tailEnd/>
                </a:ln>
              </p:spPr>
              <p:txBody>
                <a:bodyPr anchor="ctr">
                  <a:spAutoFit/>
                </a:bodyPr>
                <a:lstStyle/>
                <a:p>
                  <a:pPr defTabSz="914400"/>
                  <a:r>
                    <a:rPr lang="en-US" sz="6000" b="1" dirty="0">
                      <a:solidFill>
                        <a:srgbClr val="BFBFBF"/>
                      </a:solidFill>
                      <a:latin typeface="Corbel" pitchFamily="34" charset="0"/>
                    </a:rPr>
                    <a:t>+</a:t>
                  </a:r>
                </a:p>
              </p:txBody>
            </p:sp>
          </p:grpSp>
          <p:sp>
            <p:nvSpPr>
              <p:cNvPr id="21" name="Left Bracket 20"/>
              <p:cNvSpPr/>
              <p:nvPr/>
            </p:nvSpPr>
            <p:spPr>
              <a:xfrm>
                <a:off x="238124" y="1472952"/>
                <a:ext cx="279401" cy="1660510"/>
              </a:xfrm>
              <a:prstGeom prst="leftBracket">
                <a:avLst>
                  <a:gd name="adj" fmla="val 0"/>
                </a:avLst>
              </a:prstGeom>
              <a:ln w="50800" cap="flat" cmpd="sng" algn="ctr">
                <a:solidFill>
                  <a:schemeClr val="bg1">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fontAlgn="auto">
                  <a:spcBef>
                    <a:spcPts val="0"/>
                  </a:spcBef>
                  <a:spcAft>
                    <a:spcPts val="0"/>
                  </a:spcAft>
                  <a:defRPr/>
                </a:pPr>
                <a:endParaRPr lang="en-US" dirty="0">
                  <a:solidFill>
                    <a:srgbClr val="7E7E7E"/>
                  </a:solidFill>
                </a:endParaRPr>
              </a:p>
            </p:txBody>
          </p:sp>
          <p:sp>
            <p:nvSpPr>
              <p:cNvPr id="22" name="Left Bracket 21"/>
              <p:cNvSpPr/>
              <p:nvPr/>
            </p:nvSpPr>
            <p:spPr>
              <a:xfrm flipH="1">
                <a:off x="4863386" y="1364476"/>
                <a:ext cx="279401" cy="1742284"/>
              </a:xfrm>
              <a:prstGeom prst="leftBracket">
                <a:avLst>
                  <a:gd name="adj" fmla="val 0"/>
                </a:avLst>
              </a:prstGeom>
              <a:ln w="50800" cap="flat" cmpd="sng" algn="ctr">
                <a:solidFill>
                  <a:schemeClr val="bg1">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fontAlgn="auto">
                  <a:spcBef>
                    <a:spcPts val="0"/>
                  </a:spcBef>
                  <a:spcAft>
                    <a:spcPts val="0"/>
                  </a:spcAft>
                  <a:defRPr/>
                </a:pPr>
                <a:endParaRPr lang="en-US" dirty="0">
                  <a:ln>
                    <a:solidFill>
                      <a:sysClr val="windowText" lastClr="000000"/>
                    </a:solidFill>
                  </a:ln>
                  <a:solidFill>
                    <a:srgbClr val="7E7E7E"/>
                  </a:solidFill>
                </a:endParaRPr>
              </a:p>
            </p:txBody>
          </p:sp>
        </p:grpSp>
        <p:sp>
          <p:nvSpPr>
            <p:cNvPr id="23566" name="TextBox 27"/>
            <p:cNvSpPr txBox="1">
              <a:spLocks noChangeArrowheads="1"/>
            </p:cNvSpPr>
            <p:nvPr/>
          </p:nvSpPr>
          <p:spPr bwMode="auto">
            <a:xfrm rot="18900000">
              <a:off x="5017956" y="2836400"/>
              <a:ext cx="684015" cy="1015525"/>
            </a:xfrm>
            <a:prstGeom prst="rect">
              <a:avLst/>
            </a:prstGeom>
            <a:noFill/>
            <a:ln w="9525">
              <a:noFill/>
              <a:miter lim="800000"/>
              <a:headEnd/>
              <a:tailEnd/>
            </a:ln>
          </p:spPr>
          <p:txBody>
            <a:bodyPr wrap="square" anchor="ctr">
              <a:spAutoFit/>
            </a:bodyPr>
            <a:lstStyle/>
            <a:p>
              <a:pPr defTabSz="914400"/>
              <a:r>
                <a:rPr lang="en-US" sz="6000" b="1" dirty="0">
                  <a:solidFill>
                    <a:srgbClr val="BFBFBF"/>
                  </a:solidFill>
                  <a:latin typeface="Corbel" pitchFamily="34" charset="0"/>
                </a:rPr>
                <a:t>+</a:t>
              </a:r>
            </a:p>
          </p:txBody>
        </p:sp>
        <p:grpSp>
          <p:nvGrpSpPr>
            <p:cNvPr id="5" name="Group 6"/>
            <p:cNvGrpSpPr>
              <a:grpSpLocks/>
            </p:cNvGrpSpPr>
            <p:nvPr/>
          </p:nvGrpSpPr>
          <p:grpSpPr bwMode="auto">
            <a:xfrm>
              <a:off x="5613857" y="2567354"/>
              <a:ext cx="2517287" cy="1561888"/>
              <a:chOff x="5620059" y="1364475"/>
              <a:chExt cx="3330904" cy="2191733"/>
            </a:xfrm>
          </p:grpSpPr>
          <p:sp>
            <p:nvSpPr>
              <p:cNvPr id="23568" name="TextBox 29"/>
              <p:cNvSpPr txBox="1">
                <a:spLocks noChangeArrowheads="1"/>
              </p:cNvSpPr>
              <p:nvPr/>
            </p:nvSpPr>
            <p:spPr bwMode="auto">
              <a:xfrm>
                <a:off x="8298794" y="1714028"/>
                <a:ext cx="652169" cy="1425238"/>
              </a:xfrm>
              <a:prstGeom prst="rect">
                <a:avLst/>
              </a:prstGeom>
              <a:noFill/>
              <a:ln w="9525">
                <a:noFill/>
                <a:miter lim="800000"/>
                <a:headEnd/>
                <a:tailEnd/>
              </a:ln>
            </p:spPr>
            <p:txBody>
              <a:bodyPr anchor="ctr">
                <a:spAutoFit/>
              </a:bodyPr>
              <a:lstStyle/>
              <a:p>
                <a:pPr defTabSz="914400"/>
                <a:r>
                  <a:rPr lang="en-US" sz="6000" b="1" dirty="0">
                    <a:solidFill>
                      <a:srgbClr val="BFBFBF"/>
                    </a:solidFill>
                    <a:latin typeface="Corbel" pitchFamily="34" charset="0"/>
                  </a:rPr>
                  <a:t>=</a:t>
                </a:r>
              </a:p>
            </p:txBody>
          </p:sp>
          <p:sp>
            <p:nvSpPr>
              <p:cNvPr id="23569" name="TextBox 31"/>
              <p:cNvSpPr txBox="1">
                <a:spLocks noChangeArrowheads="1"/>
              </p:cNvSpPr>
              <p:nvPr/>
            </p:nvSpPr>
            <p:spPr bwMode="auto">
              <a:xfrm>
                <a:off x="5620059" y="2283873"/>
                <a:ext cx="1054035" cy="673748"/>
              </a:xfrm>
              <a:prstGeom prst="rect">
                <a:avLst/>
              </a:prstGeom>
              <a:noFill/>
              <a:ln w="9525">
                <a:noFill/>
                <a:miter lim="800000"/>
                <a:headEnd/>
                <a:tailEnd/>
              </a:ln>
            </p:spPr>
            <p:txBody>
              <a:bodyPr>
                <a:spAutoFit/>
              </a:bodyPr>
              <a:lstStyle/>
              <a:p>
                <a:pPr algn="ctr" defTabSz="914400">
                  <a:lnSpc>
                    <a:spcPct val="90000"/>
                  </a:lnSpc>
                </a:pPr>
                <a:r>
                  <a:rPr lang="en-US" sz="1400" b="1" dirty="0">
                    <a:solidFill>
                      <a:srgbClr val="FF6600"/>
                    </a:solidFill>
                    <a:latin typeface="Corbel" pitchFamily="34" charset="0"/>
                  </a:rPr>
                  <a:t>My Values</a:t>
                </a:r>
              </a:p>
            </p:txBody>
          </p:sp>
          <p:sp>
            <p:nvSpPr>
              <p:cNvPr id="33" name="Left Bracket 32"/>
              <p:cNvSpPr/>
              <p:nvPr/>
            </p:nvSpPr>
            <p:spPr>
              <a:xfrm>
                <a:off x="6617208" y="1364475"/>
                <a:ext cx="279378" cy="2191733"/>
              </a:xfrm>
              <a:prstGeom prst="leftBracket">
                <a:avLst>
                  <a:gd name="adj" fmla="val 0"/>
                </a:avLst>
              </a:prstGeom>
              <a:ln w="50800" cap="flat" cmpd="sng" algn="ctr">
                <a:solidFill>
                  <a:schemeClr val="bg1">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fontAlgn="auto">
                  <a:spcBef>
                    <a:spcPts val="0"/>
                  </a:spcBef>
                  <a:spcAft>
                    <a:spcPts val="0"/>
                  </a:spcAft>
                  <a:defRPr/>
                </a:pPr>
                <a:endParaRPr lang="en-US" dirty="0">
                  <a:solidFill>
                    <a:srgbClr val="7E7E7E"/>
                  </a:solidFill>
                </a:endParaRPr>
              </a:p>
            </p:txBody>
          </p:sp>
          <p:sp>
            <p:nvSpPr>
              <p:cNvPr id="23571" name="TextBox 33"/>
              <p:cNvSpPr txBox="1">
                <a:spLocks noChangeArrowheads="1"/>
              </p:cNvSpPr>
              <p:nvPr/>
            </p:nvSpPr>
            <p:spPr bwMode="auto">
              <a:xfrm>
                <a:off x="6601388" y="1465604"/>
                <a:ext cx="1663876" cy="401658"/>
              </a:xfrm>
              <a:prstGeom prst="rect">
                <a:avLst/>
              </a:prstGeom>
              <a:noFill/>
              <a:ln w="9525">
                <a:noFill/>
                <a:miter lim="800000"/>
                <a:headEnd/>
                <a:tailEnd/>
              </a:ln>
            </p:spPr>
            <p:txBody>
              <a:bodyPr>
                <a:spAutoFit/>
              </a:bodyPr>
              <a:lstStyle/>
              <a:p>
                <a:pPr algn="ctr" defTabSz="914400">
                  <a:lnSpc>
                    <a:spcPct val="90000"/>
                  </a:lnSpc>
                </a:pPr>
                <a:r>
                  <a:rPr lang="en-US" sz="1400" b="1" dirty="0">
                    <a:solidFill>
                      <a:srgbClr val="FF6600"/>
                    </a:solidFill>
                    <a:latin typeface="Corbel" pitchFamily="34" charset="0"/>
                  </a:rPr>
                  <a:t>Health</a:t>
                </a:r>
              </a:p>
            </p:txBody>
          </p:sp>
          <p:sp>
            <p:nvSpPr>
              <p:cNvPr id="23572" name="TextBox 34"/>
              <p:cNvSpPr txBox="1">
                <a:spLocks noChangeArrowheads="1"/>
              </p:cNvSpPr>
              <p:nvPr/>
            </p:nvSpPr>
            <p:spPr bwMode="auto">
              <a:xfrm>
                <a:off x="6634915" y="1867262"/>
                <a:ext cx="1663876" cy="673657"/>
              </a:xfrm>
              <a:prstGeom prst="rect">
                <a:avLst/>
              </a:prstGeom>
              <a:noFill/>
              <a:ln w="9525">
                <a:noFill/>
                <a:miter lim="800000"/>
                <a:headEnd/>
                <a:tailEnd/>
              </a:ln>
            </p:spPr>
            <p:txBody>
              <a:bodyPr>
                <a:spAutoFit/>
              </a:bodyPr>
              <a:lstStyle/>
              <a:p>
                <a:pPr algn="ctr" defTabSz="914400">
                  <a:lnSpc>
                    <a:spcPct val="90000"/>
                  </a:lnSpc>
                </a:pPr>
                <a:r>
                  <a:rPr lang="en-US" sz="1400" b="1" dirty="0" smtClean="0">
                    <a:solidFill>
                      <a:srgbClr val="FF6600"/>
                    </a:solidFill>
                    <a:latin typeface="Corbel" pitchFamily="34" charset="0"/>
                  </a:rPr>
                  <a:t>Environmental Sustainability</a:t>
                </a:r>
                <a:endParaRPr lang="en-US" sz="1400" b="1" dirty="0">
                  <a:solidFill>
                    <a:srgbClr val="FF6600"/>
                  </a:solidFill>
                  <a:latin typeface="Corbel" pitchFamily="34" charset="0"/>
                </a:endParaRPr>
              </a:p>
            </p:txBody>
          </p:sp>
          <p:sp>
            <p:nvSpPr>
              <p:cNvPr id="23573" name="TextBox 35"/>
              <p:cNvSpPr txBox="1">
                <a:spLocks noChangeArrowheads="1"/>
              </p:cNvSpPr>
              <p:nvPr/>
            </p:nvSpPr>
            <p:spPr bwMode="auto">
              <a:xfrm>
                <a:off x="6618604" y="3003908"/>
                <a:ext cx="1663876" cy="401658"/>
              </a:xfrm>
              <a:prstGeom prst="rect">
                <a:avLst/>
              </a:prstGeom>
              <a:noFill/>
              <a:ln w="9525">
                <a:noFill/>
                <a:miter lim="800000"/>
                <a:headEnd/>
                <a:tailEnd/>
              </a:ln>
            </p:spPr>
            <p:txBody>
              <a:bodyPr>
                <a:spAutoFit/>
              </a:bodyPr>
              <a:lstStyle/>
              <a:p>
                <a:pPr algn="ctr" defTabSz="914400">
                  <a:lnSpc>
                    <a:spcPct val="90000"/>
                  </a:lnSpc>
                </a:pPr>
                <a:r>
                  <a:rPr lang="en-US" sz="1400" b="1" dirty="0">
                    <a:solidFill>
                      <a:srgbClr val="FF6600"/>
                    </a:solidFill>
                    <a:latin typeface="Corbel" pitchFamily="34" charset="0"/>
                  </a:rPr>
                  <a:t>Information</a:t>
                </a:r>
              </a:p>
            </p:txBody>
          </p:sp>
          <p:sp>
            <p:nvSpPr>
              <p:cNvPr id="23574" name="TextBox 36"/>
              <p:cNvSpPr txBox="1">
                <a:spLocks noChangeArrowheads="1"/>
              </p:cNvSpPr>
              <p:nvPr/>
            </p:nvSpPr>
            <p:spPr bwMode="auto">
              <a:xfrm>
                <a:off x="6618604" y="2627987"/>
                <a:ext cx="1663876" cy="401658"/>
              </a:xfrm>
              <a:prstGeom prst="rect">
                <a:avLst/>
              </a:prstGeom>
              <a:noFill/>
              <a:ln w="9525">
                <a:noFill/>
                <a:miter lim="800000"/>
                <a:headEnd/>
                <a:tailEnd/>
              </a:ln>
            </p:spPr>
            <p:txBody>
              <a:bodyPr>
                <a:spAutoFit/>
              </a:bodyPr>
              <a:lstStyle/>
              <a:p>
                <a:pPr algn="ctr" defTabSz="914400">
                  <a:lnSpc>
                    <a:spcPct val="90000"/>
                  </a:lnSpc>
                </a:pPr>
                <a:r>
                  <a:rPr lang="en-US" sz="1400" b="1" dirty="0">
                    <a:solidFill>
                      <a:srgbClr val="FF6600"/>
                    </a:solidFill>
                    <a:latin typeface="Corbel" pitchFamily="34" charset="0"/>
                  </a:rPr>
                  <a:t>Social Good</a:t>
                </a:r>
              </a:p>
            </p:txBody>
          </p:sp>
          <p:sp>
            <p:nvSpPr>
              <p:cNvPr id="38" name="Left Bracket 37"/>
              <p:cNvSpPr/>
              <p:nvPr/>
            </p:nvSpPr>
            <p:spPr>
              <a:xfrm flipH="1">
                <a:off x="8003597" y="1364475"/>
                <a:ext cx="279378" cy="2191733"/>
              </a:xfrm>
              <a:prstGeom prst="leftBracket">
                <a:avLst>
                  <a:gd name="adj" fmla="val 0"/>
                </a:avLst>
              </a:prstGeom>
              <a:ln w="50800" cap="flat" cmpd="sng" algn="ctr">
                <a:solidFill>
                  <a:schemeClr val="bg1">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anchor="ctr"/>
              <a:lstStyle/>
              <a:p>
                <a:pPr algn="ctr" defTabSz="914400" fontAlgn="auto">
                  <a:spcBef>
                    <a:spcPts val="0"/>
                  </a:spcBef>
                  <a:spcAft>
                    <a:spcPts val="0"/>
                  </a:spcAft>
                  <a:defRPr/>
                </a:pPr>
                <a:endParaRPr lang="en-US" dirty="0">
                  <a:solidFill>
                    <a:srgbClr val="7E7E7E"/>
                  </a:solidFill>
                </a:endParaRPr>
              </a:p>
            </p:txBody>
          </p:sp>
        </p:grpSp>
      </p:grpSp>
      <p:sp>
        <p:nvSpPr>
          <p:cNvPr id="23558" name="TextBox 39"/>
          <p:cNvSpPr txBox="1">
            <a:spLocks noChangeArrowheads="1"/>
          </p:cNvSpPr>
          <p:nvPr/>
        </p:nvSpPr>
        <p:spPr bwMode="auto">
          <a:xfrm>
            <a:off x="1142368" y="5128721"/>
            <a:ext cx="7231723" cy="646112"/>
          </a:xfrm>
          <a:prstGeom prst="rect">
            <a:avLst/>
          </a:prstGeom>
          <a:noFill/>
          <a:ln w="9525">
            <a:noFill/>
            <a:miter lim="800000"/>
            <a:headEnd/>
            <a:tailEnd/>
          </a:ln>
        </p:spPr>
        <p:txBody>
          <a:bodyPr lIns="0" rIns="0">
            <a:spAutoFit/>
          </a:bodyPr>
          <a:lstStyle/>
          <a:p>
            <a:pPr algn="ctr"/>
            <a:r>
              <a:rPr lang="en-US" sz="3600" b="1" i="1" dirty="0">
                <a:latin typeface="Corbel" pitchFamily="34" charset="0"/>
              </a:rPr>
              <a:t>Consumer Purchasing Decision</a:t>
            </a:r>
          </a:p>
        </p:txBody>
      </p:sp>
      <p:sp>
        <p:nvSpPr>
          <p:cNvPr id="29" name="Oval 28"/>
          <p:cNvSpPr/>
          <p:nvPr/>
        </p:nvSpPr>
        <p:spPr>
          <a:xfrm>
            <a:off x="642312" y="2949584"/>
            <a:ext cx="5032088" cy="1771874"/>
          </a:xfrm>
          <a:prstGeom prst="ellipse">
            <a:avLst/>
          </a:prstGeom>
          <a:noFill/>
          <a:ln w="25400" cap="flat" cmpd="sng" algn="ctr">
            <a:solidFill>
              <a:srgbClr val="00B050"/>
            </a:solidFill>
            <a:prstDash val="solid"/>
          </a:ln>
          <a:effectLst/>
        </p:spPr>
        <p:txBody>
          <a:bodyPr lIns="72000" tIns="90000" rIns="72000" bIns="90000" anchor="ctr"/>
          <a:lstStyle/>
          <a:p>
            <a:pPr algn="ctr" defTabSz="914400" fontAlgn="auto">
              <a:lnSpc>
                <a:spcPct val="110000"/>
              </a:lnSpc>
              <a:spcBef>
                <a:spcPts val="0"/>
              </a:spcBef>
              <a:spcAft>
                <a:spcPts val="0"/>
              </a:spcAft>
              <a:defRPr/>
            </a:pPr>
            <a:endParaRPr lang="en-US" kern="0" dirty="0">
              <a:solidFill>
                <a:srgbClr val="000000"/>
              </a:solidFill>
              <a:latin typeface="+mn-lt"/>
              <a:cs typeface="Myriad Pro"/>
            </a:endParaRPr>
          </a:p>
        </p:txBody>
      </p:sp>
      <p:sp>
        <p:nvSpPr>
          <p:cNvPr id="32" name="TextBox 40"/>
          <p:cNvSpPr txBox="1">
            <a:spLocks noChangeArrowheads="1"/>
          </p:cNvSpPr>
          <p:nvPr/>
        </p:nvSpPr>
        <p:spPr bwMode="auto">
          <a:xfrm>
            <a:off x="6482243" y="6455679"/>
            <a:ext cx="3116325" cy="217435"/>
          </a:xfrm>
          <a:prstGeom prst="rect">
            <a:avLst/>
          </a:prstGeom>
          <a:noFill/>
          <a:ln w="9525">
            <a:noFill/>
            <a:miter lim="800000"/>
            <a:headEnd/>
            <a:tailEnd/>
          </a:ln>
        </p:spPr>
        <p:txBody>
          <a:bodyPr wrap="square" lIns="93413" tIns="46706" rIns="93413" bIns="46706" anchor="ctr">
            <a:spAutoFit/>
          </a:bodyPr>
          <a:lstStyle/>
          <a:p>
            <a:pPr algn="r"/>
            <a:r>
              <a:rPr lang="en-US" sz="800" dirty="0">
                <a:latin typeface="Arial" panose="020B0604020202020204" pitchFamily="34" charset="0"/>
                <a:cs typeface="Arial" panose="020B0604020202020204" pitchFamily="34" charset="0"/>
              </a:rPr>
              <a:t>Source: Produce Marketing Association (PMA</a:t>
            </a:r>
            <a:r>
              <a:rPr lang="en-US" sz="800" dirty="0" smtClean="0">
                <a:latin typeface="Arial" panose="020B0604020202020204" pitchFamily="34" charset="0"/>
                <a:cs typeface="Arial" panose="020B0604020202020204" pitchFamily="34" charset="0"/>
              </a:rPr>
              <a:t>), Rabobank 2018</a:t>
            </a:r>
            <a:endParaRPr lang="en-GB" sz="800" dirty="0">
              <a:latin typeface="Arial" panose="020B0604020202020204" pitchFamily="34" charset="0"/>
              <a:cs typeface="Arial" panose="020B0604020202020204" pitchFamily="34" charset="0"/>
            </a:endParaRPr>
          </a:p>
        </p:txBody>
      </p:sp>
      <p:sp>
        <p:nvSpPr>
          <p:cNvPr id="27" name="TextBox 26"/>
          <p:cNvSpPr txBox="1">
            <a:spLocks noChangeArrowheads="1"/>
          </p:cNvSpPr>
          <p:nvPr/>
        </p:nvSpPr>
        <p:spPr bwMode="auto">
          <a:xfrm>
            <a:off x="4096653" y="3238515"/>
            <a:ext cx="697485" cy="1015800"/>
          </a:xfrm>
          <a:prstGeom prst="rect">
            <a:avLst/>
          </a:prstGeom>
          <a:noFill/>
          <a:ln w="9525">
            <a:noFill/>
            <a:miter lim="800000"/>
            <a:headEnd/>
            <a:tailEnd/>
          </a:ln>
        </p:spPr>
        <p:txBody>
          <a:bodyPr anchor="ctr">
            <a:spAutoFit/>
          </a:bodyPr>
          <a:lstStyle/>
          <a:p>
            <a:pPr defTabSz="914400"/>
            <a:r>
              <a:rPr lang="en-US" sz="6000" b="1" dirty="0">
                <a:solidFill>
                  <a:srgbClr val="BFBFBF"/>
                </a:solidFill>
                <a:latin typeface="Corbel" pitchFamily="34" charset="0"/>
              </a:rPr>
              <a:t>+</a:t>
            </a:r>
          </a:p>
        </p:txBody>
      </p:sp>
      <p:sp>
        <p:nvSpPr>
          <p:cNvPr id="28" name="TextBox 24"/>
          <p:cNvSpPr txBox="1">
            <a:spLocks noChangeArrowheads="1"/>
          </p:cNvSpPr>
          <p:nvPr/>
        </p:nvSpPr>
        <p:spPr bwMode="auto">
          <a:xfrm>
            <a:off x="3132472" y="3676817"/>
            <a:ext cx="1138571" cy="286232"/>
          </a:xfrm>
          <a:prstGeom prst="rect">
            <a:avLst/>
          </a:prstGeom>
          <a:noFill/>
          <a:ln w="9525">
            <a:noFill/>
            <a:miter lim="800000"/>
            <a:headEnd/>
            <a:tailEnd/>
          </a:ln>
        </p:spPr>
        <p:txBody>
          <a:bodyPr wrap="square">
            <a:spAutoFit/>
          </a:bodyPr>
          <a:lstStyle/>
          <a:p>
            <a:pPr defTabSz="914400">
              <a:lnSpc>
                <a:spcPct val="90000"/>
              </a:lnSpc>
            </a:pPr>
            <a:r>
              <a:rPr lang="en-US" sz="1400" b="1" dirty="0" smtClean="0">
                <a:solidFill>
                  <a:srgbClr val="000099"/>
                </a:solidFill>
                <a:latin typeface="Corbel" pitchFamily="34" charset="0"/>
              </a:rPr>
              <a:t>Appearance</a:t>
            </a:r>
            <a:endParaRPr lang="en-US" sz="1400" b="1" dirty="0">
              <a:solidFill>
                <a:srgbClr val="000099"/>
              </a:solidFill>
              <a:latin typeface="Corbel" pitchFamily="34" charset="0"/>
            </a:endParaRPr>
          </a:p>
        </p:txBody>
      </p:sp>
      <p:grpSp>
        <p:nvGrpSpPr>
          <p:cNvPr id="6" name="Group 5"/>
          <p:cNvGrpSpPr/>
          <p:nvPr/>
        </p:nvGrpSpPr>
        <p:grpSpPr>
          <a:xfrm>
            <a:off x="2679384" y="3746415"/>
            <a:ext cx="1631018" cy="1015802"/>
            <a:chOff x="2075999" y="3746415"/>
            <a:chExt cx="1631018" cy="1015802"/>
          </a:xfrm>
        </p:grpSpPr>
        <p:sp>
          <p:nvSpPr>
            <p:cNvPr id="30" name="TextBox 25"/>
            <p:cNvSpPr txBox="1">
              <a:spLocks noChangeArrowheads="1"/>
            </p:cNvSpPr>
            <p:nvPr/>
          </p:nvSpPr>
          <p:spPr bwMode="auto">
            <a:xfrm>
              <a:off x="2075999" y="3746415"/>
              <a:ext cx="619946" cy="1015802"/>
            </a:xfrm>
            <a:prstGeom prst="rect">
              <a:avLst/>
            </a:prstGeom>
            <a:noFill/>
            <a:ln w="9525">
              <a:noFill/>
              <a:miter lim="800000"/>
              <a:headEnd/>
              <a:tailEnd/>
            </a:ln>
          </p:spPr>
          <p:txBody>
            <a:bodyPr anchor="ctr">
              <a:spAutoFit/>
            </a:bodyPr>
            <a:lstStyle/>
            <a:p>
              <a:pPr defTabSz="914400"/>
              <a:r>
                <a:rPr lang="en-US" sz="6000" b="1" dirty="0">
                  <a:solidFill>
                    <a:srgbClr val="BFBFBF"/>
                  </a:solidFill>
                  <a:latin typeface="Corbel" pitchFamily="34" charset="0"/>
                </a:rPr>
                <a:t>+</a:t>
              </a:r>
            </a:p>
          </p:txBody>
        </p:sp>
        <p:sp>
          <p:nvSpPr>
            <p:cNvPr id="31" name="TextBox 24"/>
            <p:cNvSpPr txBox="1">
              <a:spLocks noChangeArrowheads="1"/>
            </p:cNvSpPr>
            <p:nvPr/>
          </p:nvSpPr>
          <p:spPr bwMode="auto">
            <a:xfrm>
              <a:off x="2568446" y="4166373"/>
              <a:ext cx="1138571" cy="286232"/>
            </a:xfrm>
            <a:prstGeom prst="rect">
              <a:avLst/>
            </a:prstGeom>
            <a:noFill/>
            <a:ln w="9525">
              <a:noFill/>
              <a:miter lim="800000"/>
              <a:headEnd/>
              <a:tailEnd/>
            </a:ln>
          </p:spPr>
          <p:txBody>
            <a:bodyPr wrap="square">
              <a:spAutoFit/>
            </a:bodyPr>
            <a:lstStyle/>
            <a:p>
              <a:pPr defTabSz="914400">
                <a:lnSpc>
                  <a:spcPct val="90000"/>
                </a:lnSpc>
              </a:pPr>
              <a:r>
                <a:rPr lang="en-US" sz="1400" b="1" dirty="0" smtClean="0">
                  <a:solidFill>
                    <a:srgbClr val="000099"/>
                  </a:solidFill>
                  <a:latin typeface="Corbel" pitchFamily="34" charset="0"/>
                </a:rPr>
                <a:t>Food Safety</a:t>
              </a:r>
              <a:endParaRPr lang="en-US" sz="1400" b="1" dirty="0">
                <a:solidFill>
                  <a:srgbClr val="000099"/>
                </a:solidFill>
                <a:latin typeface="Corbel" pitchFamily="34" charset="0"/>
              </a:endParaRPr>
            </a:p>
          </p:txBody>
        </p:sp>
      </p:grpSp>
    </p:spTree>
    <p:extLst>
      <p:ext uri="{BB962C8B-B14F-4D97-AF65-F5344CB8AC3E}">
        <p14:creationId xmlns:p14="http://schemas.microsoft.com/office/powerpoint/2010/main" val="551383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5146924" y="3234039"/>
            <a:ext cx="855793" cy="709142"/>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0" name="Rectangle 39"/>
          <p:cNvSpPr/>
          <p:nvPr/>
        </p:nvSpPr>
        <p:spPr>
          <a:xfrm>
            <a:off x="6449604" y="2758061"/>
            <a:ext cx="855793" cy="1185120"/>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1" name="Rectangle 40"/>
          <p:cNvSpPr/>
          <p:nvPr/>
        </p:nvSpPr>
        <p:spPr>
          <a:xfrm>
            <a:off x="7752284" y="3177526"/>
            <a:ext cx="855793" cy="765655"/>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5" name="TextBox 44"/>
          <p:cNvSpPr txBox="1"/>
          <p:nvPr/>
        </p:nvSpPr>
        <p:spPr>
          <a:xfrm>
            <a:off x="4895494" y="4002333"/>
            <a:ext cx="1358653" cy="492443"/>
          </a:xfrm>
          <a:prstGeom prst="rect">
            <a:avLst/>
          </a:prstGeom>
          <a:noFill/>
        </p:spPr>
        <p:txBody>
          <a:bodyPr wrap="square" rtlCol="0">
            <a:spAutoFit/>
          </a:bodyPr>
          <a:lstStyle/>
          <a:p>
            <a:pPr algn="ctr"/>
            <a:r>
              <a:rPr lang="en-US" sz="1300" b="1" dirty="0">
                <a:latin typeface="Corbel" charset="0"/>
                <a:ea typeface="Corbel" charset="0"/>
                <a:cs typeface="Corbel" charset="0"/>
              </a:rPr>
              <a:t>Value-Added</a:t>
            </a:r>
          </a:p>
          <a:p>
            <a:pPr algn="ctr"/>
            <a:r>
              <a:rPr lang="en-US" sz="1300" b="1" dirty="0">
                <a:latin typeface="Corbel" charset="0"/>
                <a:ea typeface="Corbel" charset="0"/>
                <a:cs typeface="Corbel" charset="0"/>
              </a:rPr>
              <a:t>Fruits</a:t>
            </a:r>
          </a:p>
        </p:txBody>
      </p:sp>
      <p:sp>
        <p:nvSpPr>
          <p:cNvPr id="46" name="TextBox 45"/>
          <p:cNvSpPr txBox="1"/>
          <p:nvPr/>
        </p:nvSpPr>
        <p:spPr>
          <a:xfrm>
            <a:off x="6284527" y="4002333"/>
            <a:ext cx="1179901" cy="492443"/>
          </a:xfrm>
          <a:prstGeom prst="rect">
            <a:avLst/>
          </a:prstGeom>
          <a:noFill/>
        </p:spPr>
        <p:txBody>
          <a:bodyPr wrap="square" rtlCol="0">
            <a:spAutoFit/>
          </a:bodyPr>
          <a:lstStyle/>
          <a:p>
            <a:pPr algn="ctr"/>
            <a:r>
              <a:rPr lang="en-US" sz="1300" b="1" dirty="0">
                <a:latin typeface="Corbel" charset="0"/>
                <a:ea typeface="Corbel" charset="0"/>
                <a:cs typeface="Corbel" charset="0"/>
              </a:rPr>
              <a:t>Value-Added</a:t>
            </a:r>
          </a:p>
          <a:p>
            <a:pPr algn="ctr"/>
            <a:r>
              <a:rPr lang="en-US" sz="1300" b="1" dirty="0">
                <a:latin typeface="Corbel" charset="0"/>
                <a:ea typeface="Corbel" charset="0"/>
                <a:cs typeface="Corbel" charset="0"/>
              </a:rPr>
              <a:t>Vegetables</a:t>
            </a:r>
          </a:p>
        </p:txBody>
      </p:sp>
      <p:sp>
        <p:nvSpPr>
          <p:cNvPr id="47" name="TextBox 46"/>
          <p:cNvSpPr txBox="1"/>
          <p:nvPr/>
        </p:nvSpPr>
        <p:spPr>
          <a:xfrm>
            <a:off x="7547188" y="4002333"/>
            <a:ext cx="1258954" cy="492443"/>
          </a:xfrm>
          <a:prstGeom prst="rect">
            <a:avLst/>
          </a:prstGeom>
          <a:noFill/>
        </p:spPr>
        <p:txBody>
          <a:bodyPr wrap="square" rtlCol="0">
            <a:spAutoFit/>
          </a:bodyPr>
          <a:lstStyle/>
          <a:p>
            <a:pPr algn="ctr"/>
            <a:r>
              <a:rPr lang="en-US" sz="1300" b="1" dirty="0">
                <a:latin typeface="Corbel" charset="0"/>
                <a:ea typeface="Corbel" charset="0"/>
                <a:cs typeface="Corbel" charset="0"/>
              </a:rPr>
              <a:t>All Packaged</a:t>
            </a:r>
          </a:p>
          <a:p>
            <a:pPr algn="ctr"/>
            <a:r>
              <a:rPr lang="en-US" sz="1300" b="1" dirty="0">
                <a:latin typeface="Corbel" charset="0"/>
                <a:ea typeface="Corbel" charset="0"/>
                <a:cs typeface="Corbel" charset="0"/>
              </a:rPr>
              <a:t>Salads</a:t>
            </a:r>
          </a:p>
        </p:txBody>
      </p:sp>
      <p:sp>
        <p:nvSpPr>
          <p:cNvPr id="36" name="Rectangle 35"/>
          <p:cNvSpPr/>
          <p:nvPr/>
        </p:nvSpPr>
        <p:spPr>
          <a:xfrm>
            <a:off x="895018" y="3651722"/>
            <a:ext cx="855793" cy="291459"/>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2" name="TextBox 41"/>
          <p:cNvSpPr txBox="1"/>
          <p:nvPr/>
        </p:nvSpPr>
        <p:spPr>
          <a:xfrm>
            <a:off x="863340" y="4002333"/>
            <a:ext cx="914428" cy="492443"/>
          </a:xfrm>
          <a:prstGeom prst="rect">
            <a:avLst/>
          </a:prstGeom>
          <a:noFill/>
        </p:spPr>
        <p:txBody>
          <a:bodyPr wrap="square" rtlCol="0">
            <a:spAutoFit/>
          </a:bodyPr>
          <a:lstStyle/>
          <a:p>
            <a:pPr algn="ctr"/>
            <a:r>
              <a:rPr lang="en-US" sz="1300" b="1" dirty="0">
                <a:latin typeface="Corbel" charset="0"/>
                <a:ea typeface="Corbel" charset="0"/>
                <a:cs typeface="Corbel" charset="0"/>
              </a:rPr>
              <a:t>All </a:t>
            </a:r>
          </a:p>
          <a:p>
            <a:pPr algn="ctr"/>
            <a:r>
              <a:rPr lang="en-US" sz="1300" b="1" dirty="0">
                <a:latin typeface="Corbel" charset="0"/>
                <a:ea typeface="Corbel" charset="0"/>
                <a:cs typeface="Corbel" charset="0"/>
              </a:rPr>
              <a:t>F&amp;V</a:t>
            </a:r>
          </a:p>
        </p:txBody>
      </p:sp>
      <p:sp>
        <p:nvSpPr>
          <p:cNvPr id="48" name="TextBox 47"/>
          <p:cNvSpPr txBox="1"/>
          <p:nvPr/>
        </p:nvSpPr>
        <p:spPr>
          <a:xfrm>
            <a:off x="695744" y="3186623"/>
            <a:ext cx="1254341" cy="459181"/>
          </a:xfrm>
          <a:prstGeom prst="rect">
            <a:avLst/>
          </a:prstGeom>
          <a:noFill/>
        </p:spPr>
        <p:txBody>
          <a:bodyPr wrap="square" lIns="58500" tIns="29250" rIns="58500" bIns="29250" rtlCol="0" anchor="ctr" anchorCtr="0">
            <a:spAutoFit/>
          </a:bodyPr>
          <a:lstStyle/>
          <a:p>
            <a:pPr algn="ctr"/>
            <a:r>
              <a:rPr lang="en-US" sz="2600" b="1" dirty="0" smtClean="0">
                <a:solidFill>
                  <a:srgbClr val="000099"/>
                </a:solidFill>
                <a:latin typeface="Myriad Pro Semibold" charset="0"/>
                <a:ea typeface="Myriad Pro Semibold" charset="0"/>
                <a:cs typeface="Myriad Pro Semibold" charset="0"/>
              </a:rPr>
              <a:t>17%</a:t>
            </a:r>
            <a:endParaRPr lang="en-US" sz="2600" b="1" dirty="0">
              <a:solidFill>
                <a:srgbClr val="000099"/>
              </a:solidFill>
              <a:latin typeface="Myriad Pro Semibold" charset="0"/>
              <a:ea typeface="Myriad Pro Semibold" charset="0"/>
              <a:cs typeface="Myriad Pro Semibold" charset="0"/>
            </a:endParaRPr>
          </a:p>
        </p:txBody>
      </p:sp>
      <p:sp>
        <p:nvSpPr>
          <p:cNvPr id="37" name="Rectangle 36"/>
          <p:cNvSpPr/>
          <p:nvPr/>
        </p:nvSpPr>
        <p:spPr>
          <a:xfrm>
            <a:off x="2250065" y="3671013"/>
            <a:ext cx="855793" cy="272168"/>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3" name="TextBox 42"/>
          <p:cNvSpPr txBox="1"/>
          <p:nvPr/>
        </p:nvSpPr>
        <p:spPr>
          <a:xfrm>
            <a:off x="2304902" y="4002333"/>
            <a:ext cx="746120" cy="492443"/>
          </a:xfrm>
          <a:prstGeom prst="rect">
            <a:avLst/>
          </a:prstGeom>
          <a:noFill/>
        </p:spPr>
        <p:txBody>
          <a:bodyPr wrap="square" rtlCol="0">
            <a:spAutoFit/>
          </a:bodyPr>
          <a:lstStyle/>
          <a:p>
            <a:pPr algn="ctr"/>
            <a:r>
              <a:rPr lang="en-US" sz="1300" b="1" dirty="0">
                <a:latin typeface="Corbel" charset="0"/>
                <a:ea typeface="Corbel" charset="0"/>
                <a:cs typeface="Corbel" charset="0"/>
              </a:rPr>
              <a:t>All </a:t>
            </a:r>
          </a:p>
          <a:p>
            <a:pPr algn="ctr"/>
            <a:r>
              <a:rPr lang="en-US" sz="1300" b="1" dirty="0">
                <a:latin typeface="Corbel" charset="0"/>
                <a:ea typeface="Corbel" charset="0"/>
                <a:cs typeface="Corbel" charset="0"/>
              </a:rPr>
              <a:t>Fruits</a:t>
            </a:r>
          </a:p>
        </p:txBody>
      </p:sp>
      <p:sp>
        <p:nvSpPr>
          <p:cNvPr id="49" name="TextBox 48"/>
          <p:cNvSpPr txBox="1"/>
          <p:nvPr/>
        </p:nvSpPr>
        <p:spPr>
          <a:xfrm>
            <a:off x="1896020" y="3207858"/>
            <a:ext cx="1569711" cy="459181"/>
          </a:xfrm>
          <a:prstGeom prst="rect">
            <a:avLst/>
          </a:prstGeom>
          <a:noFill/>
        </p:spPr>
        <p:txBody>
          <a:bodyPr wrap="square" lIns="58500" tIns="29250" rIns="58500" bIns="29250" rtlCol="0" anchor="ctr" anchorCtr="0">
            <a:spAutoFit/>
          </a:bodyPr>
          <a:lstStyle/>
          <a:p>
            <a:pPr algn="ctr"/>
            <a:r>
              <a:rPr lang="en-US" sz="2600" b="1" dirty="0" smtClean="0">
                <a:solidFill>
                  <a:srgbClr val="000099"/>
                </a:solidFill>
                <a:latin typeface="Myriad Pro Semibold" charset="0"/>
                <a:ea typeface="Myriad Pro Semibold" charset="0"/>
                <a:cs typeface="Myriad Pro Semibold" charset="0"/>
              </a:rPr>
              <a:t>16%</a:t>
            </a:r>
            <a:endParaRPr lang="en-US" sz="2600" b="1" dirty="0">
              <a:solidFill>
                <a:srgbClr val="000099"/>
              </a:solidFill>
              <a:latin typeface="Myriad Pro Semibold" charset="0"/>
              <a:ea typeface="Myriad Pro Semibold" charset="0"/>
              <a:cs typeface="Myriad Pro Semibold" charset="0"/>
            </a:endParaRPr>
          </a:p>
        </p:txBody>
      </p:sp>
      <p:sp>
        <p:nvSpPr>
          <p:cNvPr id="38" name="Rectangle 37"/>
          <p:cNvSpPr/>
          <p:nvPr/>
        </p:nvSpPr>
        <p:spPr>
          <a:xfrm>
            <a:off x="3605113" y="3617440"/>
            <a:ext cx="855793" cy="325741"/>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44" name="TextBox 43"/>
          <p:cNvSpPr txBox="1"/>
          <p:nvPr/>
        </p:nvSpPr>
        <p:spPr>
          <a:xfrm>
            <a:off x="3514839" y="4002333"/>
            <a:ext cx="1036341" cy="492443"/>
          </a:xfrm>
          <a:prstGeom prst="rect">
            <a:avLst/>
          </a:prstGeom>
          <a:noFill/>
        </p:spPr>
        <p:txBody>
          <a:bodyPr wrap="square" rtlCol="0">
            <a:spAutoFit/>
          </a:bodyPr>
          <a:lstStyle/>
          <a:p>
            <a:pPr algn="ctr"/>
            <a:r>
              <a:rPr lang="en-US" sz="1300" b="1" dirty="0">
                <a:latin typeface="Corbel" charset="0"/>
                <a:ea typeface="Corbel" charset="0"/>
                <a:cs typeface="Corbel" charset="0"/>
              </a:rPr>
              <a:t>All Vegetables</a:t>
            </a:r>
          </a:p>
        </p:txBody>
      </p:sp>
      <p:sp>
        <p:nvSpPr>
          <p:cNvPr id="50" name="TextBox 49"/>
          <p:cNvSpPr txBox="1"/>
          <p:nvPr/>
        </p:nvSpPr>
        <p:spPr>
          <a:xfrm>
            <a:off x="3248154" y="3158259"/>
            <a:ext cx="1569711" cy="459181"/>
          </a:xfrm>
          <a:prstGeom prst="rect">
            <a:avLst/>
          </a:prstGeom>
          <a:noFill/>
        </p:spPr>
        <p:txBody>
          <a:bodyPr wrap="square" lIns="58500" tIns="29250" rIns="58500" bIns="29250" rtlCol="0" anchor="ctr" anchorCtr="0">
            <a:spAutoFit/>
          </a:bodyPr>
          <a:lstStyle/>
          <a:p>
            <a:pPr algn="ctr"/>
            <a:r>
              <a:rPr lang="en-US" sz="2600" b="1" dirty="0" smtClean="0">
                <a:solidFill>
                  <a:srgbClr val="000099"/>
                </a:solidFill>
                <a:latin typeface="Myriad Pro Semibold" charset="0"/>
                <a:ea typeface="Myriad Pro Semibold" charset="0"/>
                <a:cs typeface="Myriad Pro Semibold" charset="0"/>
              </a:rPr>
              <a:t>18%</a:t>
            </a:r>
            <a:endParaRPr lang="en-US" sz="2600" b="1" dirty="0">
              <a:solidFill>
                <a:srgbClr val="000099"/>
              </a:solidFill>
              <a:latin typeface="Myriad Pro Semibold" charset="0"/>
              <a:ea typeface="Myriad Pro Semibold" charset="0"/>
              <a:cs typeface="Myriad Pro Semibold" charset="0"/>
            </a:endParaRPr>
          </a:p>
        </p:txBody>
      </p:sp>
      <p:sp>
        <p:nvSpPr>
          <p:cNvPr id="51" name="TextBox 50"/>
          <p:cNvSpPr txBox="1"/>
          <p:nvPr/>
        </p:nvSpPr>
        <p:spPr>
          <a:xfrm>
            <a:off x="4849923" y="2769204"/>
            <a:ext cx="1434604" cy="459181"/>
          </a:xfrm>
          <a:prstGeom prst="rect">
            <a:avLst/>
          </a:prstGeom>
          <a:noFill/>
        </p:spPr>
        <p:txBody>
          <a:bodyPr wrap="square" lIns="58500" tIns="29250" rIns="58500" bIns="29250" rtlCol="0" anchor="ctr" anchorCtr="0">
            <a:spAutoFit/>
          </a:bodyPr>
          <a:lstStyle/>
          <a:p>
            <a:pPr algn="ctr"/>
            <a:r>
              <a:rPr lang="en-US" sz="2600" b="1" dirty="0">
                <a:solidFill>
                  <a:srgbClr val="000099"/>
                </a:solidFill>
                <a:latin typeface="Myriad Pro Semibold" charset="0"/>
                <a:ea typeface="Myriad Pro Semibold" charset="0"/>
                <a:cs typeface="Myriad Pro Semibold" charset="0"/>
              </a:rPr>
              <a:t>39%</a:t>
            </a:r>
          </a:p>
        </p:txBody>
      </p:sp>
      <p:sp>
        <p:nvSpPr>
          <p:cNvPr id="52" name="TextBox 51"/>
          <p:cNvSpPr txBox="1"/>
          <p:nvPr/>
        </p:nvSpPr>
        <p:spPr>
          <a:xfrm>
            <a:off x="6355732" y="2327834"/>
            <a:ext cx="1037491" cy="459181"/>
          </a:xfrm>
          <a:prstGeom prst="rect">
            <a:avLst/>
          </a:prstGeom>
          <a:noFill/>
        </p:spPr>
        <p:txBody>
          <a:bodyPr wrap="square" lIns="58500" tIns="29250" rIns="58500" bIns="29250" rtlCol="0" anchor="ctr" anchorCtr="0">
            <a:spAutoFit/>
          </a:bodyPr>
          <a:lstStyle/>
          <a:p>
            <a:pPr algn="ctr"/>
            <a:r>
              <a:rPr lang="en-US" sz="2600" b="1" dirty="0">
                <a:solidFill>
                  <a:srgbClr val="000099"/>
                </a:solidFill>
                <a:latin typeface="Myriad Pro Semibold" charset="0"/>
                <a:ea typeface="Myriad Pro Semibold" charset="0"/>
                <a:cs typeface="Myriad Pro Semibold" charset="0"/>
              </a:rPr>
              <a:t>6</a:t>
            </a:r>
            <a:r>
              <a:rPr lang="en-US" sz="2600" b="1" dirty="0" smtClean="0">
                <a:solidFill>
                  <a:srgbClr val="000099"/>
                </a:solidFill>
                <a:latin typeface="Myriad Pro Semibold" charset="0"/>
                <a:ea typeface="Myriad Pro Semibold" charset="0"/>
                <a:cs typeface="Myriad Pro Semibold" charset="0"/>
              </a:rPr>
              <a:t>2</a:t>
            </a:r>
            <a:r>
              <a:rPr lang="en-US" sz="2600" b="1" dirty="0">
                <a:solidFill>
                  <a:srgbClr val="000099"/>
                </a:solidFill>
                <a:latin typeface="Myriad Pro Semibold" charset="0"/>
                <a:ea typeface="Myriad Pro Semibold" charset="0"/>
                <a:cs typeface="Myriad Pro Semibold" charset="0"/>
              </a:rPr>
              <a:t>%</a:t>
            </a:r>
          </a:p>
        </p:txBody>
      </p:sp>
      <p:sp>
        <p:nvSpPr>
          <p:cNvPr id="53" name="TextBox 52"/>
          <p:cNvSpPr txBox="1"/>
          <p:nvPr/>
        </p:nvSpPr>
        <p:spPr>
          <a:xfrm>
            <a:off x="7657919" y="2659194"/>
            <a:ext cx="1037491" cy="459181"/>
          </a:xfrm>
          <a:prstGeom prst="rect">
            <a:avLst/>
          </a:prstGeom>
          <a:noFill/>
        </p:spPr>
        <p:txBody>
          <a:bodyPr wrap="square" lIns="58500" tIns="29250" rIns="58500" bIns="29250" rtlCol="0" anchor="ctr" anchorCtr="0">
            <a:spAutoFit/>
          </a:bodyPr>
          <a:lstStyle/>
          <a:p>
            <a:pPr algn="ctr"/>
            <a:r>
              <a:rPr lang="en-US" sz="2600" b="1" dirty="0" smtClean="0">
                <a:solidFill>
                  <a:srgbClr val="000099"/>
                </a:solidFill>
                <a:latin typeface="Myriad Pro Semibold" charset="0"/>
                <a:ea typeface="Myriad Pro Semibold" charset="0"/>
                <a:cs typeface="Myriad Pro Semibold" charset="0"/>
              </a:rPr>
              <a:t>41%</a:t>
            </a:r>
            <a:endParaRPr lang="en-US" sz="2600" b="1" dirty="0">
              <a:solidFill>
                <a:srgbClr val="000099"/>
              </a:solidFill>
              <a:latin typeface="Myriad Pro Semibold" charset="0"/>
              <a:ea typeface="Myriad Pro Semibold" charset="0"/>
              <a:cs typeface="Myriad Pro Semibold" charset="0"/>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1493" y="4509102"/>
            <a:ext cx="842257" cy="763906"/>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36837" y="4492927"/>
            <a:ext cx="882250" cy="796255"/>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65044" y="4483952"/>
            <a:ext cx="929552" cy="814206"/>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48947" y="4552674"/>
            <a:ext cx="669325" cy="676763"/>
          </a:xfrm>
          <a:prstGeom prst="rect">
            <a:avLst/>
          </a:prstGeom>
        </p:spPr>
      </p:pic>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09784" y="4549430"/>
            <a:ext cx="720412" cy="683249"/>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3459" y="4535677"/>
            <a:ext cx="487871" cy="710756"/>
          </a:xfrm>
          <a:prstGeom prst="rect">
            <a:avLst/>
          </a:prstGeom>
        </p:spPr>
      </p:pic>
      <p:cxnSp>
        <p:nvCxnSpPr>
          <p:cNvPr id="54" name="Straight Connector 53"/>
          <p:cNvCxnSpPr/>
          <p:nvPr/>
        </p:nvCxnSpPr>
        <p:spPr>
          <a:xfrm>
            <a:off x="700379" y="3943181"/>
            <a:ext cx="8105764"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811487" y="2035025"/>
            <a:ext cx="0" cy="3265935"/>
          </a:xfrm>
          <a:prstGeom prst="line">
            <a:avLst/>
          </a:prstGeom>
          <a:ln w="28575">
            <a:solidFill>
              <a:srgbClr val="000099"/>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146925" y="1657575"/>
            <a:ext cx="4198564" cy="342401"/>
          </a:xfrm>
          <a:prstGeom prst="rect">
            <a:avLst/>
          </a:prstGeom>
          <a:noFill/>
        </p:spPr>
        <p:txBody>
          <a:bodyPr wrap="square" rtlCol="0">
            <a:spAutoFit/>
          </a:bodyPr>
          <a:lstStyle/>
          <a:p>
            <a:pPr>
              <a:buNone/>
            </a:pPr>
            <a:r>
              <a:rPr lang="en-US" sz="1625" b="1" dirty="0">
                <a:solidFill>
                  <a:srgbClr val="000099"/>
                </a:solidFill>
                <a:latin typeface="Corbel" charset="0"/>
                <a:ea typeface="Corbel" charset="0"/>
                <a:cs typeface="Corbel" charset="0"/>
              </a:rPr>
              <a:t>A SOCIETY OF SNACKERS</a:t>
            </a:r>
          </a:p>
        </p:txBody>
      </p:sp>
      <p:sp>
        <p:nvSpPr>
          <p:cNvPr id="34" name="TextBox 33"/>
          <p:cNvSpPr txBox="1"/>
          <p:nvPr/>
        </p:nvSpPr>
        <p:spPr>
          <a:xfrm>
            <a:off x="3610314" y="6525013"/>
            <a:ext cx="5984270" cy="215444"/>
          </a:xfrm>
          <a:prstGeom prst="rect">
            <a:avLst/>
          </a:prstGeom>
          <a:noFill/>
        </p:spPr>
        <p:txBody>
          <a:bodyPr wrap="square" rtlCol="0">
            <a:spAutoFit/>
          </a:bodyPr>
          <a:lstStyle/>
          <a:p>
            <a:pPr algn="r">
              <a:buNone/>
            </a:pPr>
            <a:r>
              <a:rPr lang="en-US" sz="800" dirty="0">
                <a:latin typeface="Arial" panose="020B0604020202020204" pitchFamily="34" charset="0"/>
                <a:ea typeface="Corbel" charset="0"/>
                <a:cs typeface="Arial" panose="020B0604020202020204" pitchFamily="34" charset="0"/>
              </a:rPr>
              <a:t>Source: United Fresh Produce Association, Nielsen Perishables Group, Rabobank </a:t>
            </a:r>
            <a:r>
              <a:rPr lang="en-US" sz="800" dirty="0" smtClean="0">
                <a:latin typeface="Arial" panose="020B0604020202020204" pitchFamily="34" charset="0"/>
                <a:ea typeface="Corbel" charset="0"/>
                <a:cs typeface="Arial" panose="020B0604020202020204" pitchFamily="34" charset="0"/>
              </a:rPr>
              <a:t>2018</a:t>
            </a:r>
            <a:endParaRPr lang="en-US" sz="800" dirty="0">
              <a:latin typeface="Arial" panose="020B0604020202020204" pitchFamily="34" charset="0"/>
              <a:ea typeface="Corbel" charset="0"/>
              <a:cs typeface="Arial" panose="020B0604020202020204" pitchFamily="34" charset="0"/>
            </a:endParaRPr>
          </a:p>
        </p:txBody>
      </p:sp>
      <p:sp>
        <p:nvSpPr>
          <p:cNvPr id="56" name="TextBox 55"/>
          <p:cNvSpPr txBox="1"/>
          <p:nvPr/>
        </p:nvSpPr>
        <p:spPr>
          <a:xfrm>
            <a:off x="745783" y="5665634"/>
            <a:ext cx="5984270" cy="338554"/>
          </a:xfrm>
          <a:prstGeom prst="rect">
            <a:avLst/>
          </a:prstGeom>
          <a:noFill/>
        </p:spPr>
        <p:txBody>
          <a:bodyPr wrap="square" rtlCol="0">
            <a:spAutoFit/>
          </a:bodyPr>
          <a:lstStyle/>
          <a:p>
            <a:pPr>
              <a:buNone/>
            </a:pPr>
            <a:r>
              <a:rPr lang="en-US" sz="1600" b="1" i="1" dirty="0">
                <a:solidFill>
                  <a:srgbClr val="5D6A71"/>
                </a:solidFill>
                <a:latin typeface="Corbel" charset="0"/>
                <a:ea typeface="Corbel" charset="0"/>
                <a:cs typeface="Corbel" charset="0"/>
              </a:rPr>
              <a:t>% Changes </a:t>
            </a:r>
            <a:r>
              <a:rPr lang="en-US" sz="1600" b="1" i="1" dirty="0" smtClean="0">
                <a:solidFill>
                  <a:srgbClr val="5D6A71"/>
                </a:solidFill>
                <a:latin typeface="Corbel" charset="0"/>
                <a:ea typeface="Corbel" charset="0"/>
                <a:cs typeface="Corbel" charset="0"/>
              </a:rPr>
              <a:t>in F&amp;V </a:t>
            </a:r>
            <a:r>
              <a:rPr lang="en-US" sz="1600" b="1" i="1" dirty="0">
                <a:solidFill>
                  <a:srgbClr val="5D6A71"/>
                </a:solidFill>
                <a:latin typeface="Corbel" charset="0"/>
                <a:ea typeface="Corbel" charset="0"/>
                <a:cs typeface="Corbel" charset="0"/>
              </a:rPr>
              <a:t>Retail Spend, USA </a:t>
            </a:r>
            <a:r>
              <a:rPr lang="en-US" sz="1600" b="1" i="1" dirty="0" smtClean="0">
                <a:solidFill>
                  <a:srgbClr val="5D6A71"/>
                </a:solidFill>
                <a:latin typeface="Corbel" charset="0"/>
                <a:ea typeface="Corbel" charset="0"/>
                <a:cs typeface="Corbel" charset="0"/>
              </a:rPr>
              <a:t>2012-2017</a:t>
            </a:r>
            <a:endParaRPr lang="en-US" sz="1600" b="1" i="1" dirty="0">
              <a:solidFill>
                <a:srgbClr val="5D6A71"/>
              </a:solidFill>
              <a:latin typeface="Corbel" charset="0"/>
              <a:ea typeface="Corbel" charset="0"/>
              <a:cs typeface="Corbel" charset="0"/>
            </a:endParaRPr>
          </a:p>
        </p:txBody>
      </p:sp>
      <p:sp>
        <p:nvSpPr>
          <p:cNvPr id="32" name="Title 10"/>
          <p:cNvSpPr>
            <a:spLocks noGrp="1"/>
          </p:cNvSpPr>
          <p:nvPr>
            <p:ph type="title"/>
          </p:nvPr>
        </p:nvSpPr>
        <p:spPr>
          <a:xfrm>
            <a:off x="491205" y="405609"/>
            <a:ext cx="8208000" cy="630000"/>
          </a:xfrm>
        </p:spPr>
        <p:txBody>
          <a:bodyPr/>
          <a:lstStyle/>
          <a:p>
            <a:r>
              <a:rPr lang="en-US" dirty="0" smtClean="0"/>
              <a:t>Importance of convenience cannot be overstated</a:t>
            </a:r>
            <a:endParaRPr lang="en-US" dirty="0"/>
          </a:p>
        </p:txBody>
      </p:sp>
    </p:spTree>
    <p:extLst>
      <p:ext uri="{BB962C8B-B14F-4D97-AF65-F5344CB8AC3E}">
        <p14:creationId xmlns:p14="http://schemas.microsoft.com/office/powerpoint/2010/main" val="179415430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2915016" y="3811254"/>
            <a:ext cx="526627" cy="633953"/>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0" name="Rectangle 39"/>
          <p:cNvSpPr/>
          <p:nvPr/>
        </p:nvSpPr>
        <p:spPr>
          <a:xfrm>
            <a:off x="3705324" y="3365495"/>
            <a:ext cx="525816" cy="1079713"/>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1" name="Rectangle 40"/>
          <p:cNvSpPr/>
          <p:nvPr/>
        </p:nvSpPr>
        <p:spPr>
          <a:xfrm>
            <a:off x="4472019" y="3742442"/>
            <a:ext cx="526627" cy="702764"/>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5" name="TextBox 44"/>
          <p:cNvSpPr txBox="1"/>
          <p:nvPr/>
        </p:nvSpPr>
        <p:spPr>
          <a:xfrm>
            <a:off x="2864196" y="4503684"/>
            <a:ext cx="707163" cy="692497"/>
          </a:xfrm>
          <a:prstGeom prst="rect">
            <a:avLst/>
          </a:prstGeom>
          <a:noFill/>
        </p:spPr>
        <p:txBody>
          <a:bodyPr wrap="square" rtlCol="0">
            <a:spAutoFit/>
          </a:bodyPr>
          <a:lstStyle/>
          <a:p>
            <a:pPr algn="ctr"/>
            <a:r>
              <a:rPr lang="en-US" sz="1300" b="1" dirty="0">
                <a:latin typeface="Corbel" charset="0"/>
                <a:ea typeface="Corbel" charset="0"/>
                <a:cs typeface="Corbel" charset="0"/>
              </a:rPr>
              <a:t>Value-Added</a:t>
            </a:r>
          </a:p>
          <a:p>
            <a:pPr algn="ctr"/>
            <a:r>
              <a:rPr lang="en-US" sz="1300" b="1" dirty="0">
                <a:latin typeface="Corbel" charset="0"/>
                <a:ea typeface="Corbel" charset="0"/>
                <a:cs typeface="Corbel" charset="0"/>
              </a:rPr>
              <a:t>Fruits</a:t>
            </a:r>
          </a:p>
        </p:txBody>
      </p:sp>
      <p:sp>
        <p:nvSpPr>
          <p:cNvPr id="46" name="TextBox 45"/>
          <p:cNvSpPr txBox="1"/>
          <p:nvPr/>
        </p:nvSpPr>
        <p:spPr>
          <a:xfrm>
            <a:off x="3472906" y="4503684"/>
            <a:ext cx="1038852" cy="692497"/>
          </a:xfrm>
          <a:prstGeom prst="rect">
            <a:avLst/>
          </a:prstGeom>
          <a:noFill/>
        </p:spPr>
        <p:txBody>
          <a:bodyPr wrap="square" rtlCol="0">
            <a:spAutoFit/>
          </a:bodyPr>
          <a:lstStyle/>
          <a:p>
            <a:pPr algn="ctr"/>
            <a:r>
              <a:rPr lang="en-US" sz="1300" b="1" dirty="0">
                <a:latin typeface="Corbel" charset="0"/>
                <a:ea typeface="Corbel" charset="0"/>
                <a:cs typeface="Corbel" charset="0"/>
              </a:rPr>
              <a:t>Value-Added</a:t>
            </a:r>
          </a:p>
          <a:p>
            <a:pPr algn="ctr"/>
            <a:r>
              <a:rPr lang="en-US" sz="1300" b="1" dirty="0">
                <a:latin typeface="Corbel" charset="0"/>
                <a:ea typeface="Corbel" charset="0"/>
                <a:cs typeface="Corbel" charset="0"/>
              </a:rPr>
              <a:t>Vegetables</a:t>
            </a:r>
          </a:p>
        </p:txBody>
      </p:sp>
      <p:sp>
        <p:nvSpPr>
          <p:cNvPr id="47" name="TextBox 46"/>
          <p:cNvSpPr txBox="1"/>
          <p:nvPr/>
        </p:nvSpPr>
        <p:spPr>
          <a:xfrm>
            <a:off x="4308926" y="4503684"/>
            <a:ext cx="946188" cy="692497"/>
          </a:xfrm>
          <a:prstGeom prst="rect">
            <a:avLst/>
          </a:prstGeom>
          <a:noFill/>
        </p:spPr>
        <p:txBody>
          <a:bodyPr wrap="square" rtlCol="0">
            <a:spAutoFit/>
          </a:bodyPr>
          <a:lstStyle/>
          <a:p>
            <a:pPr algn="ctr"/>
            <a:r>
              <a:rPr lang="en-US" sz="1300" b="1" dirty="0">
                <a:latin typeface="Corbel" charset="0"/>
                <a:ea typeface="Corbel" charset="0"/>
                <a:cs typeface="Corbel" charset="0"/>
              </a:rPr>
              <a:t>All Packaged</a:t>
            </a:r>
          </a:p>
          <a:p>
            <a:pPr algn="ctr"/>
            <a:r>
              <a:rPr lang="en-US" sz="1300" b="1" dirty="0">
                <a:latin typeface="Corbel" charset="0"/>
                <a:ea typeface="Corbel" charset="0"/>
                <a:cs typeface="Corbel" charset="0"/>
              </a:rPr>
              <a:t>Salads</a:t>
            </a:r>
          </a:p>
        </p:txBody>
      </p:sp>
      <p:sp>
        <p:nvSpPr>
          <p:cNvPr id="36" name="Rectangle 35"/>
          <p:cNvSpPr/>
          <p:nvPr/>
        </p:nvSpPr>
        <p:spPr>
          <a:xfrm>
            <a:off x="513088" y="4157073"/>
            <a:ext cx="518931" cy="288133"/>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2" name="TextBox 41"/>
          <p:cNvSpPr txBox="1"/>
          <p:nvPr/>
        </p:nvSpPr>
        <p:spPr>
          <a:xfrm>
            <a:off x="329974" y="4503684"/>
            <a:ext cx="815103" cy="492443"/>
          </a:xfrm>
          <a:prstGeom prst="rect">
            <a:avLst/>
          </a:prstGeom>
          <a:noFill/>
        </p:spPr>
        <p:txBody>
          <a:bodyPr wrap="square" rtlCol="0">
            <a:spAutoFit/>
          </a:bodyPr>
          <a:lstStyle/>
          <a:p>
            <a:pPr algn="ctr"/>
            <a:r>
              <a:rPr lang="en-US" sz="1300" b="1" dirty="0">
                <a:latin typeface="Corbel" charset="0"/>
                <a:ea typeface="Corbel" charset="0"/>
                <a:cs typeface="Corbel" charset="0"/>
              </a:rPr>
              <a:t>All </a:t>
            </a:r>
          </a:p>
          <a:p>
            <a:pPr algn="ctr"/>
            <a:r>
              <a:rPr lang="en-US" sz="1300" b="1" dirty="0">
                <a:latin typeface="Corbel" charset="0"/>
                <a:ea typeface="Corbel" charset="0"/>
                <a:cs typeface="Corbel" charset="0"/>
              </a:rPr>
              <a:t>F&amp;V</a:t>
            </a:r>
          </a:p>
        </p:txBody>
      </p:sp>
      <p:sp>
        <p:nvSpPr>
          <p:cNvPr id="48" name="TextBox 47"/>
          <p:cNvSpPr txBox="1"/>
          <p:nvPr/>
        </p:nvSpPr>
        <p:spPr>
          <a:xfrm>
            <a:off x="153389" y="3728708"/>
            <a:ext cx="1242524" cy="434239"/>
          </a:xfrm>
          <a:prstGeom prst="rect">
            <a:avLst/>
          </a:prstGeom>
          <a:noFill/>
        </p:spPr>
        <p:txBody>
          <a:bodyPr wrap="square" lIns="58500" tIns="29250" rIns="58500" bIns="29250" rtlCol="0" anchor="ctr" anchorCtr="0">
            <a:spAutoFit/>
          </a:bodyPr>
          <a:lstStyle/>
          <a:p>
            <a:pPr algn="ctr"/>
            <a:r>
              <a:rPr lang="en-US" sz="2438" b="1" dirty="0" smtClean="0">
                <a:solidFill>
                  <a:srgbClr val="000099"/>
                </a:solidFill>
                <a:latin typeface="Myriad Pro Semibold" charset="0"/>
                <a:ea typeface="Myriad Pro Semibold" charset="0"/>
                <a:cs typeface="Myriad Pro Semibold" charset="0"/>
              </a:rPr>
              <a:t>17%</a:t>
            </a:r>
            <a:endParaRPr lang="en-US" sz="2438" b="1" dirty="0">
              <a:solidFill>
                <a:srgbClr val="000099"/>
              </a:solidFill>
              <a:latin typeface="Myriad Pro Semibold" charset="0"/>
              <a:ea typeface="Myriad Pro Semibold" charset="0"/>
              <a:cs typeface="Myriad Pro Semibold" charset="0"/>
            </a:endParaRPr>
          </a:p>
        </p:txBody>
      </p:sp>
      <p:sp>
        <p:nvSpPr>
          <p:cNvPr id="37" name="Rectangle 36"/>
          <p:cNvSpPr/>
          <p:nvPr/>
        </p:nvSpPr>
        <p:spPr>
          <a:xfrm>
            <a:off x="1277249" y="4176144"/>
            <a:ext cx="533749" cy="269061"/>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3" name="TextBox 42"/>
          <p:cNvSpPr txBox="1"/>
          <p:nvPr/>
        </p:nvSpPr>
        <p:spPr>
          <a:xfrm>
            <a:off x="1074572" y="4503684"/>
            <a:ext cx="882195" cy="492443"/>
          </a:xfrm>
          <a:prstGeom prst="rect">
            <a:avLst/>
          </a:prstGeom>
          <a:noFill/>
        </p:spPr>
        <p:txBody>
          <a:bodyPr wrap="square" rtlCol="0">
            <a:spAutoFit/>
          </a:bodyPr>
          <a:lstStyle/>
          <a:p>
            <a:pPr algn="ctr"/>
            <a:r>
              <a:rPr lang="en-US" sz="1300" b="1" dirty="0">
                <a:latin typeface="Corbel" charset="0"/>
                <a:ea typeface="Corbel" charset="0"/>
                <a:cs typeface="Corbel" charset="0"/>
              </a:rPr>
              <a:t>All </a:t>
            </a:r>
          </a:p>
          <a:p>
            <a:pPr algn="ctr"/>
            <a:r>
              <a:rPr lang="en-US" sz="1300" b="1" dirty="0">
                <a:latin typeface="Corbel" charset="0"/>
                <a:ea typeface="Corbel" charset="0"/>
                <a:cs typeface="Corbel" charset="0"/>
              </a:rPr>
              <a:t>Fruits</a:t>
            </a:r>
          </a:p>
        </p:txBody>
      </p:sp>
      <p:sp>
        <p:nvSpPr>
          <p:cNvPr id="49" name="TextBox 48"/>
          <p:cNvSpPr txBox="1"/>
          <p:nvPr/>
        </p:nvSpPr>
        <p:spPr>
          <a:xfrm>
            <a:off x="1032019" y="3750642"/>
            <a:ext cx="1123203" cy="434239"/>
          </a:xfrm>
          <a:prstGeom prst="rect">
            <a:avLst/>
          </a:prstGeom>
          <a:noFill/>
        </p:spPr>
        <p:txBody>
          <a:bodyPr wrap="square" lIns="58500" tIns="29250" rIns="58500" bIns="29250" rtlCol="0" anchor="ctr" anchorCtr="0">
            <a:spAutoFit/>
          </a:bodyPr>
          <a:lstStyle/>
          <a:p>
            <a:pPr algn="ctr"/>
            <a:r>
              <a:rPr lang="en-US" sz="2438" b="1" dirty="0" smtClean="0">
                <a:solidFill>
                  <a:srgbClr val="000099"/>
                </a:solidFill>
                <a:latin typeface="Myriad Pro Semibold" charset="0"/>
                <a:ea typeface="Myriad Pro Semibold" charset="0"/>
                <a:cs typeface="Myriad Pro Semibold" charset="0"/>
              </a:rPr>
              <a:t>16%</a:t>
            </a:r>
            <a:endParaRPr lang="en-US" sz="2438" b="1" dirty="0">
              <a:solidFill>
                <a:srgbClr val="000099"/>
              </a:solidFill>
              <a:latin typeface="Myriad Pro Semibold" charset="0"/>
              <a:ea typeface="Myriad Pro Semibold" charset="0"/>
              <a:cs typeface="Myriad Pro Semibold" charset="0"/>
            </a:endParaRPr>
          </a:p>
        </p:txBody>
      </p:sp>
      <p:sp>
        <p:nvSpPr>
          <p:cNvPr id="38" name="Rectangle 37"/>
          <p:cNvSpPr/>
          <p:nvPr/>
        </p:nvSpPr>
        <p:spPr>
          <a:xfrm>
            <a:off x="2069869" y="4157073"/>
            <a:ext cx="530735" cy="288135"/>
          </a:xfrm>
          <a:prstGeom prst="rect">
            <a:avLst/>
          </a:prstGeom>
          <a:solidFill>
            <a:srgbClr val="FD6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D6300"/>
              </a:solidFill>
            </a:endParaRPr>
          </a:p>
        </p:txBody>
      </p:sp>
      <p:sp>
        <p:nvSpPr>
          <p:cNvPr id="44" name="TextBox 43"/>
          <p:cNvSpPr txBox="1"/>
          <p:nvPr/>
        </p:nvSpPr>
        <p:spPr>
          <a:xfrm>
            <a:off x="1719719" y="4503684"/>
            <a:ext cx="1135311" cy="492443"/>
          </a:xfrm>
          <a:prstGeom prst="rect">
            <a:avLst/>
          </a:prstGeom>
          <a:noFill/>
        </p:spPr>
        <p:txBody>
          <a:bodyPr wrap="square" rtlCol="0">
            <a:spAutoFit/>
          </a:bodyPr>
          <a:lstStyle/>
          <a:p>
            <a:pPr algn="ctr"/>
            <a:r>
              <a:rPr lang="en-US" sz="1300" b="1" dirty="0">
                <a:latin typeface="Corbel" charset="0"/>
                <a:ea typeface="Corbel" charset="0"/>
                <a:cs typeface="Corbel" charset="0"/>
              </a:rPr>
              <a:t>All Vegetables</a:t>
            </a:r>
          </a:p>
        </p:txBody>
      </p:sp>
      <p:sp>
        <p:nvSpPr>
          <p:cNvPr id="50" name="TextBox 49"/>
          <p:cNvSpPr txBox="1"/>
          <p:nvPr/>
        </p:nvSpPr>
        <p:spPr>
          <a:xfrm>
            <a:off x="1847310" y="3744990"/>
            <a:ext cx="982899" cy="434239"/>
          </a:xfrm>
          <a:prstGeom prst="rect">
            <a:avLst/>
          </a:prstGeom>
          <a:noFill/>
        </p:spPr>
        <p:txBody>
          <a:bodyPr wrap="square" lIns="58500" tIns="29250" rIns="58500" bIns="29250" rtlCol="0" anchor="ctr" anchorCtr="0">
            <a:spAutoFit/>
          </a:bodyPr>
          <a:lstStyle/>
          <a:p>
            <a:pPr algn="ctr"/>
            <a:r>
              <a:rPr lang="en-US" sz="2438" b="1" dirty="0" smtClean="0">
                <a:solidFill>
                  <a:srgbClr val="000099"/>
                </a:solidFill>
                <a:latin typeface="Myriad Pro Semibold" charset="0"/>
                <a:ea typeface="Myriad Pro Semibold" charset="0"/>
                <a:cs typeface="Myriad Pro Semibold" charset="0"/>
              </a:rPr>
              <a:t>18%</a:t>
            </a:r>
            <a:endParaRPr lang="en-US" sz="2438" b="1" dirty="0">
              <a:solidFill>
                <a:srgbClr val="000099"/>
              </a:solidFill>
              <a:latin typeface="Myriad Pro Semibold" charset="0"/>
              <a:ea typeface="Myriad Pro Semibold" charset="0"/>
              <a:cs typeface="Myriad Pro Semibold" charset="0"/>
            </a:endParaRPr>
          </a:p>
        </p:txBody>
      </p:sp>
      <p:sp>
        <p:nvSpPr>
          <p:cNvPr id="51" name="TextBox 50"/>
          <p:cNvSpPr txBox="1"/>
          <p:nvPr/>
        </p:nvSpPr>
        <p:spPr>
          <a:xfrm>
            <a:off x="2680124" y="3365495"/>
            <a:ext cx="1012079" cy="434239"/>
          </a:xfrm>
          <a:prstGeom prst="rect">
            <a:avLst/>
          </a:prstGeom>
          <a:noFill/>
        </p:spPr>
        <p:txBody>
          <a:bodyPr wrap="square" lIns="58500" tIns="29250" rIns="58500" bIns="29250" rtlCol="0" anchor="ctr" anchorCtr="0">
            <a:spAutoFit/>
          </a:bodyPr>
          <a:lstStyle/>
          <a:p>
            <a:pPr algn="ctr"/>
            <a:r>
              <a:rPr lang="en-US" sz="2438" b="1" dirty="0">
                <a:solidFill>
                  <a:srgbClr val="000099"/>
                </a:solidFill>
                <a:latin typeface="Myriad Pro Semibold" charset="0"/>
                <a:ea typeface="Myriad Pro Semibold" charset="0"/>
                <a:cs typeface="Myriad Pro Semibold" charset="0"/>
              </a:rPr>
              <a:t>39%</a:t>
            </a:r>
          </a:p>
        </p:txBody>
      </p:sp>
      <p:sp>
        <p:nvSpPr>
          <p:cNvPr id="52" name="TextBox 51"/>
          <p:cNvSpPr txBox="1"/>
          <p:nvPr/>
        </p:nvSpPr>
        <p:spPr>
          <a:xfrm>
            <a:off x="3431070" y="2988212"/>
            <a:ext cx="1112925" cy="434239"/>
          </a:xfrm>
          <a:prstGeom prst="rect">
            <a:avLst/>
          </a:prstGeom>
          <a:noFill/>
        </p:spPr>
        <p:txBody>
          <a:bodyPr wrap="square" lIns="58500" tIns="29250" rIns="58500" bIns="29250" rtlCol="0" anchor="ctr" anchorCtr="0">
            <a:spAutoFit/>
          </a:bodyPr>
          <a:lstStyle/>
          <a:p>
            <a:pPr algn="ctr"/>
            <a:r>
              <a:rPr lang="en-US" sz="2438" b="1" dirty="0" smtClean="0">
                <a:solidFill>
                  <a:srgbClr val="000099"/>
                </a:solidFill>
                <a:latin typeface="Myriad Pro Semibold" charset="0"/>
                <a:ea typeface="Myriad Pro Semibold" charset="0"/>
                <a:cs typeface="Myriad Pro Semibold" charset="0"/>
              </a:rPr>
              <a:t>62</a:t>
            </a:r>
            <a:r>
              <a:rPr lang="en-US" sz="2438" b="1" dirty="0">
                <a:solidFill>
                  <a:srgbClr val="000099"/>
                </a:solidFill>
                <a:latin typeface="Myriad Pro Semibold" charset="0"/>
                <a:ea typeface="Myriad Pro Semibold" charset="0"/>
                <a:cs typeface="Myriad Pro Semibold" charset="0"/>
              </a:rPr>
              <a:t>%</a:t>
            </a:r>
          </a:p>
        </p:txBody>
      </p:sp>
      <p:sp>
        <p:nvSpPr>
          <p:cNvPr id="53" name="TextBox 52"/>
          <p:cNvSpPr txBox="1"/>
          <p:nvPr/>
        </p:nvSpPr>
        <p:spPr>
          <a:xfrm>
            <a:off x="4295892" y="3310751"/>
            <a:ext cx="1035149" cy="434239"/>
          </a:xfrm>
          <a:prstGeom prst="rect">
            <a:avLst/>
          </a:prstGeom>
          <a:noFill/>
        </p:spPr>
        <p:txBody>
          <a:bodyPr wrap="square" lIns="58500" tIns="29250" rIns="58500" bIns="29250" rtlCol="0" anchor="ctr" anchorCtr="0">
            <a:spAutoFit/>
          </a:bodyPr>
          <a:lstStyle/>
          <a:p>
            <a:pPr algn="ctr"/>
            <a:r>
              <a:rPr lang="en-US" sz="2438" b="1" dirty="0" smtClean="0">
                <a:solidFill>
                  <a:srgbClr val="000099"/>
                </a:solidFill>
                <a:latin typeface="Myriad Pro Semibold" charset="0"/>
                <a:ea typeface="Myriad Pro Semibold" charset="0"/>
                <a:cs typeface="Myriad Pro Semibold" charset="0"/>
              </a:rPr>
              <a:t>41%</a:t>
            </a:r>
            <a:endParaRPr lang="en-US" sz="2438" b="1" dirty="0">
              <a:solidFill>
                <a:srgbClr val="000099"/>
              </a:solidFill>
              <a:latin typeface="Myriad Pro Semibold" charset="0"/>
              <a:ea typeface="Myriad Pro Semibold" charset="0"/>
              <a:cs typeface="Myriad Pro Semibold" charset="0"/>
            </a:endParaRPr>
          </a:p>
        </p:txBody>
      </p:sp>
      <p:sp>
        <p:nvSpPr>
          <p:cNvPr id="95" name="Rectangle 94"/>
          <p:cNvSpPr/>
          <p:nvPr/>
        </p:nvSpPr>
        <p:spPr>
          <a:xfrm>
            <a:off x="6507724" y="2539623"/>
            <a:ext cx="528878" cy="1905582"/>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96" name="TextBox 95"/>
          <p:cNvSpPr txBox="1"/>
          <p:nvPr/>
        </p:nvSpPr>
        <p:spPr>
          <a:xfrm>
            <a:off x="6376714" y="4509996"/>
            <a:ext cx="780759" cy="492443"/>
          </a:xfrm>
          <a:prstGeom prst="rect">
            <a:avLst/>
          </a:prstGeom>
          <a:noFill/>
        </p:spPr>
        <p:txBody>
          <a:bodyPr wrap="square" rtlCol="0">
            <a:spAutoFit/>
          </a:bodyPr>
          <a:lstStyle/>
          <a:p>
            <a:pPr algn="ctr"/>
            <a:r>
              <a:rPr lang="en-US" sz="1300" b="1" dirty="0">
                <a:latin typeface="Corbel" charset="0"/>
                <a:ea typeface="Corbel" charset="0"/>
                <a:cs typeface="Corbel" charset="0"/>
              </a:rPr>
              <a:t>Organic</a:t>
            </a:r>
          </a:p>
          <a:p>
            <a:pPr algn="ctr"/>
            <a:r>
              <a:rPr lang="en-US" sz="1300" b="1" dirty="0">
                <a:latin typeface="Corbel" charset="0"/>
                <a:ea typeface="Corbel" charset="0"/>
                <a:cs typeface="Corbel" charset="0"/>
              </a:rPr>
              <a:t>Fruits</a:t>
            </a:r>
          </a:p>
        </p:txBody>
      </p:sp>
      <p:sp>
        <p:nvSpPr>
          <p:cNvPr id="97" name="TextBox 96"/>
          <p:cNvSpPr txBox="1"/>
          <p:nvPr/>
        </p:nvSpPr>
        <p:spPr>
          <a:xfrm>
            <a:off x="6293025" y="2124189"/>
            <a:ext cx="1103434" cy="434239"/>
          </a:xfrm>
          <a:prstGeom prst="rect">
            <a:avLst/>
          </a:prstGeom>
          <a:noFill/>
        </p:spPr>
        <p:txBody>
          <a:bodyPr wrap="square" lIns="58500" tIns="29250" rIns="58500" bIns="29250" rtlCol="0" anchor="ctr" anchorCtr="0">
            <a:spAutoFit/>
          </a:bodyPr>
          <a:lstStyle/>
          <a:p>
            <a:pPr algn="ctr"/>
            <a:r>
              <a:rPr lang="en-US" sz="2438" b="1" dirty="0" smtClean="0">
                <a:solidFill>
                  <a:srgbClr val="FD6300"/>
                </a:solidFill>
                <a:latin typeface="Myriad Pro Semibold" charset="0"/>
                <a:ea typeface="Myriad Pro Semibold" charset="0"/>
                <a:cs typeface="Myriad Pro Semibold" charset="0"/>
              </a:rPr>
              <a:t>97%</a:t>
            </a:r>
            <a:endParaRPr lang="en-US" sz="2438" b="1" dirty="0">
              <a:solidFill>
                <a:srgbClr val="FD6300"/>
              </a:solidFill>
              <a:latin typeface="Myriad Pro Semibold" charset="0"/>
              <a:ea typeface="Myriad Pro Semibold" charset="0"/>
              <a:cs typeface="Myriad Pro Semibold" charset="0"/>
            </a:endParaRPr>
          </a:p>
        </p:txBody>
      </p:sp>
      <p:sp>
        <p:nvSpPr>
          <p:cNvPr id="98" name="Rectangle 97"/>
          <p:cNvSpPr/>
          <p:nvPr/>
        </p:nvSpPr>
        <p:spPr>
          <a:xfrm>
            <a:off x="7479632" y="3104635"/>
            <a:ext cx="529913" cy="1340571"/>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99" name="TextBox 98"/>
          <p:cNvSpPr txBox="1"/>
          <p:nvPr/>
        </p:nvSpPr>
        <p:spPr>
          <a:xfrm>
            <a:off x="7150763" y="4509996"/>
            <a:ext cx="1077585" cy="492443"/>
          </a:xfrm>
          <a:prstGeom prst="rect">
            <a:avLst/>
          </a:prstGeom>
          <a:noFill/>
        </p:spPr>
        <p:txBody>
          <a:bodyPr wrap="square" rtlCol="0">
            <a:spAutoFit/>
          </a:bodyPr>
          <a:lstStyle/>
          <a:p>
            <a:pPr algn="ctr"/>
            <a:r>
              <a:rPr lang="en-US" sz="1300" b="1" dirty="0">
                <a:latin typeface="Corbel" charset="0"/>
                <a:ea typeface="Corbel" charset="0"/>
                <a:cs typeface="Corbel" charset="0"/>
              </a:rPr>
              <a:t>Organic</a:t>
            </a:r>
          </a:p>
          <a:p>
            <a:pPr algn="ctr"/>
            <a:r>
              <a:rPr lang="en-US" sz="1300" b="1" dirty="0">
                <a:latin typeface="Corbel" charset="0"/>
                <a:ea typeface="Corbel" charset="0"/>
                <a:cs typeface="Corbel" charset="0"/>
              </a:rPr>
              <a:t>Vegetables</a:t>
            </a:r>
          </a:p>
        </p:txBody>
      </p:sp>
      <p:sp>
        <p:nvSpPr>
          <p:cNvPr id="100" name="TextBox 99"/>
          <p:cNvSpPr txBox="1"/>
          <p:nvPr/>
        </p:nvSpPr>
        <p:spPr>
          <a:xfrm>
            <a:off x="7210768" y="2646869"/>
            <a:ext cx="1103434" cy="434239"/>
          </a:xfrm>
          <a:prstGeom prst="rect">
            <a:avLst/>
          </a:prstGeom>
          <a:noFill/>
        </p:spPr>
        <p:txBody>
          <a:bodyPr wrap="square" lIns="58500" tIns="29250" rIns="58500" bIns="29250" rtlCol="0" anchor="ctr" anchorCtr="0">
            <a:spAutoFit/>
          </a:bodyPr>
          <a:lstStyle/>
          <a:p>
            <a:pPr algn="ctr"/>
            <a:r>
              <a:rPr lang="en-US" sz="2438" b="1" dirty="0" smtClean="0">
                <a:solidFill>
                  <a:srgbClr val="FD6300"/>
                </a:solidFill>
                <a:latin typeface="Myriad Pro Semibold" charset="0"/>
                <a:ea typeface="Myriad Pro Semibold" charset="0"/>
                <a:cs typeface="Myriad Pro Semibold" charset="0"/>
              </a:rPr>
              <a:t>77%</a:t>
            </a:r>
            <a:endParaRPr lang="en-US" sz="2438" b="1" dirty="0">
              <a:solidFill>
                <a:srgbClr val="FD6300"/>
              </a:solidFill>
              <a:latin typeface="Myriad Pro Semibold" charset="0"/>
              <a:ea typeface="Myriad Pro Semibold" charset="0"/>
              <a:cs typeface="Myriad Pro Semibold" charset="0"/>
            </a:endParaRPr>
          </a:p>
        </p:txBody>
      </p:sp>
      <p:sp>
        <p:nvSpPr>
          <p:cNvPr id="101" name="Rectangle 100"/>
          <p:cNvSpPr/>
          <p:nvPr/>
        </p:nvSpPr>
        <p:spPr>
          <a:xfrm>
            <a:off x="8430094" y="3303927"/>
            <a:ext cx="529913" cy="1141279"/>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102" name="TextBox 101"/>
          <p:cNvSpPr txBox="1"/>
          <p:nvPr/>
        </p:nvSpPr>
        <p:spPr>
          <a:xfrm>
            <a:off x="8046115" y="4509996"/>
            <a:ext cx="1200652" cy="692497"/>
          </a:xfrm>
          <a:prstGeom prst="rect">
            <a:avLst/>
          </a:prstGeom>
          <a:noFill/>
        </p:spPr>
        <p:txBody>
          <a:bodyPr wrap="square" rtlCol="0">
            <a:spAutoFit/>
          </a:bodyPr>
          <a:lstStyle/>
          <a:p>
            <a:pPr algn="ctr"/>
            <a:r>
              <a:rPr lang="en-US" sz="1300" b="1" dirty="0">
                <a:latin typeface="Corbel" charset="0"/>
                <a:ea typeface="Corbel" charset="0"/>
                <a:cs typeface="Corbel" charset="0"/>
              </a:rPr>
              <a:t>Organic</a:t>
            </a:r>
          </a:p>
          <a:p>
            <a:pPr algn="ctr"/>
            <a:r>
              <a:rPr lang="en-US" sz="1300" b="1" dirty="0">
                <a:latin typeface="Corbel" charset="0"/>
                <a:ea typeface="Corbel" charset="0"/>
                <a:cs typeface="Corbel" charset="0"/>
              </a:rPr>
              <a:t>Packaged Salads</a:t>
            </a:r>
          </a:p>
        </p:txBody>
      </p:sp>
      <p:sp>
        <p:nvSpPr>
          <p:cNvPr id="103" name="TextBox 102"/>
          <p:cNvSpPr txBox="1"/>
          <p:nvPr/>
        </p:nvSpPr>
        <p:spPr>
          <a:xfrm>
            <a:off x="8143333" y="2861971"/>
            <a:ext cx="1103434" cy="434239"/>
          </a:xfrm>
          <a:prstGeom prst="rect">
            <a:avLst/>
          </a:prstGeom>
          <a:noFill/>
        </p:spPr>
        <p:txBody>
          <a:bodyPr wrap="square" lIns="58500" tIns="29250" rIns="58500" bIns="29250" rtlCol="0" anchor="ctr" anchorCtr="0">
            <a:spAutoFit/>
          </a:bodyPr>
          <a:lstStyle/>
          <a:p>
            <a:pPr algn="ctr"/>
            <a:r>
              <a:rPr lang="en-US" sz="2438" b="1" dirty="0" smtClean="0">
                <a:solidFill>
                  <a:srgbClr val="FD6300"/>
                </a:solidFill>
                <a:latin typeface="Myriad Pro Semibold" charset="0"/>
                <a:ea typeface="Myriad Pro Semibold" charset="0"/>
                <a:cs typeface="Myriad Pro Semibold" charset="0"/>
              </a:rPr>
              <a:t>67%</a:t>
            </a:r>
            <a:endParaRPr lang="en-US" sz="2438" b="1" dirty="0">
              <a:solidFill>
                <a:srgbClr val="FD6300"/>
              </a:solidFill>
              <a:latin typeface="Myriad Pro Semibold" charset="0"/>
              <a:ea typeface="Myriad Pro Semibold" charset="0"/>
              <a:cs typeface="Myriad Pro Semibold" charset="0"/>
            </a:endParaRPr>
          </a:p>
        </p:txBody>
      </p:sp>
      <p:sp>
        <p:nvSpPr>
          <p:cNvPr id="119" name="Rectangle 118"/>
          <p:cNvSpPr/>
          <p:nvPr/>
        </p:nvSpPr>
        <p:spPr>
          <a:xfrm>
            <a:off x="5527663" y="2908528"/>
            <a:ext cx="523576" cy="1536677"/>
          </a:xfrm>
          <a:prstGeom prst="rect">
            <a:avLst/>
          </a:prstGeom>
          <a:solidFill>
            <a:srgbClr val="0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120" name="TextBox 119"/>
          <p:cNvSpPr txBox="1"/>
          <p:nvPr/>
        </p:nvSpPr>
        <p:spPr>
          <a:xfrm>
            <a:off x="5318118" y="4509996"/>
            <a:ext cx="935321" cy="692497"/>
          </a:xfrm>
          <a:prstGeom prst="rect">
            <a:avLst/>
          </a:prstGeom>
          <a:noFill/>
        </p:spPr>
        <p:txBody>
          <a:bodyPr wrap="square" rtlCol="0">
            <a:spAutoFit/>
          </a:bodyPr>
          <a:lstStyle/>
          <a:p>
            <a:pPr algn="ctr"/>
            <a:r>
              <a:rPr lang="en-US" sz="1300" b="1" dirty="0">
                <a:latin typeface="Corbel" charset="0"/>
                <a:ea typeface="Corbel" charset="0"/>
                <a:cs typeface="Corbel" charset="0"/>
              </a:rPr>
              <a:t>All Organic</a:t>
            </a:r>
          </a:p>
          <a:p>
            <a:pPr algn="ctr"/>
            <a:r>
              <a:rPr lang="en-US" sz="1300" b="1" dirty="0">
                <a:latin typeface="Corbel" charset="0"/>
                <a:ea typeface="Corbel" charset="0"/>
                <a:cs typeface="Corbel" charset="0"/>
              </a:rPr>
              <a:t>F&amp;V</a:t>
            </a:r>
          </a:p>
        </p:txBody>
      </p:sp>
      <p:sp>
        <p:nvSpPr>
          <p:cNvPr id="121" name="TextBox 120"/>
          <p:cNvSpPr txBox="1"/>
          <p:nvPr/>
        </p:nvSpPr>
        <p:spPr>
          <a:xfrm>
            <a:off x="5318118" y="2474289"/>
            <a:ext cx="1103434" cy="434239"/>
          </a:xfrm>
          <a:prstGeom prst="rect">
            <a:avLst/>
          </a:prstGeom>
          <a:noFill/>
        </p:spPr>
        <p:txBody>
          <a:bodyPr wrap="square" lIns="58500" tIns="29250" rIns="58500" bIns="29250" rtlCol="0" anchor="ctr" anchorCtr="0">
            <a:spAutoFit/>
          </a:bodyPr>
          <a:lstStyle/>
          <a:p>
            <a:pPr algn="ctr"/>
            <a:r>
              <a:rPr lang="en-US" sz="2438" b="1" dirty="0" smtClean="0">
                <a:solidFill>
                  <a:srgbClr val="FD6300"/>
                </a:solidFill>
                <a:latin typeface="Myriad Pro Semibold" charset="0"/>
                <a:ea typeface="Myriad Pro Semibold" charset="0"/>
                <a:cs typeface="Myriad Pro Semibold" charset="0"/>
              </a:rPr>
              <a:t>84%</a:t>
            </a:r>
            <a:endParaRPr lang="en-US" sz="2438" b="1" dirty="0">
              <a:solidFill>
                <a:srgbClr val="FD6300"/>
              </a:solidFill>
              <a:latin typeface="Myriad Pro Semibold" charset="0"/>
              <a:ea typeface="Myriad Pro Semibold" charset="0"/>
              <a:cs typeface="Myriad Pro Semibold" charset="0"/>
            </a:endParaRPr>
          </a:p>
        </p:txBody>
      </p:sp>
      <p:cxnSp>
        <p:nvCxnSpPr>
          <p:cNvPr id="65" name="Straight Connector 64"/>
          <p:cNvCxnSpPr/>
          <p:nvPr/>
        </p:nvCxnSpPr>
        <p:spPr>
          <a:xfrm>
            <a:off x="342526" y="4445190"/>
            <a:ext cx="8841105" cy="15"/>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262082" y="1831463"/>
            <a:ext cx="1" cy="3509419"/>
          </a:xfrm>
          <a:prstGeom prst="line">
            <a:avLst/>
          </a:prstGeom>
          <a:ln w="28575">
            <a:solidFill>
              <a:srgbClr val="000099"/>
            </a:solidFill>
            <a:prstDash val="dash"/>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745783" y="5665634"/>
            <a:ext cx="5984270" cy="338554"/>
          </a:xfrm>
          <a:prstGeom prst="rect">
            <a:avLst/>
          </a:prstGeom>
          <a:noFill/>
        </p:spPr>
        <p:txBody>
          <a:bodyPr wrap="square" rtlCol="0">
            <a:spAutoFit/>
          </a:bodyPr>
          <a:lstStyle/>
          <a:p>
            <a:pPr>
              <a:buNone/>
            </a:pPr>
            <a:r>
              <a:rPr lang="en-US" sz="1600" b="1" i="1" dirty="0">
                <a:solidFill>
                  <a:srgbClr val="5D6A71"/>
                </a:solidFill>
                <a:latin typeface="Corbel" charset="0"/>
                <a:ea typeface="Corbel" charset="0"/>
                <a:cs typeface="Corbel" charset="0"/>
              </a:rPr>
              <a:t>% Changes </a:t>
            </a:r>
            <a:r>
              <a:rPr lang="en-US" sz="1600" b="1" i="1" dirty="0" smtClean="0">
                <a:solidFill>
                  <a:srgbClr val="5D6A71"/>
                </a:solidFill>
                <a:latin typeface="Corbel" charset="0"/>
                <a:ea typeface="Corbel" charset="0"/>
                <a:cs typeface="Corbel" charset="0"/>
              </a:rPr>
              <a:t>in F&amp;V </a:t>
            </a:r>
            <a:r>
              <a:rPr lang="en-US" sz="1600" b="1" i="1" dirty="0">
                <a:solidFill>
                  <a:srgbClr val="5D6A71"/>
                </a:solidFill>
                <a:latin typeface="Corbel" charset="0"/>
                <a:ea typeface="Corbel" charset="0"/>
                <a:cs typeface="Corbel" charset="0"/>
              </a:rPr>
              <a:t>Retail Spend, USA </a:t>
            </a:r>
            <a:r>
              <a:rPr lang="en-US" sz="1600" b="1" i="1" dirty="0" smtClean="0">
                <a:solidFill>
                  <a:srgbClr val="5D6A71"/>
                </a:solidFill>
                <a:latin typeface="Corbel" charset="0"/>
                <a:ea typeface="Corbel" charset="0"/>
                <a:cs typeface="Corbel" charset="0"/>
              </a:rPr>
              <a:t>2012-2017</a:t>
            </a:r>
            <a:endParaRPr lang="en-US" sz="1600" b="1" i="1" dirty="0">
              <a:solidFill>
                <a:srgbClr val="5D6A71"/>
              </a:solidFill>
              <a:latin typeface="Corbel" charset="0"/>
              <a:ea typeface="Corbel" charset="0"/>
              <a:cs typeface="Corbel" charset="0"/>
            </a:endParaRPr>
          </a:p>
        </p:txBody>
      </p:sp>
      <p:cxnSp>
        <p:nvCxnSpPr>
          <p:cNvPr id="58" name="Straight Connector 57"/>
          <p:cNvCxnSpPr/>
          <p:nvPr/>
        </p:nvCxnSpPr>
        <p:spPr>
          <a:xfrm>
            <a:off x="2761679" y="3090074"/>
            <a:ext cx="0" cy="2188245"/>
          </a:xfrm>
          <a:prstGeom prst="line">
            <a:avLst/>
          </a:prstGeom>
          <a:ln w="28575">
            <a:solidFill>
              <a:srgbClr val="000099"/>
            </a:solidFill>
            <a:prstDash val="dash"/>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631779" y="1154864"/>
            <a:ext cx="3529359" cy="861774"/>
          </a:xfrm>
          <a:prstGeom prst="rect">
            <a:avLst/>
          </a:prstGeom>
          <a:solidFill>
            <a:srgbClr val="000099"/>
          </a:solidFill>
        </p:spPr>
        <p:txBody>
          <a:bodyPr wrap="square" rtlCol="0">
            <a:spAutoFit/>
          </a:bodyPr>
          <a:lstStyle/>
          <a:p>
            <a:pPr algn="ctr">
              <a:buNone/>
            </a:pPr>
            <a:r>
              <a:rPr lang="en-US" sz="2500" b="1" dirty="0" smtClean="0">
                <a:solidFill>
                  <a:srgbClr val="FD6400"/>
                </a:solidFill>
                <a:latin typeface="Corbel" charset="0"/>
                <a:ea typeface="Corbel" charset="0"/>
                <a:cs typeface="Corbel" charset="0"/>
              </a:rPr>
              <a:t>Organic Berries</a:t>
            </a:r>
          </a:p>
          <a:p>
            <a:pPr algn="ctr">
              <a:buNone/>
            </a:pPr>
            <a:r>
              <a:rPr lang="en-US" sz="2500" b="1" dirty="0" smtClean="0">
                <a:solidFill>
                  <a:srgbClr val="FD6400"/>
                </a:solidFill>
                <a:latin typeface="Corbel" charset="0"/>
                <a:ea typeface="Corbel" charset="0"/>
                <a:cs typeface="Corbel" charset="0"/>
              </a:rPr>
              <a:t>109%</a:t>
            </a:r>
            <a:endParaRPr lang="en-US" sz="2500" b="1" dirty="0">
              <a:solidFill>
                <a:srgbClr val="FD6400"/>
              </a:solidFill>
              <a:latin typeface="Corbel" charset="0"/>
              <a:ea typeface="Corbel" charset="0"/>
              <a:cs typeface="Corbel" charset="0"/>
            </a:endParaRPr>
          </a:p>
        </p:txBody>
      </p:sp>
      <p:sp>
        <p:nvSpPr>
          <p:cNvPr id="54" name="Title 10"/>
          <p:cNvSpPr>
            <a:spLocks noGrp="1"/>
          </p:cNvSpPr>
          <p:nvPr>
            <p:ph type="title"/>
          </p:nvPr>
        </p:nvSpPr>
        <p:spPr>
          <a:xfrm>
            <a:off x="491205" y="405609"/>
            <a:ext cx="8208000" cy="630000"/>
          </a:xfrm>
        </p:spPr>
        <p:txBody>
          <a:bodyPr/>
          <a:lstStyle/>
          <a:p>
            <a:r>
              <a:rPr lang="en-US" dirty="0" smtClean="0"/>
              <a:t>Berries: #1 overall and #2 in organic at retail</a:t>
            </a:r>
            <a:endParaRPr lang="en-US" dirty="0"/>
          </a:p>
        </p:txBody>
      </p:sp>
      <p:sp>
        <p:nvSpPr>
          <p:cNvPr id="55" name="TextBox 54"/>
          <p:cNvSpPr txBox="1"/>
          <p:nvPr/>
        </p:nvSpPr>
        <p:spPr>
          <a:xfrm>
            <a:off x="3267800" y="6429113"/>
            <a:ext cx="5984270" cy="215444"/>
          </a:xfrm>
          <a:prstGeom prst="rect">
            <a:avLst/>
          </a:prstGeom>
          <a:noFill/>
        </p:spPr>
        <p:txBody>
          <a:bodyPr wrap="square" rtlCol="0">
            <a:spAutoFit/>
          </a:bodyPr>
          <a:lstStyle/>
          <a:p>
            <a:pPr algn="r">
              <a:buNone/>
            </a:pPr>
            <a:r>
              <a:rPr lang="en-US" sz="800" dirty="0">
                <a:latin typeface="Arial" panose="020B0604020202020204" pitchFamily="34" charset="0"/>
                <a:ea typeface="Corbel" charset="0"/>
                <a:cs typeface="Arial" panose="020B0604020202020204" pitchFamily="34" charset="0"/>
              </a:rPr>
              <a:t>Source: United Fresh Produce Association, Nielsen Perishables Group, Rabobank </a:t>
            </a:r>
            <a:r>
              <a:rPr lang="en-US" sz="800" dirty="0" smtClean="0">
                <a:latin typeface="Arial" panose="020B0604020202020204" pitchFamily="34" charset="0"/>
                <a:ea typeface="Corbel" charset="0"/>
                <a:cs typeface="Arial" panose="020B0604020202020204" pitchFamily="34" charset="0"/>
              </a:rPr>
              <a:t>2018</a:t>
            </a:r>
            <a:endParaRPr lang="en-US" sz="800" dirty="0">
              <a:latin typeface="Arial" panose="020B0604020202020204" pitchFamily="34" charset="0"/>
              <a:ea typeface="Corbel" charset="0"/>
              <a:cs typeface="Arial" panose="020B0604020202020204" pitchFamily="34" charset="0"/>
            </a:endParaRPr>
          </a:p>
        </p:txBody>
      </p:sp>
      <p:sp>
        <p:nvSpPr>
          <p:cNvPr id="56" name="TextBox 55"/>
          <p:cNvSpPr txBox="1"/>
          <p:nvPr/>
        </p:nvSpPr>
        <p:spPr>
          <a:xfrm>
            <a:off x="878745" y="2600809"/>
            <a:ext cx="1586352" cy="861774"/>
          </a:xfrm>
          <a:prstGeom prst="rect">
            <a:avLst/>
          </a:prstGeom>
          <a:solidFill>
            <a:srgbClr val="000099"/>
          </a:solidFill>
        </p:spPr>
        <p:txBody>
          <a:bodyPr wrap="square" rtlCol="0">
            <a:spAutoFit/>
          </a:bodyPr>
          <a:lstStyle/>
          <a:p>
            <a:pPr algn="ctr">
              <a:buNone/>
            </a:pPr>
            <a:r>
              <a:rPr lang="en-US" sz="2500" b="1" dirty="0" smtClean="0">
                <a:solidFill>
                  <a:srgbClr val="FD6400"/>
                </a:solidFill>
                <a:latin typeface="Corbel" charset="0"/>
                <a:ea typeface="Corbel" charset="0"/>
                <a:cs typeface="Corbel" charset="0"/>
              </a:rPr>
              <a:t>Berries  24%</a:t>
            </a:r>
            <a:endParaRPr lang="en-US" sz="2500" b="1" dirty="0">
              <a:solidFill>
                <a:srgbClr val="FD6400"/>
              </a:solidFill>
              <a:latin typeface="Corbel" charset="0"/>
              <a:ea typeface="Corbel" charset="0"/>
              <a:cs typeface="Corbel" charset="0"/>
            </a:endParaRPr>
          </a:p>
        </p:txBody>
      </p:sp>
    </p:spTree>
    <p:extLst>
      <p:ext uri="{BB962C8B-B14F-4D97-AF65-F5344CB8AC3E}">
        <p14:creationId xmlns:p14="http://schemas.microsoft.com/office/powerpoint/2010/main" val="263067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5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15937" y="255588"/>
            <a:ext cx="7628996" cy="785812"/>
          </a:xfrm>
        </p:spPr>
        <p:txBody>
          <a:bodyPr/>
          <a:lstStyle/>
          <a:p>
            <a:pPr eaLnBrk="1" hangingPunct="1"/>
            <a:r>
              <a:rPr lang="en-US" dirty="0" smtClean="0"/>
              <a:t>Supply adjustments </a:t>
            </a:r>
            <a:r>
              <a:rPr lang="en-US" i="1" dirty="0" smtClean="0"/>
              <a:t>do</a:t>
            </a:r>
            <a:r>
              <a:rPr lang="en-US" dirty="0" smtClean="0"/>
              <a:t> work</a:t>
            </a:r>
            <a:endParaRPr lang="en-US" sz="3000" dirty="0" smtClean="0"/>
          </a:p>
        </p:txBody>
      </p:sp>
      <p:sp>
        <p:nvSpPr>
          <p:cNvPr id="25605" name="TextBox 11"/>
          <p:cNvSpPr txBox="1">
            <a:spLocks noChangeArrowheads="1"/>
          </p:cNvSpPr>
          <p:nvPr/>
        </p:nvSpPr>
        <p:spPr bwMode="auto">
          <a:xfrm>
            <a:off x="5925108" y="6483377"/>
            <a:ext cx="3108959"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Source</a:t>
            </a:r>
            <a:r>
              <a:rPr lang="en-US" sz="800" i="1" dirty="0">
                <a:latin typeface="Verdana" pitchFamily="34" charset="0"/>
              </a:rPr>
              <a:t>: </a:t>
            </a:r>
            <a:r>
              <a:rPr lang="en-US" sz="800" i="1" dirty="0" smtClean="0">
                <a:latin typeface="Verdana" pitchFamily="34" charset="0"/>
              </a:rPr>
              <a:t>USDA/AMS, Rabobank 2019</a:t>
            </a:r>
            <a:endParaRPr lang="en-GB" sz="800" i="1" dirty="0">
              <a:latin typeface="Verdana" pitchFamily="34" charset="0"/>
            </a:endParaRPr>
          </a:p>
        </p:txBody>
      </p:sp>
      <p:sp>
        <p:nvSpPr>
          <p:cNvPr id="6" name="TextBox 5"/>
          <p:cNvSpPr txBox="1"/>
          <p:nvPr/>
        </p:nvSpPr>
        <p:spPr>
          <a:xfrm>
            <a:off x="385101" y="1224045"/>
            <a:ext cx="9075434" cy="461665"/>
          </a:xfrm>
          <a:prstGeom prst="rect">
            <a:avLst/>
          </a:prstGeom>
          <a:noFill/>
        </p:spPr>
        <p:txBody>
          <a:bodyPr wrap="none" rtlCol="0">
            <a:spAutoFit/>
          </a:bodyPr>
          <a:lstStyle/>
          <a:p>
            <a:pPr algn="ctr"/>
            <a:r>
              <a:rPr lang="en-US" sz="2400" dirty="0" smtClean="0">
                <a:solidFill>
                  <a:srgbClr val="FF6600"/>
                </a:solidFill>
                <a:latin typeface="Corbel" pitchFamily="34" charset="0"/>
              </a:rPr>
              <a:t>U.S. non-organic raspberry shipping-point data – domestic &amp; imports*</a:t>
            </a:r>
            <a:endParaRPr lang="en-US" sz="2400" dirty="0">
              <a:solidFill>
                <a:srgbClr val="FF6600"/>
              </a:solidFill>
              <a:latin typeface="Corbel" pitchFamily="34" charset="0"/>
            </a:endParaRPr>
          </a:p>
        </p:txBody>
      </p:sp>
      <p:sp>
        <p:nvSpPr>
          <p:cNvPr id="11" name="TextBox 11"/>
          <p:cNvSpPr txBox="1">
            <a:spLocks noChangeArrowheads="1"/>
          </p:cNvSpPr>
          <p:nvPr/>
        </p:nvSpPr>
        <p:spPr bwMode="auto">
          <a:xfrm>
            <a:off x="380492" y="6487387"/>
            <a:ext cx="4176464" cy="217435"/>
          </a:xfrm>
          <a:prstGeom prst="rect">
            <a:avLst/>
          </a:prstGeom>
          <a:noFill/>
          <a:ln w="9525">
            <a:noFill/>
            <a:miter lim="800000"/>
            <a:headEnd/>
            <a:tailEnd/>
          </a:ln>
        </p:spPr>
        <p:txBody>
          <a:bodyPr wrap="square" lIns="93413" tIns="46706" rIns="93413" bIns="46706" anchor="ctr">
            <a:spAutoFit/>
          </a:bodyPr>
          <a:lstStyle/>
          <a:p>
            <a:pPr algn="r"/>
            <a:r>
              <a:rPr lang="en-US" sz="800" i="1" dirty="0" smtClean="0">
                <a:latin typeface="Verdana" pitchFamily="34" charset="0"/>
              </a:rPr>
              <a:t>*Prices represent the average weekly shipment-weighted price in each year</a:t>
            </a:r>
            <a:endParaRPr lang="en-GB" sz="800" i="1" dirty="0">
              <a:latin typeface="Verdana" pitchFamily="34" charset="0"/>
            </a:endParaRPr>
          </a:p>
        </p:txBody>
      </p:sp>
      <p:graphicFrame>
        <p:nvGraphicFramePr>
          <p:cNvPr id="8" name="Chart 7"/>
          <p:cNvGraphicFramePr>
            <a:graphicFrameLocks/>
          </p:cNvGraphicFramePr>
          <p:nvPr>
            <p:extLst>
              <p:ext uri="{D42A27DB-BD31-4B8C-83A1-F6EECF244321}">
                <p14:modId xmlns:p14="http://schemas.microsoft.com/office/powerpoint/2010/main" val="3412097999"/>
              </p:ext>
            </p:extLst>
          </p:nvPr>
        </p:nvGraphicFramePr>
        <p:xfrm>
          <a:off x="469690" y="1865010"/>
          <a:ext cx="8906256" cy="43891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3082922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Rabobank template 2012">
  <a:themeElements>
    <a:clrScheme name="New Rabo colours">
      <a:dk1>
        <a:sysClr val="windowText" lastClr="000000"/>
      </a:dk1>
      <a:lt1>
        <a:srgbClr val="FFFFFF"/>
      </a:lt1>
      <a:dk2>
        <a:srgbClr val="1B4298"/>
      </a:dk2>
      <a:lt2>
        <a:srgbClr val="F8981D"/>
      </a:lt2>
      <a:accent1>
        <a:srgbClr val="3B6E8F"/>
      </a:accent1>
      <a:accent2>
        <a:srgbClr val="73C6A1"/>
      </a:accent2>
      <a:accent3>
        <a:srgbClr val="6799C8"/>
      </a:accent3>
      <a:accent4>
        <a:srgbClr val="BAA3AB"/>
      </a:accent4>
      <a:accent5>
        <a:srgbClr val="C93092"/>
      </a:accent5>
      <a:accent6>
        <a:srgbClr val="54075B"/>
      </a:accent6>
      <a:hlink>
        <a:srgbClr val="1B4298"/>
      </a:hlink>
      <a:folHlink>
        <a:srgbClr val="F8981D"/>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solidFill>
            <a:schemeClr val="accent3"/>
          </a:solidFill>
        </a:ln>
      </a:spPr>
      <a:bodyPr lIns="72000" tIns="36000" rIns="72000" bIns="36000" rtlCol="0" anchor="ctr"/>
      <a:lstStyle>
        <a:defPPr algn="ctr">
          <a:defRPr sz="800" dirty="0" err="1" smtClean="0">
            <a:latin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chor="ctr" anchorCtr="0">
        <a:spAutoFit/>
      </a:bodyPr>
      <a:lstStyle>
        <a:defPPr>
          <a:defRPr sz="800" dirty="0" smtClean="0">
            <a:latin typeface="Verdana" pitchFamily="34" charset="0"/>
          </a:defRPr>
        </a:defPPr>
      </a:lstStyle>
    </a:txDef>
  </a:objectDefaults>
  <a:extraClrSchemeLst/>
</a:theme>
</file>

<file path=ppt/theme/theme2.xml><?xml version="1.0" encoding="utf-8"?>
<a:theme xmlns:a="http://schemas.openxmlformats.org/drawingml/2006/main" name="5_Rabobank template 2012">
  <a:themeElements>
    <a:clrScheme name="New Rabo colours">
      <a:dk1>
        <a:sysClr val="windowText" lastClr="000000"/>
      </a:dk1>
      <a:lt1>
        <a:srgbClr val="FFFFFF"/>
      </a:lt1>
      <a:dk2>
        <a:srgbClr val="1B4298"/>
      </a:dk2>
      <a:lt2>
        <a:srgbClr val="F8981D"/>
      </a:lt2>
      <a:accent1>
        <a:srgbClr val="3B6E8F"/>
      </a:accent1>
      <a:accent2>
        <a:srgbClr val="73C6A1"/>
      </a:accent2>
      <a:accent3>
        <a:srgbClr val="6799C8"/>
      </a:accent3>
      <a:accent4>
        <a:srgbClr val="BAA3AB"/>
      </a:accent4>
      <a:accent5>
        <a:srgbClr val="C93092"/>
      </a:accent5>
      <a:accent6>
        <a:srgbClr val="54075B"/>
      </a:accent6>
      <a:hlink>
        <a:srgbClr val="1B4298"/>
      </a:hlink>
      <a:folHlink>
        <a:srgbClr val="F8981D"/>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solidFill>
            <a:schemeClr val="accent3"/>
          </a:solidFill>
        </a:ln>
      </a:spPr>
      <a:bodyPr lIns="72000" tIns="36000" rIns="72000" bIns="36000" rtlCol="0" anchor="ctr"/>
      <a:lstStyle>
        <a:defPPr algn="ctr">
          <a:defRPr sz="800" dirty="0" err="1" smtClean="0">
            <a:latin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chor="ctr" anchorCtr="0">
        <a:spAutoFit/>
      </a:bodyPr>
      <a:lstStyle>
        <a:defPPr>
          <a:defRPr sz="800" dirty="0" smtClean="0">
            <a:latin typeface="Verdana" pitchFamily="34" charset="0"/>
          </a:defRPr>
        </a:defPPr>
      </a:lstStyle>
    </a:txDef>
  </a:objectDefaults>
  <a:extraClrSchemeLst/>
</a:theme>
</file>

<file path=ppt/theme/theme3.xml><?xml version="1.0" encoding="utf-8"?>
<a:theme xmlns:a="http://schemas.openxmlformats.org/drawingml/2006/main" name="6_Rabobank template 2012">
  <a:themeElements>
    <a:clrScheme name="New Rabo colours">
      <a:dk1>
        <a:sysClr val="windowText" lastClr="000000"/>
      </a:dk1>
      <a:lt1>
        <a:srgbClr val="FFFFFF"/>
      </a:lt1>
      <a:dk2>
        <a:srgbClr val="1B4298"/>
      </a:dk2>
      <a:lt2>
        <a:srgbClr val="F8981D"/>
      </a:lt2>
      <a:accent1>
        <a:srgbClr val="3B6E8F"/>
      </a:accent1>
      <a:accent2>
        <a:srgbClr val="73C6A1"/>
      </a:accent2>
      <a:accent3>
        <a:srgbClr val="6799C8"/>
      </a:accent3>
      <a:accent4>
        <a:srgbClr val="BAA3AB"/>
      </a:accent4>
      <a:accent5>
        <a:srgbClr val="C93092"/>
      </a:accent5>
      <a:accent6>
        <a:srgbClr val="54075B"/>
      </a:accent6>
      <a:hlink>
        <a:srgbClr val="1B4298"/>
      </a:hlink>
      <a:folHlink>
        <a:srgbClr val="F8981D"/>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9525">
          <a:solidFill>
            <a:schemeClr val="accent3"/>
          </a:solidFill>
        </a:ln>
      </a:spPr>
      <a:bodyPr lIns="72000" tIns="36000" rIns="72000" bIns="36000" rtlCol="0" anchor="ctr"/>
      <a:lstStyle>
        <a:defPPr algn="ctr">
          <a:defRPr sz="800" dirty="0" err="1" smtClean="0">
            <a:latin typeface="Verdan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chor="ctr" anchorCtr="0">
        <a:spAutoFit/>
      </a:bodyPr>
      <a:lstStyle>
        <a:defPPr>
          <a:defRPr sz="800" dirty="0" smtClean="0">
            <a:latin typeface="Verdana" pitchFamily="34" charset="0"/>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Rabobank">
    <a:dk1>
      <a:sysClr val="windowText" lastClr="000000"/>
    </a:dk1>
    <a:lt1>
      <a:sysClr val="window" lastClr="FFFFFF"/>
    </a:lt1>
    <a:dk2>
      <a:srgbClr val="000099"/>
    </a:dk2>
    <a:lt2>
      <a:srgbClr val="FF6600"/>
    </a:lt2>
    <a:accent1>
      <a:srgbClr val="660066"/>
    </a:accent1>
    <a:accent2>
      <a:srgbClr val="334477"/>
    </a:accent2>
    <a:accent3>
      <a:srgbClr val="777777"/>
    </a:accent3>
    <a:accent4>
      <a:srgbClr val="AA7799"/>
    </a:accent4>
    <a:accent5>
      <a:srgbClr val="88AACC"/>
    </a:accent5>
    <a:accent6>
      <a:srgbClr val="AAAAAA"/>
    </a:accent6>
    <a:hlink>
      <a:srgbClr val="0000FF"/>
    </a:hlink>
    <a:folHlink>
      <a:srgbClr val="800080"/>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Rabobank">
    <a:dk1>
      <a:srgbClr val="000000"/>
    </a:dk1>
    <a:lt1>
      <a:srgbClr val="FFFFFF"/>
    </a:lt1>
    <a:dk2>
      <a:srgbClr val="000099"/>
    </a:dk2>
    <a:lt2>
      <a:srgbClr val="90D1E3"/>
    </a:lt2>
    <a:accent1>
      <a:srgbClr val="000099"/>
    </a:accent1>
    <a:accent2>
      <a:srgbClr val="FD6400"/>
    </a:accent2>
    <a:accent3>
      <a:srgbClr val="90D1E3"/>
    </a:accent3>
    <a:accent4>
      <a:srgbClr val="AB9D70"/>
    </a:accent4>
    <a:accent5>
      <a:srgbClr val="133359"/>
    </a:accent5>
    <a:accent6>
      <a:srgbClr val="80BA27"/>
    </a:accent6>
    <a:hlink>
      <a:srgbClr val="FF6600"/>
    </a:hlink>
    <a:folHlink>
      <a:srgbClr val="5E6A71"/>
    </a:folHlink>
  </a:clrScheme>
  <a:fontScheme name="Rabobank">
    <a:majorFont>
      <a:latin typeface="Myriad SemiBold"/>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37847</TotalTime>
  <Words>1201</Words>
  <Application>Microsoft Office PowerPoint</Application>
  <PresentationFormat>A4 Paper (210x297 mm)</PresentationFormat>
  <Paragraphs>276</Paragraphs>
  <Slides>22</Slides>
  <Notes>7</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41" baseType="lpstr">
      <vt:lpstr>Arial</vt:lpstr>
      <vt:lpstr>Calibri</vt:lpstr>
      <vt:lpstr>Corbel</vt:lpstr>
      <vt:lpstr>Myriad</vt:lpstr>
      <vt:lpstr>Myriad Light</vt:lpstr>
      <vt:lpstr>Myriad Pro</vt:lpstr>
      <vt:lpstr>Myriad Pro Light</vt:lpstr>
      <vt:lpstr>Myriad Pro Semibold</vt:lpstr>
      <vt:lpstr>Myriad SemiBold</vt:lpstr>
      <vt:lpstr>Myriad-BoldItalic</vt:lpstr>
      <vt:lpstr>Myriad-Italic</vt:lpstr>
      <vt:lpstr>Myriad-SemiBoldItalic</vt:lpstr>
      <vt:lpstr>Times</vt:lpstr>
      <vt:lpstr>Verdana</vt:lpstr>
      <vt:lpstr>Wingdings</vt:lpstr>
      <vt:lpstr>4_Rabobank template 2012</vt:lpstr>
      <vt:lpstr>5_Rabobank template 2012</vt:lpstr>
      <vt:lpstr>6_Rabobank template 2012</vt:lpstr>
      <vt:lpstr>think-cell Slide</vt:lpstr>
      <vt:lpstr> Caneberry Market Trends   Central Coast Caneberry Meeting Watsonville, CA                  February 21, 2019 </vt:lpstr>
      <vt:lpstr>PowerPoint Presentation</vt:lpstr>
      <vt:lpstr>PowerPoint Presentation</vt:lpstr>
      <vt:lpstr>Raspberries &amp; blackberries continue to gain ground</vt:lpstr>
      <vt:lpstr>Fresh fruit &amp; nut consumption – a few are key</vt:lpstr>
      <vt:lpstr>The definition of “quality” is now more complex</vt:lpstr>
      <vt:lpstr>Importance of convenience cannot be overstated</vt:lpstr>
      <vt:lpstr>Berries: #1 overall and #2 in organic at retail</vt:lpstr>
      <vt:lpstr>Supply adjustments do work</vt:lpstr>
      <vt:lpstr>Working on the California piece of the puzzle</vt:lpstr>
      <vt:lpstr>Raspberries: Santa Maria &amp; Mexico gaining volume share</vt:lpstr>
      <vt:lpstr>Blackberry prices need to find a bottom</vt:lpstr>
      <vt:lpstr>Hard to find any upward price momentum</vt:lpstr>
      <vt:lpstr>Blackberries: Santa Maria &amp; the Southeast gain</vt:lpstr>
      <vt:lpstr>Organic raspberry supply responding</vt:lpstr>
      <vt:lpstr>Organic blackberry supply increase is dramatic</vt:lpstr>
      <vt:lpstr>Organic blackberry premiums need to hold now</vt:lpstr>
      <vt:lpstr>Contact Details</vt:lpstr>
      <vt:lpstr>Appendix / Additional Slides</vt:lpstr>
      <vt:lpstr>Smaller growers &amp; the “local” market opportunity</vt:lpstr>
      <vt:lpstr>Changing attitudes – Does it matter whose?</vt:lpstr>
      <vt:lpstr>Labor constraint will continue to tighten</vt:lpstr>
    </vt:vector>
  </TitlesOfParts>
  <Company>Rabobank Internation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ffin, A (Al)</dc:creator>
  <cp:lastModifiedBy>Fumasi, R (Roland)</cp:lastModifiedBy>
  <cp:revision>3801</cp:revision>
  <cp:lastPrinted>2014-06-23T15:05:58Z</cp:lastPrinted>
  <dcterms:created xsi:type="dcterms:W3CDTF">2012-11-02T04:13:16Z</dcterms:created>
  <dcterms:modified xsi:type="dcterms:W3CDTF">2019-02-20T22:26:20Z</dcterms:modified>
</cp:coreProperties>
</file>